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2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3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4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5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6.xml" ContentType="application/vnd.openxmlformats-officedocument.presentationml.notesSl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7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8.xml" ContentType="application/vnd.openxmlformats-officedocument.presentationml.notesSl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9.xml" ContentType="application/vnd.openxmlformats-officedocument.presentationml.notesSlid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notesSlides/notesSlide10.xml" ContentType="application/vnd.openxmlformats-officedocument.presentationml.notesSlid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notesSlides/notesSlide11.xml" ContentType="application/vnd.openxmlformats-officedocument.presentationml.notesSlide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notesSlides/notesSlide12.xml" ContentType="application/vnd.openxmlformats-officedocument.presentationml.notesSlide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notesSlides/notesSlide13.xml" ContentType="application/vnd.openxmlformats-officedocument.presentationml.notesSlide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notesSlides/notesSlide14.xml" ContentType="application/vnd.openxmlformats-officedocument.presentationml.notesSlide+xml"/>
  <Override PartName="/ppt/tags/tag14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3"/>
  </p:sldMasterIdLst>
  <p:notesMasterIdLst>
    <p:notesMasterId r:id="rId20"/>
  </p:notesMasterIdLst>
  <p:sldIdLst>
    <p:sldId id="326" r:id="rId4"/>
    <p:sldId id="2147483645" r:id="rId5"/>
    <p:sldId id="2147483641" r:id="rId6"/>
    <p:sldId id="2147483643" r:id="rId7"/>
    <p:sldId id="2147483642" r:id="rId8"/>
    <p:sldId id="2147483644" r:id="rId9"/>
    <p:sldId id="266" r:id="rId10"/>
    <p:sldId id="257" r:id="rId11"/>
    <p:sldId id="273" r:id="rId12"/>
    <p:sldId id="274" r:id="rId13"/>
    <p:sldId id="261" r:id="rId14"/>
    <p:sldId id="2147483639" r:id="rId15"/>
    <p:sldId id="262" r:id="rId16"/>
    <p:sldId id="269" r:id="rId17"/>
    <p:sldId id="263" r:id="rId18"/>
    <p:sldId id="2147483640" r:id="rId19"/>
  </p:sldIdLst>
  <p:sldSz cx="12192000" cy="6858000"/>
  <p:notesSz cx="6797675" cy="9926638"/>
  <p:custDataLst>
    <p:tags r:id="rId21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1248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3EED8"/>
    <a:srgbClr val="DDA399"/>
    <a:srgbClr val="F0ECD7"/>
    <a:srgbClr val="EDDBC8"/>
    <a:srgbClr val="95BAAB"/>
    <a:srgbClr val="CC6666"/>
    <a:srgbClr val="D4827E"/>
    <a:srgbClr val="E1B2A6"/>
    <a:srgbClr val="F1EDD7"/>
    <a:srgbClr val="D7DF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1F36DC9-E829-4397-9F53-E40464A49347}" v="10" dt="2025-05-29T11:24:51.013"/>
    <p1510:client id="{F5A74835-7805-40C3-BC80-9F3813DF66B7}" v="748" dt="2025-05-28T14:54:55.135"/>
  </p1510:revLst>
</p1510:revInfo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21" d="100"/>
          <a:sy n="121" d="100"/>
        </p:scale>
        <p:origin x="156" y="102"/>
      </p:cViewPr>
      <p:guideLst>
        <p:guide pos="1248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microsoft.com/office/2016/11/relationships/changesInfo" Target="changesInfos/changesInfo1.xml"/><Relationship Id="rId3" Type="http://schemas.openxmlformats.org/officeDocument/2006/relationships/slideMaster" Target="slideMasters/slideMaster1.xml"/><Relationship Id="rId21" Type="http://schemas.openxmlformats.org/officeDocument/2006/relationships/tags" Target="tags/tag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amaria, Shridhar" userId="8333b265-e735-45f8-a921-ce459cc3483a" providerId="ADAL" clId="{F5A74835-7805-40C3-BC80-9F3813DF66B7}"/>
    <pc:docChg chg="undo custSel modSld">
      <pc:chgData name="Chamaria, Shridhar" userId="8333b265-e735-45f8-a921-ce459cc3483a" providerId="ADAL" clId="{F5A74835-7805-40C3-BC80-9F3813DF66B7}" dt="2025-05-28T14:54:55.119" v="1520"/>
      <pc:docMkLst>
        <pc:docMk/>
      </pc:docMkLst>
      <pc:sldChg chg="addSp delSp modSp mod">
        <pc:chgData name="Chamaria, Shridhar" userId="8333b265-e735-45f8-a921-ce459cc3483a" providerId="ADAL" clId="{F5A74835-7805-40C3-BC80-9F3813DF66B7}" dt="2025-05-28T14:28:07.085" v="942"/>
        <pc:sldMkLst>
          <pc:docMk/>
          <pc:sldMk cId="2101352579" sldId="257"/>
        </pc:sldMkLst>
        <pc:spChg chg="mod ord">
          <ac:chgData name="Chamaria, Shridhar" userId="8333b265-e735-45f8-a921-ce459cc3483a" providerId="ADAL" clId="{F5A74835-7805-40C3-BC80-9F3813DF66B7}" dt="2025-05-28T14:18:50.721" v="859" actId="948"/>
          <ac:spMkLst>
            <pc:docMk/>
            <pc:sldMk cId="2101352579" sldId="257"/>
            <ac:spMk id="2" creationId="{00000000-0000-0000-0000-000000000000}"/>
          </ac:spMkLst>
        </pc:spChg>
        <pc:spChg chg="mod ord">
          <ac:chgData name="Chamaria, Shridhar" userId="8333b265-e735-45f8-a921-ce459cc3483a" providerId="ADAL" clId="{F5A74835-7805-40C3-BC80-9F3813DF66B7}" dt="2025-05-28T14:18:22.471" v="817"/>
          <ac:spMkLst>
            <pc:docMk/>
            <pc:sldMk cId="2101352579" sldId="257"/>
            <ac:spMk id="3" creationId="{00000000-0000-0000-0000-000000000000}"/>
          </ac:spMkLst>
        </pc:spChg>
        <pc:spChg chg="add del mod modVis">
          <ac:chgData name="Chamaria, Shridhar" userId="8333b265-e735-45f8-a921-ce459cc3483a" providerId="ADAL" clId="{F5A74835-7805-40C3-BC80-9F3813DF66B7}" dt="2025-05-28T14:18:22.471" v="835"/>
          <ac:spMkLst>
            <pc:docMk/>
            <pc:sldMk cId="2101352579" sldId="257"/>
            <ac:spMk id="4" creationId="{C2B4A8B6-16DC-FFCB-8DBD-ABCD2A98D78F}"/>
          </ac:spMkLst>
        </pc:spChg>
        <pc:spChg chg="mod">
          <ac:chgData name="Chamaria, Shridhar" userId="8333b265-e735-45f8-a921-ce459cc3483a" providerId="ADAL" clId="{F5A74835-7805-40C3-BC80-9F3813DF66B7}" dt="2025-05-28T14:21:47.194" v="903" actId="20577"/>
          <ac:spMkLst>
            <pc:docMk/>
            <pc:sldMk cId="2101352579" sldId="257"/>
            <ac:spMk id="7" creationId="{F2ACD668-F131-273A-38C3-12C1DA3B01F1}"/>
          </ac:spMkLst>
        </pc:spChg>
        <pc:spChg chg="mod ord">
          <ac:chgData name="Chamaria, Shridhar" userId="8333b265-e735-45f8-a921-ce459cc3483a" providerId="ADAL" clId="{F5A74835-7805-40C3-BC80-9F3813DF66B7}" dt="2025-05-28T14:18:22.471" v="819"/>
          <ac:spMkLst>
            <pc:docMk/>
            <pc:sldMk cId="2101352579" sldId="257"/>
            <ac:spMk id="15" creationId="{00000000-0000-0000-0000-000000000000}"/>
          </ac:spMkLst>
        </pc:spChg>
        <pc:spChg chg="mod">
          <ac:chgData name="Chamaria, Shridhar" userId="8333b265-e735-45f8-a921-ce459cc3483a" providerId="ADAL" clId="{F5A74835-7805-40C3-BC80-9F3813DF66B7}" dt="2025-05-28T14:19:08.386" v="870" actId="20577"/>
          <ac:spMkLst>
            <pc:docMk/>
            <pc:sldMk cId="2101352579" sldId="257"/>
            <ac:spMk id="20" creationId="{6C2F3D42-C7CC-5B48-2BEB-22F9CA53947C}"/>
          </ac:spMkLst>
        </pc:spChg>
        <pc:spChg chg="mod">
          <ac:chgData name="Chamaria, Shridhar" userId="8333b265-e735-45f8-a921-ce459cc3483a" providerId="ADAL" clId="{F5A74835-7805-40C3-BC80-9F3813DF66B7}" dt="2025-05-28T14:28:07.085" v="942"/>
          <ac:spMkLst>
            <pc:docMk/>
            <pc:sldMk cId="2101352579" sldId="257"/>
            <ac:spMk id="31" creationId="{00000000-0000-0000-0000-000000000000}"/>
          </ac:spMkLst>
        </pc:spChg>
        <pc:spChg chg="mod ord">
          <ac:chgData name="Chamaria, Shridhar" userId="8333b265-e735-45f8-a921-ce459cc3483a" providerId="ADAL" clId="{F5A74835-7805-40C3-BC80-9F3813DF66B7}" dt="2025-05-28T14:18:22.471" v="821"/>
          <ac:spMkLst>
            <pc:docMk/>
            <pc:sldMk cId="2101352579" sldId="257"/>
            <ac:spMk id="33" creationId="{7CA15AF6-4A13-2CEE-8C2A-D8D48AD1549E}"/>
          </ac:spMkLst>
        </pc:spChg>
        <pc:spChg chg="mod ord">
          <ac:chgData name="Chamaria, Shridhar" userId="8333b265-e735-45f8-a921-ce459cc3483a" providerId="ADAL" clId="{F5A74835-7805-40C3-BC80-9F3813DF66B7}" dt="2025-05-28T14:18:25.515" v="838" actId="14100"/>
          <ac:spMkLst>
            <pc:docMk/>
            <pc:sldMk cId="2101352579" sldId="257"/>
            <ac:spMk id="35" creationId="{025EA628-F67B-FCFE-DD3A-4866ED1E3954}"/>
          </ac:spMkLst>
        </pc:spChg>
        <pc:spChg chg="mod">
          <ac:chgData name="Chamaria, Shridhar" userId="8333b265-e735-45f8-a921-ce459cc3483a" providerId="ADAL" clId="{F5A74835-7805-40C3-BC80-9F3813DF66B7}" dt="2025-05-28T14:28:01.911" v="939"/>
          <ac:spMkLst>
            <pc:docMk/>
            <pc:sldMk cId="2101352579" sldId="257"/>
            <ac:spMk id="36" creationId="{72F2A435-0D47-6A6B-E949-7FE858C30367}"/>
          </ac:spMkLst>
        </pc:spChg>
        <pc:spChg chg="mod ord">
          <ac:chgData name="Chamaria, Shridhar" userId="8333b265-e735-45f8-a921-ce459cc3483a" providerId="ADAL" clId="{F5A74835-7805-40C3-BC80-9F3813DF66B7}" dt="2025-05-28T14:21:10.335" v="897" actId="14100"/>
          <ac:spMkLst>
            <pc:docMk/>
            <pc:sldMk cId="2101352579" sldId="257"/>
            <ac:spMk id="169" creationId="{1649F143-451D-46E4-4ED8-3D70CD2D54CF}"/>
          </ac:spMkLst>
        </pc:spChg>
        <pc:grpChg chg="mod ord">
          <ac:chgData name="Chamaria, Shridhar" userId="8333b265-e735-45f8-a921-ce459cc3483a" providerId="ADAL" clId="{F5A74835-7805-40C3-BC80-9F3813DF66B7}" dt="2025-05-28T14:19:26.344" v="886"/>
          <ac:grpSpMkLst>
            <pc:docMk/>
            <pc:sldMk cId="2101352579" sldId="257"/>
            <ac:grpSpMk id="16" creationId="{66441FAB-58BB-281A-8297-A8F4C3F1191C}"/>
          </ac:grpSpMkLst>
        </pc:grpChg>
        <pc:grpChg chg="mod ord">
          <ac:chgData name="Chamaria, Shridhar" userId="8333b265-e735-45f8-a921-ce459cc3483a" providerId="ADAL" clId="{F5A74835-7805-40C3-BC80-9F3813DF66B7}" dt="2025-05-28T14:18:22.471" v="831"/>
          <ac:grpSpMkLst>
            <pc:docMk/>
            <pc:sldMk cId="2101352579" sldId="257"/>
            <ac:grpSpMk id="22" creationId="{02093DBF-F588-1003-3F6E-1209C3A20495}"/>
          </ac:grpSpMkLst>
        </pc:grpChg>
        <pc:grpChg chg="mod ord">
          <ac:chgData name="Chamaria, Shridhar" userId="8333b265-e735-45f8-a921-ce459cc3483a" providerId="ADAL" clId="{F5A74835-7805-40C3-BC80-9F3813DF66B7}" dt="2025-05-28T14:18:22.471" v="827"/>
          <ac:grpSpMkLst>
            <pc:docMk/>
            <pc:sldMk cId="2101352579" sldId="257"/>
            <ac:grpSpMk id="25" creationId="{B9A9F3A5-1F2C-CC5D-5210-0678F2F16607}"/>
          </ac:grpSpMkLst>
        </pc:grpChg>
        <pc:grpChg chg="mod ord">
          <ac:chgData name="Chamaria, Shridhar" userId="8333b265-e735-45f8-a921-ce459cc3483a" providerId="ADAL" clId="{F5A74835-7805-40C3-BC80-9F3813DF66B7}" dt="2025-05-28T14:18:22.471" v="825"/>
          <ac:grpSpMkLst>
            <pc:docMk/>
            <pc:sldMk cId="2101352579" sldId="257"/>
            <ac:grpSpMk id="39" creationId="{37BC9187-8392-50B5-9463-4B7B96270893}"/>
          </ac:grpSpMkLst>
        </pc:grpChg>
        <pc:grpChg chg="mod">
          <ac:chgData name="Chamaria, Shridhar" userId="8333b265-e735-45f8-a921-ce459cc3483a" providerId="ADAL" clId="{F5A74835-7805-40C3-BC80-9F3813DF66B7}" dt="2025-05-28T14:18:22.471" v="812"/>
          <ac:grpSpMkLst>
            <pc:docMk/>
            <pc:sldMk cId="2101352579" sldId="257"/>
            <ac:grpSpMk id="70" creationId="{2469C031-87A5-796E-2DD2-A384D5697EFF}"/>
          </ac:grpSpMkLst>
        </pc:grpChg>
        <pc:grpChg chg="mod">
          <ac:chgData name="Chamaria, Shridhar" userId="8333b265-e735-45f8-a921-ce459cc3483a" providerId="ADAL" clId="{F5A74835-7805-40C3-BC80-9F3813DF66B7}" dt="2025-05-28T14:18:22.471" v="811"/>
          <ac:grpSpMkLst>
            <pc:docMk/>
            <pc:sldMk cId="2101352579" sldId="257"/>
            <ac:grpSpMk id="71" creationId="{B1A65001-6B28-BC49-1FE0-71C264882E9C}"/>
          </ac:grpSpMkLst>
        </pc:grpChg>
        <pc:graphicFrameChg chg="mod">
          <ac:chgData name="Chamaria, Shridhar" userId="8333b265-e735-45f8-a921-ce459cc3483a" providerId="ADAL" clId="{F5A74835-7805-40C3-BC80-9F3813DF66B7}" dt="2025-05-28T14:18:50.721" v="861"/>
          <ac:graphicFrameMkLst>
            <pc:docMk/>
            <pc:sldMk cId="2101352579" sldId="257"/>
            <ac:graphicFrameMk id="18" creationId="{49385AC7-8CB1-2B1E-1722-3B6D85AFC48B}"/>
          </ac:graphicFrameMkLst>
        </pc:graphicFrameChg>
        <pc:cxnChg chg="mod">
          <ac:chgData name="Chamaria, Shridhar" userId="8333b265-e735-45f8-a921-ce459cc3483a" providerId="ADAL" clId="{F5A74835-7805-40C3-BC80-9F3813DF66B7}" dt="2025-05-28T14:19:26.344" v="886"/>
          <ac:cxnSpMkLst>
            <pc:docMk/>
            <pc:sldMk cId="2101352579" sldId="257"/>
            <ac:cxnSpMk id="8" creationId="{AA182FCA-E4C7-03A0-AABF-0BAF2C3EC440}"/>
          </ac:cxnSpMkLst>
        </pc:cxnChg>
      </pc:sldChg>
      <pc:sldChg chg="addSp delSp modSp mod">
        <pc:chgData name="Chamaria, Shridhar" userId="8333b265-e735-45f8-a921-ce459cc3483a" providerId="ADAL" clId="{F5A74835-7805-40C3-BC80-9F3813DF66B7}" dt="2025-05-28T14:36:41.926" v="1223"/>
        <pc:sldMkLst>
          <pc:docMk/>
          <pc:sldMk cId="4103177405" sldId="261"/>
        </pc:sldMkLst>
        <pc:spChg chg="mod">
          <ac:chgData name="Chamaria, Shridhar" userId="8333b265-e735-45f8-a921-ce459cc3483a" providerId="ADAL" clId="{F5A74835-7805-40C3-BC80-9F3813DF66B7}" dt="2025-05-28T14:35:27.690" v="1018" actId="948"/>
          <ac:spMkLst>
            <pc:docMk/>
            <pc:sldMk cId="4103177405" sldId="261"/>
            <ac:spMk id="2" creationId="{0343CAE1-DE5B-1168-6B69-E5D53263E11E}"/>
          </ac:spMkLst>
        </pc:spChg>
        <pc:spChg chg="add del mod modVis">
          <ac:chgData name="Chamaria, Shridhar" userId="8333b265-e735-45f8-a921-ce459cc3483a" providerId="ADAL" clId="{F5A74835-7805-40C3-BC80-9F3813DF66B7}" dt="2025-05-28T14:35:27.738" v="1047"/>
          <ac:spMkLst>
            <pc:docMk/>
            <pc:sldMk cId="4103177405" sldId="261"/>
            <ac:spMk id="4" creationId="{7885E53A-48BB-99A6-FA4C-597AC8AD33A3}"/>
          </ac:spMkLst>
        </pc:spChg>
        <pc:spChg chg="mod">
          <ac:chgData name="Chamaria, Shridhar" userId="8333b265-e735-45f8-a921-ce459cc3483a" providerId="ADAL" clId="{F5A74835-7805-40C3-BC80-9F3813DF66B7}" dt="2025-05-28T14:35:03.066" v="1002" actId="20577"/>
          <ac:spMkLst>
            <pc:docMk/>
            <pc:sldMk cId="4103177405" sldId="261"/>
            <ac:spMk id="110" creationId="{A48FB59B-E1B9-569F-FAE9-1BF317185119}"/>
          </ac:spMkLst>
        </pc:spChg>
        <pc:spChg chg="mod">
          <ac:chgData name="Chamaria, Shridhar" userId="8333b265-e735-45f8-a921-ce459cc3483a" providerId="ADAL" clId="{F5A74835-7805-40C3-BC80-9F3813DF66B7}" dt="2025-05-28T13:24:19.736" v="153"/>
          <ac:spMkLst>
            <pc:docMk/>
            <pc:sldMk cId="4103177405" sldId="261"/>
            <ac:spMk id="111" creationId="{6F233616-7787-8897-A7B3-A6EBA17430F7}"/>
          </ac:spMkLst>
        </pc:spChg>
        <pc:spChg chg="mod">
          <ac:chgData name="Chamaria, Shridhar" userId="8333b265-e735-45f8-a921-ce459cc3483a" providerId="ADAL" clId="{F5A74835-7805-40C3-BC80-9F3813DF66B7}" dt="2025-05-28T13:24:38.596" v="161"/>
          <ac:spMkLst>
            <pc:docMk/>
            <pc:sldMk cId="4103177405" sldId="261"/>
            <ac:spMk id="112" creationId="{840A8A2D-D77F-FB1E-0D00-FF35BECC4B59}"/>
          </ac:spMkLst>
        </pc:spChg>
        <pc:spChg chg="mod">
          <ac:chgData name="Chamaria, Shridhar" userId="8333b265-e735-45f8-a921-ce459cc3483a" providerId="ADAL" clId="{F5A74835-7805-40C3-BC80-9F3813DF66B7}" dt="2025-05-28T13:24:46.245" v="162"/>
          <ac:spMkLst>
            <pc:docMk/>
            <pc:sldMk cId="4103177405" sldId="261"/>
            <ac:spMk id="113" creationId="{E20897A8-905A-18CC-0063-C0856797BD4F}"/>
          </ac:spMkLst>
        </pc:spChg>
        <pc:graphicFrameChg chg="add mod modGraphic">
          <ac:chgData name="Chamaria, Shridhar" userId="8333b265-e735-45f8-a921-ce459cc3483a" providerId="ADAL" clId="{F5A74835-7805-40C3-BC80-9F3813DF66B7}" dt="2025-05-28T14:36:41.825" v="1221" actId="1036"/>
          <ac:graphicFrameMkLst>
            <pc:docMk/>
            <pc:sldMk cId="4103177405" sldId="261"/>
            <ac:graphicFrameMk id="3" creationId="{3C773AA7-5D92-DDCA-7FC1-CB1B641817C0}"/>
          </ac:graphicFrameMkLst>
        </pc:graphicFrameChg>
        <pc:graphicFrameChg chg="mod">
          <ac:chgData name="Chamaria, Shridhar" userId="8333b265-e735-45f8-a921-ce459cc3483a" providerId="ADAL" clId="{F5A74835-7805-40C3-BC80-9F3813DF66B7}" dt="2025-05-28T14:36:41.926" v="1223"/>
          <ac:graphicFrameMkLst>
            <pc:docMk/>
            <pc:sldMk cId="4103177405" sldId="261"/>
            <ac:graphicFrameMk id="24" creationId="{638A59A7-E54A-D588-5E6F-9EF98A91076E}"/>
          </ac:graphicFrameMkLst>
        </pc:graphicFrameChg>
        <pc:picChg chg="add del mod">
          <ac:chgData name="Chamaria, Shridhar" userId="8333b265-e735-45f8-a921-ce459cc3483a" providerId="ADAL" clId="{F5A74835-7805-40C3-BC80-9F3813DF66B7}" dt="2025-05-28T14:35:47.590" v="1152"/>
          <ac:picMkLst>
            <pc:docMk/>
            <pc:sldMk cId="4103177405" sldId="261"/>
            <ac:picMk id="5" creationId="{444B1D0C-7055-6077-7511-152E77B9AB5E}"/>
          </ac:picMkLst>
        </pc:picChg>
        <pc:picChg chg="add del mod">
          <ac:chgData name="Chamaria, Shridhar" userId="8333b265-e735-45f8-a921-ce459cc3483a" providerId="ADAL" clId="{F5A74835-7805-40C3-BC80-9F3813DF66B7}" dt="2025-05-28T14:35:47.657" v="1161"/>
          <ac:picMkLst>
            <pc:docMk/>
            <pc:sldMk cId="4103177405" sldId="261"/>
            <ac:picMk id="7" creationId="{A054B6B3-98C6-178B-D090-F41DD9966198}"/>
          </ac:picMkLst>
        </pc:picChg>
        <pc:picChg chg="del">
          <ac:chgData name="Chamaria, Shridhar" userId="8333b265-e735-45f8-a921-ce459cc3483a" providerId="ADAL" clId="{F5A74835-7805-40C3-BC80-9F3813DF66B7}" dt="2025-05-28T14:35:58.806" v="1162" actId="478"/>
          <ac:picMkLst>
            <pc:docMk/>
            <pc:sldMk cId="4103177405" sldId="261"/>
            <ac:picMk id="40" creationId="{FDFA0575-BDB3-BDA3-AAFC-C199CBCED4DB}"/>
          </ac:picMkLst>
        </pc:picChg>
        <pc:picChg chg="del">
          <ac:chgData name="Chamaria, Shridhar" userId="8333b265-e735-45f8-a921-ce459cc3483a" providerId="ADAL" clId="{F5A74835-7805-40C3-BC80-9F3813DF66B7}" dt="2025-05-28T14:35:58.806" v="1162" actId="478"/>
          <ac:picMkLst>
            <pc:docMk/>
            <pc:sldMk cId="4103177405" sldId="261"/>
            <ac:picMk id="41" creationId="{177D5E57-A569-28E3-E2BA-3AA261244E57}"/>
          </ac:picMkLst>
        </pc:picChg>
        <pc:picChg chg="del">
          <ac:chgData name="Chamaria, Shridhar" userId="8333b265-e735-45f8-a921-ce459cc3483a" providerId="ADAL" clId="{F5A74835-7805-40C3-BC80-9F3813DF66B7}" dt="2025-05-28T14:35:58.806" v="1162" actId="478"/>
          <ac:picMkLst>
            <pc:docMk/>
            <pc:sldMk cId="4103177405" sldId="261"/>
            <ac:picMk id="42" creationId="{4E3B4632-72FE-BDED-BE5F-CAEDEC362E7D}"/>
          </ac:picMkLst>
        </pc:picChg>
        <pc:picChg chg="del">
          <ac:chgData name="Chamaria, Shridhar" userId="8333b265-e735-45f8-a921-ce459cc3483a" providerId="ADAL" clId="{F5A74835-7805-40C3-BC80-9F3813DF66B7}" dt="2025-05-28T14:35:58.806" v="1162" actId="478"/>
          <ac:picMkLst>
            <pc:docMk/>
            <pc:sldMk cId="4103177405" sldId="261"/>
            <ac:picMk id="43" creationId="{CAA7E131-EDD1-3CE7-472E-E51C39E262D7}"/>
          </ac:picMkLst>
        </pc:picChg>
        <pc:picChg chg="del">
          <ac:chgData name="Chamaria, Shridhar" userId="8333b265-e735-45f8-a921-ce459cc3483a" providerId="ADAL" clId="{F5A74835-7805-40C3-BC80-9F3813DF66B7}" dt="2025-05-28T14:35:58.806" v="1162" actId="478"/>
          <ac:picMkLst>
            <pc:docMk/>
            <pc:sldMk cId="4103177405" sldId="261"/>
            <ac:picMk id="44" creationId="{47CA8AAB-77DE-26D1-F868-5B249F58132B}"/>
          </ac:picMkLst>
        </pc:picChg>
        <pc:picChg chg="del">
          <ac:chgData name="Chamaria, Shridhar" userId="8333b265-e735-45f8-a921-ce459cc3483a" providerId="ADAL" clId="{F5A74835-7805-40C3-BC80-9F3813DF66B7}" dt="2025-05-28T14:35:58.806" v="1162" actId="478"/>
          <ac:picMkLst>
            <pc:docMk/>
            <pc:sldMk cId="4103177405" sldId="261"/>
            <ac:picMk id="46" creationId="{4489EFC2-DD22-67B3-E21E-2C821D4720D1}"/>
          </ac:picMkLst>
        </pc:picChg>
        <pc:picChg chg="del">
          <ac:chgData name="Chamaria, Shridhar" userId="8333b265-e735-45f8-a921-ce459cc3483a" providerId="ADAL" clId="{F5A74835-7805-40C3-BC80-9F3813DF66B7}" dt="2025-05-28T14:35:58.806" v="1162" actId="478"/>
          <ac:picMkLst>
            <pc:docMk/>
            <pc:sldMk cId="4103177405" sldId="261"/>
            <ac:picMk id="47" creationId="{494B066A-3A4B-9E9E-DE5E-20FAB2C3A0FF}"/>
          </ac:picMkLst>
        </pc:picChg>
        <pc:picChg chg="del">
          <ac:chgData name="Chamaria, Shridhar" userId="8333b265-e735-45f8-a921-ce459cc3483a" providerId="ADAL" clId="{F5A74835-7805-40C3-BC80-9F3813DF66B7}" dt="2025-05-28T14:35:58.806" v="1162" actId="478"/>
          <ac:picMkLst>
            <pc:docMk/>
            <pc:sldMk cId="4103177405" sldId="261"/>
            <ac:picMk id="48" creationId="{035A13FD-FCE3-BF83-D0B3-0CBD7351901F}"/>
          </ac:picMkLst>
        </pc:picChg>
        <pc:picChg chg="del">
          <ac:chgData name="Chamaria, Shridhar" userId="8333b265-e735-45f8-a921-ce459cc3483a" providerId="ADAL" clId="{F5A74835-7805-40C3-BC80-9F3813DF66B7}" dt="2025-05-28T14:35:58.806" v="1162" actId="478"/>
          <ac:picMkLst>
            <pc:docMk/>
            <pc:sldMk cId="4103177405" sldId="261"/>
            <ac:picMk id="49" creationId="{70CE8110-D4AA-4113-2954-337ED06A2DDD}"/>
          </ac:picMkLst>
        </pc:picChg>
        <pc:picChg chg="del">
          <ac:chgData name="Chamaria, Shridhar" userId="8333b265-e735-45f8-a921-ce459cc3483a" providerId="ADAL" clId="{F5A74835-7805-40C3-BC80-9F3813DF66B7}" dt="2025-05-28T14:35:58.806" v="1162" actId="478"/>
          <ac:picMkLst>
            <pc:docMk/>
            <pc:sldMk cId="4103177405" sldId="261"/>
            <ac:picMk id="50" creationId="{271BE892-B285-5E3D-7630-2259AF6C0D79}"/>
          </ac:picMkLst>
        </pc:picChg>
        <pc:picChg chg="del">
          <ac:chgData name="Chamaria, Shridhar" userId="8333b265-e735-45f8-a921-ce459cc3483a" providerId="ADAL" clId="{F5A74835-7805-40C3-BC80-9F3813DF66B7}" dt="2025-05-28T14:35:58.806" v="1162" actId="478"/>
          <ac:picMkLst>
            <pc:docMk/>
            <pc:sldMk cId="4103177405" sldId="261"/>
            <ac:picMk id="51" creationId="{413CE70E-F5E5-6D0A-D3B1-4778664569B1}"/>
          </ac:picMkLst>
        </pc:picChg>
        <pc:picChg chg="del">
          <ac:chgData name="Chamaria, Shridhar" userId="8333b265-e735-45f8-a921-ce459cc3483a" providerId="ADAL" clId="{F5A74835-7805-40C3-BC80-9F3813DF66B7}" dt="2025-05-28T14:35:58.806" v="1162" actId="478"/>
          <ac:picMkLst>
            <pc:docMk/>
            <pc:sldMk cId="4103177405" sldId="261"/>
            <ac:picMk id="52" creationId="{D9404977-4833-1996-1E31-060100337F72}"/>
          </ac:picMkLst>
        </pc:picChg>
      </pc:sldChg>
      <pc:sldChg chg="modSp mod">
        <pc:chgData name="Chamaria, Shridhar" userId="8333b265-e735-45f8-a921-ce459cc3483a" providerId="ADAL" clId="{F5A74835-7805-40C3-BC80-9F3813DF66B7}" dt="2025-05-28T14:49:24.465" v="1504"/>
        <pc:sldMkLst>
          <pc:docMk/>
          <pc:sldMk cId="1084578442" sldId="262"/>
        </pc:sldMkLst>
        <pc:spChg chg="mod">
          <ac:chgData name="Chamaria, Shridhar" userId="8333b265-e735-45f8-a921-ce459cc3483a" providerId="ADAL" clId="{F5A74835-7805-40C3-BC80-9F3813DF66B7}" dt="2025-05-28T13:22:46.104" v="145"/>
          <ac:spMkLst>
            <pc:docMk/>
            <pc:sldMk cId="1084578442" sldId="262"/>
            <ac:spMk id="2" creationId="{1F6ADACD-6925-4DE8-A425-F595D8D8D9A9}"/>
          </ac:spMkLst>
        </pc:spChg>
        <pc:spChg chg="mod">
          <ac:chgData name="Chamaria, Shridhar" userId="8333b265-e735-45f8-a921-ce459cc3483a" providerId="ADAL" clId="{F5A74835-7805-40C3-BC80-9F3813DF66B7}" dt="2025-05-28T14:49:24.465" v="1504"/>
          <ac:spMkLst>
            <pc:docMk/>
            <pc:sldMk cId="1084578442" sldId="262"/>
            <ac:spMk id="9" creationId="{A06D13DC-5395-5C05-1A06-861DDA7F4148}"/>
          </ac:spMkLst>
        </pc:spChg>
        <pc:spChg chg="mod">
          <ac:chgData name="Chamaria, Shridhar" userId="8333b265-e735-45f8-a921-ce459cc3483a" providerId="ADAL" clId="{F5A74835-7805-40C3-BC80-9F3813DF66B7}" dt="2025-05-28T14:44:27.485" v="1253"/>
          <ac:spMkLst>
            <pc:docMk/>
            <pc:sldMk cId="1084578442" sldId="262"/>
            <ac:spMk id="14" creationId="{38918857-92AC-7FBF-0D27-5F7585131E8A}"/>
          </ac:spMkLst>
        </pc:spChg>
        <pc:spChg chg="mod">
          <ac:chgData name="Chamaria, Shridhar" userId="8333b265-e735-45f8-a921-ce459cc3483a" providerId="ADAL" clId="{F5A74835-7805-40C3-BC80-9F3813DF66B7}" dt="2025-05-28T14:44:17.081" v="1250"/>
          <ac:spMkLst>
            <pc:docMk/>
            <pc:sldMk cId="1084578442" sldId="262"/>
            <ac:spMk id="24" creationId="{5AB8A48A-95C3-4954-BC1F-A2A8AE81225B}"/>
          </ac:spMkLst>
        </pc:spChg>
        <pc:spChg chg="mod">
          <ac:chgData name="Chamaria, Shridhar" userId="8333b265-e735-45f8-a921-ce459cc3483a" providerId="ADAL" clId="{F5A74835-7805-40C3-BC80-9F3813DF66B7}" dt="2025-05-28T14:49:12.315" v="1501" actId="20577"/>
          <ac:spMkLst>
            <pc:docMk/>
            <pc:sldMk cId="1084578442" sldId="262"/>
            <ac:spMk id="68" creationId="{ED544604-0254-BE51-40C9-C71A1F76AAD7}"/>
          </ac:spMkLst>
        </pc:spChg>
        <pc:spChg chg="mod">
          <ac:chgData name="Chamaria, Shridhar" userId="8333b265-e735-45f8-a921-ce459cc3483a" providerId="ADAL" clId="{F5A74835-7805-40C3-BC80-9F3813DF66B7}" dt="2025-05-28T13:24:19.736" v="153"/>
          <ac:spMkLst>
            <pc:docMk/>
            <pc:sldMk cId="1084578442" sldId="262"/>
            <ac:spMk id="73" creationId="{BAD9A011-1219-EB3C-2A5C-1B67DB248B6A}"/>
          </ac:spMkLst>
        </pc:spChg>
        <pc:spChg chg="mod">
          <ac:chgData name="Chamaria, Shridhar" userId="8333b265-e735-45f8-a921-ce459cc3483a" providerId="ADAL" clId="{F5A74835-7805-40C3-BC80-9F3813DF66B7}" dt="2025-05-28T13:24:19.736" v="153"/>
          <ac:spMkLst>
            <pc:docMk/>
            <pc:sldMk cId="1084578442" sldId="262"/>
            <ac:spMk id="100" creationId="{EC95FC76-5D4D-4D3F-9AE3-50886479B8E7}"/>
          </ac:spMkLst>
        </pc:spChg>
      </pc:sldChg>
      <pc:sldChg chg="addSp delSp modSp mod">
        <pc:chgData name="Chamaria, Shridhar" userId="8333b265-e735-45f8-a921-ce459cc3483a" providerId="ADAL" clId="{F5A74835-7805-40C3-BC80-9F3813DF66B7}" dt="2025-05-28T14:52:33.544" v="1517"/>
        <pc:sldMkLst>
          <pc:docMk/>
          <pc:sldMk cId="3968817830" sldId="263"/>
        </pc:sldMkLst>
        <pc:spChg chg="add del mod modVis">
          <ac:chgData name="Chamaria, Shridhar" userId="8333b265-e735-45f8-a921-ce459cc3483a" providerId="ADAL" clId="{F5A74835-7805-40C3-BC80-9F3813DF66B7}" dt="2025-05-28T13:22:17.411" v="142"/>
          <ac:spMkLst>
            <pc:docMk/>
            <pc:sldMk cId="3968817830" sldId="263"/>
            <ac:spMk id="2" creationId="{D6C7F038-CA82-1272-79B0-BCBC88E36EBF}"/>
          </ac:spMkLst>
        </pc:spChg>
        <pc:spChg chg="mod">
          <ac:chgData name="Chamaria, Shridhar" userId="8333b265-e735-45f8-a921-ce459cc3483a" providerId="ADAL" clId="{F5A74835-7805-40C3-BC80-9F3813DF66B7}" dt="2025-05-28T14:52:33.544" v="1517"/>
          <ac:spMkLst>
            <pc:docMk/>
            <pc:sldMk cId="3968817830" sldId="263"/>
            <ac:spMk id="12" creationId="{6F7438E3-5D5A-A1D6-9736-60F5DEC89FCD}"/>
          </ac:spMkLst>
        </pc:spChg>
        <pc:spChg chg="mod">
          <ac:chgData name="Chamaria, Shridhar" userId="8333b265-e735-45f8-a921-ce459cc3483a" providerId="ADAL" clId="{F5A74835-7805-40C3-BC80-9F3813DF66B7}" dt="2025-05-28T14:51:26.996" v="1507"/>
          <ac:spMkLst>
            <pc:docMk/>
            <pc:sldMk cId="3968817830" sldId="263"/>
            <ac:spMk id="19" creationId="{A605997F-98D6-8716-5033-4F4A59857BDC}"/>
          </ac:spMkLst>
        </pc:spChg>
        <pc:spChg chg="mod">
          <ac:chgData name="Chamaria, Shridhar" userId="8333b265-e735-45f8-a921-ce459cc3483a" providerId="ADAL" clId="{F5A74835-7805-40C3-BC80-9F3813DF66B7}" dt="2025-05-28T13:22:48.250" v="146" actId="948"/>
          <ac:spMkLst>
            <pc:docMk/>
            <pc:sldMk cId="3968817830" sldId="263"/>
            <ac:spMk id="28" creationId="{D4ADEA4C-E2FD-434A-AEBA-7D67E565C25C}"/>
          </ac:spMkLst>
        </pc:spChg>
        <pc:spChg chg="mod">
          <ac:chgData name="Chamaria, Shridhar" userId="8333b265-e735-45f8-a921-ce459cc3483a" providerId="ADAL" clId="{F5A74835-7805-40C3-BC80-9F3813DF66B7}" dt="2025-05-28T13:24:19.736" v="153"/>
          <ac:spMkLst>
            <pc:docMk/>
            <pc:sldMk cId="3968817830" sldId="263"/>
            <ac:spMk id="64" creationId="{D9A8F9A9-6F86-2F0A-490E-6D707A3B50ED}"/>
          </ac:spMkLst>
        </pc:spChg>
        <pc:spChg chg="mod">
          <ac:chgData name="Chamaria, Shridhar" userId="8333b265-e735-45f8-a921-ce459cc3483a" providerId="ADAL" clId="{F5A74835-7805-40C3-BC80-9F3813DF66B7}" dt="2025-05-28T13:24:19.736" v="153"/>
          <ac:spMkLst>
            <pc:docMk/>
            <pc:sldMk cId="3968817830" sldId="263"/>
            <ac:spMk id="79" creationId="{9C8292C0-5924-C755-FE56-5BE2BD8C2517}"/>
          </ac:spMkLst>
        </pc:spChg>
        <pc:graphicFrameChg chg="mod">
          <ac:chgData name="Chamaria, Shridhar" userId="8333b265-e735-45f8-a921-ce459cc3483a" providerId="ADAL" clId="{F5A74835-7805-40C3-BC80-9F3813DF66B7}" dt="2025-05-28T13:22:48.265" v="148"/>
          <ac:graphicFrameMkLst>
            <pc:docMk/>
            <pc:sldMk cId="3968817830" sldId="263"/>
            <ac:graphicFrameMk id="4" creationId="{CB5AB060-F145-B20E-CB73-AD13D33BE06F}"/>
          </ac:graphicFrameMkLst>
        </pc:graphicFrameChg>
        <pc:graphicFrameChg chg="mod modGraphic">
          <ac:chgData name="Chamaria, Shridhar" userId="8333b265-e735-45f8-a921-ce459cc3483a" providerId="ADAL" clId="{F5A74835-7805-40C3-BC80-9F3813DF66B7}" dt="2025-05-28T14:52:19.643" v="1513" actId="207"/>
          <ac:graphicFrameMkLst>
            <pc:docMk/>
            <pc:sldMk cId="3968817830" sldId="263"/>
            <ac:graphicFrameMk id="38" creationId="{E2C84EE7-0A55-EC2D-04A0-FBB9A451C2C4}"/>
          </ac:graphicFrameMkLst>
        </pc:graphicFrameChg>
        <pc:graphicFrameChg chg="modGraphic">
          <ac:chgData name="Chamaria, Shridhar" userId="8333b265-e735-45f8-a921-ce459cc3483a" providerId="ADAL" clId="{F5A74835-7805-40C3-BC80-9F3813DF66B7}" dt="2025-05-28T14:52:20.176" v="1514" actId="207"/>
          <ac:graphicFrameMkLst>
            <pc:docMk/>
            <pc:sldMk cId="3968817830" sldId="263"/>
            <ac:graphicFrameMk id="63" creationId="{F41C6954-334D-C757-8025-28E775BA996D}"/>
          </ac:graphicFrameMkLst>
        </pc:graphicFrameChg>
        <pc:picChg chg="add del mod">
          <ac:chgData name="Chamaria, Shridhar" userId="8333b265-e735-45f8-a921-ce459cc3483a" providerId="ADAL" clId="{F5A74835-7805-40C3-BC80-9F3813DF66B7}" dt="2025-05-28T14:47:51.828" v="1411"/>
          <ac:picMkLst>
            <pc:docMk/>
            <pc:sldMk cId="3968817830" sldId="263"/>
            <ac:picMk id="5" creationId="{9E0FEDA4-B41B-B30C-218D-C3B001C48FE7}"/>
          </ac:picMkLst>
        </pc:picChg>
        <pc:picChg chg="add del mod">
          <ac:chgData name="Chamaria, Shridhar" userId="8333b265-e735-45f8-a921-ce459cc3483a" providerId="ADAL" clId="{F5A74835-7805-40C3-BC80-9F3813DF66B7}" dt="2025-05-28T14:47:51.866" v="1424"/>
          <ac:picMkLst>
            <pc:docMk/>
            <pc:sldMk cId="3968817830" sldId="263"/>
            <ac:picMk id="8" creationId="{729D7859-AA6F-5E7B-C910-EC2163CBA469}"/>
          </ac:picMkLst>
        </pc:picChg>
        <pc:picChg chg="add del mod">
          <ac:chgData name="Chamaria, Shridhar" userId="8333b265-e735-45f8-a921-ce459cc3483a" providerId="ADAL" clId="{F5A74835-7805-40C3-BC80-9F3813DF66B7}" dt="2025-05-28T14:47:57.009" v="1440"/>
          <ac:picMkLst>
            <pc:docMk/>
            <pc:sldMk cId="3968817830" sldId="263"/>
            <ac:picMk id="13" creationId="{E2EB7EAF-C6AF-070D-C365-719BBBE35D30}"/>
          </ac:picMkLst>
        </pc:picChg>
        <pc:picChg chg="add del mod">
          <ac:chgData name="Chamaria, Shridhar" userId="8333b265-e735-45f8-a921-ce459cc3483a" providerId="ADAL" clId="{F5A74835-7805-40C3-BC80-9F3813DF66B7}" dt="2025-05-28T14:48:21.002" v="1460"/>
          <ac:picMkLst>
            <pc:docMk/>
            <pc:sldMk cId="3968817830" sldId="263"/>
            <ac:picMk id="15" creationId="{74F6FA1E-4FD6-F69C-624B-E0E606D54EF7}"/>
          </ac:picMkLst>
        </pc:picChg>
        <pc:picChg chg="del">
          <ac:chgData name="Chamaria, Shridhar" userId="8333b265-e735-45f8-a921-ce459cc3483a" providerId="ADAL" clId="{F5A74835-7805-40C3-BC80-9F3813DF66B7}" dt="2025-05-28T14:48:22.705" v="1497" actId="478"/>
          <ac:picMkLst>
            <pc:docMk/>
            <pc:sldMk cId="3968817830" sldId="263"/>
            <ac:picMk id="16" creationId="{F080BEC5-2561-2204-163B-7D38A2C1EA39}"/>
          </ac:picMkLst>
        </pc:picChg>
        <pc:picChg chg="add del mod">
          <ac:chgData name="Chamaria, Shridhar" userId="8333b265-e735-45f8-a921-ce459cc3483a" providerId="ADAL" clId="{F5A74835-7805-40C3-BC80-9F3813DF66B7}" dt="2025-05-28T14:48:21.033" v="1469"/>
          <ac:picMkLst>
            <pc:docMk/>
            <pc:sldMk cId="3968817830" sldId="263"/>
            <ac:picMk id="17" creationId="{CC7DD8B4-FE86-E0C3-9873-FCBC461D3EB5}"/>
          </ac:picMkLst>
        </pc:picChg>
        <pc:picChg chg="add del mod">
          <ac:chgData name="Chamaria, Shridhar" userId="8333b265-e735-45f8-a921-ce459cc3483a" providerId="ADAL" clId="{F5A74835-7805-40C3-BC80-9F3813DF66B7}" dt="2025-05-28T14:48:22.610" v="1483"/>
          <ac:picMkLst>
            <pc:docMk/>
            <pc:sldMk cId="3968817830" sldId="263"/>
            <ac:picMk id="18" creationId="{D02BB783-1C0C-5774-882A-B8A9BE605A98}"/>
          </ac:picMkLst>
        </pc:picChg>
        <pc:picChg chg="add del mod">
          <ac:chgData name="Chamaria, Shridhar" userId="8333b265-e735-45f8-a921-ce459cc3483a" providerId="ADAL" clId="{F5A74835-7805-40C3-BC80-9F3813DF66B7}" dt="2025-05-28T14:48:22.658" v="1496"/>
          <ac:picMkLst>
            <pc:docMk/>
            <pc:sldMk cId="3968817830" sldId="263"/>
            <ac:picMk id="20" creationId="{6C69EF07-DC08-DA6F-E521-D0E7B0D789F4}"/>
          </ac:picMkLst>
        </pc:picChg>
        <pc:picChg chg="del">
          <ac:chgData name="Chamaria, Shridhar" userId="8333b265-e735-45f8-a921-ce459cc3483a" providerId="ADAL" clId="{F5A74835-7805-40C3-BC80-9F3813DF66B7}" dt="2025-05-28T14:48:22.088" v="1470" actId="478"/>
          <ac:picMkLst>
            <pc:docMk/>
            <pc:sldMk cId="3968817830" sldId="263"/>
            <ac:picMk id="29" creationId="{93283590-86FF-9295-7FCE-8230BE91EF89}"/>
          </ac:picMkLst>
        </pc:picChg>
        <pc:picChg chg="del">
          <ac:chgData name="Chamaria, Shridhar" userId="8333b265-e735-45f8-a921-ce459cc3483a" providerId="ADAL" clId="{F5A74835-7805-40C3-BC80-9F3813DF66B7}" dt="2025-05-28T14:47:52.582" v="1425" actId="478"/>
          <ac:picMkLst>
            <pc:docMk/>
            <pc:sldMk cId="3968817830" sldId="263"/>
            <ac:picMk id="66" creationId="{15B0CDAD-B231-E9D9-FEAC-D2C8DC2B4054}"/>
          </ac:picMkLst>
        </pc:picChg>
        <pc:picChg chg="del">
          <ac:chgData name="Chamaria, Shridhar" userId="8333b265-e735-45f8-a921-ce459cc3483a" providerId="ADAL" clId="{F5A74835-7805-40C3-BC80-9F3813DF66B7}" dt="2025-05-28T14:47:57.647" v="1441" actId="478"/>
          <ac:picMkLst>
            <pc:docMk/>
            <pc:sldMk cId="3968817830" sldId="263"/>
            <ac:picMk id="67" creationId="{A9BEF636-A7A1-0341-E95C-2463C4471282}"/>
          </ac:picMkLst>
        </pc:picChg>
      </pc:sldChg>
      <pc:sldChg chg="addSp delSp modSp mod">
        <pc:chgData name="Chamaria, Shridhar" userId="8333b265-e735-45f8-a921-ce459cc3483a" providerId="ADAL" clId="{F5A74835-7805-40C3-BC80-9F3813DF66B7}" dt="2025-05-28T14:26:13.015" v="921" actId="207"/>
        <pc:sldMkLst>
          <pc:docMk/>
          <pc:sldMk cId="2346483332" sldId="266"/>
        </pc:sldMkLst>
        <pc:spChg chg="add del mod modVis">
          <ac:chgData name="Chamaria, Shridhar" userId="8333b265-e735-45f8-a921-ce459cc3483a" providerId="ADAL" clId="{F5A74835-7805-40C3-BC80-9F3813DF66B7}" dt="2025-05-28T13:22:17.391" v="138"/>
          <ac:spMkLst>
            <pc:docMk/>
            <pc:sldMk cId="2346483332" sldId="266"/>
            <ac:spMk id="6" creationId="{F62E8507-1F26-18B6-3E8F-2ABC07DA4DAF}"/>
          </ac:spMkLst>
        </pc:spChg>
        <pc:spChg chg="mod">
          <ac:chgData name="Chamaria, Shridhar" userId="8333b265-e735-45f8-a921-ce459cc3483a" providerId="ADAL" clId="{F5A74835-7805-40C3-BC80-9F3813DF66B7}" dt="2025-05-28T14:06:17.887" v="643" actId="14100"/>
          <ac:spMkLst>
            <pc:docMk/>
            <pc:sldMk cId="2346483332" sldId="266"/>
            <ac:spMk id="7" creationId="{2CDE9147-88D1-D19D-C2E3-810398909FAB}"/>
          </ac:spMkLst>
        </pc:spChg>
        <pc:spChg chg="add mod">
          <ac:chgData name="Chamaria, Shridhar" userId="8333b265-e735-45f8-a921-ce459cc3483a" providerId="ADAL" clId="{F5A74835-7805-40C3-BC80-9F3813DF66B7}" dt="2025-05-28T14:25:55.491" v="915" actId="207"/>
          <ac:spMkLst>
            <pc:docMk/>
            <pc:sldMk cId="2346483332" sldId="266"/>
            <ac:spMk id="15" creationId="{35570FC0-97C3-A1F2-90A5-90CC56A87EE9}"/>
          </ac:spMkLst>
        </pc:spChg>
        <pc:spChg chg="mod">
          <ac:chgData name="Chamaria, Shridhar" userId="8333b265-e735-45f8-a921-ce459cc3483a" providerId="ADAL" clId="{F5A74835-7805-40C3-BC80-9F3813DF66B7}" dt="2025-05-28T14:05:22.600" v="634" actId="20577"/>
          <ac:spMkLst>
            <pc:docMk/>
            <pc:sldMk cId="2346483332" sldId="266"/>
            <ac:spMk id="26" creationId="{4E2BEE82-5ECE-AEFD-1BBB-AFD3E01B5EC4}"/>
          </ac:spMkLst>
        </pc:spChg>
        <pc:spChg chg="mod">
          <ac:chgData name="Chamaria, Shridhar" userId="8333b265-e735-45f8-a921-ce459cc3483a" providerId="ADAL" clId="{F5A74835-7805-40C3-BC80-9F3813DF66B7}" dt="2025-05-28T14:05:28.658" v="640" actId="20577"/>
          <ac:spMkLst>
            <pc:docMk/>
            <pc:sldMk cId="2346483332" sldId="266"/>
            <ac:spMk id="33" creationId="{64489CAE-6FA1-0907-0FE2-FB2FED5A4D2A}"/>
          </ac:spMkLst>
        </pc:spChg>
        <pc:spChg chg="add mod">
          <ac:chgData name="Chamaria, Shridhar" userId="8333b265-e735-45f8-a921-ce459cc3483a" providerId="ADAL" clId="{F5A74835-7805-40C3-BC80-9F3813DF66B7}" dt="2025-05-28T14:25:58.182" v="916" actId="207"/>
          <ac:spMkLst>
            <pc:docMk/>
            <pc:sldMk cId="2346483332" sldId="266"/>
            <ac:spMk id="34" creationId="{25C19828-CFB0-A799-0C8A-9DE032992B75}"/>
          </ac:spMkLst>
        </pc:spChg>
        <pc:spChg chg="add mod">
          <ac:chgData name="Chamaria, Shridhar" userId="8333b265-e735-45f8-a921-ce459cc3483a" providerId="ADAL" clId="{F5A74835-7805-40C3-BC80-9F3813DF66B7}" dt="2025-05-28T14:26:01.243" v="917" actId="207"/>
          <ac:spMkLst>
            <pc:docMk/>
            <pc:sldMk cId="2346483332" sldId="266"/>
            <ac:spMk id="39" creationId="{F6313C4A-E3C9-7999-BCAE-141E13C484E6}"/>
          </ac:spMkLst>
        </pc:spChg>
        <pc:spChg chg="add mod">
          <ac:chgData name="Chamaria, Shridhar" userId="8333b265-e735-45f8-a921-ce459cc3483a" providerId="ADAL" clId="{F5A74835-7805-40C3-BC80-9F3813DF66B7}" dt="2025-05-28T14:26:03.796" v="918" actId="207"/>
          <ac:spMkLst>
            <pc:docMk/>
            <pc:sldMk cId="2346483332" sldId="266"/>
            <ac:spMk id="47" creationId="{60A77674-63C5-129D-2EB3-D1E25792D92F}"/>
          </ac:spMkLst>
        </pc:spChg>
        <pc:spChg chg="add mod">
          <ac:chgData name="Chamaria, Shridhar" userId="8333b265-e735-45f8-a921-ce459cc3483a" providerId="ADAL" clId="{F5A74835-7805-40C3-BC80-9F3813DF66B7}" dt="2025-05-28T14:26:06.355" v="919" actId="207"/>
          <ac:spMkLst>
            <pc:docMk/>
            <pc:sldMk cId="2346483332" sldId="266"/>
            <ac:spMk id="48" creationId="{6036D3E4-8086-C5D1-EB72-ABD0875CB3FC}"/>
          </ac:spMkLst>
        </pc:spChg>
        <pc:spChg chg="add mod">
          <ac:chgData name="Chamaria, Shridhar" userId="8333b265-e735-45f8-a921-ce459cc3483a" providerId="ADAL" clId="{F5A74835-7805-40C3-BC80-9F3813DF66B7}" dt="2025-05-28T14:26:10.225" v="920" actId="207"/>
          <ac:spMkLst>
            <pc:docMk/>
            <pc:sldMk cId="2346483332" sldId="266"/>
            <ac:spMk id="49" creationId="{73EFFD01-F107-500E-947F-0409011B0443}"/>
          </ac:spMkLst>
        </pc:spChg>
        <pc:spChg chg="add mod">
          <ac:chgData name="Chamaria, Shridhar" userId="8333b265-e735-45f8-a921-ce459cc3483a" providerId="ADAL" clId="{F5A74835-7805-40C3-BC80-9F3813DF66B7}" dt="2025-05-28T14:26:13.015" v="921" actId="207"/>
          <ac:spMkLst>
            <pc:docMk/>
            <pc:sldMk cId="2346483332" sldId="266"/>
            <ac:spMk id="50" creationId="{92D3C4AF-32EC-A6D7-6562-5259D18C6696}"/>
          </ac:spMkLst>
        </pc:spChg>
        <pc:spChg chg="add mod">
          <ac:chgData name="Chamaria, Shridhar" userId="8333b265-e735-45f8-a921-ce459cc3483a" providerId="ADAL" clId="{F5A74835-7805-40C3-BC80-9F3813DF66B7}" dt="2025-05-28T14:12:41.438" v="755" actId="20577"/>
          <ac:spMkLst>
            <pc:docMk/>
            <pc:sldMk cId="2346483332" sldId="266"/>
            <ac:spMk id="51" creationId="{5830CB9B-0A33-87CF-BED6-4B19500DC895}"/>
          </ac:spMkLst>
        </pc:spChg>
        <pc:spChg chg="mod">
          <ac:chgData name="Chamaria, Shridhar" userId="8333b265-e735-45f8-a921-ce459cc3483a" providerId="ADAL" clId="{F5A74835-7805-40C3-BC80-9F3813DF66B7}" dt="2025-05-28T13:25:38.193" v="190" actId="948"/>
          <ac:spMkLst>
            <pc:docMk/>
            <pc:sldMk cId="2346483332" sldId="266"/>
            <ac:spMk id="66" creationId="{AE061BBC-D039-4A2F-8088-A54FB56D3CFA}"/>
          </ac:spMkLst>
        </pc:spChg>
        <pc:spChg chg="mod">
          <ac:chgData name="Chamaria, Shridhar" userId="8333b265-e735-45f8-a921-ce459cc3483a" providerId="ADAL" clId="{F5A74835-7805-40C3-BC80-9F3813DF66B7}" dt="2025-05-28T13:25:37.519" v="187"/>
          <ac:spMkLst>
            <pc:docMk/>
            <pc:sldMk cId="2346483332" sldId="266"/>
            <ac:spMk id="69" creationId="{00FE135D-1A6F-CEBD-F8C3-827DFE260F52}"/>
          </ac:spMkLst>
        </pc:spChg>
        <pc:spChg chg="mod">
          <ac:chgData name="Chamaria, Shridhar" userId="8333b265-e735-45f8-a921-ce459cc3483a" providerId="ADAL" clId="{F5A74835-7805-40C3-BC80-9F3813DF66B7}" dt="2025-05-28T14:13:54.311" v="762" actId="20577"/>
          <ac:spMkLst>
            <pc:docMk/>
            <pc:sldMk cId="2346483332" sldId="266"/>
            <ac:spMk id="87" creationId="{4C9B30AA-74DF-4272-A433-D579CD586994}"/>
          </ac:spMkLst>
        </pc:spChg>
        <pc:graphicFrameChg chg="mod modGraphic">
          <ac:chgData name="Chamaria, Shridhar" userId="8333b265-e735-45f8-a921-ce459cc3483a" providerId="ADAL" clId="{F5A74835-7805-40C3-BC80-9F3813DF66B7}" dt="2025-05-28T14:25:45.953" v="914" actId="207"/>
          <ac:graphicFrameMkLst>
            <pc:docMk/>
            <pc:sldMk cId="2346483332" sldId="266"/>
            <ac:graphicFrameMk id="9" creationId="{C028B21C-115E-D5E0-647E-010AA1F57938}"/>
          </ac:graphicFrameMkLst>
        </pc:graphicFrameChg>
        <pc:graphicFrameChg chg="mod">
          <ac:chgData name="Chamaria, Shridhar" userId="8333b265-e735-45f8-a921-ce459cc3483a" providerId="ADAL" clId="{F5A74835-7805-40C3-BC80-9F3813DF66B7}" dt="2025-05-28T13:25:38.214" v="196"/>
          <ac:graphicFrameMkLst>
            <pc:docMk/>
            <pc:sldMk cId="2346483332" sldId="266"/>
            <ac:graphicFrameMk id="12" creationId="{71AC1FE8-4BDC-BCA6-4D1D-3C49D97006E3}"/>
          </ac:graphicFrameMkLst>
        </pc:graphicFrameChg>
        <pc:picChg chg="del">
          <ac:chgData name="Chamaria, Shridhar" userId="8333b265-e735-45f8-a921-ce459cc3483a" providerId="ADAL" clId="{F5A74835-7805-40C3-BC80-9F3813DF66B7}" dt="2025-05-28T14:11:17.131" v="720" actId="478"/>
          <ac:picMkLst>
            <pc:docMk/>
            <pc:sldMk cId="2346483332" sldId="266"/>
            <ac:picMk id="16" creationId="{FA353F26-3994-5947-DA42-5F73E045C85C}"/>
          </ac:picMkLst>
        </pc:picChg>
        <pc:picChg chg="del">
          <ac:chgData name="Chamaria, Shridhar" userId="8333b265-e735-45f8-a921-ce459cc3483a" providerId="ADAL" clId="{F5A74835-7805-40C3-BC80-9F3813DF66B7}" dt="2025-05-28T14:04:33.844" v="618" actId="478"/>
          <ac:picMkLst>
            <pc:docMk/>
            <pc:sldMk cId="2346483332" sldId="266"/>
            <ac:picMk id="17" creationId="{56D56E07-26E1-0AF8-F930-DE6D80848124}"/>
          </ac:picMkLst>
        </pc:picChg>
        <pc:picChg chg="del">
          <ac:chgData name="Chamaria, Shridhar" userId="8333b265-e735-45f8-a921-ce459cc3483a" providerId="ADAL" clId="{F5A74835-7805-40C3-BC80-9F3813DF66B7}" dt="2025-05-28T14:11:52.298" v="730" actId="478"/>
          <ac:picMkLst>
            <pc:docMk/>
            <pc:sldMk cId="2346483332" sldId="266"/>
            <ac:picMk id="18" creationId="{B4C20735-307C-A537-FD9E-41B4C296DF91}"/>
          </ac:picMkLst>
        </pc:picChg>
        <pc:picChg chg="del">
          <ac:chgData name="Chamaria, Shridhar" userId="8333b265-e735-45f8-a921-ce459cc3483a" providerId="ADAL" clId="{F5A74835-7805-40C3-BC80-9F3813DF66B7}" dt="2025-05-28T14:11:52.799" v="731" actId="478"/>
          <ac:picMkLst>
            <pc:docMk/>
            <pc:sldMk cId="2346483332" sldId="266"/>
            <ac:picMk id="19" creationId="{6C50D4FF-197E-307A-0E9E-09191EC6723F}"/>
          </ac:picMkLst>
        </pc:picChg>
        <pc:picChg chg="del">
          <ac:chgData name="Chamaria, Shridhar" userId="8333b265-e735-45f8-a921-ce459cc3483a" providerId="ADAL" clId="{F5A74835-7805-40C3-BC80-9F3813DF66B7}" dt="2025-05-28T14:11:53.833" v="732" actId="478"/>
          <ac:picMkLst>
            <pc:docMk/>
            <pc:sldMk cId="2346483332" sldId="266"/>
            <ac:picMk id="20" creationId="{0C6287E4-9D3A-0B39-0387-0D3DC165C01B}"/>
          </ac:picMkLst>
        </pc:picChg>
        <pc:picChg chg="del">
          <ac:chgData name="Chamaria, Shridhar" userId="8333b265-e735-45f8-a921-ce459cc3483a" providerId="ADAL" clId="{F5A74835-7805-40C3-BC80-9F3813DF66B7}" dt="2025-05-28T14:11:54.350" v="733" actId="478"/>
          <ac:picMkLst>
            <pc:docMk/>
            <pc:sldMk cId="2346483332" sldId="266"/>
            <ac:picMk id="21" creationId="{8AB3E8AE-9F89-47A8-CE81-D17DEDA4197F}"/>
          </ac:picMkLst>
        </pc:picChg>
        <pc:picChg chg="del">
          <ac:chgData name="Chamaria, Shridhar" userId="8333b265-e735-45f8-a921-ce459cc3483a" providerId="ADAL" clId="{F5A74835-7805-40C3-BC80-9F3813DF66B7}" dt="2025-05-28T14:11:55.262" v="734" actId="478"/>
          <ac:picMkLst>
            <pc:docMk/>
            <pc:sldMk cId="2346483332" sldId="266"/>
            <ac:picMk id="22" creationId="{2C45AAED-F42D-B96F-CC5A-0C034D4AA5EB}"/>
          </ac:picMkLst>
        </pc:picChg>
        <pc:picChg chg="del">
          <ac:chgData name="Chamaria, Shridhar" userId="8333b265-e735-45f8-a921-ce459cc3483a" providerId="ADAL" clId="{F5A74835-7805-40C3-BC80-9F3813DF66B7}" dt="2025-05-28T14:11:39.938" v="725" actId="478"/>
          <ac:picMkLst>
            <pc:docMk/>
            <pc:sldMk cId="2346483332" sldId="266"/>
            <ac:picMk id="23" creationId="{3CC5AE99-A00C-DA73-36DF-A0D7879CED1C}"/>
          </ac:picMkLst>
        </pc:picChg>
        <pc:picChg chg="del">
          <ac:chgData name="Chamaria, Shridhar" userId="8333b265-e735-45f8-a921-ce459cc3483a" providerId="ADAL" clId="{F5A74835-7805-40C3-BC80-9F3813DF66B7}" dt="2025-05-28T14:07:09.288" v="652" actId="478"/>
          <ac:picMkLst>
            <pc:docMk/>
            <pc:sldMk cId="2346483332" sldId="266"/>
            <ac:picMk id="24" creationId="{A8F8D609-E1A9-7BD0-8396-131A6537B655}"/>
          </ac:picMkLst>
        </pc:picChg>
        <pc:picChg chg="del">
          <ac:chgData name="Chamaria, Shridhar" userId="8333b265-e735-45f8-a921-ce459cc3483a" providerId="ADAL" clId="{F5A74835-7805-40C3-BC80-9F3813DF66B7}" dt="2025-05-28T14:04:31.786" v="617" actId="478"/>
          <ac:picMkLst>
            <pc:docMk/>
            <pc:sldMk cId="2346483332" sldId="266"/>
            <ac:picMk id="25" creationId="{B8CA9F6A-59CD-EF26-2D2B-F953CDC99CA9}"/>
          </ac:picMkLst>
        </pc:picChg>
        <pc:picChg chg="del">
          <ac:chgData name="Chamaria, Shridhar" userId="8333b265-e735-45f8-a921-ce459cc3483a" providerId="ADAL" clId="{F5A74835-7805-40C3-BC80-9F3813DF66B7}" dt="2025-05-28T14:07:11.030" v="654" actId="478"/>
          <ac:picMkLst>
            <pc:docMk/>
            <pc:sldMk cId="2346483332" sldId="266"/>
            <ac:picMk id="31" creationId="{B209203B-6876-6E57-C675-223E377420B7}"/>
          </ac:picMkLst>
        </pc:picChg>
        <pc:picChg chg="del">
          <ac:chgData name="Chamaria, Shridhar" userId="8333b265-e735-45f8-a921-ce459cc3483a" providerId="ADAL" clId="{F5A74835-7805-40C3-BC80-9F3813DF66B7}" dt="2025-05-28T14:07:11.847" v="655" actId="478"/>
          <ac:picMkLst>
            <pc:docMk/>
            <pc:sldMk cId="2346483332" sldId="266"/>
            <ac:picMk id="41" creationId="{4B7679F3-44CB-A406-E8C1-1ABF9144A691}"/>
          </ac:picMkLst>
        </pc:picChg>
        <pc:picChg chg="del">
          <ac:chgData name="Chamaria, Shridhar" userId="8333b265-e735-45f8-a921-ce459cc3483a" providerId="ADAL" clId="{F5A74835-7805-40C3-BC80-9F3813DF66B7}" dt="2025-05-28T14:07:12.564" v="656" actId="478"/>
          <ac:picMkLst>
            <pc:docMk/>
            <pc:sldMk cId="2346483332" sldId="266"/>
            <ac:picMk id="45" creationId="{8F6D2D8F-419B-9061-BC84-2CA7985A1321}"/>
          </ac:picMkLst>
        </pc:picChg>
        <pc:picChg chg="del">
          <ac:chgData name="Chamaria, Shridhar" userId="8333b265-e735-45f8-a921-ce459cc3483a" providerId="ADAL" clId="{F5A74835-7805-40C3-BC80-9F3813DF66B7}" dt="2025-05-28T14:07:13.328" v="657" actId="478"/>
          <ac:picMkLst>
            <pc:docMk/>
            <pc:sldMk cId="2346483332" sldId="266"/>
            <ac:picMk id="46" creationId="{31CE15D4-79E0-96A5-D8EE-4F71F8B2FBF9}"/>
          </ac:picMkLst>
        </pc:picChg>
        <pc:picChg chg="del">
          <ac:chgData name="Chamaria, Shridhar" userId="8333b265-e735-45f8-a921-ce459cc3483a" providerId="ADAL" clId="{F5A74835-7805-40C3-BC80-9F3813DF66B7}" dt="2025-05-28T14:07:15.607" v="658" actId="478"/>
          <ac:picMkLst>
            <pc:docMk/>
            <pc:sldMk cId="2346483332" sldId="266"/>
            <ac:picMk id="61" creationId="{95E187E9-EC9D-FD51-BCAC-A32A06B6A001}"/>
          </ac:picMkLst>
        </pc:picChg>
        <pc:picChg chg="del">
          <ac:chgData name="Chamaria, Shridhar" userId="8333b265-e735-45f8-a921-ce459cc3483a" providerId="ADAL" clId="{F5A74835-7805-40C3-BC80-9F3813DF66B7}" dt="2025-05-28T14:07:10.291" v="653" actId="478"/>
          <ac:picMkLst>
            <pc:docMk/>
            <pc:sldMk cId="2346483332" sldId="266"/>
            <ac:picMk id="71" creationId="{67D05E6A-B55A-E66A-78AB-03C2B14C7C9E}"/>
          </ac:picMkLst>
        </pc:picChg>
      </pc:sldChg>
      <pc:sldChg chg="addSp delSp modSp mod">
        <pc:chgData name="Chamaria, Shridhar" userId="8333b265-e735-45f8-a921-ce459cc3483a" providerId="ADAL" clId="{F5A74835-7805-40C3-BC80-9F3813DF66B7}" dt="2025-05-28T14:47:15.634" v="1398" actId="14100"/>
        <pc:sldMkLst>
          <pc:docMk/>
          <pc:sldMk cId="3014203909" sldId="269"/>
        </pc:sldMkLst>
        <pc:spChg chg="mod">
          <ac:chgData name="Chamaria, Shridhar" userId="8333b265-e735-45f8-a921-ce459cc3483a" providerId="ADAL" clId="{F5A74835-7805-40C3-BC80-9F3813DF66B7}" dt="2025-05-28T13:22:16.589" v="3"/>
          <ac:spMkLst>
            <pc:docMk/>
            <pc:sldMk cId="3014203909" sldId="269"/>
            <ac:spMk id="2" creationId="{DDF6B14F-EF51-F750-96F6-9A90B7B7745F}"/>
          </ac:spMkLst>
        </pc:spChg>
        <pc:spChg chg="mod">
          <ac:chgData name="Chamaria, Shridhar" userId="8333b265-e735-45f8-a921-ce459cc3483a" providerId="ADAL" clId="{F5A74835-7805-40C3-BC80-9F3813DF66B7}" dt="2025-05-28T14:47:05.974" v="1394" actId="1076"/>
          <ac:spMkLst>
            <pc:docMk/>
            <pc:sldMk cId="3014203909" sldId="269"/>
            <ac:spMk id="4" creationId="{A493B8F9-5287-575A-6971-2181E5791517}"/>
          </ac:spMkLst>
        </pc:spChg>
        <pc:spChg chg="mod">
          <ac:chgData name="Chamaria, Shridhar" userId="8333b265-e735-45f8-a921-ce459cc3483a" providerId="ADAL" clId="{F5A74835-7805-40C3-BC80-9F3813DF66B7}" dt="2025-05-28T14:47:15.634" v="1398" actId="14100"/>
          <ac:spMkLst>
            <pc:docMk/>
            <pc:sldMk cId="3014203909" sldId="269"/>
            <ac:spMk id="13" creationId="{F10441EE-0934-663A-C962-82D840DDA1B0}"/>
          </ac:spMkLst>
        </pc:spChg>
        <pc:picChg chg="add del mod">
          <ac:chgData name="Chamaria, Shridhar" userId="8333b265-e735-45f8-a921-ce459cc3483a" providerId="ADAL" clId="{F5A74835-7805-40C3-BC80-9F3813DF66B7}" dt="2025-05-28T14:45:50.730" v="1269"/>
          <ac:picMkLst>
            <pc:docMk/>
            <pc:sldMk cId="3014203909" sldId="269"/>
            <ac:picMk id="3" creationId="{C9B191D6-D7FC-B75F-FA5A-FE4F7BC5CD4E}"/>
          </ac:picMkLst>
        </pc:picChg>
        <pc:picChg chg="del">
          <ac:chgData name="Chamaria, Shridhar" userId="8333b265-e735-45f8-a921-ce459cc3483a" providerId="ADAL" clId="{F5A74835-7805-40C3-BC80-9F3813DF66B7}" dt="2025-05-28T14:46:36.316" v="1321" actId="478"/>
          <ac:picMkLst>
            <pc:docMk/>
            <pc:sldMk cId="3014203909" sldId="269"/>
            <ac:picMk id="5" creationId="{48592BEE-63DC-68C8-0A34-8DD84F3E36F0}"/>
          </ac:picMkLst>
        </pc:picChg>
        <pc:picChg chg="add del mod">
          <ac:chgData name="Chamaria, Shridhar" userId="8333b265-e735-45f8-a921-ce459cc3483a" providerId="ADAL" clId="{F5A74835-7805-40C3-BC80-9F3813DF66B7}" dt="2025-05-28T14:45:50.782" v="1282"/>
          <ac:picMkLst>
            <pc:docMk/>
            <pc:sldMk cId="3014203909" sldId="269"/>
            <ac:picMk id="8" creationId="{CB1B83A5-B2DF-4FF5-907E-BE5A691CD653}"/>
          </ac:picMkLst>
        </pc:picChg>
        <pc:picChg chg="add del mod">
          <ac:chgData name="Chamaria, Shridhar" userId="8333b265-e735-45f8-a921-ce459cc3483a" providerId="ADAL" clId="{F5A74835-7805-40C3-BC80-9F3813DF66B7}" dt="2025-05-28T14:46:35.583" v="1307"/>
          <ac:picMkLst>
            <pc:docMk/>
            <pc:sldMk cId="3014203909" sldId="269"/>
            <ac:picMk id="9" creationId="{12A6BCEE-462A-BE80-B8FA-0BB1F1A9F574}"/>
          </ac:picMkLst>
        </pc:picChg>
        <pc:picChg chg="del">
          <ac:chgData name="Chamaria, Shridhar" userId="8333b265-e735-45f8-a921-ce459cc3483a" providerId="ADAL" clId="{F5A74835-7805-40C3-BC80-9F3813DF66B7}" dt="2025-05-28T14:46:37.233" v="1340" actId="478"/>
          <ac:picMkLst>
            <pc:docMk/>
            <pc:sldMk cId="3014203909" sldId="269"/>
            <ac:picMk id="10" creationId="{9DBC264D-19AC-2ED3-5BB0-A63276FD0CCA}"/>
          </ac:picMkLst>
        </pc:picChg>
        <pc:picChg chg="add del mod">
          <ac:chgData name="Chamaria, Shridhar" userId="8333b265-e735-45f8-a921-ce459cc3483a" providerId="ADAL" clId="{F5A74835-7805-40C3-BC80-9F3813DF66B7}" dt="2025-05-28T14:46:35.636" v="1320"/>
          <ac:picMkLst>
            <pc:docMk/>
            <pc:sldMk cId="3014203909" sldId="269"/>
            <ac:picMk id="11" creationId="{5D9986C1-96EF-BDFF-3B0D-FBB4C445A2C5}"/>
          </ac:picMkLst>
        </pc:picChg>
        <pc:picChg chg="add del mod">
          <ac:chgData name="Chamaria, Shridhar" userId="8333b265-e735-45f8-a921-ce459cc3483a" providerId="ADAL" clId="{F5A74835-7805-40C3-BC80-9F3813DF66B7}" dt="2025-05-28T14:46:37.148" v="1330"/>
          <ac:picMkLst>
            <pc:docMk/>
            <pc:sldMk cId="3014203909" sldId="269"/>
            <ac:picMk id="12" creationId="{4CBFD956-B5F9-B5BB-E5AE-7B9120DBDCED}"/>
          </ac:picMkLst>
        </pc:picChg>
        <pc:picChg chg="add del mod">
          <ac:chgData name="Chamaria, Shridhar" userId="8333b265-e735-45f8-a921-ce459cc3483a" providerId="ADAL" clId="{F5A74835-7805-40C3-BC80-9F3813DF66B7}" dt="2025-05-28T14:46:37.202" v="1339"/>
          <ac:picMkLst>
            <pc:docMk/>
            <pc:sldMk cId="3014203909" sldId="269"/>
            <ac:picMk id="22" creationId="{655300C6-8289-BE8F-3E4B-795D1080114A}"/>
          </ac:picMkLst>
        </pc:picChg>
      </pc:sldChg>
      <pc:sldChg chg="modSp">
        <pc:chgData name="Chamaria, Shridhar" userId="8333b265-e735-45f8-a921-ce459cc3483a" providerId="ADAL" clId="{F5A74835-7805-40C3-BC80-9F3813DF66B7}" dt="2025-05-28T14:30:22.516" v="960"/>
        <pc:sldMkLst>
          <pc:docMk/>
          <pc:sldMk cId="3898918942" sldId="273"/>
        </pc:sldMkLst>
        <pc:spChg chg="mod">
          <ac:chgData name="Chamaria, Shridhar" userId="8333b265-e735-45f8-a921-ce459cc3483a" providerId="ADAL" clId="{F5A74835-7805-40C3-BC80-9F3813DF66B7}" dt="2025-05-28T13:22:16.589" v="3"/>
          <ac:spMkLst>
            <pc:docMk/>
            <pc:sldMk cId="3898918942" sldId="273"/>
            <ac:spMk id="2" creationId="{1F6ADACD-6925-4DE8-A425-F595D8D8D9A9}"/>
          </ac:spMkLst>
        </pc:spChg>
        <pc:spChg chg="mod">
          <ac:chgData name="Chamaria, Shridhar" userId="8333b265-e735-45f8-a921-ce459cc3483a" providerId="ADAL" clId="{F5A74835-7805-40C3-BC80-9F3813DF66B7}" dt="2025-05-28T13:24:19.736" v="153"/>
          <ac:spMkLst>
            <pc:docMk/>
            <pc:sldMk cId="3898918942" sldId="273"/>
            <ac:spMk id="7" creationId="{4A9A1881-8E7C-4E89-AB0D-08E4521C15D5}"/>
          </ac:spMkLst>
        </pc:spChg>
        <pc:spChg chg="mod">
          <ac:chgData name="Chamaria, Shridhar" userId="8333b265-e735-45f8-a921-ce459cc3483a" providerId="ADAL" clId="{F5A74835-7805-40C3-BC80-9F3813DF66B7}" dt="2025-05-28T13:23:26.146" v="150"/>
          <ac:spMkLst>
            <pc:docMk/>
            <pc:sldMk cId="3898918942" sldId="273"/>
            <ac:spMk id="22" creationId="{76EEEE19-08E3-44A8-8993-F096EB0347AD}"/>
          </ac:spMkLst>
        </pc:spChg>
        <pc:spChg chg="mod">
          <ac:chgData name="Chamaria, Shridhar" userId="8333b265-e735-45f8-a921-ce459cc3483a" providerId="ADAL" clId="{F5A74835-7805-40C3-BC80-9F3813DF66B7}" dt="2025-05-28T14:30:22.516" v="960"/>
          <ac:spMkLst>
            <pc:docMk/>
            <pc:sldMk cId="3898918942" sldId="273"/>
            <ac:spMk id="32" creationId="{C16DA018-1D6B-161D-5AB6-465A522AC2F9}"/>
          </ac:spMkLst>
        </pc:spChg>
        <pc:spChg chg="mod">
          <ac:chgData name="Chamaria, Shridhar" userId="8333b265-e735-45f8-a921-ce459cc3483a" providerId="ADAL" clId="{F5A74835-7805-40C3-BC80-9F3813DF66B7}" dt="2025-05-28T13:24:19.736" v="153"/>
          <ac:spMkLst>
            <pc:docMk/>
            <pc:sldMk cId="3898918942" sldId="273"/>
            <ac:spMk id="53" creationId="{9AFC1327-1D9F-4718-99D3-CECCFDD5BA6E}"/>
          </ac:spMkLst>
        </pc:spChg>
        <pc:spChg chg="mod">
          <ac:chgData name="Chamaria, Shridhar" userId="8333b265-e735-45f8-a921-ce459cc3483a" providerId="ADAL" clId="{F5A74835-7805-40C3-BC80-9F3813DF66B7}" dt="2025-05-28T14:28:39.395" v="945"/>
          <ac:spMkLst>
            <pc:docMk/>
            <pc:sldMk cId="3898918942" sldId="273"/>
            <ac:spMk id="54" creationId="{852A7277-C2B6-4964-B510-3694DBFDE565}"/>
          </ac:spMkLst>
        </pc:spChg>
        <pc:spChg chg="mod">
          <ac:chgData name="Chamaria, Shridhar" userId="8333b265-e735-45f8-a921-ce459cc3483a" providerId="ADAL" clId="{F5A74835-7805-40C3-BC80-9F3813DF66B7}" dt="2025-05-28T13:22:16.589" v="3"/>
          <ac:spMkLst>
            <pc:docMk/>
            <pc:sldMk cId="3898918942" sldId="273"/>
            <ac:spMk id="60" creationId="{E739C4BD-2E3A-4AB9-96C3-8F9B4D7F78A8}"/>
          </ac:spMkLst>
        </pc:spChg>
        <pc:spChg chg="mod">
          <ac:chgData name="Chamaria, Shridhar" userId="8333b265-e735-45f8-a921-ce459cc3483a" providerId="ADAL" clId="{F5A74835-7805-40C3-BC80-9F3813DF66B7}" dt="2025-05-28T14:29:32.071" v="954"/>
          <ac:spMkLst>
            <pc:docMk/>
            <pc:sldMk cId="3898918942" sldId="273"/>
            <ac:spMk id="67" creationId="{4B49199C-25B9-403F-89A7-7CCF2F086ED0}"/>
          </ac:spMkLst>
        </pc:spChg>
        <pc:grpChg chg="mod">
          <ac:chgData name="Chamaria, Shridhar" userId="8333b265-e735-45f8-a921-ce459cc3483a" providerId="ADAL" clId="{F5A74835-7805-40C3-BC80-9F3813DF66B7}" dt="2025-05-28T13:23:26.146" v="150"/>
          <ac:grpSpMkLst>
            <pc:docMk/>
            <pc:sldMk cId="3898918942" sldId="273"/>
            <ac:grpSpMk id="42" creationId="{5B267466-5827-455C-9D35-E7A17DFB9DE9}"/>
          </ac:grpSpMkLst>
        </pc:grpChg>
        <pc:cxnChg chg="mod">
          <ac:chgData name="Chamaria, Shridhar" userId="8333b265-e735-45f8-a921-ce459cc3483a" providerId="ADAL" clId="{F5A74835-7805-40C3-BC80-9F3813DF66B7}" dt="2025-05-28T13:23:26.146" v="150"/>
          <ac:cxnSpMkLst>
            <pc:docMk/>
            <pc:sldMk cId="3898918942" sldId="273"/>
            <ac:cxnSpMk id="23" creationId="{422A8356-9ABD-47FB-8087-CD6F72629AC0}"/>
          </ac:cxnSpMkLst>
        </pc:cxnChg>
      </pc:sldChg>
      <pc:sldChg chg="modSp">
        <pc:chgData name="Chamaria, Shridhar" userId="8333b265-e735-45f8-a921-ce459cc3483a" providerId="ADAL" clId="{F5A74835-7805-40C3-BC80-9F3813DF66B7}" dt="2025-05-28T14:34:35.665" v="994"/>
        <pc:sldMkLst>
          <pc:docMk/>
          <pc:sldMk cId="1247511287" sldId="274"/>
        </pc:sldMkLst>
        <pc:spChg chg="mod">
          <ac:chgData name="Chamaria, Shridhar" userId="8333b265-e735-45f8-a921-ce459cc3483a" providerId="ADAL" clId="{F5A74835-7805-40C3-BC80-9F3813DF66B7}" dt="2025-05-28T13:22:16.589" v="3"/>
          <ac:spMkLst>
            <pc:docMk/>
            <pc:sldMk cId="1247511287" sldId="274"/>
            <ac:spMk id="2" creationId="{1F6ADACD-6925-4DE8-A425-F595D8D8D9A9}"/>
          </ac:spMkLst>
        </pc:spChg>
        <pc:spChg chg="mod">
          <ac:chgData name="Chamaria, Shridhar" userId="8333b265-e735-45f8-a921-ce459cc3483a" providerId="ADAL" clId="{F5A74835-7805-40C3-BC80-9F3813DF66B7}" dt="2025-05-28T13:22:16.589" v="3"/>
          <ac:spMkLst>
            <pc:docMk/>
            <pc:sldMk cId="1247511287" sldId="274"/>
            <ac:spMk id="5" creationId="{2F45D7E3-0DA3-4128-04B1-9F41BA82EE1E}"/>
          </ac:spMkLst>
        </pc:spChg>
        <pc:spChg chg="mod">
          <ac:chgData name="Chamaria, Shridhar" userId="8333b265-e735-45f8-a921-ce459cc3483a" providerId="ADAL" clId="{F5A74835-7805-40C3-BC80-9F3813DF66B7}" dt="2025-05-28T13:25:37.519" v="187"/>
          <ac:spMkLst>
            <pc:docMk/>
            <pc:sldMk cId="1247511287" sldId="274"/>
            <ac:spMk id="22" creationId="{C7A387EC-BCB0-3717-4E24-FCB4851BA6C0}"/>
          </ac:spMkLst>
        </pc:spChg>
        <pc:spChg chg="mod">
          <ac:chgData name="Chamaria, Shridhar" userId="8333b265-e735-45f8-a921-ce459cc3483a" providerId="ADAL" clId="{F5A74835-7805-40C3-BC80-9F3813DF66B7}" dt="2025-05-28T14:33:46.190" v="985"/>
          <ac:spMkLst>
            <pc:docMk/>
            <pc:sldMk cId="1247511287" sldId="274"/>
            <ac:spMk id="24" creationId="{5AB8A48A-95C3-4954-BC1F-A2A8AE81225B}"/>
          </ac:spMkLst>
        </pc:spChg>
        <pc:spChg chg="mod">
          <ac:chgData name="Chamaria, Shridhar" userId="8333b265-e735-45f8-a921-ce459cc3483a" providerId="ADAL" clId="{F5A74835-7805-40C3-BC80-9F3813DF66B7}" dt="2025-05-28T14:33:06.656" v="979"/>
          <ac:spMkLst>
            <pc:docMk/>
            <pc:sldMk cId="1247511287" sldId="274"/>
            <ac:spMk id="26" creationId="{DABE4511-750F-4EAE-849F-4442A4EAB0D0}"/>
          </ac:spMkLst>
        </pc:spChg>
        <pc:spChg chg="mod">
          <ac:chgData name="Chamaria, Shridhar" userId="8333b265-e735-45f8-a921-ce459cc3483a" providerId="ADAL" clId="{F5A74835-7805-40C3-BC80-9F3813DF66B7}" dt="2025-05-28T13:23:26.146" v="150"/>
          <ac:spMkLst>
            <pc:docMk/>
            <pc:sldMk cId="1247511287" sldId="274"/>
            <ac:spMk id="28" creationId="{F2BCC3E2-6FBB-E0B9-554D-951F21D0F7EF}"/>
          </ac:spMkLst>
        </pc:spChg>
        <pc:spChg chg="mod">
          <ac:chgData name="Chamaria, Shridhar" userId="8333b265-e735-45f8-a921-ce459cc3483a" providerId="ADAL" clId="{F5A74835-7805-40C3-BC80-9F3813DF66B7}" dt="2025-05-28T14:31:09.261" v="961"/>
          <ac:spMkLst>
            <pc:docMk/>
            <pc:sldMk cId="1247511287" sldId="274"/>
            <ac:spMk id="29" creationId="{43AD2E13-916B-B27F-4489-F71F28AFB7B4}"/>
          </ac:spMkLst>
        </pc:spChg>
        <pc:spChg chg="mod">
          <ac:chgData name="Chamaria, Shridhar" userId="8333b265-e735-45f8-a921-ce459cc3483a" providerId="ADAL" clId="{F5A74835-7805-40C3-BC80-9F3813DF66B7}" dt="2025-05-28T14:34:35.665" v="994"/>
          <ac:spMkLst>
            <pc:docMk/>
            <pc:sldMk cId="1247511287" sldId="274"/>
            <ac:spMk id="33" creationId="{CA11D8EE-2014-1164-AD88-3307CFD6AC00}"/>
          </ac:spMkLst>
        </pc:spChg>
        <pc:spChg chg="mod">
          <ac:chgData name="Chamaria, Shridhar" userId="8333b265-e735-45f8-a921-ce459cc3483a" providerId="ADAL" clId="{F5A74835-7805-40C3-BC80-9F3813DF66B7}" dt="2025-05-28T13:22:16.589" v="3"/>
          <ac:spMkLst>
            <pc:docMk/>
            <pc:sldMk cId="1247511287" sldId="274"/>
            <ac:spMk id="59" creationId="{8826F626-B687-8B21-A32E-42F2E5B4D79A}"/>
          </ac:spMkLst>
        </pc:spChg>
      </pc:sldChg>
      <pc:sldChg chg="modSp">
        <pc:chgData name="Chamaria, Shridhar" userId="8333b265-e735-45f8-a921-ce459cc3483a" providerId="ADAL" clId="{F5A74835-7805-40C3-BC80-9F3813DF66B7}" dt="2025-05-28T14:40:51.119" v="1247"/>
        <pc:sldMkLst>
          <pc:docMk/>
          <pc:sldMk cId="497029105" sldId="2147483639"/>
        </pc:sldMkLst>
        <pc:spChg chg="mod">
          <ac:chgData name="Chamaria, Shridhar" userId="8333b265-e735-45f8-a921-ce459cc3483a" providerId="ADAL" clId="{F5A74835-7805-40C3-BC80-9F3813DF66B7}" dt="2025-05-28T13:24:19.736" v="153"/>
          <ac:spMkLst>
            <pc:docMk/>
            <pc:sldMk cId="497029105" sldId="2147483639"/>
            <ac:spMk id="2" creationId="{1F6ADACD-6925-4DE8-A425-F595D8D8D9A9}"/>
          </ac:spMkLst>
        </pc:spChg>
        <pc:spChg chg="mod">
          <ac:chgData name="Chamaria, Shridhar" userId="8333b265-e735-45f8-a921-ce459cc3483a" providerId="ADAL" clId="{F5A74835-7805-40C3-BC80-9F3813DF66B7}" dt="2025-05-28T13:24:19.736" v="153"/>
          <ac:spMkLst>
            <pc:docMk/>
            <pc:sldMk cId="497029105" sldId="2147483639"/>
            <ac:spMk id="10" creationId="{6CCE4894-A691-5949-28E0-D2F660B761A3}"/>
          </ac:spMkLst>
        </pc:spChg>
        <pc:spChg chg="mod">
          <ac:chgData name="Chamaria, Shridhar" userId="8333b265-e735-45f8-a921-ce459cc3483a" providerId="ADAL" clId="{F5A74835-7805-40C3-BC80-9F3813DF66B7}" dt="2025-05-28T14:40:51.119" v="1247"/>
          <ac:spMkLst>
            <pc:docMk/>
            <pc:sldMk cId="497029105" sldId="2147483639"/>
            <ac:spMk id="19" creationId="{E24AED42-6D0D-A5EC-AA1B-C0D170A3554D}"/>
          </ac:spMkLst>
        </pc:spChg>
        <pc:spChg chg="mod">
          <ac:chgData name="Chamaria, Shridhar" userId="8333b265-e735-45f8-a921-ce459cc3483a" providerId="ADAL" clId="{F5A74835-7805-40C3-BC80-9F3813DF66B7}" dt="2025-05-28T14:39:57.405" v="1238"/>
          <ac:spMkLst>
            <pc:docMk/>
            <pc:sldMk cId="497029105" sldId="2147483639"/>
            <ac:spMk id="28" creationId="{E33D4DEB-DFA1-E40F-92DE-11CC09B8C573}"/>
          </ac:spMkLst>
        </pc:spChg>
        <pc:spChg chg="mod">
          <ac:chgData name="Chamaria, Shridhar" userId="8333b265-e735-45f8-a921-ce459cc3483a" providerId="ADAL" clId="{F5A74835-7805-40C3-BC80-9F3813DF66B7}" dt="2025-05-28T14:40:19.373" v="1241"/>
          <ac:spMkLst>
            <pc:docMk/>
            <pc:sldMk cId="497029105" sldId="2147483639"/>
            <ac:spMk id="30" creationId="{53AE5539-D483-F347-8267-BB3E0ADA2D6C}"/>
          </ac:spMkLst>
        </pc:spChg>
        <pc:spChg chg="mod">
          <ac:chgData name="Chamaria, Shridhar" userId="8333b265-e735-45f8-a921-ce459cc3483a" providerId="ADAL" clId="{F5A74835-7805-40C3-BC80-9F3813DF66B7}" dt="2025-05-28T13:24:19.736" v="153"/>
          <ac:spMkLst>
            <pc:docMk/>
            <pc:sldMk cId="497029105" sldId="2147483639"/>
            <ac:spMk id="73" creationId="{298DA627-4034-4DD9-8F1C-94DABECBF0C2}"/>
          </ac:spMkLst>
        </pc:spChg>
      </pc:sldChg>
      <pc:sldChg chg="addSp delSp modSp mod">
        <pc:chgData name="Chamaria, Shridhar" userId="8333b265-e735-45f8-a921-ce459cc3483a" providerId="ADAL" clId="{F5A74835-7805-40C3-BC80-9F3813DF66B7}" dt="2025-05-28T14:27:37.644" v="935" actId="207"/>
        <pc:sldMkLst>
          <pc:docMk/>
          <pc:sldMk cId="4254888403" sldId="2147483641"/>
        </pc:sldMkLst>
        <pc:spChg chg="mod">
          <ac:chgData name="Chamaria, Shridhar" userId="8333b265-e735-45f8-a921-ce459cc3483a" providerId="ADAL" clId="{F5A74835-7805-40C3-BC80-9F3813DF66B7}" dt="2025-05-28T13:42:12.638" v="460" actId="948"/>
          <ac:spMkLst>
            <pc:docMk/>
            <pc:sldMk cId="4254888403" sldId="2147483641"/>
            <ac:spMk id="2" creationId="{00000000-0000-0000-0000-000000000000}"/>
          </ac:spMkLst>
        </pc:spChg>
        <pc:spChg chg="add del mod modVis">
          <ac:chgData name="Chamaria, Shridhar" userId="8333b265-e735-45f8-a921-ce459cc3483a" providerId="ADAL" clId="{F5A74835-7805-40C3-BC80-9F3813DF66B7}" dt="2025-05-28T13:22:17.391" v="134"/>
          <ac:spMkLst>
            <pc:docMk/>
            <pc:sldMk cId="4254888403" sldId="2147483641"/>
            <ac:spMk id="5" creationId="{E1EAD572-4692-DFEB-A814-B3042DAE6C45}"/>
          </ac:spMkLst>
        </pc:spChg>
        <pc:spChg chg="mod">
          <ac:chgData name="Chamaria, Shridhar" userId="8333b265-e735-45f8-a921-ce459cc3483a" providerId="ADAL" clId="{F5A74835-7805-40C3-BC80-9F3813DF66B7}" dt="2025-05-28T13:43:15.188" v="471"/>
          <ac:spMkLst>
            <pc:docMk/>
            <pc:sldMk cId="4254888403" sldId="2147483641"/>
            <ac:spMk id="8" creationId="{00000000-0000-0000-0000-000000000000}"/>
          </ac:spMkLst>
        </pc:spChg>
        <pc:spChg chg="mod">
          <ac:chgData name="Chamaria, Shridhar" userId="8333b265-e735-45f8-a921-ce459cc3483a" providerId="ADAL" clId="{F5A74835-7805-40C3-BC80-9F3813DF66B7}" dt="2025-05-28T13:43:41.235" v="483" actId="20577"/>
          <ac:spMkLst>
            <pc:docMk/>
            <pc:sldMk cId="4254888403" sldId="2147483641"/>
            <ac:spMk id="30" creationId="{81C55DB8-4DA4-5B23-8AD5-CCD9C0E95060}"/>
          </ac:spMkLst>
        </pc:spChg>
        <pc:spChg chg="mod">
          <ac:chgData name="Chamaria, Shridhar" userId="8333b265-e735-45f8-a921-ce459cc3483a" providerId="ADAL" clId="{F5A74835-7805-40C3-BC80-9F3813DF66B7}" dt="2025-05-28T13:24:19.736" v="153"/>
          <ac:spMkLst>
            <pc:docMk/>
            <pc:sldMk cId="4254888403" sldId="2147483641"/>
            <ac:spMk id="37" creationId="{8307426C-E162-EE4F-D46E-DF26009EA77C}"/>
          </ac:spMkLst>
        </pc:spChg>
        <pc:spChg chg="mod">
          <ac:chgData name="Chamaria, Shridhar" userId="8333b265-e735-45f8-a921-ce459cc3483a" providerId="ADAL" clId="{F5A74835-7805-40C3-BC80-9F3813DF66B7}" dt="2025-05-28T13:24:38.596" v="161"/>
          <ac:spMkLst>
            <pc:docMk/>
            <pc:sldMk cId="4254888403" sldId="2147483641"/>
            <ac:spMk id="40" creationId="{90F49A6C-68BD-9B97-A2D2-CBCDDC466DEA}"/>
          </ac:spMkLst>
        </pc:spChg>
        <pc:spChg chg="mod">
          <ac:chgData name="Chamaria, Shridhar" userId="8333b265-e735-45f8-a921-ce459cc3483a" providerId="ADAL" clId="{F5A74835-7805-40C3-BC80-9F3813DF66B7}" dt="2025-05-28T13:24:46.245" v="162"/>
          <ac:spMkLst>
            <pc:docMk/>
            <pc:sldMk cId="4254888403" sldId="2147483641"/>
            <ac:spMk id="41" creationId="{0046A7BF-28C7-2B41-6DF2-D09382A7C2AB}"/>
          </ac:spMkLst>
        </pc:spChg>
        <pc:graphicFrameChg chg="mod modGraphic">
          <ac:chgData name="Chamaria, Shridhar" userId="8333b265-e735-45f8-a921-ce459cc3483a" providerId="ADAL" clId="{F5A74835-7805-40C3-BC80-9F3813DF66B7}" dt="2025-05-28T14:27:37.644" v="935" actId="207"/>
          <ac:graphicFrameMkLst>
            <pc:docMk/>
            <pc:sldMk cId="4254888403" sldId="2147483641"/>
            <ac:graphicFrameMk id="10" creationId="{955283CF-83A0-EF0E-DA6A-8ECFEEFC19A8}"/>
          </ac:graphicFrameMkLst>
        </pc:graphicFrameChg>
        <pc:graphicFrameChg chg="mod">
          <ac:chgData name="Chamaria, Shridhar" userId="8333b265-e735-45f8-a921-ce459cc3483a" providerId="ADAL" clId="{F5A74835-7805-40C3-BC80-9F3813DF66B7}" dt="2025-05-28T13:42:12.654" v="462"/>
          <ac:graphicFrameMkLst>
            <pc:docMk/>
            <pc:sldMk cId="4254888403" sldId="2147483641"/>
            <ac:graphicFrameMk id="89" creationId="{FD846FD7-2549-1B41-006B-3766DC828BF2}"/>
          </ac:graphicFrameMkLst>
        </pc:graphicFrameChg>
        <pc:picChg chg="del mod">
          <ac:chgData name="Chamaria, Shridhar" userId="8333b265-e735-45f8-a921-ce459cc3483a" providerId="ADAL" clId="{F5A74835-7805-40C3-BC80-9F3813DF66B7}" dt="2025-05-28T13:41:57.492" v="449" actId="478"/>
          <ac:picMkLst>
            <pc:docMk/>
            <pc:sldMk cId="4254888403" sldId="2147483641"/>
            <ac:picMk id="11" creationId="{AD65C6F3-6404-E458-9EDC-1CFBE1E9DBEF}"/>
          </ac:picMkLst>
        </pc:picChg>
        <pc:picChg chg="del mod">
          <ac:chgData name="Chamaria, Shridhar" userId="8333b265-e735-45f8-a921-ce459cc3483a" providerId="ADAL" clId="{F5A74835-7805-40C3-BC80-9F3813DF66B7}" dt="2025-05-28T13:41:56.806" v="448" actId="478"/>
          <ac:picMkLst>
            <pc:docMk/>
            <pc:sldMk cId="4254888403" sldId="2147483641"/>
            <ac:picMk id="12" creationId="{BC52B1C8-EE47-C1C7-6554-0D2BBB629D6E}"/>
          </ac:picMkLst>
        </pc:picChg>
        <pc:picChg chg="del mod">
          <ac:chgData name="Chamaria, Shridhar" userId="8333b265-e735-45f8-a921-ce459cc3483a" providerId="ADAL" clId="{F5A74835-7805-40C3-BC80-9F3813DF66B7}" dt="2025-05-28T13:41:58.033" v="450" actId="478"/>
          <ac:picMkLst>
            <pc:docMk/>
            <pc:sldMk cId="4254888403" sldId="2147483641"/>
            <ac:picMk id="17" creationId="{1C2864A9-44AE-73E8-251A-51C490865734}"/>
          </ac:picMkLst>
        </pc:picChg>
        <pc:picChg chg="del mod">
          <ac:chgData name="Chamaria, Shridhar" userId="8333b265-e735-45f8-a921-ce459cc3483a" providerId="ADAL" clId="{F5A74835-7805-40C3-BC80-9F3813DF66B7}" dt="2025-05-28T13:41:58.810" v="451" actId="478"/>
          <ac:picMkLst>
            <pc:docMk/>
            <pc:sldMk cId="4254888403" sldId="2147483641"/>
            <ac:picMk id="21" creationId="{F993F036-BD56-72E3-CFFD-D55CF2C1B421}"/>
          </ac:picMkLst>
        </pc:picChg>
        <pc:picChg chg="del mod">
          <ac:chgData name="Chamaria, Shridhar" userId="8333b265-e735-45f8-a921-ce459cc3483a" providerId="ADAL" clId="{F5A74835-7805-40C3-BC80-9F3813DF66B7}" dt="2025-05-28T13:41:59.185" v="452" actId="478"/>
          <ac:picMkLst>
            <pc:docMk/>
            <pc:sldMk cId="4254888403" sldId="2147483641"/>
            <ac:picMk id="23" creationId="{CD73531E-B87B-27F9-9219-FAACBB38264C}"/>
          </ac:picMkLst>
        </pc:picChg>
        <pc:picChg chg="del mod">
          <ac:chgData name="Chamaria, Shridhar" userId="8333b265-e735-45f8-a921-ce459cc3483a" providerId="ADAL" clId="{F5A74835-7805-40C3-BC80-9F3813DF66B7}" dt="2025-05-28T13:41:59.787" v="453" actId="478"/>
          <ac:picMkLst>
            <pc:docMk/>
            <pc:sldMk cId="4254888403" sldId="2147483641"/>
            <ac:picMk id="24" creationId="{B15D09CA-7049-3A90-98B8-F425AD675D9F}"/>
          </ac:picMkLst>
        </pc:picChg>
        <pc:picChg chg="del mod">
          <ac:chgData name="Chamaria, Shridhar" userId="8333b265-e735-45f8-a921-ce459cc3483a" providerId="ADAL" clId="{F5A74835-7805-40C3-BC80-9F3813DF66B7}" dt="2025-05-28T13:42:01.223" v="454" actId="478"/>
          <ac:picMkLst>
            <pc:docMk/>
            <pc:sldMk cId="4254888403" sldId="2147483641"/>
            <ac:picMk id="25" creationId="{77592899-53D9-2393-60E1-9A8151EC56A1}"/>
          </ac:picMkLst>
        </pc:picChg>
        <pc:picChg chg="del mod">
          <ac:chgData name="Chamaria, Shridhar" userId="8333b265-e735-45f8-a921-ce459cc3483a" providerId="ADAL" clId="{F5A74835-7805-40C3-BC80-9F3813DF66B7}" dt="2025-05-28T13:41:56.806" v="448" actId="478"/>
          <ac:picMkLst>
            <pc:docMk/>
            <pc:sldMk cId="4254888403" sldId="2147483641"/>
            <ac:picMk id="29" creationId="{9E806546-DDCB-51B0-BA58-4254AE5C8436}"/>
          </ac:picMkLst>
        </pc:picChg>
        <pc:picChg chg="del mod">
          <ac:chgData name="Chamaria, Shridhar" userId="8333b265-e735-45f8-a921-ce459cc3483a" providerId="ADAL" clId="{F5A74835-7805-40C3-BC80-9F3813DF66B7}" dt="2025-05-28T13:42:01.771" v="455" actId="478"/>
          <ac:picMkLst>
            <pc:docMk/>
            <pc:sldMk cId="4254888403" sldId="2147483641"/>
            <ac:picMk id="1044" creationId="{E3447DAB-4731-A17B-0438-E7790675CEA8}"/>
          </ac:picMkLst>
        </pc:picChg>
        <pc:picChg chg="del mod">
          <ac:chgData name="Chamaria, Shridhar" userId="8333b265-e735-45f8-a921-ce459cc3483a" providerId="ADAL" clId="{F5A74835-7805-40C3-BC80-9F3813DF66B7}" dt="2025-05-28T13:42:02.526" v="456" actId="478"/>
          <ac:picMkLst>
            <pc:docMk/>
            <pc:sldMk cId="4254888403" sldId="2147483641"/>
            <ac:picMk id="1046" creationId="{40A6A680-0A8B-2B0A-7D7F-8F02C216ADC1}"/>
          </ac:picMkLst>
        </pc:picChg>
        <pc:picChg chg="del mod">
          <ac:chgData name="Chamaria, Shridhar" userId="8333b265-e735-45f8-a921-ce459cc3483a" providerId="ADAL" clId="{F5A74835-7805-40C3-BC80-9F3813DF66B7}" dt="2025-05-28T13:42:03.669" v="457" actId="478"/>
          <ac:picMkLst>
            <pc:docMk/>
            <pc:sldMk cId="4254888403" sldId="2147483641"/>
            <ac:picMk id="1048" creationId="{285DF24A-6458-2AD8-17FA-EA4DD101213B}"/>
          </ac:picMkLst>
        </pc:picChg>
        <pc:picChg chg="del mod">
          <ac:chgData name="Chamaria, Shridhar" userId="8333b265-e735-45f8-a921-ce459cc3483a" providerId="ADAL" clId="{F5A74835-7805-40C3-BC80-9F3813DF66B7}" dt="2025-05-28T13:42:04.425" v="458" actId="478"/>
          <ac:picMkLst>
            <pc:docMk/>
            <pc:sldMk cId="4254888403" sldId="2147483641"/>
            <ac:picMk id="1050" creationId="{492A5E02-4687-1ED8-1CF3-C81E237C26A3}"/>
          </ac:picMkLst>
        </pc:picChg>
      </pc:sldChg>
      <pc:sldChg chg="delSp modSp mod">
        <pc:chgData name="Chamaria, Shridhar" userId="8333b265-e735-45f8-a921-ce459cc3483a" providerId="ADAL" clId="{F5A74835-7805-40C3-BC80-9F3813DF66B7}" dt="2025-05-28T14:27:17.504" v="933"/>
        <pc:sldMkLst>
          <pc:docMk/>
          <pc:sldMk cId="508628737" sldId="2147483642"/>
        </pc:sldMkLst>
        <pc:spChg chg="mod">
          <ac:chgData name="Chamaria, Shridhar" userId="8333b265-e735-45f8-a921-ce459cc3483a" providerId="ADAL" clId="{F5A74835-7805-40C3-BC80-9F3813DF66B7}" dt="2025-05-28T14:03:36.457" v="592" actId="20577"/>
          <ac:spMkLst>
            <pc:docMk/>
            <pc:sldMk cId="508628737" sldId="2147483642"/>
            <ac:spMk id="68" creationId="{98AF2067-550A-039A-9EBE-CD5FCE08D1EA}"/>
          </ac:spMkLst>
        </pc:spChg>
        <pc:spChg chg="mod">
          <ac:chgData name="Chamaria, Shridhar" userId="8333b265-e735-45f8-a921-ce459cc3483a" providerId="ADAL" clId="{F5A74835-7805-40C3-BC80-9F3813DF66B7}" dt="2025-05-28T13:24:19.736" v="153"/>
          <ac:spMkLst>
            <pc:docMk/>
            <pc:sldMk cId="508628737" sldId="2147483642"/>
            <ac:spMk id="69" creationId="{2AEEBE36-5D7D-49E8-BC94-A86C40441FB5}"/>
          </ac:spMkLst>
        </pc:spChg>
        <pc:spChg chg="mod">
          <ac:chgData name="Chamaria, Shridhar" userId="8333b265-e735-45f8-a921-ce459cc3483a" providerId="ADAL" clId="{F5A74835-7805-40C3-BC80-9F3813DF66B7}" dt="2025-05-28T13:24:38.596" v="161"/>
          <ac:spMkLst>
            <pc:docMk/>
            <pc:sldMk cId="508628737" sldId="2147483642"/>
            <ac:spMk id="70" creationId="{1CAFFDE6-2BB1-DD2B-E5CC-CD433846B0C3}"/>
          </ac:spMkLst>
        </pc:spChg>
        <pc:spChg chg="mod">
          <ac:chgData name="Chamaria, Shridhar" userId="8333b265-e735-45f8-a921-ce459cc3483a" providerId="ADAL" clId="{F5A74835-7805-40C3-BC80-9F3813DF66B7}" dt="2025-05-28T13:24:46.245" v="162"/>
          <ac:spMkLst>
            <pc:docMk/>
            <pc:sldMk cId="508628737" sldId="2147483642"/>
            <ac:spMk id="71" creationId="{2079F709-A382-C7FF-F5ED-FE41EA11D5EE}"/>
          </ac:spMkLst>
        </pc:spChg>
        <pc:spChg chg="mod">
          <ac:chgData name="Chamaria, Shridhar" userId="8333b265-e735-45f8-a921-ce459cc3483a" providerId="ADAL" clId="{F5A74835-7805-40C3-BC80-9F3813DF66B7}" dt="2025-05-28T14:27:17.504" v="933"/>
          <ac:spMkLst>
            <pc:docMk/>
            <pc:sldMk cId="508628737" sldId="2147483642"/>
            <ac:spMk id="85" creationId="{AD6E87F6-488C-4C54-A9E7-883422DB212A}"/>
          </ac:spMkLst>
        </pc:spChg>
        <pc:picChg chg="del">
          <ac:chgData name="Chamaria, Shridhar" userId="8333b265-e735-45f8-a921-ce459cc3483a" providerId="ADAL" clId="{F5A74835-7805-40C3-BC80-9F3813DF66B7}" dt="2025-05-28T13:56:46.501" v="540" actId="478"/>
          <ac:picMkLst>
            <pc:docMk/>
            <pc:sldMk cId="508628737" sldId="2147483642"/>
            <ac:picMk id="14" creationId="{D84DA506-C416-2855-2EE5-360C5A672E99}"/>
          </ac:picMkLst>
        </pc:picChg>
        <pc:picChg chg="del">
          <ac:chgData name="Chamaria, Shridhar" userId="8333b265-e735-45f8-a921-ce459cc3483a" providerId="ADAL" clId="{F5A74835-7805-40C3-BC80-9F3813DF66B7}" dt="2025-05-28T13:56:46.501" v="540" actId="478"/>
          <ac:picMkLst>
            <pc:docMk/>
            <pc:sldMk cId="508628737" sldId="2147483642"/>
            <ac:picMk id="17" creationId="{523A29E0-AF50-0972-8616-9B50525F6CA2}"/>
          </ac:picMkLst>
        </pc:picChg>
        <pc:picChg chg="del">
          <ac:chgData name="Chamaria, Shridhar" userId="8333b265-e735-45f8-a921-ce459cc3483a" providerId="ADAL" clId="{F5A74835-7805-40C3-BC80-9F3813DF66B7}" dt="2025-05-28T13:56:46.501" v="540" actId="478"/>
          <ac:picMkLst>
            <pc:docMk/>
            <pc:sldMk cId="508628737" sldId="2147483642"/>
            <ac:picMk id="23" creationId="{8216B2E9-2414-49EF-3AAF-ABA1043397F2}"/>
          </ac:picMkLst>
        </pc:picChg>
        <pc:picChg chg="del">
          <ac:chgData name="Chamaria, Shridhar" userId="8333b265-e735-45f8-a921-ce459cc3483a" providerId="ADAL" clId="{F5A74835-7805-40C3-BC80-9F3813DF66B7}" dt="2025-05-28T13:56:46.501" v="540" actId="478"/>
          <ac:picMkLst>
            <pc:docMk/>
            <pc:sldMk cId="508628737" sldId="2147483642"/>
            <ac:picMk id="24" creationId="{D8C930BF-3E1B-7C71-8916-30B2BCD44133}"/>
          </ac:picMkLst>
        </pc:picChg>
        <pc:picChg chg="del">
          <ac:chgData name="Chamaria, Shridhar" userId="8333b265-e735-45f8-a921-ce459cc3483a" providerId="ADAL" clId="{F5A74835-7805-40C3-BC80-9F3813DF66B7}" dt="2025-05-28T13:56:46.501" v="540" actId="478"/>
          <ac:picMkLst>
            <pc:docMk/>
            <pc:sldMk cId="508628737" sldId="2147483642"/>
            <ac:picMk id="25" creationId="{0880F4DA-BD70-6D03-AD26-AC8974176AFE}"/>
          </ac:picMkLst>
        </pc:picChg>
        <pc:picChg chg="del">
          <ac:chgData name="Chamaria, Shridhar" userId="8333b265-e735-45f8-a921-ce459cc3483a" providerId="ADAL" clId="{F5A74835-7805-40C3-BC80-9F3813DF66B7}" dt="2025-05-28T13:56:46.501" v="540" actId="478"/>
          <ac:picMkLst>
            <pc:docMk/>
            <pc:sldMk cId="508628737" sldId="2147483642"/>
            <ac:picMk id="35" creationId="{43E4A6FD-1A56-53CA-6197-053F6D243D35}"/>
          </ac:picMkLst>
        </pc:picChg>
        <pc:picChg chg="del">
          <ac:chgData name="Chamaria, Shridhar" userId="8333b265-e735-45f8-a921-ce459cc3483a" providerId="ADAL" clId="{F5A74835-7805-40C3-BC80-9F3813DF66B7}" dt="2025-05-28T13:56:46.501" v="540" actId="478"/>
          <ac:picMkLst>
            <pc:docMk/>
            <pc:sldMk cId="508628737" sldId="2147483642"/>
            <ac:picMk id="36" creationId="{D9F47601-BC22-2B81-51C3-4C1DD6068EF2}"/>
          </ac:picMkLst>
        </pc:picChg>
        <pc:picChg chg="del">
          <ac:chgData name="Chamaria, Shridhar" userId="8333b265-e735-45f8-a921-ce459cc3483a" providerId="ADAL" clId="{F5A74835-7805-40C3-BC80-9F3813DF66B7}" dt="2025-05-28T13:56:46.501" v="540" actId="478"/>
          <ac:picMkLst>
            <pc:docMk/>
            <pc:sldMk cId="508628737" sldId="2147483642"/>
            <ac:picMk id="37" creationId="{2F15F726-154C-002E-38DC-03206A163353}"/>
          </ac:picMkLst>
        </pc:picChg>
        <pc:picChg chg="del">
          <ac:chgData name="Chamaria, Shridhar" userId="8333b265-e735-45f8-a921-ce459cc3483a" providerId="ADAL" clId="{F5A74835-7805-40C3-BC80-9F3813DF66B7}" dt="2025-05-28T13:56:46.501" v="540" actId="478"/>
          <ac:picMkLst>
            <pc:docMk/>
            <pc:sldMk cId="508628737" sldId="2147483642"/>
            <ac:picMk id="51" creationId="{30C89609-B637-EB23-FAD9-A1A9A8B94BAC}"/>
          </ac:picMkLst>
        </pc:picChg>
        <pc:picChg chg="del">
          <ac:chgData name="Chamaria, Shridhar" userId="8333b265-e735-45f8-a921-ce459cc3483a" providerId="ADAL" clId="{F5A74835-7805-40C3-BC80-9F3813DF66B7}" dt="2025-05-28T13:56:46.501" v="540" actId="478"/>
          <ac:picMkLst>
            <pc:docMk/>
            <pc:sldMk cId="508628737" sldId="2147483642"/>
            <ac:picMk id="53" creationId="{3052375B-A800-156B-6125-3FE46E49C8CA}"/>
          </ac:picMkLst>
        </pc:picChg>
        <pc:picChg chg="del">
          <ac:chgData name="Chamaria, Shridhar" userId="8333b265-e735-45f8-a921-ce459cc3483a" providerId="ADAL" clId="{F5A74835-7805-40C3-BC80-9F3813DF66B7}" dt="2025-05-28T13:56:46.501" v="540" actId="478"/>
          <ac:picMkLst>
            <pc:docMk/>
            <pc:sldMk cId="508628737" sldId="2147483642"/>
            <ac:picMk id="57" creationId="{C887FE97-42E4-3B97-D0CF-9390E12C5A17}"/>
          </ac:picMkLst>
        </pc:picChg>
        <pc:picChg chg="del">
          <ac:chgData name="Chamaria, Shridhar" userId="8333b265-e735-45f8-a921-ce459cc3483a" providerId="ADAL" clId="{F5A74835-7805-40C3-BC80-9F3813DF66B7}" dt="2025-05-28T13:56:46.501" v="540" actId="478"/>
          <ac:picMkLst>
            <pc:docMk/>
            <pc:sldMk cId="508628737" sldId="2147483642"/>
            <ac:picMk id="64" creationId="{5FA47E9E-661A-A431-07A9-335700ADCD48}"/>
          </ac:picMkLst>
        </pc:picChg>
      </pc:sldChg>
      <pc:sldChg chg="addSp delSp modSp mod">
        <pc:chgData name="Chamaria, Shridhar" userId="8333b265-e735-45f8-a921-ce459cc3483a" providerId="ADAL" clId="{F5A74835-7805-40C3-BC80-9F3813DF66B7}" dt="2025-05-28T14:54:55.119" v="1520"/>
        <pc:sldMkLst>
          <pc:docMk/>
          <pc:sldMk cId="2442186101" sldId="2147483643"/>
        </pc:sldMkLst>
        <pc:spChg chg="mod">
          <ac:chgData name="Chamaria, Shridhar" userId="8333b265-e735-45f8-a921-ce459cc3483a" providerId="ADAL" clId="{F5A74835-7805-40C3-BC80-9F3813DF66B7}" dt="2025-05-28T14:54:55.119" v="1520"/>
          <ac:spMkLst>
            <pc:docMk/>
            <pc:sldMk cId="2442186101" sldId="2147483643"/>
            <ac:spMk id="6" creationId="{00000000-0000-0000-0000-000000000000}"/>
          </ac:spMkLst>
        </pc:spChg>
        <pc:spChg chg="mod">
          <ac:chgData name="Chamaria, Shridhar" userId="8333b265-e735-45f8-a921-ce459cc3483a" providerId="ADAL" clId="{F5A74835-7805-40C3-BC80-9F3813DF66B7}" dt="2025-05-28T13:44:34.259" v="507" actId="20577"/>
          <ac:spMkLst>
            <pc:docMk/>
            <pc:sldMk cId="2442186101" sldId="2147483643"/>
            <ac:spMk id="38" creationId="{465BD279-8379-0224-713F-526A93444577}"/>
          </ac:spMkLst>
        </pc:spChg>
        <pc:spChg chg="mod">
          <ac:chgData name="Chamaria, Shridhar" userId="8333b265-e735-45f8-a921-ce459cc3483a" providerId="ADAL" clId="{F5A74835-7805-40C3-BC80-9F3813DF66B7}" dt="2025-05-28T13:24:19.736" v="153"/>
          <ac:spMkLst>
            <pc:docMk/>
            <pc:sldMk cId="2442186101" sldId="2147483643"/>
            <ac:spMk id="52" creationId="{89A2D886-398A-7E8D-4556-F50EE23C733D}"/>
          </ac:spMkLst>
        </pc:spChg>
        <pc:spChg chg="mod">
          <ac:chgData name="Chamaria, Shridhar" userId="8333b265-e735-45f8-a921-ce459cc3483a" providerId="ADAL" clId="{F5A74835-7805-40C3-BC80-9F3813DF66B7}" dt="2025-05-28T13:24:38.596" v="161"/>
          <ac:spMkLst>
            <pc:docMk/>
            <pc:sldMk cId="2442186101" sldId="2147483643"/>
            <ac:spMk id="53" creationId="{458A39E5-C8E2-5F71-A403-CC251E123A5E}"/>
          </ac:spMkLst>
        </pc:spChg>
        <pc:spChg chg="mod">
          <ac:chgData name="Chamaria, Shridhar" userId="8333b265-e735-45f8-a921-ce459cc3483a" providerId="ADAL" clId="{F5A74835-7805-40C3-BC80-9F3813DF66B7}" dt="2025-05-28T13:24:46.245" v="162"/>
          <ac:spMkLst>
            <pc:docMk/>
            <pc:sldMk cId="2442186101" sldId="2147483643"/>
            <ac:spMk id="54" creationId="{A2039849-C3FB-7E40-66E1-B7C64DC37CD3}"/>
          </ac:spMkLst>
        </pc:spChg>
        <pc:graphicFrameChg chg="add mod modGraphic">
          <ac:chgData name="Chamaria, Shridhar" userId="8333b265-e735-45f8-a921-ce459cc3483a" providerId="ADAL" clId="{F5A74835-7805-40C3-BC80-9F3813DF66B7}" dt="2025-05-28T14:27:49.171" v="936" actId="207"/>
          <ac:graphicFrameMkLst>
            <pc:docMk/>
            <pc:sldMk cId="2442186101" sldId="2147483643"/>
            <ac:graphicFrameMk id="5" creationId="{3A1B5F9E-DBDE-F795-5916-473D5E4F3D25}"/>
          </ac:graphicFrameMkLst>
        </pc:graphicFrameChg>
        <pc:picChg chg="del">
          <ac:chgData name="Chamaria, Shridhar" userId="8333b265-e735-45f8-a921-ce459cc3483a" providerId="ADAL" clId="{F5A74835-7805-40C3-BC80-9F3813DF66B7}" dt="2025-05-28T13:47:45.488" v="512" actId="478"/>
          <ac:picMkLst>
            <pc:docMk/>
            <pc:sldMk cId="2442186101" sldId="2147483643"/>
            <ac:picMk id="13" creationId="{7FB2DBBB-8D91-825B-D97F-9AF310295371}"/>
          </ac:picMkLst>
        </pc:picChg>
        <pc:picChg chg="del">
          <ac:chgData name="Chamaria, Shridhar" userId="8333b265-e735-45f8-a921-ce459cc3483a" providerId="ADAL" clId="{F5A74835-7805-40C3-BC80-9F3813DF66B7}" dt="2025-05-28T13:47:45.488" v="512" actId="478"/>
          <ac:picMkLst>
            <pc:docMk/>
            <pc:sldMk cId="2442186101" sldId="2147483643"/>
            <ac:picMk id="19" creationId="{CE9CDA1E-ED0C-EC60-61E5-C1FDFE8503F2}"/>
          </ac:picMkLst>
        </pc:picChg>
        <pc:picChg chg="del">
          <ac:chgData name="Chamaria, Shridhar" userId="8333b265-e735-45f8-a921-ce459cc3483a" providerId="ADAL" clId="{F5A74835-7805-40C3-BC80-9F3813DF66B7}" dt="2025-05-28T13:47:45.488" v="512" actId="478"/>
          <ac:picMkLst>
            <pc:docMk/>
            <pc:sldMk cId="2442186101" sldId="2147483643"/>
            <ac:picMk id="20" creationId="{A3FA02A1-314B-AFE8-73B2-74AFB7B7861F}"/>
          </ac:picMkLst>
        </pc:picChg>
        <pc:picChg chg="del">
          <ac:chgData name="Chamaria, Shridhar" userId="8333b265-e735-45f8-a921-ce459cc3483a" providerId="ADAL" clId="{F5A74835-7805-40C3-BC80-9F3813DF66B7}" dt="2025-05-28T13:47:45.488" v="512" actId="478"/>
          <ac:picMkLst>
            <pc:docMk/>
            <pc:sldMk cId="2442186101" sldId="2147483643"/>
            <ac:picMk id="21" creationId="{F811C6F7-95C1-8CB7-8343-C3D6DDE3F29F}"/>
          </ac:picMkLst>
        </pc:picChg>
        <pc:picChg chg="del">
          <ac:chgData name="Chamaria, Shridhar" userId="8333b265-e735-45f8-a921-ce459cc3483a" providerId="ADAL" clId="{F5A74835-7805-40C3-BC80-9F3813DF66B7}" dt="2025-05-28T13:47:45.488" v="512" actId="478"/>
          <ac:picMkLst>
            <pc:docMk/>
            <pc:sldMk cId="2442186101" sldId="2147483643"/>
            <ac:picMk id="22" creationId="{181DA329-5F09-6CBA-4D46-A041C6FD76B5}"/>
          </ac:picMkLst>
        </pc:picChg>
        <pc:picChg chg="del">
          <ac:chgData name="Chamaria, Shridhar" userId="8333b265-e735-45f8-a921-ce459cc3483a" providerId="ADAL" clId="{F5A74835-7805-40C3-BC80-9F3813DF66B7}" dt="2025-05-28T13:47:45.488" v="512" actId="478"/>
          <ac:picMkLst>
            <pc:docMk/>
            <pc:sldMk cId="2442186101" sldId="2147483643"/>
            <ac:picMk id="27" creationId="{79B96E7D-2210-1925-D289-11F6A6C20E89}"/>
          </ac:picMkLst>
        </pc:picChg>
        <pc:picChg chg="del">
          <ac:chgData name="Chamaria, Shridhar" userId="8333b265-e735-45f8-a921-ce459cc3483a" providerId="ADAL" clId="{F5A74835-7805-40C3-BC80-9F3813DF66B7}" dt="2025-05-28T13:47:45.488" v="512" actId="478"/>
          <ac:picMkLst>
            <pc:docMk/>
            <pc:sldMk cId="2442186101" sldId="2147483643"/>
            <ac:picMk id="28" creationId="{E1109848-E26D-460E-4AA8-2BAB5C7014AA}"/>
          </ac:picMkLst>
        </pc:picChg>
        <pc:picChg chg="del">
          <ac:chgData name="Chamaria, Shridhar" userId="8333b265-e735-45f8-a921-ce459cc3483a" providerId="ADAL" clId="{F5A74835-7805-40C3-BC80-9F3813DF66B7}" dt="2025-05-28T13:47:45.488" v="512" actId="478"/>
          <ac:picMkLst>
            <pc:docMk/>
            <pc:sldMk cId="2442186101" sldId="2147483643"/>
            <ac:picMk id="29" creationId="{6BC2D023-2F60-12AF-D845-913CFCD9F915}"/>
          </ac:picMkLst>
        </pc:picChg>
        <pc:picChg chg="del">
          <ac:chgData name="Chamaria, Shridhar" userId="8333b265-e735-45f8-a921-ce459cc3483a" providerId="ADAL" clId="{F5A74835-7805-40C3-BC80-9F3813DF66B7}" dt="2025-05-28T13:47:45.488" v="512" actId="478"/>
          <ac:picMkLst>
            <pc:docMk/>
            <pc:sldMk cId="2442186101" sldId="2147483643"/>
            <ac:picMk id="30" creationId="{DF73A67B-A25A-ACEA-887B-0AA385030EF1}"/>
          </ac:picMkLst>
        </pc:picChg>
        <pc:picChg chg="del">
          <ac:chgData name="Chamaria, Shridhar" userId="8333b265-e735-45f8-a921-ce459cc3483a" providerId="ADAL" clId="{F5A74835-7805-40C3-BC80-9F3813DF66B7}" dt="2025-05-28T13:47:45.488" v="512" actId="478"/>
          <ac:picMkLst>
            <pc:docMk/>
            <pc:sldMk cId="2442186101" sldId="2147483643"/>
            <ac:picMk id="31" creationId="{E88F3FF7-2A53-F5CF-AE5B-0AAE87892D69}"/>
          </ac:picMkLst>
        </pc:picChg>
        <pc:picChg chg="del">
          <ac:chgData name="Chamaria, Shridhar" userId="8333b265-e735-45f8-a921-ce459cc3483a" providerId="ADAL" clId="{F5A74835-7805-40C3-BC80-9F3813DF66B7}" dt="2025-05-28T13:47:45.488" v="512" actId="478"/>
          <ac:picMkLst>
            <pc:docMk/>
            <pc:sldMk cId="2442186101" sldId="2147483643"/>
            <ac:picMk id="32" creationId="{81507B7B-D1B0-6E0A-E06A-F549B5F56683}"/>
          </ac:picMkLst>
        </pc:picChg>
        <pc:picChg chg="del">
          <ac:chgData name="Chamaria, Shridhar" userId="8333b265-e735-45f8-a921-ce459cc3483a" providerId="ADAL" clId="{F5A74835-7805-40C3-BC80-9F3813DF66B7}" dt="2025-05-28T13:47:45.488" v="512" actId="478"/>
          <ac:picMkLst>
            <pc:docMk/>
            <pc:sldMk cId="2442186101" sldId="2147483643"/>
            <ac:picMk id="35" creationId="{DAAD3B47-8CA7-371B-E9B2-C5CC72C75670}"/>
          </ac:picMkLst>
        </pc:picChg>
      </pc:sldChg>
      <pc:sldChg chg="addSp delSp modSp mod">
        <pc:chgData name="Chamaria, Shridhar" userId="8333b265-e735-45f8-a921-ce459cc3483a" providerId="ADAL" clId="{F5A74835-7805-40C3-BC80-9F3813DF66B7}" dt="2025-05-28T14:27:02.508" v="930"/>
        <pc:sldMkLst>
          <pc:docMk/>
          <pc:sldMk cId="1327975761" sldId="2147483644"/>
        </pc:sldMkLst>
        <pc:spChg chg="mod">
          <ac:chgData name="Chamaria, Shridhar" userId="8333b265-e735-45f8-a921-ce459cc3483a" providerId="ADAL" clId="{F5A74835-7805-40C3-BC80-9F3813DF66B7}" dt="2025-05-28T14:04:11.498" v="614" actId="1076"/>
          <ac:spMkLst>
            <pc:docMk/>
            <pc:sldMk cId="1327975761" sldId="2147483644"/>
            <ac:spMk id="2" creationId="{00000000-0000-0000-0000-000000000000}"/>
          </ac:spMkLst>
        </pc:spChg>
        <pc:spChg chg="add del mod modVis">
          <ac:chgData name="Chamaria, Shridhar" userId="8333b265-e735-45f8-a921-ce459cc3483a" providerId="ADAL" clId="{F5A74835-7805-40C3-BC80-9F3813DF66B7}" dt="2025-05-28T13:22:17.391" v="130"/>
          <ac:spMkLst>
            <pc:docMk/>
            <pc:sldMk cId="1327975761" sldId="2147483644"/>
            <ac:spMk id="4" creationId="{00ADACF0-D0E3-B409-19EA-01F5AF7D23F2}"/>
          </ac:spMkLst>
        </pc:spChg>
        <pc:spChg chg="mod">
          <ac:chgData name="Chamaria, Shridhar" userId="8333b265-e735-45f8-a921-ce459cc3483a" providerId="ADAL" clId="{F5A74835-7805-40C3-BC80-9F3813DF66B7}" dt="2025-05-28T14:26:39.956" v="924"/>
          <ac:spMkLst>
            <pc:docMk/>
            <pc:sldMk cId="1327975761" sldId="2147483644"/>
            <ac:spMk id="8" creationId="{00000000-0000-0000-0000-000000000000}"/>
          </ac:spMkLst>
        </pc:spChg>
        <pc:spChg chg="mod">
          <ac:chgData name="Chamaria, Shridhar" userId="8333b265-e735-45f8-a921-ce459cc3483a" providerId="ADAL" clId="{F5A74835-7805-40C3-BC80-9F3813DF66B7}" dt="2025-05-28T14:26:52.014" v="927"/>
          <ac:spMkLst>
            <pc:docMk/>
            <pc:sldMk cId="1327975761" sldId="2147483644"/>
            <ac:spMk id="27" creationId="{A14EE606-B7F7-4B33-1EC2-FFC20B6ED6CC}"/>
          </ac:spMkLst>
        </pc:spChg>
        <pc:spChg chg="mod">
          <ac:chgData name="Chamaria, Shridhar" userId="8333b265-e735-45f8-a921-ce459cc3483a" providerId="ADAL" clId="{F5A74835-7805-40C3-BC80-9F3813DF66B7}" dt="2025-05-28T14:27:02.508" v="930"/>
          <ac:spMkLst>
            <pc:docMk/>
            <pc:sldMk cId="1327975761" sldId="2147483644"/>
            <ac:spMk id="28" creationId="{3D32D2AC-C19E-C626-7A5F-71282E7AE3F3}"/>
          </ac:spMkLst>
        </pc:spChg>
        <pc:graphicFrameChg chg="mod">
          <ac:chgData name="Chamaria, Shridhar" userId="8333b265-e735-45f8-a921-ce459cc3483a" providerId="ADAL" clId="{F5A74835-7805-40C3-BC80-9F3813DF66B7}" dt="2025-05-28T14:04:11.753" v="616"/>
          <ac:graphicFrameMkLst>
            <pc:docMk/>
            <pc:sldMk cId="1327975761" sldId="2147483644"/>
            <ac:graphicFrameMk id="57" creationId="{00FEEA85-108F-A6E8-9FD8-EAAD6FB8871A}"/>
          </ac:graphicFrameMkLst>
        </pc:graphicFrameChg>
      </pc:sldChg>
      <pc:sldChg chg="addSp delSp modSp mod">
        <pc:chgData name="Chamaria, Shridhar" userId="8333b265-e735-45f8-a921-ce459cc3483a" providerId="ADAL" clId="{F5A74835-7805-40C3-BC80-9F3813DF66B7}" dt="2025-05-28T14:27:27.688" v="934" actId="207"/>
        <pc:sldMkLst>
          <pc:docMk/>
          <pc:sldMk cId="3376645983" sldId="2147483645"/>
        </pc:sldMkLst>
        <pc:spChg chg="mod">
          <ac:chgData name="Chamaria, Shridhar" userId="8333b265-e735-45f8-a921-ce459cc3483a" providerId="ADAL" clId="{F5A74835-7805-40C3-BC80-9F3813DF66B7}" dt="2025-05-28T13:25:58.229" v="207" actId="948"/>
          <ac:spMkLst>
            <pc:docMk/>
            <pc:sldMk cId="3376645983" sldId="2147483645"/>
            <ac:spMk id="2" creationId="{00000000-0000-0000-0000-000000000000}"/>
          </ac:spMkLst>
        </pc:spChg>
        <pc:spChg chg="add del mod modVis">
          <ac:chgData name="Chamaria, Shridhar" userId="8333b265-e735-45f8-a921-ce459cc3483a" providerId="ADAL" clId="{F5A74835-7805-40C3-BC80-9F3813DF66B7}" dt="2025-05-28T13:22:17.391" v="126"/>
          <ac:spMkLst>
            <pc:docMk/>
            <pc:sldMk cId="3376645983" sldId="2147483645"/>
            <ac:spMk id="14" creationId="{AABE781B-AA92-7F6E-7D30-D32A8D6416B2}"/>
          </ac:spMkLst>
        </pc:spChg>
        <pc:spChg chg="add mod">
          <ac:chgData name="Chamaria, Shridhar" userId="8333b265-e735-45f8-a921-ce459cc3483a" providerId="ADAL" clId="{F5A74835-7805-40C3-BC80-9F3813DF66B7}" dt="2025-05-28T13:44:19.401" v="501" actId="20577"/>
          <ac:spMkLst>
            <pc:docMk/>
            <pc:sldMk cId="3376645983" sldId="2147483645"/>
            <ac:spMk id="36" creationId="{78A4E24E-DAA9-909D-2611-7F2EC5A96876}"/>
          </ac:spMkLst>
        </pc:spChg>
        <pc:graphicFrameChg chg="add mod modGraphic">
          <ac:chgData name="Chamaria, Shridhar" userId="8333b265-e735-45f8-a921-ce459cc3483a" providerId="ADAL" clId="{F5A74835-7805-40C3-BC80-9F3813DF66B7}" dt="2025-05-28T14:27:27.688" v="934" actId="207"/>
          <ac:graphicFrameMkLst>
            <pc:docMk/>
            <pc:sldMk cId="3376645983" sldId="2147483645"/>
            <ac:graphicFrameMk id="25" creationId="{899E1009-D3C0-47A8-9A36-EB4322C80A04}"/>
          </ac:graphicFrameMkLst>
        </pc:graphicFrameChg>
        <pc:graphicFrameChg chg="add del mod">
          <ac:chgData name="Chamaria, Shridhar" userId="8333b265-e735-45f8-a921-ce459cc3483a" providerId="ADAL" clId="{F5A74835-7805-40C3-BC80-9F3813DF66B7}" dt="2025-05-28T13:28:21.269" v="292" actId="478"/>
          <ac:graphicFrameMkLst>
            <pc:docMk/>
            <pc:sldMk cId="3376645983" sldId="2147483645"/>
            <ac:graphicFrameMk id="35" creationId="{4276770A-2587-66A8-0132-8DC33F8C9006}"/>
          </ac:graphicFrameMkLst>
        </pc:graphicFrameChg>
        <pc:graphicFrameChg chg="mod">
          <ac:chgData name="Chamaria, Shridhar" userId="8333b265-e735-45f8-a921-ce459cc3483a" providerId="ADAL" clId="{F5A74835-7805-40C3-BC80-9F3813DF66B7}" dt="2025-05-28T13:25:58.245" v="209"/>
          <ac:graphicFrameMkLst>
            <pc:docMk/>
            <pc:sldMk cId="3376645983" sldId="2147483645"/>
            <ac:graphicFrameMk id="268" creationId="{89BCAD17-E6D3-294E-FFE4-CD21C1697194}"/>
          </ac:graphicFrameMkLst>
        </pc:graphicFrameChg>
        <pc:picChg chg="add del mod">
          <ac:chgData name="Chamaria, Shridhar" userId="8333b265-e735-45f8-a921-ce459cc3483a" providerId="ADAL" clId="{F5A74835-7805-40C3-BC80-9F3813DF66B7}" dt="2025-05-28T13:30:34.261" v="390" actId="478"/>
          <ac:picMkLst>
            <pc:docMk/>
            <pc:sldMk cId="3376645983" sldId="2147483645"/>
            <ac:picMk id="26" creationId="{29344097-5A24-D4A1-8B77-8004EA969F33}"/>
          </ac:picMkLst>
        </pc:picChg>
        <pc:picChg chg="add del mod">
          <ac:chgData name="Chamaria, Shridhar" userId="8333b265-e735-45f8-a921-ce459cc3483a" providerId="ADAL" clId="{F5A74835-7805-40C3-BC80-9F3813DF66B7}" dt="2025-05-28T13:30:34.261" v="390" actId="478"/>
          <ac:picMkLst>
            <pc:docMk/>
            <pc:sldMk cId="3376645983" sldId="2147483645"/>
            <ac:picMk id="56" creationId="{17EAF5A8-E71F-C597-F0FF-D8A0D25B5F3D}"/>
          </ac:picMkLst>
        </pc:picChg>
        <pc:picChg chg="add del mod">
          <ac:chgData name="Chamaria, Shridhar" userId="8333b265-e735-45f8-a921-ce459cc3483a" providerId="ADAL" clId="{F5A74835-7805-40C3-BC80-9F3813DF66B7}" dt="2025-05-28T13:30:34.261" v="390" actId="478"/>
          <ac:picMkLst>
            <pc:docMk/>
            <pc:sldMk cId="3376645983" sldId="2147483645"/>
            <ac:picMk id="57" creationId="{4AC8E358-F8BF-48A3-4F41-00B34BBC6024}"/>
          </ac:picMkLst>
        </pc:picChg>
        <pc:picChg chg="add del mod">
          <ac:chgData name="Chamaria, Shridhar" userId="8333b265-e735-45f8-a921-ce459cc3483a" providerId="ADAL" clId="{F5A74835-7805-40C3-BC80-9F3813DF66B7}" dt="2025-05-28T13:30:34.261" v="390" actId="478"/>
          <ac:picMkLst>
            <pc:docMk/>
            <pc:sldMk cId="3376645983" sldId="2147483645"/>
            <ac:picMk id="59" creationId="{DC1887BD-4D10-8F2F-982D-9BA531296F0D}"/>
          </ac:picMkLst>
        </pc:picChg>
        <pc:picChg chg="add del mod">
          <ac:chgData name="Chamaria, Shridhar" userId="8333b265-e735-45f8-a921-ce459cc3483a" providerId="ADAL" clId="{F5A74835-7805-40C3-BC80-9F3813DF66B7}" dt="2025-05-28T13:30:34.261" v="390" actId="478"/>
          <ac:picMkLst>
            <pc:docMk/>
            <pc:sldMk cId="3376645983" sldId="2147483645"/>
            <ac:picMk id="60" creationId="{DE4AA242-DB6A-82B0-B25B-C8CF357519F1}"/>
          </ac:picMkLst>
        </pc:picChg>
        <pc:picChg chg="add del mod">
          <ac:chgData name="Chamaria, Shridhar" userId="8333b265-e735-45f8-a921-ce459cc3483a" providerId="ADAL" clId="{F5A74835-7805-40C3-BC80-9F3813DF66B7}" dt="2025-05-28T13:30:34.261" v="390" actId="478"/>
          <ac:picMkLst>
            <pc:docMk/>
            <pc:sldMk cId="3376645983" sldId="2147483645"/>
            <ac:picMk id="61" creationId="{7D34C31C-4762-2771-2A56-E17CCC80BBC0}"/>
          </ac:picMkLst>
        </pc:picChg>
        <pc:picChg chg="add del mod">
          <ac:chgData name="Chamaria, Shridhar" userId="8333b265-e735-45f8-a921-ce459cc3483a" providerId="ADAL" clId="{F5A74835-7805-40C3-BC80-9F3813DF66B7}" dt="2025-05-28T13:30:34.261" v="390" actId="478"/>
          <ac:picMkLst>
            <pc:docMk/>
            <pc:sldMk cId="3376645983" sldId="2147483645"/>
            <ac:picMk id="62" creationId="{7246A6BC-E4FF-7198-CB84-33EB20C3284C}"/>
          </ac:picMkLst>
        </pc:picChg>
        <pc:picChg chg="add del mod">
          <ac:chgData name="Chamaria, Shridhar" userId="8333b265-e735-45f8-a921-ce459cc3483a" providerId="ADAL" clId="{F5A74835-7805-40C3-BC80-9F3813DF66B7}" dt="2025-05-28T13:30:34.261" v="390" actId="478"/>
          <ac:picMkLst>
            <pc:docMk/>
            <pc:sldMk cId="3376645983" sldId="2147483645"/>
            <ac:picMk id="63" creationId="{99DE3D44-314E-3702-4323-BC5AB74B18F6}"/>
          </ac:picMkLst>
        </pc:picChg>
        <pc:picChg chg="add del mod">
          <ac:chgData name="Chamaria, Shridhar" userId="8333b265-e735-45f8-a921-ce459cc3483a" providerId="ADAL" clId="{F5A74835-7805-40C3-BC80-9F3813DF66B7}" dt="2025-05-28T13:30:34.261" v="390" actId="478"/>
          <ac:picMkLst>
            <pc:docMk/>
            <pc:sldMk cId="3376645983" sldId="2147483645"/>
            <ac:picMk id="64" creationId="{AA3F2457-D5D9-9FAF-F863-0D8A29AA8B46}"/>
          </ac:picMkLst>
        </pc:picChg>
        <pc:picChg chg="add del mod">
          <ac:chgData name="Chamaria, Shridhar" userId="8333b265-e735-45f8-a921-ce459cc3483a" providerId="ADAL" clId="{F5A74835-7805-40C3-BC80-9F3813DF66B7}" dt="2025-05-28T13:30:34.261" v="390" actId="478"/>
          <ac:picMkLst>
            <pc:docMk/>
            <pc:sldMk cId="3376645983" sldId="2147483645"/>
            <ac:picMk id="65" creationId="{B5B52415-0D2B-E4C8-A8C3-04CC0A8748AB}"/>
          </ac:picMkLst>
        </pc:picChg>
        <pc:picChg chg="add del mod">
          <ac:chgData name="Chamaria, Shridhar" userId="8333b265-e735-45f8-a921-ce459cc3483a" providerId="ADAL" clId="{F5A74835-7805-40C3-BC80-9F3813DF66B7}" dt="2025-05-28T13:30:34.261" v="390" actId="478"/>
          <ac:picMkLst>
            <pc:docMk/>
            <pc:sldMk cId="3376645983" sldId="2147483645"/>
            <ac:picMk id="66" creationId="{C5AA4213-7AF8-32AD-DC2D-B81EAD5B244D}"/>
          </ac:picMkLst>
        </pc:picChg>
        <pc:picChg chg="add del mod">
          <ac:chgData name="Chamaria, Shridhar" userId="8333b265-e735-45f8-a921-ce459cc3483a" providerId="ADAL" clId="{F5A74835-7805-40C3-BC80-9F3813DF66B7}" dt="2025-05-28T13:30:34.261" v="390" actId="478"/>
          <ac:picMkLst>
            <pc:docMk/>
            <pc:sldMk cId="3376645983" sldId="2147483645"/>
            <ac:picMk id="67" creationId="{8C2FC93C-92A1-1912-2ACA-229E44A6A0A9}"/>
          </ac:picMkLst>
        </pc:picChg>
      </pc:sldChg>
    </pc:docChg>
  </pc:docChgLst>
  <pc:docChgLst>
    <pc:chgData name="Kukreti, Anshul" userId="0618bf14-52d2-4a14-8122-fd45d48ea954" providerId="ADAL" clId="{75ECCE34-2B56-4632-A8E1-CE79698FB044}"/>
    <pc:docChg chg="custSel modSld">
      <pc:chgData name="Kukreti, Anshul" userId="0618bf14-52d2-4a14-8122-fd45d48ea954" providerId="ADAL" clId="{75ECCE34-2B56-4632-A8E1-CE79698FB044}" dt="2025-05-13T08:14:25.132" v="3"/>
      <pc:docMkLst>
        <pc:docMk/>
      </pc:docMkLst>
      <pc:sldChg chg="delSp modSp mod">
        <pc:chgData name="Kukreti, Anshul" userId="0618bf14-52d2-4a14-8122-fd45d48ea954" providerId="ADAL" clId="{75ECCE34-2B56-4632-A8E1-CE79698FB044}" dt="2025-05-13T08:14:25.132" v="3"/>
        <pc:sldMkLst>
          <pc:docMk/>
          <pc:sldMk cId="2101352579" sldId="257"/>
        </pc:sldMkLst>
        <pc:spChg chg="del">
          <ac:chgData name="Kukreti, Anshul" userId="0618bf14-52d2-4a14-8122-fd45d48ea954" providerId="ADAL" clId="{75ECCE34-2B56-4632-A8E1-CE79698FB044}" dt="2025-05-13T08:14:15.376" v="0" actId="478"/>
          <ac:spMkLst>
            <pc:docMk/>
            <pc:sldMk cId="2101352579" sldId="257"/>
            <ac:spMk id="5" creationId="{685D952C-6C33-9BC4-CF59-AE8C59C7C3A2}"/>
          </ac:spMkLst>
        </pc:spChg>
        <pc:spChg chg="mod">
          <ac:chgData name="Kukreti, Anshul" userId="0618bf14-52d2-4a14-8122-fd45d48ea954" providerId="ADAL" clId="{75ECCE34-2B56-4632-A8E1-CE79698FB044}" dt="2025-05-13T08:14:25.132" v="3"/>
          <ac:spMkLst>
            <pc:docMk/>
            <pc:sldMk cId="2101352579" sldId="257"/>
            <ac:spMk id="36" creationId="{72F2A435-0D47-6A6B-E949-7FE858C30367}"/>
          </ac:spMkLst>
        </pc:spChg>
      </pc:sldChg>
    </pc:docChg>
  </pc:docChgLst>
  <pc:docChgLst>
    <pc:chgData name="Chamaria, Shridhar" userId="8333b265-e735-45f8-a921-ce459cc3483a" providerId="ADAL" clId="{41F36DC9-E829-4397-9F53-E40464A49347}"/>
    <pc:docChg chg="custSel addSld modSld">
      <pc:chgData name="Chamaria, Shridhar" userId="8333b265-e735-45f8-a921-ce459cc3483a" providerId="ADAL" clId="{41F36DC9-E829-4397-9F53-E40464A49347}" dt="2025-05-29T11:24:51.013" v="65"/>
      <pc:docMkLst>
        <pc:docMk/>
      </pc:docMkLst>
      <pc:sldChg chg="addSp delSp modSp add mod">
        <pc:chgData name="Chamaria, Shridhar" userId="8333b265-e735-45f8-a921-ce459cc3483a" providerId="ADAL" clId="{41F36DC9-E829-4397-9F53-E40464A49347}" dt="2025-05-29T11:24:51.013" v="65"/>
        <pc:sldMkLst>
          <pc:docMk/>
          <pc:sldMk cId="3147993296" sldId="326"/>
        </pc:sldMkLst>
        <pc:spChg chg="add del mod modVis">
          <ac:chgData name="Chamaria, Shridhar" userId="8333b265-e735-45f8-a921-ce459cc3483a" providerId="ADAL" clId="{41F36DC9-E829-4397-9F53-E40464A49347}" dt="2025-05-29T11:24:43.156" v="24"/>
          <ac:spMkLst>
            <pc:docMk/>
            <pc:sldMk cId="3147993296" sldId="326"/>
            <ac:spMk id="2" creationId="{9C9D618B-F4EA-A398-C106-76A116C9CB97}"/>
          </ac:spMkLst>
        </pc:spChg>
        <pc:spChg chg="mod">
          <ac:chgData name="Chamaria, Shridhar" userId="8333b265-e735-45f8-a921-ce459cc3483a" providerId="ADAL" clId="{41F36DC9-E829-4397-9F53-E40464A49347}" dt="2025-05-29T11:24:50.998" v="63" actId="948"/>
          <ac:spMkLst>
            <pc:docMk/>
            <pc:sldMk cId="3147993296" sldId="326"/>
            <ac:spMk id="3" creationId="{FBD7D053-33B8-42F5-A1D9-DB27B4FBC23D}"/>
          </ac:spMkLst>
        </pc:spChg>
        <pc:graphicFrameChg chg="mod">
          <ac:chgData name="Chamaria, Shridhar" userId="8333b265-e735-45f8-a921-ce459cc3483a" providerId="ADAL" clId="{41F36DC9-E829-4397-9F53-E40464A49347}" dt="2025-05-29T11:24:51.013" v="65"/>
          <ac:graphicFrameMkLst>
            <pc:docMk/>
            <pc:sldMk cId="3147993296" sldId="326"/>
            <ac:graphicFrameMk id="5" creationId="{D20B36EA-A7FC-DE1C-B24A-EF2BF6BE694C}"/>
          </ac:graphicFrameMkLst>
        </pc:graphicFrameChg>
      </pc:sldChg>
    </pc:docChg>
  </pc:docChgLst>
  <pc:docChgLst>
    <pc:chgData name="Singh, Saurabh" userId="f070277a-f207-4a37-b703-28b59231ffa2" providerId="ADAL" clId="{272EA908-7862-4EC5-BDC7-F6F1F4465385}"/>
    <pc:docChg chg="custSel modMainMaster">
      <pc:chgData name="Singh, Saurabh" userId="f070277a-f207-4a37-b703-28b59231ffa2" providerId="ADAL" clId="{272EA908-7862-4EC5-BDC7-F6F1F4465385}" dt="2025-05-02T04:04:38.896" v="9" actId="948"/>
      <pc:docMkLst>
        <pc:docMk/>
      </pc:docMkLst>
      <pc:sldMasterChg chg="modSp mod">
        <pc:chgData name="Singh, Saurabh" userId="f070277a-f207-4a37-b703-28b59231ffa2" providerId="ADAL" clId="{272EA908-7862-4EC5-BDC7-F6F1F4465385}" dt="2025-05-02T04:04:38.896" v="9" actId="948"/>
        <pc:sldMasterMkLst>
          <pc:docMk/>
          <pc:sldMasterMk cId="3729795247" sldId="2147483648"/>
        </pc:sldMasterMkLst>
        <pc:spChg chg="mod">
          <ac:chgData name="Singh, Saurabh" userId="f070277a-f207-4a37-b703-28b59231ffa2" providerId="ADAL" clId="{272EA908-7862-4EC5-BDC7-F6F1F4465385}" dt="2025-05-02T04:04:38.896" v="9" actId="948"/>
          <ac:spMkLst>
            <pc:docMk/>
            <pc:sldMasterMk cId="3729795247" sldId="2147483648"/>
            <ac:spMk id="7" creationId="{00000000-0000-0000-0000-000000000000}"/>
          </ac:spMkLst>
        </pc:spChg>
        <pc:spChg chg="mod">
          <ac:chgData name="Singh, Saurabh" userId="f070277a-f207-4a37-b703-28b59231ffa2" providerId="ADAL" clId="{272EA908-7862-4EC5-BDC7-F6F1F4465385}" dt="2025-05-02T04:04:38.896" v="5" actId="948"/>
          <ac:spMkLst>
            <pc:docMk/>
            <pc:sldMasterMk cId="3729795247" sldId="2147483648"/>
            <ac:spMk id="8" creationId="{00000000-0000-0000-0000-000000000000}"/>
          </ac:spMkLst>
        </pc:spChg>
        <pc:spChg chg="mod">
          <ac:chgData name="Singh, Saurabh" userId="f070277a-f207-4a37-b703-28b59231ffa2" providerId="ADAL" clId="{272EA908-7862-4EC5-BDC7-F6F1F4465385}" dt="2025-05-02T04:04:38.896" v="0" actId="948"/>
          <ac:spMkLst>
            <pc:docMk/>
            <pc:sldMasterMk cId="3729795247" sldId="2147483648"/>
            <ac:spMk id="19" creationId="{00000000-0000-0000-0000-000000000000}"/>
          </ac:spMkLst>
        </pc:sp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6D3117-AE36-48E1-8AC5-D570143F21FD}" type="datetimeFigureOut">
              <a:rPr lang="en-US" smtClean="0"/>
              <a:t>5/29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2AD0EC-F3B8-421F-939F-0552FC2529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80042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A27F31C1-656A-45DB-AFD1-32DE2031D848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05014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7F31C1-656A-45DB-AFD1-32DE2031D84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658763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A2EC08-AF2C-44E8-80A1-5FE7B6614C95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4351140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FABD95-AC06-4080-9FAB-FB1E34179650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963007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7F31C1-656A-45DB-AFD1-32DE2031D848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955976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A27F31C1-656A-45DB-AFD1-32DE2031D84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2256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61795E-D355-4F7A-8EA0-05E192FB3CE8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10355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7F31C1-656A-45DB-AFD1-32DE2031D84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52357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65A675-2167-40D4-A784-14D39E5980A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99178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wrap="square"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DE1280-9857-494A-80F0-FA689C85C97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40681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7F31C1-656A-45DB-AFD1-32DE2031D84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877540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A2EC08-AF2C-44E8-80A1-5FE7B6614C95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331459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7047A61-CFC6-4D11-8AB8-FAFC8C770B14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123381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A2EC08-AF2C-44E8-80A1-5FE7B6614C95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97749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12046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042924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73235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34442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949F73F-40C4-459A-87F2-5B4A916D8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3945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49F73F-40C4-459A-87F2-5B4A916D8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42E30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int focus may2</a:t>
            </a: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DBS</a:t>
            </a: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63" r:id="rId3"/>
    <p:sldLayoutId id="2147483655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D1D1D1"/>
          </p15:clr>
        </p15:guide>
        <p15:guide id="4" orient="horz" pos="799" userDrawn="1">
          <p15:clr>
            <a:srgbClr val="D1D1D1"/>
          </p15:clr>
        </p15:guide>
        <p15:guide id="7" orient="horz" pos="4133" userDrawn="1">
          <p15:clr>
            <a:srgbClr val="D1D1D1"/>
          </p15:clr>
        </p15:guide>
        <p15:guide id="8" pos="208" userDrawn="1">
          <p15:clr>
            <a:srgbClr val="CCCCCC"/>
          </p15:clr>
        </p15:guide>
        <p15:guide id="9" pos="7472" userDrawn="1">
          <p15:clr>
            <a:srgbClr val="CCCCCC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tags" Target="../tags/tag85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75.xml"/><Relationship Id="rId21" Type="http://schemas.openxmlformats.org/officeDocument/2006/relationships/image" Target="../media/image17.emf"/><Relationship Id="rId7" Type="http://schemas.openxmlformats.org/officeDocument/2006/relationships/tags" Target="../tags/tag79.xml"/><Relationship Id="rId12" Type="http://schemas.openxmlformats.org/officeDocument/2006/relationships/tags" Target="../tags/tag84.xml"/><Relationship Id="rId17" Type="http://schemas.openxmlformats.org/officeDocument/2006/relationships/tags" Target="../tags/tag89.xml"/><Relationship Id="rId25" Type="http://schemas.openxmlformats.org/officeDocument/2006/relationships/image" Target="../media/image5.png"/><Relationship Id="rId2" Type="http://schemas.openxmlformats.org/officeDocument/2006/relationships/tags" Target="../tags/tag74.xml"/><Relationship Id="rId16" Type="http://schemas.openxmlformats.org/officeDocument/2006/relationships/tags" Target="../tags/tag88.xml"/><Relationship Id="rId20" Type="http://schemas.openxmlformats.org/officeDocument/2006/relationships/oleObject" Target="../embeddings/oleObject11.bin"/><Relationship Id="rId1" Type="http://schemas.openxmlformats.org/officeDocument/2006/relationships/tags" Target="../tags/tag73.xml"/><Relationship Id="rId6" Type="http://schemas.openxmlformats.org/officeDocument/2006/relationships/tags" Target="../tags/tag78.xml"/><Relationship Id="rId11" Type="http://schemas.openxmlformats.org/officeDocument/2006/relationships/tags" Target="../tags/tag83.xml"/><Relationship Id="rId24" Type="http://schemas.openxmlformats.org/officeDocument/2006/relationships/image" Target="../media/image20.emf"/><Relationship Id="rId5" Type="http://schemas.openxmlformats.org/officeDocument/2006/relationships/tags" Target="../tags/tag77.xml"/><Relationship Id="rId15" Type="http://schemas.openxmlformats.org/officeDocument/2006/relationships/tags" Target="../tags/tag87.xml"/><Relationship Id="rId23" Type="http://schemas.openxmlformats.org/officeDocument/2006/relationships/image" Target="../media/image19.emf"/><Relationship Id="rId10" Type="http://schemas.openxmlformats.org/officeDocument/2006/relationships/tags" Target="../tags/tag82.xml"/><Relationship Id="rId19" Type="http://schemas.openxmlformats.org/officeDocument/2006/relationships/notesSlide" Target="../notesSlides/notesSlide9.xml"/><Relationship Id="rId4" Type="http://schemas.openxmlformats.org/officeDocument/2006/relationships/tags" Target="../tags/tag76.xml"/><Relationship Id="rId9" Type="http://schemas.openxmlformats.org/officeDocument/2006/relationships/tags" Target="../tags/tag81.xml"/><Relationship Id="rId14" Type="http://schemas.openxmlformats.org/officeDocument/2006/relationships/tags" Target="../tags/tag86.xml"/><Relationship Id="rId22" Type="http://schemas.openxmlformats.org/officeDocument/2006/relationships/image" Target="../media/image18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0.xml"/><Relationship Id="rId3" Type="http://schemas.openxmlformats.org/officeDocument/2006/relationships/tags" Target="../tags/tag92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tags" Target="../tags/tag95.xml"/><Relationship Id="rId11" Type="http://schemas.openxmlformats.org/officeDocument/2006/relationships/image" Target="../media/image5.png"/><Relationship Id="rId5" Type="http://schemas.openxmlformats.org/officeDocument/2006/relationships/tags" Target="../tags/tag94.xml"/><Relationship Id="rId10" Type="http://schemas.openxmlformats.org/officeDocument/2006/relationships/image" Target="../media/image21.emf"/><Relationship Id="rId4" Type="http://schemas.openxmlformats.org/officeDocument/2006/relationships/tags" Target="../tags/tag93.xml"/><Relationship Id="rId9" Type="http://schemas.openxmlformats.org/officeDocument/2006/relationships/oleObject" Target="../embeddings/oleObject12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13" Type="http://schemas.openxmlformats.org/officeDocument/2006/relationships/tags" Target="../tags/tag108.xml"/><Relationship Id="rId18" Type="http://schemas.openxmlformats.org/officeDocument/2006/relationships/image" Target="../media/image22.emf"/><Relationship Id="rId3" Type="http://schemas.openxmlformats.org/officeDocument/2006/relationships/tags" Target="../tags/tag98.xml"/><Relationship Id="rId21" Type="http://schemas.openxmlformats.org/officeDocument/2006/relationships/image" Target="../media/image5.png"/><Relationship Id="rId7" Type="http://schemas.openxmlformats.org/officeDocument/2006/relationships/tags" Target="../tags/tag102.xml"/><Relationship Id="rId12" Type="http://schemas.openxmlformats.org/officeDocument/2006/relationships/tags" Target="../tags/tag107.xml"/><Relationship Id="rId17" Type="http://schemas.openxmlformats.org/officeDocument/2006/relationships/image" Target="../media/image1.emf"/><Relationship Id="rId2" Type="http://schemas.openxmlformats.org/officeDocument/2006/relationships/tags" Target="../tags/tag97.xml"/><Relationship Id="rId16" Type="http://schemas.openxmlformats.org/officeDocument/2006/relationships/oleObject" Target="../embeddings/oleObject13.bin"/><Relationship Id="rId20" Type="http://schemas.openxmlformats.org/officeDocument/2006/relationships/image" Target="../media/image24.emf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11" Type="http://schemas.openxmlformats.org/officeDocument/2006/relationships/tags" Target="../tags/tag106.xml"/><Relationship Id="rId5" Type="http://schemas.openxmlformats.org/officeDocument/2006/relationships/tags" Target="../tags/tag100.xml"/><Relationship Id="rId15" Type="http://schemas.openxmlformats.org/officeDocument/2006/relationships/notesSlide" Target="../notesSlides/notesSlide11.xml"/><Relationship Id="rId10" Type="http://schemas.openxmlformats.org/officeDocument/2006/relationships/tags" Target="../tags/tag105.xml"/><Relationship Id="rId19" Type="http://schemas.openxmlformats.org/officeDocument/2006/relationships/image" Target="../media/image23.emf"/><Relationship Id="rId4" Type="http://schemas.openxmlformats.org/officeDocument/2006/relationships/tags" Target="../tags/tag99.xml"/><Relationship Id="rId9" Type="http://schemas.openxmlformats.org/officeDocument/2006/relationships/tags" Target="../tags/tag104.xml"/><Relationship Id="rId1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16.xml"/><Relationship Id="rId13" Type="http://schemas.openxmlformats.org/officeDocument/2006/relationships/tags" Target="../tags/tag121.xml"/><Relationship Id="rId18" Type="http://schemas.openxmlformats.org/officeDocument/2006/relationships/notesSlide" Target="../notesSlides/notesSlide12.xml"/><Relationship Id="rId3" Type="http://schemas.openxmlformats.org/officeDocument/2006/relationships/tags" Target="../tags/tag111.xml"/><Relationship Id="rId21" Type="http://schemas.openxmlformats.org/officeDocument/2006/relationships/image" Target="../media/image25.emf"/><Relationship Id="rId7" Type="http://schemas.openxmlformats.org/officeDocument/2006/relationships/tags" Target="../tags/tag115.xml"/><Relationship Id="rId12" Type="http://schemas.openxmlformats.org/officeDocument/2006/relationships/tags" Target="../tags/tag120.xml"/><Relationship Id="rId17" Type="http://schemas.openxmlformats.org/officeDocument/2006/relationships/slideLayout" Target="../slideLayouts/slideLayout2.xml"/><Relationship Id="rId2" Type="http://schemas.openxmlformats.org/officeDocument/2006/relationships/tags" Target="../tags/tag110.xml"/><Relationship Id="rId16" Type="http://schemas.openxmlformats.org/officeDocument/2006/relationships/tags" Target="../tags/tag124.xml"/><Relationship Id="rId20" Type="http://schemas.openxmlformats.org/officeDocument/2006/relationships/image" Target="../media/image1.emf"/><Relationship Id="rId1" Type="http://schemas.openxmlformats.org/officeDocument/2006/relationships/tags" Target="../tags/tag109.xml"/><Relationship Id="rId6" Type="http://schemas.openxmlformats.org/officeDocument/2006/relationships/tags" Target="../tags/tag114.xml"/><Relationship Id="rId11" Type="http://schemas.openxmlformats.org/officeDocument/2006/relationships/tags" Target="../tags/tag119.xml"/><Relationship Id="rId24" Type="http://schemas.openxmlformats.org/officeDocument/2006/relationships/image" Target="../media/image5.png"/><Relationship Id="rId5" Type="http://schemas.openxmlformats.org/officeDocument/2006/relationships/tags" Target="../tags/tag113.xml"/><Relationship Id="rId15" Type="http://schemas.openxmlformats.org/officeDocument/2006/relationships/tags" Target="../tags/tag123.xml"/><Relationship Id="rId23" Type="http://schemas.openxmlformats.org/officeDocument/2006/relationships/image" Target="../media/image27.emf"/><Relationship Id="rId10" Type="http://schemas.openxmlformats.org/officeDocument/2006/relationships/tags" Target="../tags/tag118.xml"/><Relationship Id="rId19" Type="http://schemas.openxmlformats.org/officeDocument/2006/relationships/oleObject" Target="../embeddings/oleObject14.bin"/><Relationship Id="rId4" Type="http://schemas.openxmlformats.org/officeDocument/2006/relationships/tags" Target="../tags/tag112.xml"/><Relationship Id="rId9" Type="http://schemas.openxmlformats.org/officeDocument/2006/relationships/tags" Target="../tags/tag117.xml"/><Relationship Id="rId14" Type="http://schemas.openxmlformats.org/officeDocument/2006/relationships/tags" Target="../tags/tag122.xml"/><Relationship Id="rId22" Type="http://schemas.openxmlformats.org/officeDocument/2006/relationships/image" Target="../media/image26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27.xml"/><Relationship Id="rId7" Type="http://schemas.openxmlformats.org/officeDocument/2006/relationships/notesSlide" Target="../notesSlides/notesSlide13.xml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29.xml"/><Relationship Id="rId10" Type="http://schemas.openxmlformats.org/officeDocument/2006/relationships/image" Target="../media/image5.png"/><Relationship Id="rId4" Type="http://schemas.openxmlformats.org/officeDocument/2006/relationships/tags" Target="../tags/tag128.xml"/><Relationship Id="rId9" Type="http://schemas.openxmlformats.org/officeDocument/2006/relationships/image" Target="../media/image21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37.xml"/><Relationship Id="rId13" Type="http://schemas.openxmlformats.org/officeDocument/2006/relationships/tags" Target="../tags/tag142.xml"/><Relationship Id="rId18" Type="http://schemas.openxmlformats.org/officeDocument/2006/relationships/image" Target="../media/image1.emf"/><Relationship Id="rId3" Type="http://schemas.openxmlformats.org/officeDocument/2006/relationships/tags" Target="../tags/tag132.xml"/><Relationship Id="rId21" Type="http://schemas.openxmlformats.org/officeDocument/2006/relationships/image" Target="../media/image5.png"/><Relationship Id="rId7" Type="http://schemas.openxmlformats.org/officeDocument/2006/relationships/tags" Target="../tags/tag136.xml"/><Relationship Id="rId12" Type="http://schemas.openxmlformats.org/officeDocument/2006/relationships/tags" Target="../tags/tag141.xml"/><Relationship Id="rId17" Type="http://schemas.openxmlformats.org/officeDocument/2006/relationships/oleObject" Target="../embeddings/oleObject16.bin"/><Relationship Id="rId2" Type="http://schemas.openxmlformats.org/officeDocument/2006/relationships/tags" Target="../tags/tag131.xml"/><Relationship Id="rId16" Type="http://schemas.openxmlformats.org/officeDocument/2006/relationships/notesSlide" Target="../notesSlides/notesSlide14.xml"/><Relationship Id="rId20" Type="http://schemas.openxmlformats.org/officeDocument/2006/relationships/image" Target="../media/image29.emf"/><Relationship Id="rId1" Type="http://schemas.openxmlformats.org/officeDocument/2006/relationships/tags" Target="../tags/tag130.xml"/><Relationship Id="rId6" Type="http://schemas.openxmlformats.org/officeDocument/2006/relationships/tags" Target="../tags/tag135.xml"/><Relationship Id="rId11" Type="http://schemas.openxmlformats.org/officeDocument/2006/relationships/tags" Target="../tags/tag140.xml"/><Relationship Id="rId5" Type="http://schemas.openxmlformats.org/officeDocument/2006/relationships/tags" Target="../tags/tag134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139.xml"/><Relationship Id="rId19" Type="http://schemas.openxmlformats.org/officeDocument/2006/relationships/image" Target="../media/image28.emf"/><Relationship Id="rId4" Type="http://schemas.openxmlformats.org/officeDocument/2006/relationships/tags" Target="../tags/tag133.xml"/><Relationship Id="rId9" Type="http://schemas.openxmlformats.org/officeDocument/2006/relationships/tags" Target="../tags/tag138.xml"/><Relationship Id="rId14" Type="http://schemas.openxmlformats.org/officeDocument/2006/relationships/tags" Target="../tags/tag14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7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image" Target="../media/image5.png"/><Relationship Id="rId5" Type="http://schemas.openxmlformats.org/officeDocument/2006/relationships/tags" Target="../tags/tag9.xml"/><Relationship Id="rId10" Type="http://schemas.openxmlformats.org/officeDocument/2006/relationships/image" Target="../media/image1.emf"/><Relationship Id="rId4" Type="http://schemas.openxmlformats.org/officeDocument/2006/relationships/tags" Target="../tags/tag8.xml"/><Relationship Id="rId9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image" Target="../media/image6.emf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oleObject" Target="../embeddings/oleObject4.bin"/><Relationship Id="rId5" Type="http://schemas.openxmlformats.org/officeDocument/2006/relationships/tags" Target="../tags/tag15.xml"/><Relationship Id="rId10" Type="http://schemas.openxmlformats.org/officeDocument/2006/relationships/notesSlide" Target="../notesSlides/notesSlide2.xml"/><Relationship Id="rId4" Type="http://schemas.openxmlformats.org/officeDocument/2006/relationships/tags" Target="../tags/tag14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5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7.emf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image" Target="../media/image1.emf"/><Relationship Id="rId5" Type="http://schemas.openxmlformats.org/officeDocument/2006/relationships/tags" Target="../tags/tag23.xml"/><Relationship Id="rId10" Type="http://schemas.openxmlformats.org/officeDocument/2006/relationships/oleObject" Target="../embeddings/oleObject5.bin"/><Relationship Id="rId4" Type="http://schemas.openxmlformats.org/officeDocument/2006/relationships/tags" Target="../tags/tag22.xml"/><Relationship Id="rId9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5.png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12" Type="http://schemas.openxmlformats.org/officeDocument/2006/relationships/image" Target="../media/image8.emf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11" Type="http://schemas.openxmlformats.org/officeDocument/2006/relationships/image" Target="../media/image1.emf"/><Relationship Id="rId5" Type="http://schemas.openxmlformats.org/officeDocument/2006/relationships/tags" Target="../tags/tag30.xml"/><Relationship Id="rId10" Type="http://schemas.openxmlformats.org/officeDocument/2006/relationships/oleObject" Target="../embeddings/oleObject6.bin"/><Relationship Id="rId4" Type="http://schemas.openxmlformats.org/officeDocument/2006/relationships/tags" Target="../tags/tag29.xml"/><Relationship Id="rId9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13" Type="http://schemas.openxmlformats.org/officeDocument/2006/relationships/notesSlide" Target="../notesSlides/notesSlide5.xml"/><Relationship Id="rId18" Type="http://schemas.openxmlformats.org/officeDocument/2006/relationships/image" Target="../media/image11.emf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12" Type="http://schemas.openxmlformats.org/officeDocument/2006/relationships/slideLayout" Target="../slideLayouts/slideLayout2.xml"/><Relationship Id="rId17" Type="http://schemas.openxmlformats.org/officeDocument/2006/relationships/image" Target="../media/image10.emf"/><Relationship Id="rId2" Type="http://schemas.openxmlformats.org/officeDocument/2006/relationships/tags" Target="../tags/tag34.xml"/><Relationship Id="rId16" Type="http://schemas.openxmlformats.org/officeDocument/2006/relationships/image" Target="../media/image9.emf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11" Type="http://schemas.openxmlformats.org/officeDocument/2006/relationships/tags" Target="../tags/tag43.xml"/><Relationship Id="rId5" Type="http://schemas.openxmlformats.org/officeDocument/2006/relationships/tags" Target="../tags/tag37.xml"/><Relationship Id="rId15" Type="http://schemas.openxmlformats.org/officeDocument/2006/relationships/image" Target="../media/image1.emf"/><Relationship Id="rId10" Type="http://schemas.openxmlformats.org/officeDocument/2006/relationships/tags" Target="../tags/tag42.xml"/><Relationship Id="rId19" Type="http://schemas.openxmlformats.org/officeDocument/2006/relationships/image" Target="../media/image5.png"/><Relationship Id="rId4" Type="http://schemas.openxmlformats.org/officeDocument/2006/relationships/tags" Target="../tags/tag36.xml"/><Relationship Id="rId9" Type="http://schemas.openxmlformats.org/officeDocument/2006/relationships/tags" Target="../tags/tag41.xml"/><Relationship Id="rId1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12" Type="http://schemas.openxmlformats.org/officeDocument/2006/relationships/image" Target="../media/image5.png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11" Type="http://schemas.openxmlformats.org/officeDocument/2006/relationships/image" Target="../media/image1.emf"/><Relationship Id="rId5" Type="http://schemas.openxmlformats.org/officeDocument/2006/relationships/tags" Target="../tags/tag48.xml"/><Relationship Id="rId10" Type="http://schemas.openxmlformats.org/officeDocument/2006/relationships/oleObject" Target="../embeddings/oleObject8.bin"/><Relationship Id="rId4" Type="http://schemas.openxmlformats.org/officeDocument/2006/relationships/tags" Target="../tags/tag47.xml"/><Relationship Id="rId9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13" Type="http://schemas.openxmlformats.org/officeDocument/2006/relationships/image" Target="../media/image1.emf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12" Type="http://schemas.openxmlformats.org/officeDocument/2006/relationships/oleObject" Target="../embeddings/oleObject9.bin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tags" Target="../tags/tag56.xml"/><Relationship Id="rId11" Type="http://schemas.openxmlformats.org/officeDocument/2006/relationships/notesSlide" Target="../notesSlides/notesSlide7.xml"/><Relationship Id="rId5" Type="http://schemas.openxmlformats.org/officeDocument/2006/relationships/tags" Target="../tags/tag55.xml"/><Relationship Id="rId15" Type="http://schemas.openxmlformats.org/officeDocument/2006/relationships/image" Target="../media/image13.emf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54.xml"/><Relationship Id="rId9" Type="http://schemas.openxmlformats.org/officeDocument/2006/relationships/tags" Target="../tags/tag59.xml"/><Relationship Id="rId14" Type="http://schemas.openxmlformats.org/officeDocument/2006/relationships/image" Target="../media/image12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tags" Target="../tags/tag72.xml"/><Relationship Id="rId18" Type="http://schemas.openxmlformats.org/officeDocument/2006/relationships/image" Target="../media/image14.emf"/><Relationship Id="rId3" Type="http://schemas.openxmlformats.org/officeDocument/2006/relationships/tags" Target="../tags/tag62.xml"/><Relationship Id="rId21" Type="http://schemas.openxmlformats.org/officeDocument/2006/relationships/image" Target="../media/image5.png"/><Relationship Id="rId7" Type="http://schemas.openxmlformats.org/officeDocument/2006/relationships/tags" Target="../tags/tag66.xml"/><Relationship Id="rId12" Type="http://schemas.openxmlformats.org/officeDocument/2006/relationships/tags" Target="../tags/tag71.xml"/><Relationship Id="rId17" Type="http://schemas.openxmlformats.org/officeDocument/2006/relationships/image" Target="../media/image1.emf"/><Relationship Id="rId2" Type="http://schemas.openxmlformats.org/officeDocument/2006/relationships/tags" Target="../tags/tag61.xml"/><Relationship Id="rId16" Type="http://schemas.openxmlformats.org/officeDocument/2006/relationships/oleObject" Target="../embeddings/oleObject10.bin"/><Relationship Id="rId20" Type="http://schemas.openxmlformats.org/officeDocument/2006/relationships/image" Target="../media/image16.emf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11" Type="http://schemas.openxmlformats.org/officeDocument/2006/relationships/tags" Target="../tags/tag70.xml"/><Relationship Id="rId5" Type="http://schemas.openxmlformats.org/officeDocument/2006/relationships/tags" Target="../tags/tag64.xml"/><Relationship Id="rId15" Type="http://schemas.openxmlformats.org/officeDocument/2006/relationships/notesSlide" Target="../notesSlides/notesSlide8.xml"/><Relationship Id="rId10" Type="http://schemas.openxmlformats.org/officeDocument/2006/relationships/tags" Target="../tags/tag69.xml"/><Relationship Id="rId19" Type="http://schemas.openxmlformats.org/officeDocument/2006/relationships/image" Target="../media/image15.emf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20B36EA-A7FC-DE1C-B24A-EF2BF6BE69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09816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20B36EA-A7FC-DE1C-B24A-EF2BF6BE69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6" name="btfpColumnIndicatorGroup2">
            <a:extLst>
              <a:ext uri="{FF2B5EF4-FFF2-40B4-BE49-F238E27FC236}">
                <a16:creationId xmlns:a16="http://schemas.microsoft.com/office/drawing/2014/main" id="{6737429C-6A80-42DD-A9C5-605DAAC7BBCB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8" name="btfpColumnGapBlocker907226">
              <a:extLst>
                <a:ext uri="{FF2B5EF4-FFF2-40B4-BE49-F238E27FC236}">
                  <a16:creationId xmlns:a16="http://schemas.microsoft.com/office/drawing/2014/main" id="{86365CDB-AF92-4FB0-AC20-2E7EC5D4445C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btfpColumnGapBlocker625519">
              <a:extLst>
                <a:ext uri="{FF2B5EF4-FFF2-40B4-BE49-F238E27FC236}">
                  <a16:creationId xmlns:a16="http://schemas.microsoft.com/office/drawing/2014/main" id="{64B596F3-43E7-4357-9232-FD3A9F2D37EE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4" name="btfpColumnIndicator628445">
              <a:extLst>
                <a:ext uri="{FF2B5EF4-FFF2-40B4-BE49-F238E27FC236}">
                  <a16:creationId xmlns:a16="http://schemas.microsoft.com/office/drawing/2014/main" id="{58292CE5-FBBF-46E7-99AC-169E87D22A77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btfpColumnIndicator165372">
              <a:extLst>
                <a:ext uri="{FF2B5EF4-FFF2-40B4-BE49-F238E27FC236}">
                  <a16:creationId xmlns:a16="http://schemas.microsoft.com/office/drawing/2014/main" id="{EFBE867E-DA49-4571-9FC7-9D81D3163900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5" name="btfpColumnIndicatorGroup1">
            <a:extLst>
              <a:ext uri="{FF2B5EF4-FFF2-40B4-BE49-F238E27FC236}">
                <a16:creationId xmlns:a16="http://schemas.microsoft.com/office/drawing/2014/main" id="{8708164D-489D-4299-BEF3-C0994B2DBBE5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7" name="btfpColumnGapBlocker413041">
              <a:extLst>
                <a:ext uri="{FF2B5EF4-FFF2-40B4-BE49-F238E27FC236}">
                  <a16:creationId xmlns:a16="http://schemas.microsoft.com/office/drawing/2014/main" id="{D9F784DE-D744-43D5-A6ED-8B32EA346E7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btfpColumnGapBlocker360682">
              <a:extLst>
                <a:ext uri="{FF2B5EF4-FFF2-40B4-BE49-F238E27FC236}">
                  <a16:creationId xmlns:a16="http://schemas.microsoft.com/office/drawing/2014/main" id="{570CD6EE-EDD2-41A9-BBF8-DD90FC18BB0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3" name="btfpColumnIndicator540776">
              <a:extLst>
                <a:ext uri="{FF2B5EF4-FFF2-40B4-BE49-F238E27FC236}">
                  <a16:creationId xmlns:a16="http://schemas.microsoft.com/office/drawing/2014/main" id="{DCF19698-6A1A-45BC-A6FD-2AD7454E1F6E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btfpColumnIndicator577492">
              <a:extLst>
                <a:ext uri="{FF2B5EF4-FFF2-40B4-BE49-F238E27FC236}">
                  <a16:creationId xmlns:a16="http://schemas.microsoft.com/office/drawing/2014/main" id="{7FC36FA1-2E48-44D0-AD32-CD95CBB2D02D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FBD7D053-33B8-42F5-A1D9-DB27B4FBC23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Digital Deck 9 – Web-traffic and Search</a:t>
            </a:r>
          </a:p>
        </p:txBody>
      </p:sp>
      <p:sp>
        <p:nvSpPr>
          <p:cNvPr id="18" name="AutoShape 16">
            <a:extLst>
              <a:ext uri="{FF2B5EF4-FFF2-40B4-BE49-F238E27FC236}">
                <a16:creationId xmlns:a16="http://schemas.microsoft.com/office/drawing/2014/main" id="{3FCACF1B-91E4-431B-A1A2-99BC5D3DA9F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479932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6" name="btfpColumnIndicatorGroup2">
            <a:extLst>
              <a:ext uri="{FF2B5EF4-FFF2-40B4-BE49-F238E27FC236}">
                <a16:creationId xmlns:a16="http://schemas.microsoft.com/office/drawing/2014/main" id="{7A9AD074-72F2-4DCB-BA5A-C4B4A359B270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14" name="btfpColumnGapBlocker937566">
              <a:extLst>
                <a:ext uri="{FF2B5EF4-FFF2-40B4-BE49-F238E27FC236}">
                  <a16:creationId xmlns:a16="http://schemas.microsoft.com/office/drawing/2014/main" id="{1E875A2D-43C4-2F5A-D8DD-04FE7AFA5840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12" name="btfpColumnGapBlocker801801">
              <a:extLst>
                <a:ext uri="{FF2B5EF4-FFF2-40B4-BE49-F238E27FC236}">
                  <a16:creationId xmlns:a16="http://schemas.microsoft.com/office/drawing/2014/main" id="{9F8C6189-332F-60CA-E9AF-6FABA3838C4C}"/>
                </a:ext>
              </a:extLst>
            </p:cNvPr>
            <p:cNvSpPr/>
            <p:nvPr/>
          </p:nvSpPr>
          <p:spPr bwMode="gray">
            <a:xfrm>
              <a:off x="884376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10" name="btfpColumnIndicator974202">
              <a:extLst>
                <a:ext uri="{FF2B5EF4-FFF2-40B4-BE49-F238E27FC236}">
                  <a16:creationId xmlns:a16="http://schemas.microsoft.com/office/drawing/2014/main" id="{61279969-53C2-FCF7-9D57-54C687AF6EFA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btfpColumnIndicator829051">
              <a:extLst>
                <a:ext uri="{FF2B5EF4-FFF2-40B4-BE49-F238E27FC236}">
                  <a16:creationId xmlns:a16="http://schemas.microsoft.com/office/drawing/2014/main" id="{7A3C272B-E8E8-4787-7C86-E1F69FA1CD1B}"/>
                </a:ext>
              </a:extLst>
            </p:cNvPr>
            <p:cNvCxnSpPr/>
            <p:nvPr/>
          </p:nvCxnSpPr>
          <p:spPr bwMode="gray">
            <a:xfrm flipV="1">
              <a:off x="938430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6" name="btfpColumnGapBlocker246094">
              <a:extLst>
                <a:ext uri="{FF2B5EF4-FFF2-40B4-BE49-F238E27FC236}">
                  <a16:creationId xmlns:a16="http://schemas.microsoft.com/office/drawing/2014/main" id="{3871203C-B5AA-AE0F-867A-BD6BA569279C}"/>
                </a:ext>
              </a:extLst>
            </p:cNvPr>
            <p:cNvSpPr/>
            <p:nvPr/>
          </p:nvSpPr>
          <p:spPr bwMode="gray">
            <a:xfrm>
              <a:off x="5825728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04" name="btfpColumnIndicator134265">
              <a:extLst>
                <a:ext uri="{FF2B5EF4-FFF2-40B4-BE49-F238E27FC236}">
                  <a16:creationId xmlns:a16="http://schemas.microsoft.com/office/drawing/2014/main" id="{468A66F9-9D7A-C5B9-ACD0-3ECA3B9118B2}"/>
                </a:ext>
              </a:extLst>
            </p:cNvPr>
            <p:cNvCxnSpPr/>
            <p:nvPr/>
          </p:nvCxnSpPr>
          <p:spPr bwMode="gray">
            <a:xfrm flipV="1">
              <a:off x="884376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btfpColumnIndicator290578">
              <a:extLst>
                <a:ext uri="{FF2B5EF4-FFF2-40B4-BE49-F238E27FC236}">
                  <a16:creationId xmlns:a16="http://schemas.microsoft.com/office/drawing/2014/main" id="{3E87D7F7-A838-6102-0586-800C401B10DF}"/>
                </a:ext>
              </a:extLst>
            </p:cNvPr>
            <p:cNvCxnSpPr/>
            <p:nvPr/>
          </p:nvCxnSpPr>
          <p:spPr bwMode="gray">
            <a:xfrm flipV="1">
              <a:off x="636627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0" name="btfpColumnGapBlocker876731">
              <a:extLst>
                <a:ext uri="{FF2B5EF4-FFF2-40B4-BE49-F238E27FC236}">
                  <a16:creationId xmlns:a16="http://schemas.microsoft.com/office/drawing/2014/main" id="{75A337F8-1B2A-A001-9691-E77A94E38ED2}"/>
                </a:ext>
              </a:extLst>
            </p:cNvPr>
            <p:cNvSpPr/>
            <p:nvPr/>
          </p:nvSpPr>
          <p:spPr bwMode="gray">
            <a:xfrm>
              <a:off x="280769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98" name="btfpColumnIndicator760760">
              <a:extLst>
                <a:ext uri="{FF2B5EF4-FFF2-40B4-BE49-F238E27FC236}">
                  <a16:creationId xmlns:a16="http://schemas.microsoft.com/office/drawing/2014/main" id="{0E66B5B1-050A-0270-54B5-2B7A47BC7D78}"/>
                </a:ext>
              </a:extLst>
            </p:cNvPr>
            <p:cNvCxnSpPr/>
            <p:nvPr/>
          </p:nvCxnSpPr>
          <p:spPr bwMode="gray">
            <a:xfrm flipV="1">
              <a:off x="582572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btfpColumnIndicator507964">
              <a:extLst>
                <a:ext uri="{FF2B5EF4-FFF2-40B4-BE49-F238E27FC236}">
                  <a16:creationId xmlns:a16="http://schemas.microsoft.com/office/drawing/2014/main" id="{6005BCC1-C111-380D-127D-17FDA1394253}"/>
                </a:ext>
              </a:extLst>
            </p:cNvPr>
            <p:cNvCxnSpPr/>
            <p:nvPr/>
          </p:nvCxnSpPr>
          <p:spPr bwMode="gray">
            <a:xfrm flipV="1">
              <a:off x="334823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btfpColumnGapBlocker518363">
              <a:extLst>
                <a:ext uri="{FF2B5EF4-FFF2-40B4-BE49-F238E27FC236}">
                  <a16:creationId xmlns:a16="http://schemas.microsoft.com/office/drawing/2014/main" id="{394A6ED0-5F38-77BC-D151-501ED12D2809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91" name="btfpColumnIndicator983425">
              <a:extLst>
                <a:ext uri="{FF2B5EF4-FFF2-40B4-BE49-F238E27FC236}">
                  <a16:creationId xmlns:a16="http://schemas.microsoft.com/office/drawing/2014/main" id="{E9C51B34-0001-0700-8124-43602D59B4A1}"/>
                </a:ext>
              </a:extLst>
            </p:cNvPr>
            <p:cNvCxnSpPr/>
            <p:nvPr/>
          </p:nvCxnSpPr>
          <p:spPr bwMode="gray">
            <a:xfrm flipV="1">
              <a:off x="280769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btfpColumnIndicator257343">
              <a:extLst>
                <a:ext uri="{FF2B5EF4-FFF2-40B4-BE49-F238E27FC236}">
                  <a16:creationId xmlns:a16="http://schemas.microsoft.com/office/drawing/2014/main" id="{7EB779E1-F610-C77F-5209-38EB96C7F61D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5" name="btfpColumnIndicatorGroup1">
            <a:extLst>
              <a:ext uri="{FF2B5EF4-FFF2-40B4-BE49-F238E27FC236}">
                <a16:creationId xmlns:a16="http://schemas.microsoft.com/office/drawing/2014/main" id="{1D3EBC18-7398-9E1C-C0F6-78B7C7D4DA47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13" name="btfpColumnGapBlocker201617">
              <a:extLst>
                <a:ext uri="{FF2B5EF4-FFF2-40B4-BE49-F238E27FC236}">
                  <a16:creationId xmlns:a16="http://schemas.microsoft.com/office/drawing/2014/main" id="{C85B18BF-7003-09C1-5D2B-F2E808808D5C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11" name="btfpColumnGapBlocker730186">
              <a:extLst>
                <a:ext uri="{FF2B5EF4-FFF2-40B4-BE49-F238E27FC236}">
                  <a16:creationId xmlns:a16="http://schemas.microsoft.com/office/drawing/2014/main" id="{097DFBA6-9088-8AB9-BEA5-F3D6F4570FC3}"/>
                </a:ext>
              </a:extLst>
            </p:cNvPr>
            <p:cNvSpPr/>
            <p:nvPr/>
          </p:nvSpPr>
          <p:spPr bwMode="gray">
            <a:xfrm>
              <a:off x="884376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09" name="btfpColumnIndicator367960">
              <a:extLst>
                <a:ext uri="{FF2B5EF4-FFF2-40B4-BE49-F238E27FC236}">
                  <a16:creationId xmlns:a16="http://schemas.microsoft.com/office/drawing/2014/main" id="{4297E83C-4902-59E8-3869-1A16A21F9CF5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btfpColumnIndicator550240">
              <a:extLst>
                <a:ext uri="{FF2B5EF4-FFF2-40B4-BE49-F238E27FC236}">
                  <a16:creationId xmlns:a16="http://schemas.microsoft.com/office/drawing/2014/main" id="{82DDB0E5-D618-B3DE-411C-E8246D93450A}"/>
                </a:ext>
              </a:extLst>
            </p:cNvPr>
            <p:cNvCxnSpPr/>
            <p:nvPr/>
          </p:nvCxnSpPr>
          <p:spPr bwMode="gray">
            <a:xfrm flipV="1">
              <a:off x="938430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5" name="btfpColumnGapBlocker818216">
              <a:extLst>
                <a:ext uri="{FF2B5EF4-FFF2-40B4-BE49-F238E27FC236}">
                  <a16:creationId xmlns:a16="http://schemas.microsoft.com/office/drawing/2014/main" id="{7107A5E8-ABC5-A787-5347-17FC856A4B56}"/>
                </a:ext>
              </a:extLst>
            </p:cNvPr>
            <p:cNvSpPr/>
            <p:nvPr/>
          </p:nvSpPr>
          <p:spPr bwMode="gray">
            <a:xfrm>
              <a:off x="5825728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03" name="btfpColumnIndicator832136">
              <a:extLst>
                <a:ext uri="{FF2B5EF4-FFF2-40B4-BE49-F238E27FC236}">
                  <a16:creationId xmlns:a16="http://schemas.microsoft.com/office/drawing/2014/main" id="{1595EB56-1B42-600E-3E71-31616B4CFA45}"/>
                </a:ext>
              </a:extLst>
            </p:cNvPr>
            <p:cNvCxnSpPr/>
            <p:nvPr/>
          </p:nvCxnSpPr>
          <p:spPr bwMode="gray">
            <a:xfrm flipV="1">
              <a:off x="884376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btfpColumnIndicator525907">
              <a:extLst>
                <a:ext uri="{FF2B5EF4-FFF2-40B4-BE49-F238E27FC236}">
                  <a16:creationId xmlns:a16="http://schemas.microsoft.com/office/drawing/2014/main" id="{61BB2ED5-7D5E-CB7B-E58A-8B0395529F12}"/>
                </a:ext>
              </a:extLst>
            </p:cNvPr>
            <p:cNvCxnSpPr/>
            <p:nvPr/>
          </p:nvCxnSpPr>
          <p:spPr bwMode="gray">
            <a:xfrm flipV="1">
              <a:off x="636627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9" name="btfpColumnGapBlocker608616">
              <a:extLst>
                <a:ext uri="{FF2B5EF4-FFF2-40B4-BE49-F238E27FC236}">
                  <a16:creationId xmlns:a16="http://schemas.microsoft.com/office/drawing/2014/main" id="{FA14EEDF-4DD7-9F5B-4457-9B526B35C911}"/>
                </a:ext>
              </a:extLst>
            </p:cNvPr>
            <p:cNvSpPr/>
            <p:nvPr/>
          </p:nvSpPr>
          <p:spPr bwMode="gray">
            <a:xfrm>
              <a:off x="280769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97" name="btfpColumnIndicator889922">
              <a:extLst>
                <a:ext uri="{FF2B5EF4-FFF2-40B4-BE49-F238E27FC236}">
                  <a16:creationId xmlns:a16="http://schemas.microsoft.com/office/drawing/2014/main" id="{8610F838-12EC-D340-452C-DA26418AF994}"/>
                </a:ext>
              </a:extLst>
            </p:cNvPr>
            <p:cNvCxnSpPr/>
            <p:nvPr/>
          </p:nvCxnSpPr>
          <p:spPr bwMode="gray">
            <a:xfrm flipV="1">
              <a:off x="582572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btfpColumnIndicator314828">
              <a:extLst>
                <a:ext uri="{FF2B5EF4-FFF2-40B4-BE49-F238E27FC236}">
                  <a16:creationId xmlns:a16="http://schemas.microsoft.com/office/drawing/2014/main" id="{67C45B40-25A6-3E70-FB00-EEB622AB6C54}"/>
                </a:ext>
              </a:extLst>
            </p:cNvPr>
            <p:cNvCxnSpPr/>
            <p:nvPr/>
          </p:nvCxnSpPr>
          <p:spPr bwMode="gray">
            <a:xfrm flipV="1">
              <a:off x="334823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2" name="btfpColumnGapBlocker215881">
              <a:extLst>
                <a:ext uri="{FF2B5EF4-FFF2-40B4-BE49-F238E27FC236}">
                  <a16:creationId xmlns:a16="http://schemas.microsoft.com/office/drawing/2014/main" id="{5850A182-BAEA-2997-424F-27AD5CD0DC72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90" name="btfpColumnIndicator468722">
              <a:extLst>
                <a:ext uri="{FF2B5EF4-FFF2-40B4-BE49-F238E27FC236}">
                  <a16:creationId xmlns:a16="http://schemas.microsoft.com/office/drawing/2014/main" id="{3A3576B6-A28F-2642-664B-52535D233A7A}"/>
                </a:ext>
              </a:extLst>
            </p:cNvPr>
            <p:cNvCxnSpPr/>
            <p:nvPr/>
          </p:nvCxnSpPr>
          <p:spPr bwMode="gray">
            <a:xfrm flipV="1">
              <a:off x="280769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btfpColumnIndicator407469">
              <a:extLst>
                <a:ext uri="{FF2B5EF4-FFF2-40B4-BE49-F238E27FC236}">
                  <a16:creationId xmlns:a16="http://schemas.microsoft.com/office/drawing/2014/main" id="{73366B95-6A4D-01D4-0CA5-C900727E8DBB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B006A6E-FCEB-43CD-8066-209B5DE2F3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7528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592" imgH="595" progId="TCLayout.ActiveDocument.1">
                  <p:embed/>
                </p:oleObj>
              </mc:Choice>
              <mc:Fallback>
                <p:oleObj name="think-cell Slide" r:id="rId20" imgW="592" imgH="59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B006A6E-FCEB-43CD-8066-209B5DE2F3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btfpBulletedList815200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z2dD7pS103gZfJ6l4USC3jqtWOPR/ue0umjYEY9KlLthURXCUyUuZbmGDPUXB2idlVQc+R1c0j6vNnMaKvr/AghcgjyTjoGcS2U6lyGcWZbvoYqQsrFJ5DN1RdHsB5gZU4BjQJ6xKwDUEsW8X/QQ4uIPkrhyjIfLLN7ZR3puqzBiN1rMnctBA0J594at1EN5QJYMsPufr2eabAYzIDriNpy1GurybA3KWqcTPRKYh436jQqOHiPaCJtAtzpRgB7Igk7tw7BcBhai66Lc0jpyzFEK/4NRoFF+cso+ThI1HNgDMZbpFoCsJQtilLqk9nQPGX6RXGboCTf8hOOcHaKoTUKF81dro10jOa8Xb8mBGZAZ+Iyl7KGHMy03+9hVypQ0obddrk3ebukxUPEQ0Pm72/NjVtXXtJ9IYwXWGTh/SzHuwfQGDBNz+xvZ2H2OcnGP1YbVf/1Q3QHLmtTew6KEPEL4tOBwAllvyzgAO4mliX/0iz+3oqkmao9zxLMyM87x/jbj1/69H297HofVE3AV0jHHKqJLXrxcUvDhngg9dEONSJSgz7/89r09BhS8VjfNz0X+MCfjyzH+MSSI+6AaDe9EIxR4cKCbs8rHdx9+r2Q1ppP64dfAM1BwilKyMLu3kPw5GiyiTs2mVNh7IOG5ULy9jKgfNMvIi+D9G4ghQ7ZGJ4m/yTAhAUuGxz5gFkGEJxOXHobou6Aw36XPJWXalOh/wZTzSIWpzNAjApWYUVFms/XM6DA/Rxcp3RqRrcklwPwnocjkuUG+H5oUj3sJLprz/bxqzzLAGlJ+4Jb2vjwvv39Y2zHwZN23UhJH9hL9P2IZPssutxuBfuW6hae4sNeOzM/X2IyfWlL6j58Ls5v5iKGpDRXG4TLLLxFeo3Wjb87zpftkhdBT2nYU3ojSKSrb9Zs96XpKxa90ezEPOZ3jufWvC5M+Lda3SbfJUeblb/UbyK0G9WbxnyGc25VWSerhJPOf5hZ+MFFzIu97v0naQ2O9GbcDwNaGCmuZyjfbsObXTfFb97RN9i8qui5h0yGgyXTnpeebJbVsLx22QZbj0HHDQyiewR75XheY+coHjwNNk3BR4bkoSWcRBLm6CKgyM98SOCXxpEgXHBJeSar4Bef6ni1njdcF2Sp82PhyRtO3Eo92m6P5spdDFkTVME7UFDtZf8PdKZsYGF8Aw7jdi4le4vsNkDHxQV8JFsqGCiyt5PGQQ/So9BXj7bfy4aQW2rKA/DCDFQEAvS8h0MsPvm3jm3LoWaXb8BK0hFuErrRUfIJASvyisg0GsBEj0Yq36r8jZ6ZAeaMNj/MhgisTKYY0fP+uv5wxVGR4Hb14bUxJVJXyXBUqo/a8BD7iviaSr33W+YO1tSztiw5+Hmki/kIhiA+2z6ofFkzUYTSFvBarqcb52MKjNCAbEodzM06e+blWmM4QDQe6FntyqfMUdUaVWYDVD62OSYYMWZ6qLKSFYvuq4MricGErB5Trp0NR5FvdJiGOxrmLyLpwJ/5SxBM0dYDOAMaWx1c1/tuZHQLcXEDC8na3xXmopzTU2lMiQoNzFv3TENcwr7WiXNi5phbf8FuZiCMT2dBGWcbJ3PjnDwl5zljxvNr/rm63euQbDYzbiYyH0Vei7uSlMIj85yBQYBQSTDeKgvlBq9051Yc6UvKRZadMKfC1I/nObdYpUgHt/gdPaijf79FMpFDeemzB+DM+YnXGprqYYNuyZggE7ZJChSQGKZoal+Xvo8kfBHk7+3UqlYL19LdJpkBeJOlL3QTXqG7cmdM5PW+zKZU5khOZjAXt5DIi2IOkWZKZE7RY9oG8ge6OErUp+HZwwghLGIwNzqW2hbCOwRlB3y0p/UR3RB0ihOiv+SoJNcY1bztxZhXgqDqXZ5Mc/7ZHdPqv91DdvPDrSB3qsH7qNHVb1BRA4G5RlqTOMQSZoN8xpeCFCODQ4nI22gNjTbWhexxeaSjaag+dkEwah55jYBqlvaWndMv3h7azHlX7+z7IK+ir3KzNruKSISojrWdA2k/LSOkTbV48pbxB7i99fQIvK+5yY6+bR2C0AqeKbHfgY0s/X1LQdp1aj3nUkYm2PYOdKnunGtek2Fj7kyvCQeAPvk+zdP95IbZHBpcIGF51Lb0l/L23cpMdcsCKQ1AIvpQUq4fIFlOqhOX5LVMuP1FpzM7hg4i0+4GYrOQ+Q7awdkGp8ft7ajGc38WAHRuiBSzD0rUUfAJdQIPA9mcAdbwlfdvXC7jW4vt6uHoa+8UQw7lyuYfd5WXGEdDIkOf3g4XUH2cUcBrFCj2TdSyiwaYJdYmZUxVL0x8lwuYMpYYlHBuTWO+bfwXc9+qhYb1wIxKjJqpvAu94MUKWIw/dvhtk6GWzyM/7KKOf+EKn00ltVmhXdTDUwxodeCYlVPZ7cSrOezZs7RtSV5fL+bExHBmWHma1svlLgm21AAjUDjehJqVuxdzAoT05CIuqADa3wdNNOtxzEOmG34KcxQMdV2QakbtYKfdugrCS0jThv7GYTuEnYjcdJlqMoG4G4X8+knPC0n71Q1/peSbdVrf+A4B3Go87FyCvn1vVx/GWhm9dV/GmVsEjJi7bsO0hQTUvc0xQlH1VG+o3ltfjZfdKFHDhLaww4dbbU187gxhXyOm3BhNjN+XriNSrdQmICl3u33Yua1SalvfGW8RyUKWRZEgNhq3aXG7rW+zcNLhydENhL7VuD+y+pZnS4Klzn8Sijm0DN41EWIDzwlPN00XwXbYT5cw1B1X3hEI3D7znF6Ljd1lIDqokx/pJmLvllGjY6TnExPUxSeG7wryFHceUSGEOY514KbzpcSlQOSB9L8CzsMg1ahDMtBALVIoZm2DdH/uf0OanwWVq2quhCLo5Kqmu510qliL0hQExOsLxqRHQgRamEuCembG4THNhGFlCfh5LUaMowR39/6XD3l2v/PzxpuKn/T7gHNF3ACaZOiZSQ0lyAUKF9lYYiavfoQfD/QCvGtAPExXLy2Eb/fFs4QuQKak1OWJGC5Pj344n08lgUVcryWaAmAt0q3DUbCEFUVklAne+CJg/wyHCRlbtjqCE3x/0w++Zy2nkDWVy7A5t+5IMuW36ZddF5n3588hPRbJayQedhLC8BeSBGeXuL/FJ7NpWxPQODlpATPzaxyqFeKnrq40SIgFyqrvSj8FFAULnjAU1GS0b1jTtBLbBoyJCpyyGXsAQ+ztI2xhc6SSzsmkQoF8V/FwYn6FngKOzmYGc1AgYf3XpG8PF5VVa2GHP98klrW/K2QUwUcNXGqi64GEKZN8Isr95+PsR4RycmyQ7BjmT8NIt/lbcK9+uyxsHUXeDImcdri5RRPdZxl169dkcEYAz9m73v1E81X41h9SXkSDMlzxcdCAIAVhXUJJfKre5ZhRRUJAyKvuAARtcJLnos2s1/S5Pjyfow5WSn3S7Cy8CQuIpqsdkrq/BFe7G9sblc2XbYRh2SLPPBSnz+FBox8FDCa0I7lR/YBqaESBnmU/J+1V86HcxkNkVcKbMdFFIBoeLFE22EjAkLT7XjH9Y5NTFCJAmVGVBA6QnlESCTlM7aJedT90iMP2pqSmfeTAiA80h2k650K3DGkxJxhac0G3HFsMa+ryGwEKQ8TPkasiZqkXG2MJdmnECbLVn/rNq+sbqU1c6SJJIsrU5qfqk/nCJcd/5343hYzb170BAQ1bEvW12G+A9DGghCqk3bI2OVZB83ZPb4KARniF7gaTAvRRxjgIjCEysATgLCfZiAeB8D+Yhaa94IkrwQxoZpvAETX5U6qOOFwG7dB790joIVqKtPNS3/h6DgfshftSdk5d/WkWvIewrT31orP55vNDDP1HudHajvIFtvEKatFcSgLKVAqwD1USZdJCwcJuZpvb6sPmtNtyTGnRliyszwLdtds/O4aNMuq22BTYd/7cL9aw3QT5dzw6Nu4KzBrgXnWzwj5RaepU04GqcjM60Tgwf9o92wXaP2/TPu9tyawLfa50C52R7sHzapsUhFd9KQONDLG8oiJ+iJw3nkAHMWyQxr+cuXFh1wixxh1i54lRNW888gSWXgHmYwkQ0BKNHp1kLz9upMwvq0ObijRINODv518/pEQqeB5E9V2qMiU/zVVRS072xptxV7n7DZuO7uLxqsEZMtKR7H3r40AeMftn3r3rt5zCIFLwHUbLSpeA4dVkfSRdmD9TsJe29Pu2b8VihB2jJGhaP5BtEY43c3ies0c0+WX5xqEMC/Gb/xbIVW/XejFuO2jLjy6E8c288/KU1qQGRlawLTawmCnf46+w9W3iRh0Z+Zx9St7YaVbWJc4BeBPvGyqbP54hUURklU5RqawdI4FFyF35nkc6A8RU38KaK84vorptdKGyLmzHUe+0KFtc5Lzkx99gxF5Uk5k7D6rRYqd8SZrXAE/8vfPtyZD3gC2F+Z7aBYj0+kKRfUQSfcE9qy8+l+jnOjom//M0ryDiZ03YEiyC3Rm+zlFMe/QTWFAwq/w5UkFXvPN3pGmENT6Ny5vNIInju4d9iEGi50cEHsJ94orKLQPnpxgiKiZsifeucCDyiBWfgRpQWyyhbqCHgXlhc+lMb0MUIi5T2Vsvzj9Bb30mBFBi38lnpRXiiYuux53xCtifN4bFzfsDCkSJICqFseqYEgXC2tPosTKJ34Iu0PUYtktMg9RPuVc4m6pBshl8vp62kuqA7qt47+29SW/Ap9aegWrQTTl5vTPK3hrIhlcXC5zo+htz34eTS8bYF0XHhggmDMtnZH4dIbCKuGkPl8sBZpHsGHXKBchmmvccEFDgWIdh4mNv0JcIAg7X7azSkRI0lpTP8DCzraeCb5bR9iRTNsdP8UiaOGeJVBsntIOw3Q3A6UjEYT7Ly0GAJidWIIB1zeT5LrwrWV15yUdYOcffGlOPw99M2S0kM3ZOi2QB/2vmVQMsFno4cm8a3bdMEiAWfDQMLxZM9+5xgSgp03QhlpkbFGkBgOcLb0MheD8syUDN0QjRTeYkSqBH3jkoUM8z2bO4kH13VfuOsel0t+wyY61FvshxS7xdB8TTThZd6ERfnnuXAaxa/1rgduTISrhJ+bj6Np+EP6Ehc3dZzr0HDLciWMa50wGVV0Eb4C1NzeWN3gp7nTLVuKRX5sAN38Qb13LCjRgadZvib5NMh+pz70MACbiNCdyCHMb1h9IrGxcHGKpyC3dlYLVuWDlxFSuXuBQfzgsOHlW9qHyKBhX35r1Gz71VejiJXeZFGxBg3IvQVrCKPxhjI+IEiGQbVgf99HElR6+3yadtQy/GizfKxtKu81fyxpT+f+lX9PNA2Jz1jPTHkx8nQPapWJMkYdGHq6v0UOb4F029Mcn+zTgheHLznjfDgRVn/CFOkWMK55E55eIj21UyhwnRdONx/LRqvsL562rcxa9Q517eN5G4bhTpVI5NWhpj8zS3cFD1yEG5lH7tTueK6Qbt4mHp/Z6QpgXHheIxZ9iRpzczNVWJsgHNXmJOWnodT1e77mxoxOC8rWYbeEORvgt/fgC+i42bf1FpMgBp/X+3VzEtk0jUMDmiIvlibexrwaq+4K1AuFxt6xsihbD6Nau4v3BlPqMwfMdfkyumK/UoLUt+lZhRZmYKhLg7NqJTm2kDOL1aUj3UkpRCiSIcxaUH3/kxFpyVOs6XjvqIS4MAVagt41Cx+zZwdHBifbm1Wajp0iwLDSOvhLZcPnKKh0YEJFxQy18LdkEOiPwcpviKaFUpCr96+Xc6O1iBMLwZFA+5HMH4eieMI5QOCMk9eu1R/DQvFOx/4dVzYZ6wpm48LMw7XCHG2UzvJhgxJyNe+XDv/etWLzr/rFerB1NDwAnNYcXZq3sKhiISarDWCTofZSwnscVVuuhNp7lI/JIFtz6oa1EPAS7DuE1Yg5zuf7UeVJmkYFqscyYHhImX5Fq100lFg1EcoqNsPawTaRYMNcaqvmTk+TkQ29xL4u9G47Z+TIj6USgZ4Hej500So2GJq2j/eBmWz69TZIvTvo2Czhe4FNsFxM6epJd0FiDg0LisaecldC0DT77ogtS+bs1oFZZUhAxhzJkettzOv6oovRRXSq7WzbMlnMXtNXNU/QWu1X144aoO1SmCEDVRimRmC+jB7TqBvjsjHhzcNC7GNcw2T2EK37E6M2Nv6O/J86MAY8ACTjp007fXjQDtfaZdnwkRFM0o7bcZwUApGH0S0Y1QRU6pygS2gwXfyMdughipurUhUmXpVJScusi2Ka4uhbk/Xqed25skH7pvA5COfxyDo2F8XM5u6SUs8uaGbNFkKNTNu27ZlgudXziIwYYJb5XmMCV7J42dhqRmyXdwj2vxi6QdT6UMBCdPbu9tzJpCF1oLYUp82oVcN8uoAhGlQcP5FZAU4gQDfceet93S99Zby0VbfUJBL9YqZswspz9f5/3+VbHBVF4x5WJkHkizkMF0drPjAFdO43Avy6psk6MoNArTnsCZXDnLMOyylXQ3tYKRFpcGMuZJmiQzd87vdCTpIEne8WwYhBoX3IfphujcUPiM4KeZY5VepIxhJQuTXA4U0NE1+M0Uth2RzKDLGxwvWFJD+0zhLunbqfPdqIPR8YWoQ9WnWvqq+A11JO1sBuGi99UouSBc5BsceSN7GmHgH3GAds7CfibuliHMUem9uIaFc5j4xV0h2eV/A0h4z8vwMhxO9pl4NJqobQRA3Fp8lX2M5OiqnfE1ki9YdY3obJeMXt8oiQgfgXMXM6RzBgkqq7gt6cGBTift0lEmya7vF+JJZC99AHjR95dxU/Z+/eoWLiPI5XgXS30i9XuvYkGFOBos2Opa/qXUY7aZ+3Aj1hYWpmyj+qFeipl3fJVJUJ31Cg43pSBrTwoZAWi3dbpWeoameCiFCGGiI6JAf9ZrMdu3hBK2Y9tNgYAy6dzIGVT4KGfqh3UsRn8Rr6SXEBt20J/0obCPlIMDjmDXqz4a4mHpyk4rTwsl4nwhPyFXFUqq+oDVeosp9Yv2yCO1IhlHAJBd3qw3TFh8BvGvYXK0uwY58N//xnXvXT/aPIAewMj6yw9vHoiedQ69evmFtIa7S8nzbpbQ+k+awJNmhVsWLqEp7RfXIdufocmMwKOoI53MUhEgYam7WkmOwuJ9WvH6pZeQx3ZIqen21efILFwCvyX4spd3ekkFCaIuhInJQQ97WBxbsSFLOua9gaAVv/+7IPNb15vE1EOGfv0Yki73gmtTs3nYndDPnmIKFDwKu1tz6PUCvVEZYZFlCQBt7Vze6vBuaLUkHiupjlqCfxVXda0qn7yI0LPRmK4UIHMdvF66zFeX3GxkwEWPAcGEc3TKWtooj2UCSxUNznWk9A/CTd3PMJPSk3aeLLNNR3mz6/bosNB4zD1rBzWX9QtkjE1bo4VVlWCSC0KeG/ZLr8zKLYYtfkvmQnsqJAuvfQEO1isoj1g0kp4ly98GYBUStF2l9HpVJKXgcbt2W2FnLFYGd1Pi1ES/GCwaYbU98BmuOl8/sB0FbIJnDNHS2yP2Y0i43No5dFucxEyP4cj0owVJ0oGl4FWXaAimv3tf9weJLLKl1Yd93aYs3Kr5yk/Sx79M2//oHQpecPGAG611BODcCj80iY0+NiKlQuFzD53T2PR4Cn1asR2hbtsYytoOfvvbj5IHTafTq6+fuFQ3SRwUKLH9Tz6TgZZwSIPXJ1nebiU3U7K59bviCQbkNxhnVfJ1TusW8DwyyjGNUtZnhAyqmSbB3zUsMBZS0lkRcXbn3QbgkpUAYgaq6oLLkbBuajNJyhpXhLHm2MSTHsNv2a2JtZGtlH16jYZ8kLRTHUKJWYDyQUstmc9ILGNGu/GMoT/JmGZYzO3p0zIEyjf0x3/pa5Nx+g7WT/5tinjlwE8iMrfEPzX86kf1z/jqa7ceBv07zzhQiSjPeXPrYzmYybJkZP5GjpfqEc43TluQDi61NZcHOoBNW7y4N5vbc8gFSid9xOwIlt8Rr6tD5/mNsM3ckSd0gVbq22YdvCuOBzG43xo67BiaHdmBSteyICnldcc2y6EtFYIEo5aMv9tpejSO6omaIgJcXEm1h9ZzpGWnxSSZkraBlBJcPC02HxvLahRE4jGyKJryAW8/pHM2jZQzAfgQScAI1Od+e/iuAeHTv6oIxkp7uwG+cCHEv3vfrP9bQmrPX3nM+9tjmuD3F71RSNP7a/cIT8baN1g4UtrZzmZTzdDteZXCcKcNxqhcRNBXXTuTl07QUwMM18LYRk8Pci3Cr0zM76P3qytz1uJr8eTlCq4LaZfi3kEurOgew/y0Gl0wmE8mRd7UbE6kADTslBnEXe+dv5uflh2kGscSNYbXA8mnxPEpBjsufBhM6k2fUsUca7RY3WtNXxy3fvdmbLt6W2fuaAqsobS+gF+nljNlCSFcSaXM7Lj8HTw0OWYDWtBrNoxIhSSyogpez2udAwa6YUUQIOJET+4ALYsA3G0l+7W1F8+xMgFlcwQO1ae+ugcK6SXJT7Hi63ndcn4CGv63wJ53L5trrVn3BN8DzlsMBmhJMJrRdpBtJOULMOORSXVG0iyrJI0umQJasND61+gr/aAmT/UXrwaG411VMDvQpeChWAqS4zmlTxYEIeeMqEAm8WxZEL2qQwpZvsaIPi0FVdisLKhVlxFaGQHvU96u1u3biWKz3902iMX4h830una2C2GGFtnc+2c1U/fr2rp2FPUj3UKN/olwA0GngDX7ah0dshcneIjgMrLSCINGFSw0aKYErRYARcQpZnFnPnOl9EV6K98VLaOT0hGBTHb/g1HjeW5yHsOKelI0C69oCyXg68f5j1L8LHa1yLHODC8lCz7hGxNB7hTxLxn8+bfcslsh6TBbGQbF2HLzVORFqmGBRvAI1X8/RZpsoxyLMl9ZcSA0lXuucp1YRieGxkvXUjTQtA+5G9reEuy4G32uDZ6Dy+x1YBNH3B008hkUGGFne8oMW9YM1ScozNuj3f6hUdTZm9aVqPUF6KBYhl7U2ckmgsiS3e07342dFVBg3N9F+HxsuVBJTMHGg8Z1UcxUvT3n1If/CAlDQhCZ/eag7pHS/WJcaCr9fONYA27kEwHw1i+f7wuCm074g9RH9FvaZNuU8zOeMEOENY2ax/yd33srdzCy5+7PIaVBLIzVQs820Ik3XXCuGWYTbt89fU0BVAKedon4LZETqBtw9HVP1UAojzmRiqdFlIG5IkrMU933/UmzXylOxMbG1GU+KAVC4RmJN1qNFwqUOf0P13fV6vnGibyVv4FxJsXWOlaYMRMTZ9JVfYcp6M5/uJhXBxnQ63p53LD11JOb9JoUKA0S9HwMkHD8J5U64pwKX1jc/uMhTDXF5ktGHhY3nwCHVCF5xGVR0GMuX6txVlWCUC6YcaKJlhkO8JsAOkaudIdghDDRX/8czuSbDyK2x9dc2jwB3cQ/iA/uKQas4cI9nNwB8EpLtB5HMqe3zOOX2RggUjloYPagGFXihjXOAacDfLeRcLiSQPnje3rFwDCCfudFEivu+fAU+W3s7p7IA10vDwt+u8Eyi1+qF6TGhAQcHWVOrtRGXgWbI+WiZNgXqVwc5E8opGq5Rl0Kn314eNPyfBog95mBnzzN9NJhgfVy/66OFeooCwO+HYkimG6ugJC11e1FPvZe9IxYEqGToDmNs4XMRzQ1rFUKBpBRjLr7AiNlRmSCT5qYqJPD/eHJEdrAGA5MAfXrZ+eKeez4c8ByhYw5rc97YQFBIbmTAQ/2uMYsKyyiHAUJqUsUgTvxrhdO6YM09YpWain+WH2QfX4LF072Ls4W3vwsG41pvZv0XYkP4p2jfHmJf74R/oQtmheOTsheG+e0aasT6b0tlmfpTp5MNfKMlIf9PlwnOnNEUG58i91Qh9jDN1JVf/mh9k/jR7XFjD5PybSesCRi+bLDKnIqZn1h4GjO8KK2ab1iM+yKrm8WeuAGwqmnKMdE5SZCaykRWyfTAaKAot9PeVc61DEkLXsu2ALo9i/QfSrKfuID8ifb3kNw25wTnrnQjBf1Je1skIK0XXZpLRC06kqyWEHGo1EvBwK0WTyxcwkox6c2y49V7K0sH1sMwumZoEwW01WNHwFYU6hcNv22p+qs5/06+Q5dv2xl30dlL/gG5ZMyh2RQe73G3bopQZ8XAjinpItM41a5oMKvwP9Lx3mJJ/oNU0+sJekANAwd5F73fLEZskMHlE9DBj0GTp/mptVOnzzYI9yzGTT8u8rFKqTh4zFxbrqZ1gwUgKLAY3ZcBSZTTWUJJ9gwBtz97oQ5ayaEIbef+IkrhTW98aFz0oB/A2rSw/ibMg1qEm+MRWIBJkqZgoYFGyJv0wlIhvcVPEyEngUUPynmyvEDdMBqFQbdsS4cz5Jq7Lo9aSimOKpKAPAGsbDLysQ0HptaYCWP0oyh39dQS2V9EtrCmFANa6pXJkqZb2rd+Zb4/gTyJNLt6YGJiIFjXq6KCZPawF5M5X+pF6nKldIEdZ0ntOJBJEAV4sQHnfk73TuyOovjBRzzknYZkkfEAyX2RxcR6bcG5cnZobh3MAPBT1D+/a+dLhcf7lzOfnWaG3sujRX+MBFo/3Nz9hmcXsLP074ZsQ1QwemDLSdLCetY8F00Skncv3v+QYBp2inRPeBHkd7zi4tvSW10AgEpb1CawDHUtKQK0EthU010DOad1WXgFAoZtoDcc3+M8HeSpggIAFiAtJzxLKg2dt+HvQBZ1z5sj+9U8104XkXmNCP91Re7Olx+sXIV9pUEcBqjN19tAuuYDdSBW9eDHKfpoB7SqzEUYnbmkj2uktHJIF7Zdt4IKtFS9Ow7Z1qvrV0j4dnz650NBUrUludzOn9UKDQxz3unFw4DyhkT+csV3YnykJROjZ3s9YxreLUw9gY/mApJNylfE/TOVQwwPlMPLHGtbjVFPQDtFLmWUorOrAxnHng4Rpru/3XjXtlzww+3UycZlIxwHJ+p4mbyApMFaHRtLJqMut2hgrANmA1urVql7kaGvq3pt8MmUvSdZwP46IBKKme3ei/sqUjywxgBHVLmNwZ4wxE5DMmNTGbg9P3CklbcjVmh2WTApwUsCyW3c2aZ8mu/NRuW0NgacjfLHTJCNfMrGQrFJdKFFBjn8gh6ycdRMGiszz1XKuTtPCGwK+hbMzgGI7a+2pTuLMBju8MeYBcqa/5ynhiTHDjG/HTlkDxLjdB0JZBIJCxhq25RGaACTyBOENPHO8o8mQ5yawa+7h7I0IneHp4Mn/lcoll1Icxl3BZQ2YPAVljaCu2Hzv0FfgR4iLhVEK9B/f+GQVDkqYDFY89zdixynD56YoGg2kTbOdGZo/V3Cpm+7em9QQnWIlgbHkIDbjzY4kD5/iUXT8+FVUVB8nZfE1+b0LKbsbS/O3/XV0TfPzCwpaLGdSpJceRz4yvAvAnkl09N8uJTSnPi9viQ6QGRjVIrN+czDbnynZhKhhH5i5uZFXpEWWf2/t/VlJaDeMTDhAvSHSnDwrSKBkR4rrX4BrI5lT/Ov9/Tmd6ZYKVuh563woZFgu1Z6KboaRt2/+uNzbOymSHybUBEKabqu5yOeejqVWczkmTOxTxc1Od9Yif7Nu3hAbjQ0DM2c+DsHmbqEA7aPFVRP/I3STUTH/KWcxkNiJxk3A1rd3ECHuOer9Z5Xcc/eHhL/KeCNCI6/lnIYI+ZeN9Ib61pnAUdqZtGH42WNqCD5pRufih6xk5IbGzCSnKUpG8Gx3CLDx0SUAC9GuCJ4hGi0mBvUnQBWQGQiBsPyf5oIshVx4yR34DRFWIoz/GB1jNzrWGjhyLd/IcnifCvip1ka3SWiq3P0sZCtEhO/EA3AsAOgMiW7J7pqaFL77aHbZO7EOrz5N0u0QQ83iWSOWEkcNJZeHZ5X1jPwHrhRD/teMRoL2+dIbQz6a1bozxzOJndRjzig5G4WkINwlaW4wfHcMQukpJ+tUhfmBVisW/gZ3+XogWfltM8N7khKrlYf6dCnKLbOIj5u7p4sDCiHkq/rD+kWldjK4VKclK9C6aKXj161jqAII+3jEzkbbNWj0tNGVSsVX1JAjY9t2Fm0wriAQ4k7hrYcZbbJr9MpUsTeeLO50VBicNof8IZpx1kd1baCdUh9X7t2/RZlLtkLFTT8xxKsSIaTxvC5X+fO29dDTaJohGVD4tf26FHWOUbpH13ie0C36jtNZC28o37SZomy368h22MLSqrI064AZwTlWaY2LXwLLk3hu0CNhaC7y3PuuLP6IdwtffYoiHVYDUuOPHlTfnXvZ8qAKDrl+PGUU4+1i1bl/EMByL/MOls1ONLhuJtZ+TD0WxBixVU8e/G5joCi9hkcmA4jEUt3k+bOEaE4qjyiQwyAdK54xTmu5bSW7x/whhRqWZmK7WWH0QYjezcd+jThjUoCkIR+LL137/u0e4EBsqG6la4nxOdlfgtKLUXbxHokfjoHnU4KwkXR01VpZlG2U39NmJQEduuxAm1uc54YofgeuQNugMz/SmSmVUieKOG3maBKwZigQhr/ylTdcVH9ukpZTFjj8J68XiKV+ZWc+eVOGGnKYUcqG23M70jsiux/yDRmuvvsVEqQgJw3KcOm7/DE9SYoLXjskj+Cz7KMsvchk5EnDiMA+rydJZQAs1j3CIK88/e87z13si9gfFF4APiF071EoMfoFobmMeP49vQYfhXKB/hsGkepZAHSouOwaRdq4JBh29ZdrzfYxfVhuAsDytENnBZr7+bm8oKh8sK3hxqPNW7+r8SOoSFWcI83WwOVoQycRpj522hxVsZYwci2RuMy3Nt9mSxXVKxtkl6S0JHOLcR8IEWuZj7iBkdS7xDZNaNJjP2RplcBLWqp13SfOA/K0rgMvYN3hfnuWng9mbR5ErZ3xPEjJ4tmLAA+H3jq/w5w5JEzv/1G+fsS8m0hLfA1lrnjlYngrqLjpeyfuyIvYt6lLWHJXMutH74Hu1xg9Zkr9X7QcDHmEMbOG0kV5y5dQzrnhCga2sqVjWVP+oXVQD8AXtkgxny71FltfSDzchEPyJFEV9jI2GWE7wgwj+66EE0GYCvaOh8SiB73TslNXtZxA0jGiPIgCe7ayjc6td/2nMPqaT8ZiAutToNeXpD1XTfO3vARLDSdGlh74u2aROFfZtS6aTfmN6ekY8h2QuurA5q5xVpXIfJvT1nqBIp/9birpDIptPrXw5aXAhcSbCrKrEt6AGFirdqpE7IfwJd6Q0wB8n5UG1glnAjGJ1tR4YIzeDNFPBhO49GAPfpJTUKYxaYoTCObAT/Oome9Tia5UT4/wWKVCA+dkasOCJSNDDmhlBiybpBQ4Vk8IwB6gcceFoj0+1M2tEUOb4oCLCXcSgiE6YYm8tkvdtjWEA5Fb6SRSIQ0x400Upc9TvA9ehBm0IFWa4U2bBmMJQsrn5TUkkuLwpL9GmVpIMymafEISXEFKpPPh2SwvgGa6BataW5cPR6tpCRDfQRXTvjn4XgAmSZ2p+S0KGBOfFdOI6T5+SHRaKPm1Z/JL6PJ2qT1b3H1/wPkTBbAVVO2wasY7UC7+j3hH6Mq/wNuWpcFvA/ls9/z6R4Aq8vvVLKoB6oHDyYoInXAOGzTo3Q4Pvt9nxA8DKz72HUi49OSF7f4aJY+qb1mlwuwEXGhaEuc04pMylvg1H5erbNFqp0g1GKM/hl0MVWx735FO7OKj40HV0w79uKbc1F2bWUnLSXf3MmEkE7xmqd0wwz3rfi5oCBcECkhOobfsE8kvTuEDbcxso347JCS2+QX7bjWGv1zu6CtOZdFXl8AvsIvQ++M6BKzNDty1FhxrSKguSFv8kCyTqwnGgCQ6zRgZaIQu8wha5sK8+PvoMg2v/KDqIITRuRX2thQB8hRm21/okJxJ1wNz5FkW1/DHJAl7vc+5ZZJ0CZasBjeRpNikszgg9Ap/7/XP79+5RTZY2C5k53jRj+k5Aq15Gm/bATqqzrrBXtjHqOHvrYwpfvvB98tdW5vRYUfS9zEP9YG9+/u3wh9putwwfVA5naXXeXvE3ppHVdV0i0bIw59KaTy/MEGUz4VECLOR7nbMwdfqYvUcpUBak5LU09n39Srz3lnMa2TO5dbdsH61BosivqG9Lh3mJBFpCqh8wRquYytjy/sOYEFpO161GjT/Ew+FHLC60FvEeqZ7QxqFoi57YZo0oe8wrcSyE5sZlfetfhOO1+YVFov9dn/53t008hlLLC6oA2EqM5caViuBhmp2B20DE0DGMjd4nHdhE2SkdIK2FCawv7s05vcBfeXSyYwtKuoeE8wt0FuLcpfYiWenB1Biaghust3zUV7W9yBY1VvIipMsluYBevpFI6cPKl0ODiPu1xVoYgc+k1uu30evh67F7t6OwvrB9WSzTQsTsWqgeL/4MbGcT67HzTCITCMj3xglbKgmCU3bwzKXjsGr0PqXr61XRf0j5CeqVR3pQR+R1EzRANp1M8RvWgBmoIU6Y34VCIgkfw6umhkVJec7xdRz4VGWU1sPfhTAvXOGylR0IcpVqEhYHupT7Cjs4nkXMRYpAmRCpUuSkN4IIrKCRWiQOy2swodWE/6WCHWXjM/G7Qo5AE1SXsj/KKUvH85sTEQ5ujaMWxd8cENIV/pYmId9n7BwatfkedtZ2ouxDKFz9oXKNj4kp2l9JcjJHF2uWxdplWypbK91ST1zvANoulwbGqK58LXwuZ4d9MUQCt256ChNhXRIsuO8hEvgSc/GB2oDGkB0RikKew8oCdsuzZuWoSL3zX/VYgYxDtMxZhujMd68odHsQ1ydRdgy3z+yK7byJO4jksZ3QXXupVFRVPIVUDTuBy+3VzBo71LBoeFkslelGJVvYfcjnK0Oz5pPoLBhKAyCvT2/PEQ0MWOOhGEF+7WX/MR3IY3Y+WUfZK9+8bwEbyekMNWouHdV7oFK/zQXTnrw1MH0fOU4Qx9enGyAbjmduYuJZ0QrBG2g9/sul3EGLR/TqLrpgGv9Wrp0thyFz6A2i3sD3t5MXYLgzHuXsCX5U8SoDTnQZJnY6eHuE20SKo/P01CJLvcsDfvSqSXT+gDghgGCm00eOOZotMNTC7AbeScba0C7+18LzhfMfUiVJff3aESezF9RqcP0ZgA8BIlWDteDRxIIidDf5Z6RBOgS4hwQOnuOnl0SOnL2P6/af3eKhxghW1+GNtt7faMHMnU3IQ/8PW61CfCNUAOsE1A1Bz1dMKhjKOoog2nOwREGSrXM+9eRCGrAuKU05wSiRd42qg9kH/KqnlpMpUpixPomuOxjcE6WanIsqrZS02KLc8cEZpEGYRpTGNTwf3eB4P9l6Wg9Gl7lembh3iS8epdazA+wF41vUMlCQrmZ27x47W8uW73mvG5Uldf4MqEXjG0e5o+2Xsuqj8DQBKYdiiCOqxYFkj3TYfrUQ776ww79EZJyDJM2k2IxOd/jLvF9vpwy2J2X2DgSuVwaZgrlWJzAuMQLcRavHqIjaklqEc6TdnecYADP8+oqyQERMQu7teNRBTvwL5Qsz5oW0sOQIcOtgwIfFKalAFm7ZxBbD611DrNSV9fooANTcrZ5exXURQOOyDJ/eNEb5C08jbpfarHw1G+2HwEfwoCrlSjAXKEZPwfQ+D17NJ3gT7kdtvb122FW4Nn/8M6fE0JMdJRZjf7LgKQ0TD6QP/O6F/ltoJmFrMevZs9KJKC2mdhny9FTrlBgdH4/UGeh8z+80ULlh2mxPWB1onSeNRogflmcibB2HbVAIPD3kqH0wqjCJMfdJ0sI17Wry7fU/f5W9w6/ERrmHMW7ABBykhOOKO4OKyx64TuXO2tSFxI6ZSVLFs8F42+JBZaAo8dZdhRSScYLMcHzOWMek2HrZaD6be06kHuoXfFsvTd/rlIW+DUk1wml12wLzRrIjJ3rNzM+7DC1Hk0bzCfqqMFoOIt6ndkTNqLcxXkqbrJ9FAJ6l7KnmZqQmlNJZC4Ke8DKufVtQKInQdVCPHxN/nYCpYVdHDEnqsoBO7uU0+ShdYKmAL7tGlpc7imAIOkS4uNLV+qArp//CJ1c/42u+WOvpAe4h8QXeXKQeL30jLjQeUwbXLgAI3MBKwQXoPTWiDEEoIfcwfVk2ZuS/gHovWx3o/TO66o5HnHLAmOuc6+uURPfZ0W0gIujystPrJZHTqR03lp1EWiABr648Xp0c9YdDcsG/Ci91DZn4Ok0jLPaZ9F9JIFOmxfb8vZCTJxlgA/tGhKL4bJeWV8IbRJNRcn5C0DTFO1vetdFTCtOK9uxYZ6Bfgs9NNRFe+ZFUE49yXDlspUkBdOjJUQLhKHEhVBRm+7deU3P9hy5fHcqSZPrRiZNudx5m8iF41kIwlS+qEJ6Jx6zJjHtGRU9RN/buWosxf7rTpovMrTAlQ4F2LKfkvGcRF/fDew+ooDE/FeoOtfUzzmQsDBim2oXqn1dTvCoH4aB3nMls5BZGoxNBQOkWKJVYwrb0BAEqt39WtScm0X3kBVlQNXk148bX9UM54Y4HYM80lP0GN1jnICA1zeq8DjjNS5tDLmy2JKv76hmNKSxdGGwlYd458kezWMRJOSSz6EP5O3Nibpvto3Psggy7FGa314Kb3QGb0boDg5lHjecrk8KTg+sWLRt05N1dwzyqr2b8Jj/Sol/Zmd778Z+REU3cfKMMyLvzbAPvfGMiyCqyvLHO7UsqQiXJVQ73QweXZuWvb8KaLx/fYQ1W6tL2PsVHOjtOl9Hx/2gPNWivLwkvJF/l8qhv+iiGMvUAGAYbjNZLDxULax3Bnmc/qYeKRZVfFLug5toxXKP0bg1Cz4b9oTcIoFJyyH1rsp2jzqHwUomH+8AMQsC9lQdTUVTlAGHzUC1XPgH0sfSddgqOVHoRvGxycwPBQVa4TajOLpYC6Cgk8PlX6D9ErEbGVwrtiQ+vTA9nEdHt+sVUT6l2Gsef2fcg15MR+OnnpXlcec6Ww08yXg8xP/7hf0O2YQXjyWkgqTqsJUB6jQ/Dom8HuYPcrwzShMHdutUDTgLg92SMpYfx5chY7i6VYDnK0GHgEgPVk3/dCBBu1+Tv5e5yhM9cBqZUcqADn3QUFvJVvjWXfo5e/QVctN1vg2Jkq1tnQZo6HYDGrfuXb+O3WTTH8REhKow7qO4CGYjLw25QtlkKmNhxpxBfdmIDyOi3FOYT0BYcXZbIBHQB9kF8CaOjUlfFixnShccSu6zMmBpKrgKHGRGB41nldUwfOYXLq8CmGAsNn405b/0nzB7a2qblp0+YRXNMQfCheT3kLOWXU538L4dk9yoxf2lq0SVZg7+1wOlpJlXHxt0FfTJCrDhri6nHRvcV/NCH1KIPc85cACY3OVsIQ1HtyiPTHJynsnXkznuqXZX/GFjmQ6n5DiL+6qk86Y3PJRiU5gHpAzDyQSgMqvnmDfgqYhomXAtZyi1hPt0AqysbTyAk+nGWTMo9x6RK1/nSYPKgKCpyU6ob6aSUm9dmNAJ9Cj5mAZ+opqLhqSmI1xRMOMxU9HbPH6ly8ww88+SZRyDTFe+MbLger4SyYMra3+7h56THTXVHmVOkwMI9EotS6JYj1jmpc96QevsQ5XVsSLmrIzJKWMeq+jVE9gB2SKFMaA+akxZDVs9RRT4D08fFtAQJHxeXwYg6vKECrF4tQta/UF4zPBXCn16aBUEh2VknQfBvCaVuMHDtkDy8von1Q5Ok+ZvhAsw75QcBtH9k+01H7Xh9WJWhElIRWwatP+EGpAM9ZjBxGeRD6sZiOk7t9+6QANQq30lWG+lH6oJvntRJT6firB16AWiEabUUsj4PiwKwAs6HBBuEVsqnQoK4UjUb7+M8uP1gyw8hPrDhhWYsb6k/GlbYuxf2Db+IrAixSkOJfUDnNP712UrovnL1l3Yhx1ttvI4/aCD8u9dC0A5jL+ac8/pDM5kg7ednMD3cDgFf6j0hn4ZRd2o/vHWKAiYsCJ194N6C+GXhGcHgoeQTE5uloFJWRIn8MJr2myM6DWBYGEJdgXpGbbXTyxUZsUuiIhiqgziu8oxe2HdHG029FfXWDBIGvXmXw1WcevnG0S5qMF9ax84RyV8YwQ6F8//Jd8mkXpu0zKYcT2g4ReqxfB7YOPNHI3dw+xA0SEa7AP6pmdd4YCqrnvIjmOG4hvmd3w1Qb6y1Mwd5uSnWgpMayieeIluDuqU/ZbBt8vTx7+nQyDeRDnUWTL3nlXKVr5ESlxeRMv3T2nT6+TmrQAz9f5NKGcC2NouP3AuIkVBAGkTK0EmjdLmCN+EPguHOgv0OZoT9QT5JwO2UiiCnnYrS18xho1G+iHrqoBJ8mBcwLhknpgTn5NxFU9qh9dcjwZieA6XstEZzrk0XIoleBGSAVgvBVeDDU2jRzu+ucDFPPaLfIs+MC9O5ygAL4WV+eAl5sB0zoOTApr4Tl0Y5nZRRsezPUniwhp+ZsidDG+YECIJia9pf/S903kChRre2c6MwcAEpWK/cM8I1OstKZayegmViPVDHD/qqMAO/aq1G4Ip0KjDpOpdzUd6dKl+NUQeqjTVUxT0Tp/7KaBGhg31MgAu4WOvF+4PXPLVMn+c34y/2uyt3kQPgY6/ZD6S6Lbdid0LyO0uSzy6fxONR2MY0lGRKXM8dcXDe7+7g5judwGovz9Rknh9MVq6SsAmQzQ6cOrOBlqZ1qkN5hVjZwrLRPUxfGQFbk0Ux3yuyapEadVAmtFIdthE19r3CjcsVuByBJ9atZdpeEGURbvjuUEml9CUwYesJfGN1lZyqn31lrMm6R7O5o1bzVPZMKsF13ViBbNrLHHrxv03Y3TUviqHlecirWCKXZ6Rvy9K688kEKH8/TkI8EPEyiMyR+lNDH/Pw4Vilh356bthjdk7pE4sQIe8OrDrHX2Ifad/WtZkgexL7p641R5z2tkLcMwWZONmi+N77jmGSF3OKABJ2oRzFgKS/lY6ASYL+RjJEIe1LvsrooBWkx4TJqg1bRAKMRfQzkjJE04Q81euSMiTjtJRg76nDDaibFP7Z3rtB9nh69wDG451Z1Y4IyDxokviSblGMiURG6dl3hrx2Wi3+Qs/5agtDi41prEF4RtLBB2HJRvLGYCUj7ZW0zyiq5BFhdwOdrHqm/LKfttAoZxZ650ZQbbd5A8k3cAoGzzz9Of3JzLSxAjVw99CFcGKom7RAjyw2RLrAqLn4kGJRcgGROixyS1k/GM6l/gVypIUNJiwF1CuVPJuK4zp1BAbwCydoLhMTLNfnJ0RpV6IhrVhlMxnBYrrha8DEBebmOmqanPCu/mPgpLX8/06uaKK9A8QbmMQ8d9CeIf+yVKuLd12pkZKtwoKkvZnF6qAGrFqYQDdiEdq3q/TGlcqU5b37TrmeuehRiqKBbvAMwqKqtXa+khH1bpsms4Ro74pcMjX0Uw4CzeUdzT7DSXP8NF9iwlc783dW3AxWxSBAv9Qkoax6C2aeR/WQZ4bM9oa+FgYDPO2VGWmoEFdmDuEkQX+6iYT5hXv7By2+TKjI8oxUVQdl0xZf5oXQU/hZNzAmCcfyF1t7VLoZdyhoxbpgks1TrxIjmmlCeNbk06ayEf/UdgZ1VAoFWeHA34qAR9WTN5bdE+aHyIrg1XgBlMLI5LfVRKfzYpJQLdFW15SxKW/zwXjfmfej4rMwk/nszsfuupTGnVZYsSgECDi3N2lUaAzTVm57BmSeD+Tg2tZ4XluehSdcLkG8wXyc1PWHlIem5Y9fRHSkB81pweYFrM6+LXzvJ6Vn2otBp1jkqQOGUuZ1mzmwaeYBScdSbs1Tg8qrBh0iznTsuoEL14y3Y90U1iZMKe1dMJy/uBa6to4P2LUv2oOJlyhD1QXQrdeLGZ1v6bqBt3mPAWj4lFg1nnLfLZxGHpqPXoZxihY9FCTEA+QyDizg1TPn8pZNonki6QMkTE5xK3T2k+lh2Ki/z5UoA3Kcn4W9/nvvgudDQJ+elhDJutwHC546dAZp7dUBNoLgEj3xo0GnNXL2rlLH5lyGYQGjISVLzBNy9qqxHw9/FClYXzKBEiEMesRRkDuRcUozIfpfXrsoj9bGT7FldExSTC+nLqg7MqucTxCCgebnMG+MW95Fvd2lqJIJo5Y9GH2kTgGub6lRjYqZaepZCDwFjbOSw9//58PlJ1xeZF8jfXQ4IdKNKWBY8XHfyt5IBnt+AY8OAb3Fq+gRRAJzc0ThVeb+c+QzA7guApdCpMHrp40BmYF/tQVCGwzakDeecRvf5OD5d3SOFUKIAnU4F7fhzbCRSE7lcUO8RJ2KGmy8vBvgpDz+r7OisoNgB/frL8J6Gfoq9gNBBGv+TNK4hUb1307f+0G7gLzN+e7Ekd3Vr9G7Jb7t/8wkidVgoPH94UxKjcrZiLmJckw+kT8EzHnvVy4fBf6cjFg5sKKN34vd8S58sbYEtopgv68eydmMiYK2JiYWqUJsNVXpVofjR75vArKTIQPRs6NPom3y7OZ0K27yg2OOqrMBNIx6yDqe9kxU9s/mSO6oTzkgvmwIKBzNuAxsTVYAPg2SAOwSs1h2hz9lmMJkQhxwce3D8/tVJOe5mrKpgFFkKG835KntAZjHKt/Vc3Se66pU1/vdgzCRFTgTpKxZ2TMkS3NWkTIQdZd9Q0uI+GcgbtG/N3+Qov/agbx/BQrfKpI0v6cLRzfdryNL8YOwHBvjOqGnbajc8pY9Lg3s7M1TTtteaPpNG7iftq75QPRyWeUT2/BVK2dtEfbamdMAiLdYRAha84RoDNT+EMDkTffiaxR9tAyxautb6cahGkPtRlraWLDrGtxG5kSNY3uUlF85wFc/RyTvIvLF0Q23bIKI7JAml1aAFAXhM266QfHjNAbgkdRUXRl+ubwCX3+IK1tVxOrmrogXUf70HFUw0A48abwtbViIt/BlXVcpHz1/aL0C3/EAGvSrma/+iVFLbTXXDfuVwM5c545Loc00RXZnvMQ0o3hYvlZvuT58m+GcYgIDabH8QzY4nl2dgPgYQPGwYjqutx7UAKEbGuRufCBNZ26bXd6jfHrmAt9ZPgN/ACPVaiT+jYbmt9NskUFAYBEyj+XOVAndp6OIbYCkKNRzFH7DwAxukGrx0qa2SiBgUNixs0jqgnkYoaKrqo5mTvag/zKvkqcrwEt4ojxK7iClJII1WqtK0YwJGXjPFCTYHksfR25hrLr2ZeM0qvoNUp16GvQgUfVxW5NzVhHlHWIqBB2I6Uv1kYRNBb7LzbbOYrlS6jcFNfOjkOhW87kxTBMMktiMlGrKbgfUUl5bJ/LANn1cuOtgmpisMTODlwS4VhHH07AxZsQ6akIQLsz6cGDlhdMdHv1Xl54IxMViKJWv+Tq1Z9Lsw7RIOie2JfofmJkl0JL5wzBCuQ8JAKFRh68wXBN0rBVC7ywjPnAb91EjJdZDheanmVMwmXz+NBKKC2qtK73r9t9eq6R7lJ9Ig0Pq5OrbONSC5Fqlx0QREV4d9Pdd0z6iPHce5n2ayRDplzENnSF6H/qTTfXOEA8zCNexuQ9vmL4nBuSmId6AjS0z8nBmfT/njZmKLwoxyiXbQyoFpy0gzM8zO3LruziPRGmm4irOq32Gt/w067FRkSvDoZx/LnBSIaP3p9FkDa0DoKvo7bhHFYrx5hPJTnkpldtB2E+gubKuyE0iQmS4HeoM2R3618ql+E3iJ9MIlWXVwX2YBkoocTbwCQ0bppd1CZzMpTZAlow/6oF3AxJroXsuSWl0oBOQ3MXfoYJi7dQkk+TX8Ftjs2ulcsI9nBMHu4Z6zhwfE0Va0alETUqdn3ubeQhmkAhZTIBiXUErfXBFZaxAhMNe7bEo2K2szsd6u4apWN6djJ73or4qbBbW0rBJfM4C39yLoM08/b+l2RxQ0YPWN0DK3DmYTps7KmvBGw5wDG/musH34eUcWFzIWkT/st1XXxZC7OBlDRfFR3GwTxmn26P0jMtUYCZvd6MyiwfujZ7lJZ+mr+hyTdkUwcAitqHIxmqhh1bPifnNc0vxdNAGpvApsDb3ETExicGPI5I1OoqYPgNzMbS11lX/duzAIsecksZURm6wln+kxQl/K86EudA7j/IHa+jaRK8+j6URGauBvAu5HZhDhLfyAuh8gE12gZafg2n0hb2dtrTYlfPyPHGITc2XqdqW6tvIF79OdZEnIhCN+WJB5jSzTMRN9LlnRM9s1mi5EBhGROnjy0NBds3ttqIPBIZTb2bzwctleup5eeyP3xUyX4A6ZHf3B4TfsAKU5roCDEoObreXoGCOgHBTPbb8Vdt+EX7NoS/dhqrhaFUjb9erSy/zrYZKCFkXzjEYL4ivt58EukY2I8p9y6DQjc/dbMLjQOLv6Z1jWiOLfZ2NLja0drlMw8+7SbUUBHr17x8szlUKF1PwA0G35Ekp9+Fv4nz6PbyHjTUzMBpkANdXh2A0idtL9vMOOUWYncDmNrQX2qmcjc+vSlauoMmYq1yvznwg27buuBqMH0KqFV3BlSUjjiO0wQoLsBj5jrnjkNHhjNSArbTuBwUVHlmvsj2EBC2YLcySABtFUowVGwMsAcvBtppVSwCzT6wpQGmiYZ9dI7Z+8pzno86+3+C+up7De6vtBxDWX8V6d/UxpNIv3uSI/oCGcdpFwEZpzC40Ga138mJA4AScgiad4ciQ/PTFYdLeixv6fNn6x2mPR3BfLjQ1cXmu/mrAB/GZgPUVA3AUekhe05CMd/Ag0wvdaU7lACvTOKsWqtLOvutZFkTASzlLkbwnS6wNbyRNPsVXt+qBLitiSGLzOzgQDblwmL7VLl765lBiD1HaGKUU2piadzk0+m482rGfHMM6VxdcVzKkT5UdC9DgIYj1bI6+9v24Kc0uOUatMqF52+t93ojWLuBz9q5AvrS7hb6vk/A2bzaKKpPsqEWtebk078rr8CNjm71xU7gyuF+V+kl08UuyFuK8gin422TE03DfDcjCqjNMMS3J2yiYwgEVSq3nNa/DH9SplFEQbvNWUNhGCMNusZLAf2OX4b2AvWbgOg/CNJKn/Wi9jtrJYXTrYEgHNAg6P7jCDRxLfVCMeNAeuGCALzsXt047FcckvCRMbk4y0WeY1DW99pb4PMwC8R28jtfydKV4XaHPGvRsKZmMhZhRryAzK7TYoNkFd3VJLTzVmrMWNvH3wytDrhsW9rnUdsws/rGPmcXvQSe9igxX5uXcW2RxZON39mk0nQCF8kmSiJVXKFyU074BmshgHTRIikf6m+NBnuo/+Ws2jSmhPjoJESoMPySCxHR16TIxhZ7yxAdCvWhubKHhjgUvMOJK1FuMrr/k5kofhfCi0E3fgGCHRSSOGHnPlP3//aMhmec05qa1eoEgYdCaGIw6YlqAsl6j9pI3ha287adnAJMP7SeriQoG+riH5CQ3/421lYUYAUD7Vs2VnbEd9ynB89hK2zlhZsCaMnpzZYATqWSyW8CkcpAbK23XYx2o8t+6WSVA2MpOvxIKApltaZw5g2XWW5zu4DGrQMvvPvvqTTG3TyCpIRX/6Ulo9KMscBp8PrAXctWB6BrTlWVQLn8MDzaBgmujQaM64iRiV9FKh/cQyMB46Pzb4fWzZR7RCZuSTaKlz9IvwdxChrJGJ+cmGPTx46ODiL//Vkx5GQXh6n/cbs4cAshiB/OTRqADonDfdhttCL4WA4wCCDE3Jj6In6BtvPw8Yp5bY+C5FMug7E47e5sgULaGdG5lgQsr0XSGtdYO1/7q9N9h69lXPzMAu8H9zLViBGd8mYp2hgnQg1mIJGW7zF4xmUBgsK/whebKlmg6EvBvol1b2egQRtGgPY+WdQW6RY9Y0oj6rCITTyp/I4OVXI73R9dDScP/Kystd+MyFTqpjMu5/UyNZXBUArqbAF4rvh7UjQZQjqTWvSjswEydamVwsztnyLkDw6FqD+fTb+/cGwMz983luEwp7++0rzTJ7ibhcj4T6Z5iO1j/3aha863IzYtwNigUhVyGesUFDA1C/qHANwlHh71m67UWBEeZsdmJQVoprYtHkYKeDO0n3ze5bwAgq/6IyYfwC1iq8a+7tNCGSWEOjhIToOgLlzcGaLiOiTe1kdmegJkZYMubW8ubekqV6AlRKs8YkKNNwo5noXJ+BDT/s3KQqJhJ3fJmLOJe52pXLGuKo5MbSGjLf+Xt0P2NEp877FZucJN1kbctGDy4um/XP/VDrgSkHEoIXC3ePXZZywk7Cr1x9Q8qDQsbrr4jShByH1XBjl04VWHc3jTLruwvw2v8LFXmiN2kqFwa/CwVXB12/yZ/DoxHPMXCPszJDLD4vFBS7WeRFh15dz5bB6uVoxD1v/+loldJrhvO4q976TBd9QKPz8dU9bzLMwOYhHim24JoE260zJ6I7y9Nb9w1rAEvgoK+4RHr9Fvk2Ov5S2/kr8IOzIiGyOz1NjchFciVvlJ+mu23RSxtAGc74GFVfF9Xdt7hjbcUAT99xSeDmzV6Hb4IUHdVINdRk9ezWnSuxzKYkL+Xii6KHPZHyH1aTQhveaCdJzL3FQW/DQdRtcCgaDEbgPfymXGY9vs2+M10rUDutLHffzTtMqDlYihZFwZ6STbFC8Cxk/7HqMuBr0LslHrVQsNbnYdYqfl/6NPBONgyJ7N4w78+LFdF/sJcojYtHX/ItlTUIeIfBtePeMMbpkdaI+VkgauS1Zu5EvV8nh/ASYv0rA2M6sihj9h4pCcSpgAj9fdGYXJXzbCTLv9ga4cXnlLFfltwSgxz0ldUMYOGmFrHCEet8MiyQZ6RcpxhhxNQ3m+A7CBsxxoixXN8SdpTYM4Q0mJnMLFM97DGKXalvzSoKkN4ZcGIrfpB/QaF/BlHvcXBhsSi8I3chaWAJWlNrOF/vhJNqGRSqH8Rmdng3i9YHxNjvDlCoVgY22oS9LJ1smx5iD6+dv8V4R/9Tp8xX6TJMppJiTeKSd4SNL3x5g0MQbi9v8558PI0McjtCAOKw34wt20rcLCeB5VNI3Pdj1HBa1GJs2K5AjHu0Dq3fmH2BVWu7qbndUjyhyrHZJ6Hcwc02gMyPTgKKav0YslY3gSH4D4odMZVryUPyxFmzeDNUyA6Qp349n5r/w9dLrBb+EBBr+j+pew+AzsQT+GzLiMnVc7+mTjpMzCcQhqJ2WH7Y/nGcexEPrXrIM2PGmFhbpreELm/qSlp47ZlBCZf6GAH+U/n4jBH6IdJPzpK72plX4q9XVEDDJdLa9S5KAFRj++bc23aLFA2y6OX+zRsyyAA2gU/QYK8VZhKhNEbB0YTyTQx9iaWZEZXEm3LooT+TNjpA5XI7S5BTjffOfjOg9tXobG9ZkkKoa6+d2Wth7iqDADxNUtwFdfa3GDg1TpaI61qA5k6TK9GrL5FxajVJ2G20oxpz4M8ZKczeGd4rjhBl7MN8mHVhFZwR2qDA9NoVqcI1fxjP1/lZ2Xybr1ognYZcX91ezRdni+uJtnLhPihtb+UwJky9k6X7m9LAvAfEj1saUzerEk8k+ZILBq2Z+kBlwMOyDoRA+C7z+Pcs1CLxkdFbDBZdiGI+/6sW/d6G8MSUhn8sIVXtA3JJWp87JI4RKjilf4NscisNPzh7gYqHb1GBEl8Iph1g0fo2lqR1Mqen024fXYJ5EGcRU/uDlvfsmN48jsWgSaZM+1aWbFfe2EKkMaj4fLmU2uuGf7vauPJp3HeRdw0iRNBxVGhDMM148+WsoeZBsVqb+MYGC4N575QC88N7+/iVKFXT7CrU3iwIWM+qeXkCM10WkcM+dw1ZoeZ2VxfCERRc5Adf2etU2ScPPQCE0XD0QezhnS1Zi3Z1zugXMUsQ5F7e04GhH3froiRHH+Bs0K32PNCqhocDpYiDSyKqMJs4SNKAv+WO3a1f3pCiCJmQdi72DWYEL7RSqJaShdpwxDpRQFgExLB96KY0c75Uig8QUO0fGzJf+a737U9lZxnXv8Iefb3ESMBI409drCkZWsKzFYjRytUjQ5SIfP4r7ERBBlqia1vzY9BZwTVUdsrCxwL5WULVUlOVlP+0xB9YOTRrbHSXltlXBDC9enMNLn3VfC0o+w7Cal7/cRNr+ukFOxwKNmKSdC+o84a/Yv25E0IR+FDsNpainEY5MbO+Nhxc80+ZfiW2DDdu8Jy1uRD4Z8Dl9QtfRHayXi4tnaWotTc5csXGeDusdqHvht0Elf0IMMzxxEEknUUdtGJNQz1nFXyFUB8Gm+ZyEoNrWNGPMVKFtYXcMa1J9P8h2EJyTAmUkNH1A6G8OR2OChMu+JpBLB3s3MM8k3RQKHEdgOQ5F0JHn2EpjRtVDlSMXzgamB+Sr+rk8PIUoB5txkIlo417wXXlbkG7CFlHhFxD4LZ0R4twI1FOOEuzuMQ7QBt3fRna2LlyW0fCaLIQDx/A4sXiy1CiwRXOqdC/h4k2KF72Bu1y4BzASc+qa/j5/fYZutp8CP5AZ7jqQMMGbFKEHVM139KaYK8MTWsjunnJVpHB/Uva5sF/XJKm4uYq+v/6hCOi1Oc2r20FlLu6vQURucEOMDhyBUZ4T4I/JZcvDZaeaoE02m5F7xS50ELg6beZF0TTQaQiNwS9n6mYaLBxaRKvKH9+6fhaxxF1w7aEe5vam8NCnu0Xs/CAhYudEBfaxuTjtWxVE0hdXYHmfvZ0SL0VuYDJYKD3b593nKRcItWWJvBa3x5+jYIJ90Ms3TT5m2HuT+49F5ggN6WxC/hrk6evCi+ACiE+JkG2Q40eZFxyO8XzqVqmPQbZIuHbeOLxWmlFSu2K2JfLvfNESgn8mNY8fr2xxqTT71EUwstLSOHYQIcoweBXYuvyKCmFiWsq+2FZWjnSJZom8rY+lD3gvVs7g5+BT/B24Gq441RzXTWbXOHvN2YLFB7Rz3dVzfZmYhPYjtLw97/HTVHmsD4TZxNjiRlOxhhNzV//QDwrUXQzD/ulvBV39NN7XqOqaoheC0TFnUxLFibjov0YS2FQ3yrmiqmj97GA+R2wyX674bliftKUXzG2gHKRpo7+lq7GEk8eZV09honONlYlGap5eGAgwoUvTUwTwJqpeT3ZFVEMF4gNk4LjpIuo4YpnutaY5xumvEi0P3boT+k8JXhQo9gKZZGaKEeEWZkuh0N5slxC4xTo1xlA3lJ5wzK7n+l6F0hC/5Rdmi9clvaSM8PxTsGXb7i/9V3QmlkxIVWf1jbLfZ4Qqe1qiEnPXp+MYrkdY0yLLsLb7xJda/ufXciH7Bq2UAMqrjD22X18jGw5YE6k2w4ct9RWWbzTNolXOLk9rBCRLGVqlZCP8AT5eXQjnEBngCGeeH9ijDKw50jD3Ia6Xmtp9zkeKgW+7bHGBq51h0N34ZPDsNvXWzwIecp5eoPY5wjrAf9l9tN0S6hMqGXRqg/OhgIhOvOuy2h++rojELncITarovO62g7/zY0AVX5W9UomxWsQLbBSgKCm2yTmxXxn5xnvC4cmzxMWKnZdnx7mxMlAOHxS/pYJ6Sv8IJMMv9N1RCHaIht9vFF+LbBs3t2uMqrmF2yP0XFXL7y4r+pDbBL/T7xho6LDnbThoczmEW16fnC6/hnTZvynQqEFWmRr7L9AaPxP3u1AcfohmrvWH1SLiw72nHvgvhmsQYZQSHH6Pm8EoM0iLOEO4IUh2nscA3EkKFCksmfdl8DuRdn36PJzgew3I43sWCZbliP734oWYZgDt+zuT0X7Kl43FD687cNkqAy7mBvPTWv3gI/PSXVe61HnoL0dUDcOk1yfHVjV5pcNfRvs+Q7IjYbPm2X6teq0hznW0bjjRFZj7eRbivILjM8A3uZI32UBqmvGXG5MIvKiZ1T5fFmN60YatGpuP8flDPg2fLzTxStaQBXSMNco/A9RZg9MUihEjOfYEnpPhaS2QX+7fNgs0MvAI/uA894kFlRUBr8jRrGo0VcLLA6r0hFD3eyDo2i4260sSmD0doCKBMfFgl1rJYw3GFoVTnBEQ4uWHGaD00INNoTQroPZnMZ4HPxMHp5NBGf1YUF75j1lKlFSQiASgJi9LnJKlq2dsNJpXJF357EQcAgrkZMy1Pu6mleUaFEclufrFV4qCon7e9hevPVYtFzb5yi9cCjgSozTGA9uMWmw0c6Xqg0pOHeJpvHytpz/EIh/GGGugqBrGXHhAPWARB8px270Z83TP5PJu+/t/PdUmv+0+tvHY0tioZPuIgE9sL0bVce2yn2+lN1AB3XtupOqJ2RTRIpXXVXvyhTFWMMTcVCwLt7M+ChLdk9N1YuCuWj23UM+aifBtLGsK2N0zQi3bnKvYEOU7D8yEr/CPakTBkAr0ZE/n8WDNhDoUHo0ut1QbfQ7fwpQ8vrqKaJAXFEU+nRHd7IUtJF9UOk1DUqI/RntqOklIg7kMlKqKkbHMGG5FA+9GJQOQT2WN6bKn5gWQT76Cai1qsRViUOtRCCTvQPEzivpadX5v1EggDUQUm7o0BFPuMwjiJPqIhLRBkY6sm7q22jDLRWB5bCRgCSHuktk8R/ONbooBWLE3T/jlFm/fm6czxZqTwPxJRuw/kGO7hluoozngvZe+0wMVS8ZPRfsdwfRYJsWgHl8ViX3UeePjoYmmwWbTOeVMC57HP5Nu/42YD11Acfw+avoDIo/Xrn8rss3TJh9pjPWEWqsbrLsJ7WOg69zgPZtINaqGHBqDfPSuHosdXm6iAfnQ+DIw3sinGl0xmXNKhInsva/vRBtDzawJVJHIGkILZvAoXGOew+dkpY5STu84S9RbgzrNl1WfmUKHThaLTIIJY2qa2jCbDHcyQH58qUXpu4fzkfs0NLOgJrVALubol7Cddm7lepSRlzLPfCG2gr1QBBfRGQ5N5WtEbPa/i0KCNEbXOpCE4Tgd8uumJIDAASLoodRbBx/yb4kS0xwcortRKtYyzUDZj1amVCYJ+AX/5mEA/Iu6L4JYBG9dyUd9JrWAkHrEsotKqWhes6RkHOYcWaZlqs5YBUzGF4pp0Rf7L3+ujGlZVrBbY6o4sKNEqeCKGwZIRu58XVHVyIGCxJu0Jw0ilZEM3UeOtciCBpX3joZd5gB7BYd+CiCMyNk3sty8Lg4Nb5Bl2FJKjLaxnI8wLD3nVP7sfT0OaLIQPJ1ntgM2NghCsbND9CTkUoyAhikFOa05n3TfambxM0aId2YZA6/4NXIdFLxpfROK73X8ExU2Yabu+wGkujZi5PcwOUi2bHlpyTfLxxqb7WV/m5tX/6Buq2COP7ZsT3hiOEDKRtl4zQbh+KCmw+MZ8WCZzcCKYH+872dcUezRS0kjnmhGNozqC1FpjWtVTmEy6V7CgvsLp4IxzI04bwBBpQZDgz6XenrYB5HJwTZ+iWp212krmAqlyYCnRm2GTCIWCDDOGn8T7gozq0OuTuEENWcfxwQtqLGdiuvYMUfTscp/t3YU4jPydAWs8aC7tSJly9vKgjIPLEAv2tAFvvbCMTA1MAiN26jGFepV+QvG26X9xI6X2yC6redYA1MjiZCoe4gnsQ2DsAMlhvofWrQPXmItnO4WqtYiq88mWjzR7sD+Q/M7pOgbZkoa2aQQPdX21KSXDNfYjL4u1T+I9p3KUsJglkw6sWBCaOAiVwNAVN/+NKpGHdkYncxvYq/ObclN6h8qtrLj611D8dYC9iBiD9Vaj8M6IQ/n7wya3p+JKFv7d80UNvweyCggbJXJDJSMAPwDVvepKAgazTUzdasjaiv5zCO53tCh5v5MxgAQHG36BnHq1ZzCx7jjMI03Xd33Oufy43ofcubAZQ8HQmxEGzzZcEXhat3CbcbHE0YycRz3Y2CdhFynoZmmNgp+X+gKjmlwkGzjImG9dekbIlvcUJe/VF4BynYiIXmX8g8bH4Lle24iOsJHPNTk4Jlbjg6LBcBBlfax4F1ZQEzNITKtaWdCC5t0LcQQgWOVb4PndMCc5XRlYw9oCCUHB+bdlzPYaXxIphm/NGaR4Qm3wj/9ImgWqUJk4q7iNwBH82cSYZuPoYwLoPOWKV0nDPN2Gw4KVoZXBwLyzuNZSpza+opp2nnph49CYkj8aY4p7rL2IliAduwIlSlc270EyZupKqbA6z4TKVoII9veiQYGu/jxzDgoBKbLnMqJ3XQIx5o7yPiNtd/KAOLKx7UbyKwk248B4Z1FqGwQoOEKIzQX5Xv1qAGJ8ZtozWpE0++7VJrMc+C2a8+NNmY6tN1Dz8Y12Od8bk/K1ZulLF5fOkeKiF88khXucEuwOHE2T1z2SumZuIMX5W848JZ5yLzxB7YnVfd1sgHSy33/L0G3EIy7NCrUa404og/kod4nPJnNWkfxjihnMdiL1jXZedglrPvItP/Iw420DlPY9ymxQ5gnZ8s6PBxKP1SC1U1T7lJGQQAIqNyWx0F9kZKUc2p66rxcStgCwFXRJhS8k4GHnE39r+BxaBN3cw8rh8Xor9+zCwzNVTJzXo9OlM8fcNnbIh8729qnO7aRY82ob6fw2uzoE1ApFC+XszYJU5uB2ktORl2xWYd9rjYiYNW5Lxl5E8qSi2/GMNTS78rmxMhjZIH6UHdh19fw0dK+6dqDw0OzXbVXIZ7h0hLR0vwXSUHq1IcKbys7jrfudcN1a+OElPrE22aa4Pekme/ZlyX+2rMifD/aoT/z+2iqI6+fh2sxqYHcWkTEjl4fZ+geMfAfZdpZeJbJkls4A4DsYve3J4p3tADPsOpb7TeHNItZTg+0aOuo/Xmw/uRrk1VsdHnkJKamZfM+zbFc1n82qaMq/ydOzus02LZsx6668iePR/K0QCnCcFvV1pF0UG7YuTvIrV4FE7ANhAe7UZxBDWFgSkQyFibHHzcpfyRt4WJbcAzTNr+WK1xotCAVYmX+RLYaBd3gJ+pYRTcD3KyaXnNK2H7nZEUEKS0xBp1Ze5jNz2fgU+uEG2NfrTyrOLkU/jOuMo6n88J93AzPZXUtBIp2OkhVdk2vIGQsrXb9kHWJ3MfuQwduB3fM5bhlS7nWDPBuvlpC+JNWXTl51TYpL2FwrdyN8wdKxRehmDAgNEIGN1wi4j4I/wKiqxlhi+g72pQ+ru5qPO8YHxBs6QXL73djvSvFdYXmYnGKq/02KCETb1279PJTYAcEdWpGPQZZLJuoSWSQ0aTjMPBX40Yqw+MmR3/vxbXI7IozaSQgyEe2Qx4RWM3vaByexee6Hk55Lsto748i37ELDyQ0n+vLOXYqxzPXAW/etWQyPCYcwz4HQa69dLc1ezCyPLVhoutcuZZN20ULUXtdGhmS3Ysc6OOndKaQVYTZQyrYBRhzBUPzqsf/3lIDl3wigi7TheztB7+EnOJCPxiYJ3SeVcYFXPN58YX9h5qyXQTa6eS7obc+rU76YAMKnj5G5mdazgt0AGtvDEs9UnJ7lhTTEClXXDFWffsfSjRgpgSyVpSWh6DluLxBOzyyOnlluhmYUjBhu4Tncigc2NnjSRjdKWkw7i5TzC4UtkisrZoAGlxE/pCGmE/rrHyv4HhOCIUdaYy+8YVR2KSZOyrIDe8fdbCc7KT5D4gMV7oI3cGuC8WLqx9FvnTmCodcNwXuN0W1UKlUV7pZ9wYcHim2O1ztJwsyTZoYOVE1Sj40WHuLGfiaBwnuql6T4TiWLKCK4C1lagCtVei58/i7R1dnj8HsE2GPkwZ/q4sq3BmMLQwhcjsYC2SyazgGxWmk0gxMRS58zi/Nr3sVsRoz8T8pT0INyBkGzVb+dChQahwt9D/OoqoUDPRQp43JQLtT6ABzFBh/aImm0xu4iCYG+J9C0eYJ14AyTPppzRsW0QYTTJ1QIeHAgI0yiPm2LkU+uRMubidoN5E9UlIKaRwJKnVpwHZqRSMGS08/+4ouCxFN4Qw6yXJ1RvmuboYQnbJSAegPgvNmIj4WnX9MM9/0mr7Uu5unJxO5RUJ00jSFeBrKt5sLHvQh1JLs0td4OodAfTd9st5OSsigdMagm3mM+zQocPn29A6TAMRhmbP7kACBa4mL/oecUfTS0ZA77cAxusZcexFSDOGmibRxykV2P1haDQ7ASwTcvPLiP2ZoyKxt97TQDqU3GlYF7Prl8P4sgbAdkksVR3qWguIzdySWlNn0dmUlC64doWfxPp3K4UktJ9Wour2sX9gHzvVO31Ud4jJEP8i3LcduLBvGYDpG6AsB7PVXavmSpgSxfLfoRW/ug+jYUpBI9DsIzgzO/HiEYY/fKjzjB/GxhoVlpm5vNzfy/3PsKEn0TKxsE5TnG9WoCLdVQFxwlYK/1aQnE1rlOKDtnlK5+78/j7QJGpKVS4MclTC2hYuwRlUywz7qUzJmRv0rlFzG5ChiOREJsPCyYOf0/Qllza0fTsOX7xCWjS0RWur73qO0Dm2W6DLUuUBz/fMKr+L/oyFytIovQbnMB1yb+Cq0iAu0ha8gkqYF7IGBlMdF+5ouA101H75IT3O0QbKmxJ4SYf9rr1DLaGX14SvVRMYu0QBKvJcIstI2uEpcqDBbFC9IYlYAoyOcQbbH7q9cbV3TqDNSQa7pmSJNdg+/0cF1tkeQ2MuvOa/fZJ3Xkq1WXvWK37E+bSwzaCPF25h7XEkYspk06aXMDsOlYasZmegNpRKt1KLRq1usCVm+yrtcOPhCVzl+L4zf3L5Feff0l9pf8Ppcoq/KwLveTpRPMP5TQlm7qwAeK/QUOHPEkUrM6YnSBddvlnwM2Y7hZwXa7n2gYU6JXZOsStchbzKwbpWhiwIijeWjY0wy8u45GC6/I0maG/96f8fCF4+inI0gvEW+7aFMzSvMjkkm+2uao6l1UU7h7VD2agpizFR1Q4YOWnrqglMC3OYRr1td87s1M316O38jWs6uIgMAjdXA1YhRSeaBDDdUneRQSB2+C55I0WTLjBkptG23WBxXNwmU8bds7yqjgyngyMJ29hR/lZ4AtXlJ0bhCTg2Rtyxxayt5okDHSb+5PSUiA0sfDIWXY4Hvm9nwDNqSP5Z2d9wL3KoI7p54N7md9G5XEt/kPWFDg/OuwSMm3i2EGwCbPyOpM6+hJq3q2pVx5vREE2dBtrrjU9oGZ7YwDsBzFqXmw8Ymp3oPthmht2nr1YInk7q+79XlIZqYH6O5izOzMfVqPAhjwtDA2TJfykmXrpETtLa/Yay87moKwFURNatfJJyPpbUpe3fhfn0MAUmnNERI8eOCj36wxUlfH0u/NQGNx3aHphRRWmEZ25D/Vd+zvQtuFNy/bPbw5FaOyhfHOzSuAFyOflKxCMjBnzhwdYvWkquDHRk+2wCRNFD+Z9kK9OC5HFX7PrntVNuDfIlfiLv8j/lTiFEPGaxHOS3XhsOT9pm+iW9sxlJDZEtKqL5oL5JY7YBzgHvOzpKOoi4dtNbvPuv2JWc7rit5ZibXtt7LPC2HUOiuwL31PIpchFwel1j6acmbYC7WbAdkJevhO+7X83zKdx1wjM+Bp/4jddN8KdRfflosNbSVfZ+zPN3RGKfO9WGcqcM7+AeiHzuTmk3OkSPTsKM4K8ubrpPnvMubtXkWxnObhiO5xA7rG2BXGGf2JjsfTTuxr1c9J8JjLnDZyVXeTH2y7JYqqlhT71nJHdv333zdBsTxW+SEVSEhi3iofS1SILQLgmsO/EpvAlxAslj80SFivTIVGkKqVuaym944NO9zXwKqdGEkwx9A7vrCUbd6B+JOM3wLNYgUwdJoD4TRUaITCauNALBV45/HfcKhpOLjRCEH9pIDOEGne6AMuxUlC/pHH9PQ2lec7AbSfgOxwSE0o6WHlcFHRiudP5vlxvCHeJ/rvAk6+sIOnGb6fGNjVnXxDU0budqrJS2RyBbGsjpQNazs5xUCI6czQ1HvQeF7pEnHKL38UW3PyhnxYCQuTifE+NBqbciLy39bNOnTzr6A1S1rmZXx1nM/PZ839QDw8QuGUJpjM6vTzTD73k8HN53lebYrfR0sSoZ0hl9hJ7JUG2GURgKprWoZhoo/QCWvyn8zc/ifLAvBssOvMMwjcf5kssKkPZT123ajSPkJFgikvlcPWJ4p6oB8dRDd1YsnlFPRcYDauNFGZmbmXB79fw5AhcWZQjDv3cB3binTct2FzE8eeSQCTP4mTqQ+L0BXK4wAWh/9kb32l7njIfNOTOdlF2dtK4KY9X3i0vOS7a3bFpqANKY4/bb0I70l6Us0XGokIrvcq065RlC0jjlXbbFgnPb9mdJBTxTn0rgMGfNvtzhm8wjq2acfYe48pnaUKPXOZjO7FhfkHtzUV4kdLfdHiE3UmaAaXWZm8DHf/hy+Aw/ddQOQPU1WXY/R10omLUHEdgRyoCd3vPgCE7Ax9X5WAmAX4dib7B0YBO6++UUSdou1EDHZAHpRxG+myA2Cux1aVe0WwRx3+fsxwlcVe+wh5xw4Gq2ZYTt8pUVe2OJpU9N38vY/cqBrr0d0MybgkJrZ/2iNCI82VnXQSTpwNaT4fr4/DLFX7LOSY2NsGybbqrqJ0eF70jvWLC0MStQeBk1YnYBIxLZ40I1EbS5p6SSS3zv8dMdTauEJeTR0W9MWogMRrNlrA7mqrP7nCLJ+4qDhBDP42sG6hov5XgljdGCFbVyzWOrXFu8ND97K7rYJkihO3KNMwQJggTxyEcLzTwN47W8UmaIc6ikb9LTaKqKDSTgaCv3zd1/wXYrsK9UilN3MDKzqptPqUCDLw+GfyaHphsYrv1DCx+HvjGiSJ34lGvyAlHSP0dDfbTKibiM9wxlu248qhm0waO1fBodXbmdl/gZrBMDsgNyEUj+2mpBz1mQQBylU2r8tLVlmZIvwLVGwZrUWsTYnhX4zZdEDdX4gjLYDN/ww8a/Nbh3d9HxsSnsnXow6C9mCnLHspoSDa7xYD5v17X7l0DypIbv4vcaBegJtVIrGnulojlcLimn+lNJA0o1ZLP2oeHBEzJuT8cdy8qGStTGpHmS5wBG2AiHyFiOwt1qskr1o5Hqi/VZc2F5MegbnjuwTOwjJjG9A8dEbu/0I0HpjG1XgAETBLFUC9A4N+3DCfKKRl3Lt6OBikyacieD9kbj6PUAPa26y92Lk1eWhbzNYeM/xh5qOIN/F86202EF58bmnQoGUoUrU0haIuizVfTqMxzrtWZjK4fim2hSmyUmbPjtVGmwEf49WiwzsZwOo+tzUS++QMEbT1pwGnYF2DT7YZnLUOx690/K7Cko1NZF9OHy8yZtuQ0aLViVm8qB48SaZMKAKsqaUXoMbXnHxnbloO72dHN9Q1q92nY7Od1Q1TEMahB6fBnTu7t/0D8A1s3OJ5WIglLX3I5BnG645Vq3rgfQYCxkSgHH3eInoKpAVKLrbdicWjnRIL0CqdiIhBs9xBV7IGgvNvTr4ilBr8KRRN2eaYwQTpNcoXvNPFx1AOtP1IgJnVba2mEtN+wC3cZJFoywfDUe/dGjnz9g2PHRKj9k6KhHb0Zl8W3gigc5eUmunoy8zY8EBT42au22ijxk2nZqadkyANNifpvE/xfUBXZJh1Vjka73iIH/7IpX6JC0hgNMhAMQ6o6hKpfgDwHGiVW3HhTH2iR9EYmtBpFJbaOpA0nDHNGUYahMEllC20bpsAhibyZzNndIvZNOvCVhfNj4T7nAY4GTZioxEY39wexSg56FJ/4wLnE1YiKDtkaeC+6+idCe+idKYlnUtNJBISRFCmkXTqqLtxWgSkgPhM9cgFbhE+t9GRCeuqiZ7JsbKs0qjQKUZ1J877no9oo1Loylhu80v2DV2ayUQiNQPQfXAf4MPQisNL8Es9IcM70VgtigWm3kssSOUmoE5vBV4Euj3yhZyv8Zy/K+PVxWIWpm3kZ/n7ebvMDvzhkWcXK5SAqk7cBdvLn+OzjblhyPRXWmiqtd7vW6lmLP5xhe5xeL8EPcvNec3ejFouxmSJhMb+MvmsfRz/R8IkSANjCpYG9yj0LKbOgh7qaLteWIxObFkHIMqZjAbLONSvdOKGfn3LktQxUP4rwrvHclJ6sEaJdOF7m85i2zfsunRwlRgvLj71kM0Eor4FjxkJiHb/SHRRLKnxNqzcYxJtw9GsyatyhAp9lcp8h6QGg9SUmJ/oM13PNLUp3wJCJ87DfPuCsNg5XTtNr2OFDZ9Tl+k6a5LwYK83OPlBeuSDwKxe48vRe61cc3kZlqP2ZDw/UlsP2afcGdhg+4zp8sLCUHN2TwiP9/NwP3HISudHi2cT923DGM0dOyScwp9DECGrt2xOSfsmN/XGz/ihpdbPGucvstG7RsD2SdsQNfLjWiib0AZB7FEX9YOLvm3allYkhKMzkIt+pjz+ntJ6qDEzCkXZWRay7rcISD8kGrBotVZXJvUQZ+u9jowVSmrBzeyaqU/qAl7tEFcIc9DTBHct2blgAhjtxpNXcN0k+I/CcwEfj/sxU64LSZ8xx0tQxcjifxF/hnnp7OA6vBrteXpVaoUJSUTybMIF6Ov7WEfITVQD+wlsugZ1Uo6QQyfah1+24CgW5/L5/UYik6KSe9I+4fL3eSsYg81Tiquy8pooygQ01buGooPXq6tv01ojJhCOrGpHpKT3jMmnfYVnwvZ9GjI1M1cy1muK4aJOSK+/q1vk4s9zrxppUfIAlTJ82r7WN6pBYvSMPU9pGKCEsBUGyapNMICviIOAq7oDFBED49C4XBxY/nt5GzmEm/zVXMvA9j/c7IyTyWvAllWd/FZsykd+Hb2H5JWBofqXJeHFD7EF38adXM8VG0bEzjp8AV64lk60h9P4MvTXR1/dxaE99R7fB7+49yRjUS8P0aMw7g4UoMI5ZKpb+PJ4I2E/jEa7L4tGSzJYgE1J+SnrXcXygV0C9D/LktujYzIlEAbkqOcPfaXqt7xsCnivnuSiSZh7kBPtnxSCQqUzbDjHkPHuoOxi3jotF3TVhnV2Dw1n+7JOkzkXdF9U2mAeHTWlB9Yj22lBeYkOl0KRyL49UHSLqcZuQFHvfri4efD2ci9lk1FiOJ/glp7tTgmBQoGX00EbZo8vqYNVNy46j0FQ+wcVd3aHAa39fBVJeCDUNzUIpuC0lnk/RH/U/OqmTeEcfugiBDqEGpiViKPmUboJYp0qBO5GVzWpJoRfC/8VRJZmwlWwY6Bjq+ab0K9XUHDDXmezMHXMgE8R4I7eYBEm5NbT3roehGUji8QOf6L3S6dm2jhs3anfGqMADcZQ+G9AYPZ3FMVELhp8/4ry1ZgcntU2DSQSjxWmvF1orZS0cEDF+0CD/4z3hu8h0eN6seEXVjPYnVHBzL0cepN6lTNhdViMw9gOYqutu/Kyc+MbKMYhnjR94QaNMh36TteIxRd1uGYUECpVfOowvfaECR96ymZF1uOBfdSeMG7hnTPbVwfIV5FxQsKYY3OKu5CeNqBv2mzYOuwn5mo02jVFvkgX2nto+5oxAAbtXVM9nPsaFFNChvpEcNCpYIPNw13v3GMhMBoPgbF47VLTqUtRyuOcbcS3hy747OihFKBxQWsRcVhBKRhib3DCZTO/JTHRr+OKqcxl6LmsYEX/V0QA98DCEhiB+vgnR2PhlOY2ryCKZ+spPhPUNJGx0fzXpgt61iBsB17vDIpFaX6ByIlMYaKipnkmT5o06PoCDUiZ04cGONZOuq+kKTdZsrWa27VufxAFqjLAfcAMA7xqpkDgdSpo+ZBL5rYWwh3dklAXXYZqwUdx8Kl9ykcZIgdUZNRLB+R6ala+//2sxGOpA0jP+EJM6giN692pdAxNOU3ba9ws0x1vL8nyDuce8VJDvVawWs5KUJsnj5DEO8OhOvbJOfYymR2Pg4UaJX7GAGVUlQxxT3jKjG1FcSFGPh2qj+LdtFNCA3oOS5OvkGJYoNZmyioNkZirGZKAAsb9i3yObGTvSUNnNtwMVHhD5F+OQv/zI6uXU8hpJcvkTgWPq/jSnAgjWH3mgnk1Q9J1NyG8lnaS1otriiiG3bUHXdhAoOWfsON3KdNsT3a57PuE8eZPaz7hAL6c/F2C6DfmOq7ESOlBnqaLZAZu7N8yuHXa6MnJvemesjp4LsnFD2j00SpXyAqp44IGs8pSmYt2VtoLcDfhFZ+W7S4bnsOmi1Jn/N45LtJvGvmpEshDy1fUHgKXGaGAb3ZZtzRwfTky0rI+Jlnz0G8oEw4T5yzOBu00F8nUUCkKcBFdU6a2ZefM8Uw4sq0VD53Vr542ay/V9TRgjWvCSW53cjXn8kZ1/HbhT6sZn/G0qEJQLp0Nhnf+PKWVFaDbGzHJVO2uUFbnPvl/pG1FQOJfRnHrs53tCTjDkRiw80CtWOYoQL55oxW7yWqhwFTu/KWde7gEyoGRl08F7D4/28NAJ+vEuEY0m3G/DW7tpaz2JjvU7akwovcEBPnY0gD3ObwXRCC7d8Ur/57OUybeZ+vP42C4t/ocrd3lyxVPMrHcxBb0rdTVqnqwFJKCLfsybzf/IDRee7jdDD4chhHK/JrX+XXkCx3FHraVHhMTEayvP0M3bzb8D0lsA2b4rSzHHd9QMU7wF3KxR/gtRpBGYf0RSM8Qk+xnM5+Paj/ObC862E47v2kdn3weRv7h74uQUpj5fVOhKM1LBvOVYgEXZb8Pxe61/KkNvwkFA6m4DIVzGGC7DZyyDIeSUJyay64exrBs0vv1qlURAyFpsyrq3pQ2TNV/1q7L+xhJ5rw76Q6RKEepi/90pda7OI3LSA9RSs5AhP9rxFuYvNCumzMtiyPe9TmJ7cvYM/v7AbC1qcy942a+m8fmRSV/nE49hgwqpkcsWluiUaYddQo1jKt/2r8Cz0fzytDAbYRYTaTpGxDeDcERULwI8vvcCBOsAc+Dilp5El1Lk5ZRw1UPhLJ7WyUzJs7Zvv5z2TwZo0WKGDcAC29zA6/XvgMUtnN6UzmjHuyMhJgcrOTXWQSlRCkOlgdaHXhfbuoSBNeBaWmv2s4uq6OxsEYkpFcZxeC2rw/lIUdC3F9Qu6mfJc/mQOe7SZ1htounmCjC00H3G/RSAwLsNWRzzdeHHNy0DFYW4Fe+fNg9P8mIHrlZUCHTcc3LEPEc9DCR+5Qj3UlpNMx9KgkTM8dzerUZW9tjQwfYge8D2alTvH+XlVlk0suLk2CUanI+eDsWnhjwajKT+UNhRkiAafaALEVyxEoRJIEcgzj9IvK5rSQhH0BPIsa75esVaM6HHTbxgEjKbGRfMGfG0AA2+LvvJlCcKCcjD2/aLTrJvz4DlTA4/R0fMZpGy12lcUz4MdX1KaDoBfrP7T/SfWFXlCu4Zzr9W7pP/l4IRr2Lr1QsjsfswkVa/y3T0beR764NjCYFOQY9gUMt2VXghzZAnln9GrlNZuA7SnTWTmbhsgUBsz84bVwlUj7te+j1cJMYK12uao4pMQ5y19VXE1zeZGIqKoijzQMfm22K6NApQTE8sQBMScJGbp59h9adnRbTDbfc6nlAypCBIgKAvpHK8hsm1LuJEM1Z98T26U0yOdwRgBWbbWt1apSO9JUgcx7LKTOKIqUHNc9tafFWGNMi4va962HHoQiFKMFOVB0OMaNcyTilPzA11zBcqlMpJxlDZr6xGFEocCA5Izo4ji+R9IfJB0b5WFsP2QF9wS9LtL6Py8jQIod4XZDIiHArpYLnNml5XqRMXqSLrbTJ3gaoawQQsv1PjSJqdGVLjRlxRx405ZDpao+VZ9IGgKlvh3c8Ri+bWQr20qSHh8ejc3HsQ2bnfYd2aXsIPDBmHovFWzVNGj9FhRdldHyF1IiEzYKWS+EvNnwvWxC2V1W51CxW8YR3eROZtOFAOlD15GLk4h6AFQ2YXTn5gUS9qBIFqBKwmFzIoxWDzFZ8Rn4W/qVnHh+qeK3c3Rcnr+ta1dTaPH4wK3hZ0nmmWaSgY3cq9H1eMMbDNePneKGuJgYZ7yUzuo/KTaZHkCZKykaBqtUviFxXCpwB5395VX/gPH1BcYse4lLOl1vm2W9aDe7dDu8COyazTUXjL4hvK5beG7dK42ubus0u7e7eS1QgFzTihu/1NnZFpxoL7+siQQ2+OkxRZhNEGPsAfz4HuxAHSJ6K6NfxM/hPI/GwMEuWXtCCAV9/T4Pf7uni6/OJ1MGL+eBNRZm19AZ2BhVjibMDFvLWv9WAArzFbX5xlT+Cl5Sg2H6LWGkAg5HRPvoDZuVkvKfxTRQ6UFZMS6lgfM0aV0RKemvAxbs8UJTCfwopATos0rSvFKtaA7mmAltcBprzNgs8kmS5Z9SUIxpYnTohbUBZGxg4KxY9843fJ9IUFujh+5M4895E4sGHj9EyNjvhvH5hDsZNz1Yf1teHNV5uxEl9ULPJX0pOy0sRG2tYm0vYy+INsZ3DsthREvSjERrx59ynyLfEiaP6vifVDYa4FCeX+8WqLDi2YSy74pUJJiBfnhyZe1HYXpvVvs9C/BZKOx6usVClWCxOijT4TJMs4CO8nD+tqSBVfsYYEio/xkZ0Uml8s++Tr0nBPHcHfw89+GYyzCr1Ev5ZKFsh2X6Hjyc1M0r8Ax29cjfkPsmSOwQiecD5LyEVTFzGyow9rV5IcfWVSI7+VTjkXmbvgJYN3FzhE0nuBXZ/ZnCZwWV2rWvYv/SmzLwXqxjlgjA8vfhVj5OMg0RN+F78hYQEMq5EN9OJcLLeJCOYpj+clk4jw1OeBB8B/IexRhLfrOgEQhZZbS6zljBH0K7qomeZ3g48j4xPDzYHlp7Pv6HHTlAQ5Cu227xTZds2vN1VKkMmbq4/TS42Hb64+L8WMZA1nx6rInIICgwO3WmQwwGQrCntiVuxkSQBofFCPA5TzLLqf8OF/AjhvNcLQv3aabaHcG7KkKHFQQxTg18gtA8lJ0xzFLfgl3XuWzvHwOV9X141Q1VhmMS2VGhhqy9RIi06Ux3Caa6U+xISdTBcrM/j+DaH8rPhf+d/Ha77kUoPwzfmobJR+oClmNyJKkalNnBcdMUbTiEqUw1KUwEpTQuZmkWdjV/MUS0nzsoGV4zIgD8/EscArh4yU9ugKlkWtGdp9vFKIMOQRSrErrSJJUlViBa+ja45v93c1GDnOtdFY0NZTEtfiGx5q0qY9n+nIsiZsgMaJnC4C9VoZsTtWwmh3KS463RVMQgJO5ey2pWlXtDhKlfE1O22IptN1L3F1/NRlPcGmEtyZj6fu1hZ8BKpnDZQ1qLv97U1auS1VGvuBDi9SVL7qD3HsZS1gQmDZ51TLdSg2kbmXECs3xzzdZcAosiu348b+89ObIPnD97O8tZeoC0ak59G6kUehFNtp8s/s8LugBu6AGzqQOW8gdqIMNt2ntTMENhFNLxnHaO7uOtu9G6hTN/MiDNiXt4xc5HbT+9xlaJGsq8bdM66j1arXqK/zGRdn+5FKi0V7Cg/3kJl962cUROr4eWQTlbBRvullH0zI4AnGGqvoVDit/yTkNs7u+VG0drOSd1+NGaOBm8WQclrcsUmXfrLJK+YoE8HzF4jMECq/cDGXF/Gr3Z9Pen9EKEzPl/hqpt9e2CaGT8qy+04IPEtwIn61YswFeNrzVwV1xt+s5UM9sy6DcfGUQ4o9XZHct+Z2cLlMcTHjOp42DI8B8C5MHvihoc85uOmZbzQ8PmsSEqxagf9anB0CvVJ9XE56XBerY1apkG52oCgs2kHGP5St1sCuAs+jNG5yp3BVd/H6pbESP++Q8j4gdPAjMblPq3oORdFdC9tGxAumHWd6YXAl7ZWn+y5IZ6l4NF+HHJ7pC5V7QFAPqNWypwl3haQuhcoG4szgpdYpHTnqo9rstujT3YsTsuZnmsh/wewY9CLkANzhfnE8R2VkJ0Z+u6XqJrEjduydT7mjZP5AjwaqinouN6ie8S01v3RjYVNH7dbJ94uO0Zd2Hvxi75ra21Xi0S7csFpmyVtpHa1sUuYgCQ6w862qfnKAazDel7mx7gMf63BMNzuJSfjzmrKZhdbuIcN2/Q/2j3zxljxJvHmoL/dJiwsUuO7eJP8fFPB4bOwD3+f1K//pf9IOoO4G8C4mOmEKZq++uCDVHcCxvnL850L4T/DEUlUVdsXytxVDp10r3nF5Mzpnc7sXICS1vAEn19SkyZzj2U6wANmWyukUCvrASK1pql9Q6O5Py4/gyb4HsJXTmKR1CZnsCQs+w7gkSMyJMw7sDHgi8Y7MouFsX2Pb3UXx4DxyhbhQB8bwrXGQrMRy78uU7pwav6UmYS9tL0b5Z/OXKZ59mAugd5QeTW7TIJ5dL2tgqhobIt7NBRc/DuzXY1OLSD01O1Q0l3qi3erY2Qh8tioarV+taDuWWodQTl8gzcnjpQ0d3Slh6LI44ZtATkWklj4l0zV0k5syrASFnnHM4C5jEDD48oc+fb9KFfvOw00Ncy12VpyiBZ1aPvy2inTSISLBwmAbnC3c8tc8Y2dsQGvC4NIXHY4RvJBtc6H8wMC2NTXELbwv44VjQ1KEyjzAXMTGdq1OsVvtK7leYkKhdoqiSdi9iPXgGI/mwwF1EomXA1ufGU2d8W9BdjD9hr69871+pql9SPKOBD+SD84N0/CCZagqYml465nVXSgTJ7VCDm44M/T6U1NUBHC7RGKk5yIbBDw8ZG/BsmWqHq00XkGpqm53csorM6/N+9tlkoErR8QJWJx6DJ7UN3HGe20B9AwysYccIrQUoeg6f8+Ok+tAOsWuIsCbciz83AnNCxOyBM573O3qgF3rVYXkeJ3YGP4g9CD9mCexs7CNlBeSPffFcIXy82nUrp/oH/WAcAocX5ztB+tItyxgUGNMU/GH2dz18Gv3syhkVARg5/UDc1Qz2VPy7fVy1mVxCcJSkN41om6KRS32QzuMCIV71yHXahLb51dD4deOpowYfIPb79TgIsWT2JH4MpF1OXdHh1q+wbiIEZiZgMyLXL/PCCxQi2gDfCWBtgRj+f4kLYkZzDLCCICPWOIrrVqi0INn09u0AqxpamWdyzvn4S2Ib7Bv8hNA+5ketELY36PKNIjgMO1yQ8bkZ6QNWIILV5KlvxR0LBY7OUNW+CUEsylj51sdva/PZCvpIDErhxyYvpqEF2mxA5GjxUgghnQycnbOeMfTLKM87H0CpCMGsCk51hE6jjJVOiDcCAsAwmlvMaJCNe01M5yUkf4v2/jysg5XGnQrS8GdVeMZe/H4/SRGgB3VRQ1+Um0hDWOLinMLn4u2HMzM4I8mrzvC8qa6w5cjM0DkCnhyyf0uJt/ZOJVKKvqQk5WnyxNNtICNL64pQ9gpi0Nq4Q7T5+abys4IWnEgXd6c5OznPaP6bi09bePlPwXPIkX8Ya9OahZlHe9YbK/rD7Zh11UV5JPrT0BNohvYHmCCAvxJTnt3t4xrADcN7x7iXZmGXJaCTLjYiqQASbgI2JnC9nSUYXlbibBngO6+5MSwCxRnn368AaOIlEyb0YBodh4DrySBSbfxWAhokXmav65rrJd0vcANVqHy8jKfW8LgR/g9+2ZAc1OBjXGXbj8ENMbNpcW+6XJ8+Pc+S5Rmobp4SzsyFeUnMwDQjU6yQYRbyRJxCXaHMnp22xoOESFOf4hx64MWrGVC4lIA7++s6mXixrE5vPue88sreRxUNEUmE1tpgsYW91fqf61qVcufAY3rGGxhgSoNnHvjrzAxMisgaAHkdUDU5Pm743KxRPfZqLu/zHOk3mMcKDtaffdQ6rfLOmL68XmqTJ2OZmTsMrCClU+Q0gZuvlgmSgr9Y85m9nonna6ZGhDO/H2Wuwq/rh7JXEZw/P8JbGOKfN0pbQCPjKGng9VtFb9ZnjMURt6Ao0OnlBL9i5Mv7FVWHUx2EdcoH+pBk68C9AiQttDaWV2cdr+PzPvimePP6L6S59LCpPZntJbf4DTBQQTp3tEFwHG7CEMXopEiuYWNNOGkYycDCsnG3oS4uMBsyZs7Zl069e1Zx1QNURM7jbZOKfBKKoznNHqYtkjkduoQ+bbIR9kiuVLyNrofshGBzLrqpSWoLY8RlKF7gqlxKoJo0spyidR9AkukmGvjxVfPN1uMpNjehsSPBXz3KNjpPxo1Vi4/pW10rnqOGKBA/ZxTu8OzlRw9JimooZ8YI1SjR2ypj78taOKk5V1OM54CNC9hWICsHz9/ZTL3OIz9LjFaAjw1o41tBSuwFvpzY66SQO29MP9p20tyyVK42Ohh31KLlDnqxOY8e+d1AFgce6iHoeJ4JA4qiC0fgznYDIHWTngn3MYdo/Bk7n4yOaXEgq9pb30wknPrqrVAVkd3bfIdg0T7AUGP6VcUJ1z6Owrwh7ZH/UTA4LsLCoTPaRz6L/drAf31jbf3wjbk9ghMBp3uWFDJfkqMy1iEvZz0p+TW9utpwuhJDYg3GrCfFNsUHmTqNE+x4MzwqrTX+kLSS8eSXX2LjNrkb9Q+DP3d9bJteSHKl4jXkHtWNUc1S5UD03y9IRCJos3bxTDmgdyZUt0iIxzNIZVLNt0z2c4fG8HrtN7DUnEMcQEVoun1EjU2DPQP4B5ZkWJbxYWYCQPtuSNbdxUbbysa0aW8juTIOmqnkl6N/i9pab2w7P+VquEW7w6Y7gFnzL6+5cbc/7TH3/MI5rz8UlMLA=" title="Mekko Graphics Chart">
            <a:extLst>
              <a:ext uri="{FF2B5EF4-FFF2-40B4-BE49-F238E27FC236}">
                <a16:creationId xmlns:a16="http://schemas.microsoft.com/office/drawing/2014/main" id="{CA11D8EE-2014-1164-AD88-3307CFD6AC00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 bwMode="gray">
          <a:xfrm>
            <a:off x="6394855" y="1639961"/>
            <a:ext cx="2477492" cy="5070122"/>
          </a:xfrm>
          <a:prstGeom prst="rect">
            <a:avLst/>
          </a:prstGeom>
          <a:blipFill>
            <a:blip r:embed="rId22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6ADACD-6925-4DE8-A425-F595D8D8D9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0"/>
            <a:ext cx="11526838" cy="876687"/>
          </a:xfrm>
        </p:spPr>
        <p:txBody>
          <a:bodyPr vert="horz"/>
          <a:lstStyle/>
          <a:p>
            <a:r>
              <a:rPr lang="en-US" altLang="en-US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O: </a:t>
            </a:r>
            <a:r>
              <a:rPr lang="en-US" alt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er 1 brands have opportunity to focus on unbranded terms to unlock the next set of potential customers</a:t>
            </a:r>
            <a:endParaRPr lang="en-US" dirty="0"/>
          </a:p>
        </p:txBody>
      </p:sp>
      <p:sp>
        <p:nvSpPr>
          <p:cNvPr id="24" name="Rectangle 23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z2dD7pS103gZfJ6l4USC3jqtWOPR/ue0umjYEY9KlLthURXCUyUuZbmGDPUXB2idlVQc+R1c0j6vNnMaKvr/AghcgjyTjoGcS2U6lyGcWZbvoYqQsrFJ5DN1RdHsB5gZU4BjQJ6xKwDUEsW8X/QQ4uIPkrhyjIfLLN7ZR3puqzBiN1rMnctBA0J594at1EN5QJYMsPufr2eabAYzIDriNpy1GurybA3KWqcTPRKYh436jQqOHiPaCJtAtzpRgB7Igk7tw7BcBhai66Lc0jpyzFEK/4NRoFF+cso+ThI1HNgDMZbpFoCsJQtilLqk9nQPGX6RXGboCTf8hOOcHaKoTUKF81dro10jOa8Xb8mBGZAZ+Iyl7KGHMy03+9hVypQ0Lu51PT92S4EkqZk6lv3f5uJBdNHyJPCBXfqmfP5dJA6siYmHuqree1+53dmUXLnUo54rpfrEUojLeW/Kj3MFXXJLKG20C2lZc6yIBLaUS7145Qvi8xomP+6yXyTgqm0O2C3PXUoUo7gYVHvFZjRWPXxHIUKQbALwM7QTj8M+Rfj7BYIZjjSzOfAsn0vJef4JYiiaD94lbjIc6vAqKyRMLKDNlKggkW82h6aJ6kwODF+dyrNAHQpl2s11N8hYt/wZIqo1F9Pjj2ORGM+F8hh3vxE1srsk5HZneIyxvAVEfz3V6KUwSWAdVhZJ/ogR+6+ND6z1aLwjhUPjPoNfTRzzOoBtGOhCM/iolsp679P2GXwrn0CcIo/42w4Yl9nxkSwA/b4JIHuLwQSUAXlQ3NvHv8CQVJLML9P/Yg3KIWu+XW9XZxT+fOUyp1rrrYhRWiwiBntvRm2fbpjjuyQAMoju5h6tv6qcoMMk/TXgH0/IOry9Nv1cepbdBDEmfMZqMrNapfsTK23ROCWViFivBMf6FbgFuQ58/ty+4oKHxm+wfYu38ROnnS7GnosPsN/4cf6A0mPC5Rz39tF6r34vbkO517uoosMb0H6rwVSRoJi8zqFPyYC/lRPtPooy7VxuZ6atFG/WZlOIlbVjs5z6hlQ/QZrnwC2TyDJXuHuKIt/pVPV+EJV2tEZUPPfuATQgOtEXJCU4GG8ceTSyqjAikiuyxOqtiegBdUCG/mR9SPgDK+9rhxxUmKcWYYdBtVuJqrv8Azqh2z6E/bDQVVREq90zuJwYkY0jLUTd4CesKue0r14tkGlyGTVuMRw0nyCTIAnfoz1JIjoR+4uPQCJ9lkasDkDBP9YgbW1AcqGz9ZKg8XMCtTG2Sh+txoHZg/SPmVg5n0nzpi6UIoLsGNenJ5zjfk2FZm+7pb3aM6vtO87QysXOEDrpli00MDHP++ZJ+FafBjoRei++MtWg2llVaDVOnyfunjmxUpMp2BhO3c6nM0N1IyxyR5noEOictF+ELRyFgECwUKXmCUjXDr5jdjkYSyrNrw1rVILlRdUKKEn43k1Q9+YGsc53X3B0RIzyvAQdiiO+5MghlsHCjTqp+10IIUJC/R2zNhTRVm8KDplIQ+rMpl2a8b/rKYgtRLY3NIUSX34fr+nHq9SqxXv83Qo/Nfl9eW0F5KLD7yKaOAYDgZcoDuqHoLIbjoTv02ZLGd0FJhBrqFBJeqUcsfp4D33SKKV+ub8+39hCBZkp2BbiBfW+hBP8ArpjDM9mppu61+1gGzsptRGcZgaOWUZtslMtrcVaTdB7fKrl5CN7MzsUB9MeVYWEgQJxzL/3SSUmRFP+lTS2mxpErKD5Lls7/YghdDhl1eAfjprGyQVfDHl8mGAdrDbtZp1oJtA+sdTtax1ItbT7yZMow+C1ZPqvH4MfR/LrjVJFUPKyhWE+MdEU4m3fEmpBSJ1HLVY4GOtxDOokfFNrUFnjK4P1xhQr2oeAQAvHpP6IiA4RfZvC+xB6cLjyvR5h1ha/GTILe8vQiUkGsO/9wqoTinqXjdHnmQWlVsDMbART5Pu9dwTjJtgK7FVUDi3MKxYaZVpAMnCavTXcVKoIdgBkWnAJmOX3huxS8XHlDsWmwGdJXyyNYPLt4T/cerBqwRpFhE6dw+rNCzZ86E5E90Kc1FXa3l/22D1wGDxrXyiy9DhnWKvhBgX+Ir3Tq5aSbShp/WG9/1P0A6XcGVkY+OZnsBDgXwx1VRUD/ud2MMwVt+lsVLM0dz6EkEcg+W4SBsg9zhlxTk9K7fwvpF2aJUHZuygWipgv+hBgICxNppOST3rovEEZV09VuKfuug6LVjIygyMxIzaNDobztQEp4GlTE/rQ7aw0qU/puVWqQGR6AZTXDGBFfpHi/nvi9EmQiC/SM2DNnlMOjVKFvzuZ04zBWJLxDgTBL8G4Hh4JlZ0WYbYaQ+rRvy2SiBLWLADkXonG5KV8w8+ikdTeQivFLgFuUsfMax5h46OAHIPdjjJdM/tdZ2PUvAZog4fayDo48VAv+aKVXl2hUOPCWc7UoCNmpVfO1buM5orl5cloAtHOeeBzdCFmPqxW066CRcgCM1N7526tjGbRDkmysayoOEpur3w/hN0wEZSTupSj7F7Xlg9XitLCca0DIHNNh646oJgZnhlTACrYNLOXy05SmGdMnHbZ5CjDwIuaTkmjfCMQFbQ66ePsQLBQKL5DdVBdbir/VcLeOZqSukwbZLAqhWuQow61hog0XXo8UWkdL+9vjLg1/8JU9+dmba9UBPY1a7KCOlY+B8Biz1XcmMGZNWamnWXpcBPxGTStz654qbB/WBkiP5QaT0t3p83UNSzSzPNPnb6esGwRd+F8mlMI5jk9V1lOQyfa5T7Emntz+tZMmmmPvBlAfgSwznuSxdYXvdVkpFTrsRs6zpyFx5ejqGOQYbUh1R/pAb4JN6SmFwGyqoEN2FKTxNR8zfS8gSxx0uD3a0i/C5lEntJlEXxm0wWj+eLFvBpgZtcCsUIrsbwHTwSun+X25G6E912y5LzMS1VNnSEQ/TqOCVYAtICHlF6o4H1psPORWhPqY3uaw2Ghfmxw/M9/7qLcA+4xoQg2YKApeJVhcvaDxtvCSc9QdMUl8HH7Zatm+skOmBzVXkOhAVolSu1CsVdPCfkuoXBwG982Tx5EPyROmVRLFwdz8O4LpImBvxSByMmS6AldVVkR8RZ1uHAsYmXcx9B5jCtXlMBmfBmqvDAlPZ1XAS1ijTnn/A8uiVyC5a/ugIvGC1GML80Aba2CNVLSPtzlklAg3bOZUIm2SAaFJgTDJnPz2UFQSpM3weVgYOoZSx15aJieP8xfC6ZWKZsKxlL0rXAkW2t+Bnr8mu1typAMZTq8pdnFoofyGeFFFbG2BQEk1b+O1r1+ypQF9zPT30XNuQRVe0ZKQEaCdDwTqjG72xremIsyJxJPDl3gKohgMyi4CYX15gUmpw8oqyhfLxtQ9ieeXJRIhG/npmaGOsRqoQjDxKoSV8cRiZL3Lseb3LDn73v8ONULumRwKCPOFlip0ZkpcMggVsyKvmSt/yeFqUIeS9rSZJSL7rmuTY/qPVj+M9kHMiUUpSR91GJkm9pGBpjX/OYXoCVZjpt/q2rI58UEgs2LcEvFC4mwRgGJcCBhX/88AgOlXuSxvEpwndZQKg8GcxU5eIciLK464xSthkipTYswFI5TwKeRzt6ogRefFu638X9dx1zb8kEBbv8tXwGzbpNLyq9bXD/jBLtALh+KUl6Of4pnO4ClfXOzxXor5DTKU2HEYA/u3z78X+uMqt6nWO/xJS243VKOUQPYUFxbrUJ4N6JSX0IW4DILJtMrqjU7WTmdFIxfVY4TpBmw09CWngUeTsKA0WVn1KKZqE1mlbL9+fi9lDZRwm1yCqIwmUP/u7fQG5gNXA3KOrPQ46x5/3mGxmcrjH0PtU3CVgzrLNvOJ+5nocymWKTUGp9AgAxTkvn7K5xgQqUdPyX4sOyjDDPli9cjHz3teMSnwufra/QYDX777Ns5kd8a/aHVbys6GGLBcNvmMUXupj3zoOUWl1Zjdoyw6FzwHQc7y/Unw8mgnPcZJ8HzdZCNo5r10FTBxiqP+k061TIDnDxi1IkOMgLSZD8/52CsAVK9+a/HW93g/dtI6sULbcXqoPlfjPRGmhYTui+9GiPTEKW4NO6BgAyvh7sShdm+CvnQqNxzpQqSM+KgxxEmwhiI6Gwkua9cZ91Tvjy1qp7v9/FrHx5Po0HZsy8O86Ud+hACYEk8pOUarRsvn7XtSvUWRDuRC2COUawBEpZQr2nDEVtNejiJxYvXCCy/MbEBpU0SHYZ9bhey0hmJW1gjUwwV93lGYEjpMMIH6DejRgCEp0pPKzVcFuELFnw1hi2iuebeLdWYSavAIFCgblc0BqFs7pyccp3Y4IHG2DRRf3QY3XoyE0YI8QMZ6N3O8eV6s9mgabpr0NOleSQ+ylgZJxdveDJSinhvaHBUdyAzbyVpdtYKeLvUw0HSu9a/NaamZm/5qeoA6pC4P5wQJ+6xuydGMveow+KmctZSnUISpP82Zli/US+kahuTZVCbP7KHnIWABmyFTaJHaDCQwq8UdefFDpGZXbjlImLuALIoqGdAemXDdvrfIrigsY+IEUd/XcOJywNo7p0kvcUiuNge2Qz8gcrrC9OGCtLBHHjIJQkDMs8iJh9aJOnV03Igr2v9YwiLj7wsgrDLMjPlIyLqUEPzWsduSmJv6FTA2vvx8QpNeEjQtj0bP3Qr5oBFjCLRZsk15cPOAnZeGDInnMxB+E9RqJF6/i923JUjvbIjqm2mSgGHvWttUr/AIGHS/ZDFl5A1STp7aMkPgnyH2poi4za7lTSohfblLH9reBvRGKAEIj79CESxxdnktC5B4Ilpgc+CIWHMt2p7mvQrFY5W/AFTCF2m8kfHMBg4I0m3gNfn7s2b3qTF2522tnpshTt8P+2Hs8eSkGrkytFvd+m4aN0Qn/50foWC1Je/PavR7LR5AvO+HBq+TwZhLZLd0CzXHf5k2eG9sGSvPqk5TgqNZLU7sctdBboEz2Y5kdbdIZR/0i7xIJOAtLSjkZctQQitvclwhQ07B+qrw9Tw2W0PhjfUDD0I2WoA2fsaC5z6jSJpBixth/Y/ih/yjb73mD/VI7DMlTiUKf1f3MWSUlKZ4smif+na3cz5+z2HxIKTH29lvGdZm4003uNbMQeQbs8VTXdU0QH5VeK5Yczkw3+oG43XkW/0Nirqxg95VSA6UT2H/0lE5/UvcPIZsAhXzxjHGy3w78gG6R/y1Q0mhRqCEy7h2QDas8xkpDHmfK9erA3d0J164lm+MabUWEds4fvSRU96JG70mEyBg5cPcfcay1HcUutt35+we06julDJs14SLWJPXbLS15qgr7yImGxznUSAvYOrkhYX+UsJJYSmCbEx08hENawu7Q3uPPXjEALxhPPEPABczRvKDUR/aGg3HjR1/ecF9H++LjzRmtUqgJDv1U4w+2ddd3oyOaxPaIpHVxhvGkQhtGCF824aebSL1U3MBENRZVRM7Zz19ps6VVWY2iWI9kriQHMLAhCGPwa45EegD+vXPSBN5kJaJ6X9010tBlsbjGkd6CQOzOpzY/ZtP7RrtWyRVc9inWMkGJo2z8YefOFamUH3b88VGCAuKdGEhshFrBwGvtPu+4Y2mRyIgQLQv7fDVrPBwrSbfyPxG6Hflrtew+ev+OlkyJGOarKMvgD1QM+AHUnNCnNSOyQrGUnRWs8PiRMSmzYbPCRaMiQ0u14UESVbLtOG53P6egevwypWOgRknHdYUDF57kSjn+sSXUPfdhJDpu9WUboI0Vdbov/XNVGMpCmz0cUNhJXfhvoVtmPbcjiv9k0xJVqd6iiGLn3mmXDoQjWc6Z8Jp1WgKGCOUgDtIOfVHAaUi+i764Gx/PykcRvgY0cLHXa3KVigmu6gvN/IlD1AXTVjPqxWRPIN3xiJ3+4kq+JMP25FEioeRsPPrd5ER7mviBxA8bMSWQmMdRoN6DFnJ6eQ8hOVLF1fpaLZS21HEcx4BzO5DLOW6BXxZlYV+auqFVBPiqitnRemwHKevlHl2Ny6TaYsmvV63B058lMkOpa3gQ7EdOXZYEh1bq64zfxEqtt1h3iUmX1C0+IwvWnhOInlXC/GVnUuJN1Iw/HB7RHWrUDW7neBdOyFLryY6HLNg5Z2zhOeemR+CpRZbBFRkGOP/8192y0Jig+mfAZXUx5/ptjRtBi2zRFxZdzFOWt5usOQVyMDPuhNvxoWVeqFDkqU2j7YP+5crEUZaejOM4swu5R2GWOkrDzd5iHE+OsIpBqKMQ0g4FkC5Qc+WF7yUjcp7C28fxRYYjWJEls7T07EuuOTWWnY5t0mkuhyAQnN56oh/g17lS4/v/+X4KK1uMwgERgDnw5zLZQOvUjit5c7xwVnE1kb7/jgPYxFqW8quMMEL1zrWYBuPYqbAmZymvx5Y6PucsfgueinVKL7OiWdfWinH0Bc+DprpaEqX7E05hX3md+7Nxy1EjsWBX8eY3YIlja4Z0ry1lmRjDtx/eF2y0mXZUtvoXNQRfLvaUP/h5r9WYLCqnkv7Bc7f9QivFyZa26E0R9xdej2WOYzoXpdFFG2ysV9l3W/i6mPzegurPevuQt9u4L59MWaqvTBh53SX5jdkedPl7usLvw87sbXxtvK41g5g9YQu2WuIncHJE/r4b5Js5VFBMbPVpZGwklkFFNN/AlMaxCCVP1E7yBl+WwC9gOVsY+AR8+OB407E4N00qXcvrMoeJbMl8lSIg+oU6ycNkS5uV3IwPZBdEasrbBXaYsN+y+CGedDwlRvtEdTO0tcl57x4w6mIhxj0iNpuEYdNvPbRerr//2Ve5TySYguNV0eoh5KHnZ6453WVv/3Z8G6UFY3SCdyWDhlRff7wjf3Uvr5PlgGmDId1RP1GuoFRKLkaaWpoi7KNv1Tq8glamO3gdFLcuMNxRqIUNCBa1SaD7sjMAQbm7XKxZFXLMs2HRJMNupx/3Z8JVrOs8k6Iwg2Hp/VYC+zc/nq/XgHUyOZ19ycHL2U0FuflDeIhrvLSyXRCYnII8USLroAlcAZiYPDUH/Q8ptAZ4VhuPD1VmMZCXmekAWIP6+Wwd/PUSeGJf6u0LULf8Q4HeiTcoGYDgHLvaYQcXNwMYliBxqFsgvWQ0rxRNAxMvMMrNIUKogCCt6GbKDPWGFE0ERMnHTrusjU9TNCNj3JQY4SlEdmlBeIHJzTfir26Gvd+n4/Y8XoNx2Wxmn9GZwoAkjFpIS/ZYQ6p3N/UX2eBu3iT0Aje7oFLaDMXZNo69AgKq97q5KFqrVl04O6wYWu4BcrNuf36MaLa21zYP1Pd8A2gW6UpPPdhvvWVgEeCyLe8PtZQAuvC3hKBN5T0C/PWcTqjMgWaWeFlRgQZDATIbYHi0ZY5NrUOa/T1M/8VOg154ORbwwwFt46QTIlq+nqaLCXO2R7MA7w55bz9oGbXeodg/Gtrix5J2jeh0Gm+Y96Ed1CLCYSIc8VGymRmOBjvQ2pLUSxiYQEbg7wiNjMVvUrq1KP4Pq/IYEXgFBXw0E7NZ/tEAzvPeVTlWLXcxySOuL5MSLSsEkalugkk0ta34FLf4fbFLfzLaN55QDc3fcm6cV1jfEuboiM4u2wsPfDi+PEO9phqQQQmvk9pOvTO0eNtuHD7id+3zncXWuRnJkwIZ6lnsHuMhX9AI/NtivIXwL4MHWkk5MWK97c4f3Svp9tnS2t8zFUK2Gyrs1zPyA5wz+nV5yE/hCNusJ7S/K4kjuXzLWtJ8mnTuWYrf7IdSOw6x4vNGFUpyTxATFCSLPHKZM4TD4hIpV8iQSDnJ5fVV4IJDk8kdUVo7LbQJbevQzSywlXYrM6y+OxF/er0wVqthqqe648qvKAFcmu8srqXaM44ZURTMu0tX8s4JTrRDh3jPEGQpEj2sie9O/XgFWCaon51Zdk0dfqo3FFZt0btfD41H7UuIpOUS/Nx0NI8ufVZwg5M8BMv9q29pQU2efKMUAzQmBevcnaxTrTZCrQitOwgfBnitcuwmNmODqTnvaoSYcYRmLj86KsnuzpsDoC3StuKvJDd79ivLnK0EoIeFZJmfWMa7qyPOtlWGOiSUqfRX0YrYHmPSj+L5ANedB2aOBV0RdBoCVC/o9yeq2EZ1H8jQ2qHjC8XNPBFI+LODQEJepNePKU43CoC+J16jp6CGX80KSqDAnX14IhtXJqD9kty7wnQvJYHd04EfG1Lya1m0w2JFKs75D9RcwbuCiKzA8cIj9rlbTqzdkr4JcRzKbjAnmenvhlYKAM9Z5lMB7vDjgWurdaguzkbmvk4eEOZ3e37bhe4mFUwcA+QEiNS+xkqz6GtXLksd55msoATkUdir/+qqiAUWoXlxV38dRuaCYdG8Ljo9+J87qScdo8ZRD4kiu+s9dCCcbCfr1Tm5iX6UdLk0msco1JOv5P1c+qk6hSQ5Z8y68xogtlgIOFR/+RUOVGkMlVQdIro0bHUfriZabAKjYxhtC/cNavib3uhVHUshF9lVpoUvGgeBNrx6BcS5Ezz8pbJGxP/T7dlmm896SWr5LJnDSCBm5WQRWwwJGdoPc1NU3hTqIuCfVoQMeLoBMt3XX8vFLzRrAdX/lu2DU/lWi45Pngt7ryQpgZ6I/gCg88KFw6ufDiRSd+LEVxyQJ0yQTPTjZTOE8zdpvb2m+ldjZb+s3qf/OXnQ685VO1ng4kgpCthWimsN8QTNE6fxDq86WMNdj92OYEzSjBxif6Ahc2G1ExtUiBpb3pnrYXZyJa1c2g3vmfLWl5BbbjuT9ztAYtS/vQOhpKBBuHJEchl5c/AL3x3hfKLCmZaEkqme463I7dS3qM7mcWYrhomsWriDge0rgzwpnHneJDAAxl0A/Wi9dnvRt4lzmvDYhkOF6boJW2MB7AL06AVsBgUCiUnW24IcAqDNN7d8UPDzLvpGzXvh35hCKe9jjslViwwmfEjnKp7kgiuk8lm1ohsLiEp3IICvSBXsW8QjQOJKTnw3RA6ebRUT+Y0Anf3QclBvPYmpY0UePKU8XfNvxoyN3UA+xHQS4380Lxe9a0snT7KpSQwh3FQzVKeNhXGFtiS660KGvmp1IyFSvFEUETVU4qVCNQP3dz9w2eM3f3VyPw/0C7laSci7mzVVVTZdoQejL7XQeZuEnwAAsQi7PmN9MhYJ4rnmYOp1hXqR3yOjNYCJi3H1YyECtnJTYmGxcSBH7x1JdvtDKDnxQ7yv7BStg+n6TCa3DF0Uetei9qYRAxuGLQLvweJvYEauqNtGdST+LsIFgaLCQwHRgkftJIdyliQ4EZzHaFwpl6WHzh0nHm7Sn7nTiFBN2Ag64vkfYRIlRBYyuRjV4pJPLAXBdmY1jGEVO6nzJ7mZZPkWW80dhpu26ySEbU7DXazfSwERWSYGpWrY8453c1tConiAek9MsZcs1sDYLJ6iOGjdfElA3eX4Q4uVAwmquzIy/QPhs/rLJSoijx3/euQaZp+tQuWbd2r2/5d99hdDF95GrzmvgphjymL7yi63ZiV07TK6sO2/HMuAqME/wh+aRy9E+MhxyP0a9xwwjFa1qoX6oR7w8kbRQ5ln4HCpywJH2u4sNeqTAOAY60xZhhmXuGdskWLaPWLDRoUrvKleG82uA8RWaYpJ8WWFAnV4Rm/ryvU6LBUaIwH0XjGwO5ceu49+TSL+3Y/g7hTXBEQFQ/5fIbXSdtpcP0QAvSICJeF5GydltZ0RPUSTe1W1uKVPeB119w1gPf9mh1EYkkq/2b8OcNUZZo5xJKWBGUgoc0vsjCxwUEb+BjLoh8lUMmagD4iiFkVngda4cUbUT9B2j/gHFz8/gLVAfzqCCx3gd/4yYvjCHmSrXUlC+HZ+ENQj1l5hDUu01zuHVaXrKtoCpndT8M2eVyJY9fI8ktrcNRN091SXzLWwPrdsLLhc3IxPncqM7WKzPfLHRHW+GTRogoERU/tSr7yLA0vNVvBrbpb7g9Q7fZ6N9UnZSzY5EwcTeCiBjcuztpAP1HwNRwS2uyaUqGqh5FnGhD/Ecr3oLSMj26qbft5o4EZRztdjPUxXddj0IEjrvcamzbUX1QmSupVaOon9CCQ3ZrLV6EOwKaxiJYSaUZ+de61ZyT/OzYC3bgoaOmd18w04/nGavF3Np9Nzyx+zSBcWOIdPZspKnA59cU0X6ymuMnxNkTJaNnRp1HqkZbiXQxbyzrreKlViOi/0O5oOCHvtPw2nfiROfBkczzfVtOZLohUbGGhVs1fNYXB0FU5Fr2iUJQqXL+DbQQgz5KNtKsAyZsqRp6lStglxJjXMbRV5zD+qKmp71BCMaZIZdOVoh6CoBPDzIxvtsiWp1jBc0GgrPuEnsEA3jw3/IoDAgKhTt3WSyL8oyrdasajInFrh0ICay95db6qSlXF/ZdKoN7u9RsiQoIi8mFqGneOUoiRuNXMbzAUDwwLWExD6Xkj7QbRwUPyrS5wLA4KA2/LEfUjKn8hsjj/GhrrE9E6+BcbiUr77+vvi+8Y2khqvMKKZ0nIkhv/sayXpcmAE1XY5xl+O7g3tlmwKKalqysLou0PcQYC3pgOU4GJLfHW7N04+xyTC7OC8i/GL64zh9XKXry3HZ/hEpvnjfb+6USAHeQ9bAf/0SInjz22CtBAochrUfN+Ea4+T7TAmHjxY2szEdNDWBO3NYFLEM50b3TKk7MKfSSEg6bzeElbyb7+D/MLEA61FdUWOha+qDluwcF6fwt912s3Ve/vkgmoDt37akYCRd5852QEFhaS+j5xxHYY8M9hxuIEYsVTq7/TUPxz+631/xk1dkk442/tWRLpIr/72FP2ktOOxTVXYcuD34vofmxaSuE2HEqEPPYOd8sU+jxjkmb3AtvYQKH8duT5f8ihhodTYkbXMbKWrUUMnMvQGMC2h3DDTT+fQTHjRg7j46luB6zFZY9mt/cPmSZuMC0TjDwxDDh9H82LhA6PD4ub/l0lOvejYdGB6Zpw2SWFNM0sLAR9VTKMLMVQWt3/4EHAMKbsyg97Tean+S38Aq+Eyquzf0vQPg/27LZFh3PUX8oySWqgbPJMJI1Pl7tl/Ieg+DdUlfKo93AxQ6JP5QdzNxravPisjx/9bCxdQaQhXWMv03dDpf+5ijrTEe0GHOkZyB+lE/pIIcU6XR4crylGudDu3IZZu2owaeLuH16y6qsS891APxRTve5b6PqR2n5wt5kmykMACrfEKDuJ4euVxbE3aZw5xwJXg7mGMbzOPyYdWzkSkWktgXOpGEW846IiL9slmZXk7+307sKXz3eBQtZgL6W+vSTa8PSuM4lnt6qnZIOMcD5Ytk5nWmIJxqAc2jirsbWgFxaHHLBmK4PKIErsszKWrVf+3j6jeWAwD6yngY0vn4782Pk3owgeqVLp+jjZWT/fwsLW5saQAAypupY4LJqG2xT5EGGrGvCOY1stVBpoCQoNzGpiLSDmhCDWUTv3HlJJIV/GlfOMWHUyqto+tdaMYKy22R8Z3/z9TCZf2cJssY2hwGoGOUbndin7rZp9DnscT6izM3PPG5PRYr+dmd5PZ2p5xHPnAkf3gcVYPK1BWDkRxkFlpHxFQLR0QsKx+mHDCbL0TBs3UvkST9EaMHt5bDjOr2PizX2l5yotTP6E2lm1ZjyuEot99MSPQhU5EJV4lE+0Xct2NfaoxTrW6PnrvcaezHq9F+zMdEBb8omojjDniBaKg/4RTjzJuUFngI8J70iJp9QH+O6iWDTAdWZ5M3jlagVbae8AL0GJCbNJVVhYovCY7nmu/s5Wn5itVGIbA01vwjiBHpOrwV9Ih+vuranMrUv1m2IsFijSjiFSKw/6cWH4dya919HPebQoqLq9x+MaZPP3KjBj10QirRuxoDPR2BkYlzttDZoWSdUFLw4APfL/xolmI2gNUslBMlcXK0fZJ4mKoDxuVJC2t6j1eeQUlpaefmnWSpTx9NDASBl8+IiQ7CdGHUURqi6h1BlW9uGz+6gnj+dL6GZR3/oXkxeMGxHx3YfjW0ZZQ+LUQiUnQxZZUNZcrRlmt7OHsptHLHd7mMOv2JgVrknp/1zSeubq5xizX07tA/1UVFl+p1JF8ieHij+lgHKmeunsZS7X20ADvuw3LaQVtBbu/WqKI10BT+uCFTTeSn8juw0QLWG6YbDtbmBMv0f67Y5XaedSbTnBuy2/e4M5xYvp8gir6aSbCuaN0SFZGRrkqqSidmLHT4UQvOCMai5IUcwN5ytbonOk+I4QBU22LF65yDhOPmcW+Ar9fcgqffRiTZQB3l1iQanGkzeYcbBt2EqreHC+jMQkSo/IFeKpRCIF2l6NZFIHQzLS27ro2q/OUjnnp3w5K1ajYC7LbaKO97DijG7bo4oZbOjBOWNk74npHx9pS1KJQZDUv6qw4KUMrO4yxzbq19j/ZhCAm1e48QoJPWGeO2klRn30BYRTG1kmD8tDhnLM/DLkoTLDARjhbaFR8QLSlZq63N5guw6ZxHXtV1EsltV6jqFzjhkNlBGoiMYxtStg5W/LQ5x1HElGz/YGprA/0nSAW2Ah0bd9Se94fqT0bScNrijokVJPpcS8n1lFCaKBgZzWDjdbIjbW6AbURkRu4SEmzDWnn7X9N9BqHLOUQFVe+eMa864+1C0mPKADGv6S4fF7J5YdH35vRDTVLyE8b82hvLJXfca7UBRDsAJusfIMdlo5ItpMNsHGdswTHUjMm3zTsnniRJ/njKhMFd7BPcY6i5cMfw/nqYa1OA/OvZUaYSknEQwfuOeoSNcICm09/pPLDbrsBvk16DeiNdwWDVBEslvEK/Y2BVdQTxD4NcwFf4ZlneOAxyr7DptBvWSUUTN9evNTWf6BX/FwoexNM1Eomqx1dnv8XNnMExzqhBB09DvYUpkhunvhyAxSABwJ8rBc4VpmTmlZNyATynP6rO0Vp9iOoIeGLEBF3e8BtJAXIc/Lev5KqGn6cEdqXXCqILKhSXcHCMIqMkbjtiHscbG+ObQ4PVH+TAgQtxLskwWaHNvntY09wKpIXjFBCbQfny5gKbok/2wML8/BubVjRQf3kj+mlie4ESsPfjEA3ir7MCVOgBUw25OGPMS9tLBmEwdhPI8qo0HIEIgRhLHYxgwd/d+y9ET74uKeudcDwuZ2wRXAjgk6xn3p0DVJJ9dxm16nA9cdX8nuXpKmRveITBPyYxIzYPHiS20bpvGq/S1KRPepDC3moi9MG2SWpZBQfaLSS++9Z7txNGf9dn91/LY7oT3TfjywlSfxNQPxxUrdt4uxABOQLEZNB4uZHCWwY/x3PZveAVCjVL6DQon503yxsJacw2UJ6oj25mmPqLp36GiiNAIBxvaHF3R/Z4NHZvF4zTATdTaHYNudDlOKnDu3ATS2hzQceNG13vYybi892mFqi8yzS8JzA3OBEjTkA9yxtlFL1UWVVhP35dYMLdmITjOMBpXDo/y0GKV/KBip3ZKXaeQ/bEprnuDQHn5wJL3cMySAawFQe+IqENPUTSJkckTgC7OlG18g6bXt+7EnLvL4W3jTqEOBtXfNF94+OQlNg+GWxVPMGzm0Xu7M7LdAXNJfSap2JkBcvPzsSwOv1mfZ0aMUopjTrn23SNKYM+/H5NRRb5JsCFYoc6571K+uEzBE6Tn3bCE84OSBxLUTXx9aEeK+1mEt90RIrnPyjvzJfsJ+IbnY4NxHccvdub/Vu+AnzfuTWGaEJhlWalddYcE2SjhqBqKBo8hX96HtQtEWGdZaoHtSh9qVHrSbzzFfoM6+lqiQ7AqS9bHP54nAZ1S05OGf3rN/aR40eqYMRQTChaFMFoBpJfmBtxHjr9tk8ZoQVaIrnveH9nRFboaM+K0fKaJvmKPwz7iVzu/MmnuTV2G+KpWgJQD0IxoiCQjvMLI/+WqNptYK6+RCxqCKEwpQamqwqyxLV2uhIe42GyC2T6maioCv6wurXnEltxt9jKc0lcWYsbmLy3CcYChITSdSRy66QJZqcobRWBF5hIgbCM6lFUT+ONBycag8taRgOeTVUFaM50pT+KdPwwg9BZPi0BdWjJmIwM7hIVhPeWJx0S12srEHKKEHr4iAIMBs6+rzSayigC8i9o+n7sfzxEXm+NaRVPq7ZLaa2ZrA1Oh3+QwfMdbBCCbDTDJQBEjg5K3wzYrjzyV9z7wfusQ6r3B/yNvXGh+aydlJKarcD2VZvcK15Wbv4zUjW5VnDKutIXPf2QqrgNehEC2JoIGlEYGSgCHzKrz3lLlnwMHKBoXNYuhv7gG1pYGRA8cCtYiVk7kh2R3Nov4LUBWATFJSvyYXbOKzT0h0ARh/PhDYlKqGdA6ZtuYQ0GOUP/7WcentA5gvQeXKjJ4u8/BY1p0ftB20hclpQUQ7hwqvn9htMU+qufiX2ND+FAm+8ULjS/8B7e/oSt54C2K238Y4rnrR2rdYvq8aZgXJtNn7JqhOtxmZ8L0m6QNhZatB10ym7i2KmYFlbRGmkxHayjg8gTTPMyt8o9gbav7cWNYcMnUfhlEPF9173Jiic8vlfj44edotZnUEH3EnmzpOIkTdoge/29bMSdyHrto17JJmp3OqGwbmzY0ho61JJAFmfKJVZD/9mjKBnqFeCjzqoqqGLYWR7Bd3BKtq6owFhsuXSD/PfsHX2tLiFJGQ0egLm0cioeNyyrMPt5wSAifpnUtikkLKUtO6JvMuGOW6mm9kpef4eqrewHVU22o+Ld69pNl3c29KxPiwOD/LzY1h2wZLy6NpnRmgDANPChQKa+Vqfj9gLln8tyiUQy4fLgnhXdZiSHUivwx/vWgFB73ZETwMKvXSuiz36wTVIzpKGDg/3yIfKTP/WZVKM2oQRFCuCeWDot6FYdIUfBF4qHaaOBPIIa+FckPey92oS5y3HFZP6S0GIass5fJZoZ9GPjWeG03mXz1kh8RMXEwb0MTlwOqqkwJsOR9zyNqitIFdNF+Lxzxk/+kwShDfEK4gBtPjQYuatu8PxIpioUlpi35FE9iNtDduZq7CwPj7zW9ZxN1XcgScEpA8WyZsWzAo+IQpjZsQakAvCauaKI3N9NRW3mWwxnW557k0luOCHXV+vIaMSYjfBtWzV3FvzuWea9iik+2dw+R6Z2cAzfTJB0+8jlmj3jcn8Kvf28kNu4AWDs2Q8Fk1CrVf+o6LO5v7UiUEiZ4lTRUeRHlVHoOK8Aa+XQ9PyuoOYoj/C1161pZLv3JqMZ8NVP0ucFkYzweCeDnNsq13EQS+nyKmJ8WlY+JIrR5Ou25cBS1lV63BFO3QJIiYjzCjThMpphJe3PcnMar+XP5yRUYXBQUkiLejPfkXNOOYzvRanEdMwHuRd2swVN0wMY08guQNiyWytsjXksGqC/586aI6GvT/869HdkGIjbuTsTCZzqoDuFSqIlyBL9oFwRef+cZyaUCdMjpMv4BYCiPNN5vBMuQu6lKTjpz17PMxdtYauM9y28rTAncXvo+aiVB99nY6j0/TzNQ3FhwS1npaHE8hNnMaaKE0xWyyct3KxBfLeRobfNL43bQ2iD69qAeeUyDfrRSvQf1SX9TuievlDbKgr7U88dZgtdS8kaJrCM2gY6QsVHP7Edda+PwKxE74o4znd5Voozgc7pFPdTE4u77+zN45qZVeEVCvQZHIYQK10uNkZog304yq6KYDnIfclmFKe7I7sfkZ2H5d8KVJDaid/L1F0V0VB8NLWq0l7H7p9FkiSgY3tuO7z6fVxjy/0Cleq5afSZ3ZP9GsYj+OiJJ7pDttbzrJUoYd1MLgueTzOrGyyzpEyfL4LUUmNfUsc5FpIxEgtRbKezg1psMKE3jBxH8RDrl45cMry0kg+G9Fta9kRWRcQhelnRuNMtSs/+lKUCGRSA23I8G2FWc3x5wH19QFe8CLU5+xhqv8ioeBtOt/3Ob/tpiNDJ586ppclqYWhRpuJ0QkEIYVruMgnDp+s6hYAAEh7JxWGqT0oWea8LxFtypgV2E+pju6h4a8Fn9jkTYuIjnrCH+GVjctHQH4WnQW+Nn2wLClEvTUudonvtcTUrWRvXh5Isqn6dGA7F8MtoBmvjj9MI+6X5GYkZv9u8Vlcc4JCr8j9ay62LJDNEekEh4uCktTdPFWEF/CEmHzrmpUW5rrCD2xbqVVWvJZQ0VFFAB4UpE2pL1j3C5NEcYDzy+XX4aKKrQOKm3qOXGMImC+mKAh3MGOFeTV3GE+fryQhKlPdY3BsDlecdh+oCAaemKBEIMXfFlrNOkPg6gJQegRRqdcmGqRoOz4mnfArhjeTvr9/JKkAWa5oC0fZvCzxQfEu6VBTdfFRP+vWYKwIoqklDEbd/n0ZKisuvLLP69KoMcRgHHQ8ki3LPrlj+hXR0nC9a141//hM9DQH3uxPolf9b04SBnVT0pKPYDy7d4I4wwuNdVmLBmW0F5u3mzls/zZ/vDMvgJEoC9FLFHebsdKB6k7bcDmB4UXdXCyy4uqwQBCqOmQlBha0ajTTb5dw+eWKeb+AIitK+84Xxnq+qn752eFYncDv9lV0O9qSAftNZfI1SfaFB0O57ZH0V0DmGExQF1Q3fuGPlIfU4Ul48Pb7cZ8J81jqAwvnWhrAyjMQvfbTki/+PqxH5cAfBFjlJNNJwUcCsZz95xMN+9Yu4D8icvQ9WV+ZD7q4Dj1PrhnAgBNQcVuFSpTa35axQ+7ST8q22vrzcKwciPDToCCRdhMzafZVeI3N6DY/suC6cGU+II19ucdXiMB/SYJl5G6OekRxUEI+hkwKhLT5dizspR43Kry50QoXLWishWa3AK51kox/CAvuUQVNky7dHiIZy1CAnBZl37txkp6ThKk6Z7dCkLuYH5ai6qAIwmkh6Fv0QcaXqpdhr5V1JU76KVKnHFOFy8MdNLXY/nvd4V8RlJOzb9JKZFxBz9mPS37wv6JvCDJrQNJ9+JDdFsIHMQIbplSe25TkL3LwadeH5tn7CIlxZAQPb1vHICgHr02a1ehzk5W0YaOIPv2X1CQlmpBp93UgC7/xGpvcYFsgwzmW4ZjS7th+CUPat99MaHjLPR/24OPgOQu08pv7Y78edtMHDSE1qc1L7DjzpMrB2b8V4v+m25nFR79rIuQV6AwlFK46SgenkuNqybQ4j8XYQeRhLwjy/xrAtd+pvbMgQIMyWv+LOP0J7decLE8e9FGtUXd4Qr33+zMOctvqwvnSRfSJVuPzovZuzlZlSC44WXwKBMYizkDJvmSDts8qU8aTTdt86Hncy2v+3w+UqJ+n//tRUZyOqvrTV5ASw8uDfskVNuf4a8BTyVvAUgDrHM8CNgbXYs8Fm52e6BiCkBQ5RG6maYPEcqUTIIdnsOEg259wbeP7HZiuj4fKSG59HxI2LgX8by6+YointVeYuFZ/ozmyUpk0LMxLMRhF9JqOwAv3WiOQOQaE+4xWr6QyC9+MbwjrQ+sE+yUTwHdG1XQST0vJYIp/TUzeajGujp6BGVA+p4O8iY8Hn2xXYQLiqW9SMLxU15XQeGe7URv59aDXSPMex6MjCBPOq06BbiXA0v6LVpUmFzDn94WpSyBEufH+u5p/y+O/OhSnNlpDnNWzSzW3N2mcPlJsdFD6o/OEcu+gLXoW18a+PI34sc1Hsd0X3E5VkEtq9LX9SoUnO4fXdJOGeuunNMVsPQl0lQHcReZA8I1WEWRWqVnJZaBzw54lAKuA06+myv3Bc8Kwil8BbXgTt12tTaJ8Gj4MuuvLT39k+gVmBbiYKErQNVvk+a6kWNsHwoVNtDlWNzKAAvoPKiBrLgftiUHlMTkmwjzDpkot6wsubVtw0Xu/kCgHtEiaPnzs147QLc4Dc1oYWWVrMvaTl9yFjkVDZovlHiQOtXKMFmFqfj3vuw7P6oDqMxLLrFSXJ0Lu3EcYO15yshJMq2dR1RG0E82L8vzgyBEJGO9snR4oFn+CaG3/5MuLxqOqmgwrNMxoESerJEGLByYTqV7AaOkGniMmJG5L+tymR/fHuEc8rvL7IOACRykJjkxF+pqmWC3eeOAVFFE5tvE2oe+o4+6O8JNpLLjX0FftMzD8xHAk748vPCCw6yKZv3STJuMQ20EFdeCPEdW4qg11O01g7gSTCOiPgjzYAMx1Fpq4OrnhHvYdq245p7hOJnaBcrwAkvst2zMDCgGDz01VnIGJhMV8wKCL8zW1lTTfpfwpLw4lN4AD5AgCI5Q8baehEXKztuJNHiqRoEJWuNPSErq+KWpyia3h5oS/pYOIA6wMNal9TlVOw8SzXIFdePnSzDm8F4w+YnfS99fx5cgoLeD4acUD4eMCl76GXjN83L+qJ7OZAq3u3hWsfJ8oB7j89FUnM0EWdc3L9MHXsXL9UPyHe+NM1JDGtZChr85fKzUvVUtVlCHohAwzQ4mMx2GfqHGt2eBKXkcHOj9G9OX5kJjKqgUeslhLdiqcYh5LOyKgCfCCH5pSwmKZUOCyyuGZ7uwNzqWtLOK3aYCjqpYkn5/fls/frJvTfvwWTlr5JdWYUlJnhdZE7txirfuEGyj9LgYfDC3YKp0au3+ecoWBQEWd/L2l0PTz5+BykINqUGC8Ss67g/BQOyVNuTYKum9oqB159TY3BNDbs9lqdmGzro/5AJkT6qbi9Fj8QXhPWboUjVSvxjObgL8bdQ7sLKR4Ta8b5qaCjMgMkgEiJm5ysWOsi+QeavzWjLbUuDAK/XHyo1QCqpmVAVvMdW2JuHBRk0Mys+MxemIIDOYz//ntxmmDH74FU9sCZFVclvAEUtUUgodw3Dakgh2Rx67ItPOeSHInGa5kk8gy8WZuGXraufGeI48QuClTw8OJbZVcPgBcE/NEjNujeQveXBWzBHCSLqrFxULRVIDDtGjeJ+U45/FLj+7hzEtYJMVhkR0ookeBit9plu3oZ017ZsP0Ohl5fXnSqmYXbv6v1lqtSrIr3ckEcP/EPgZpHUmvsn150d/U9SBA34JtnPhgfBZ9K4cgfBygBh5V8jx0b/Tz0fva0OfQIsIxhyIJt13FMDdQFLjveE9fi4wg7FMr0IH4G6lXDi6XbPef2T1J8aALhKRwnKoJ0sVIC6WjJ8LfiDU+6afo1cG41Yi1UyQlk5JKJ/Naf8hOe1hUO5wS7w/pTFFU9FvHfC6CjLzQP/qIx0Qle1SXSKyKm1uOPWDr7hPteYKTNogiSB2zt4X4qen8hsk4GFtkI3++ulX7Shrm6v+OSYwV13nbXMg1HqS8LA3j/tmVx6ENeMp30shH1MZvRVGj1eqhTz9eDAxVJYQh4bv/TLBf4u5uO9r1S8FhRgxoasuIaWlZJciA6LEBR423v3hxrIo1zkh8JWltEu4RcdU3EmHMOG+R5MobP6QR1H0Ld+0+QzAB4T7wYCfKR/xH2LCTP6ILzY63fmnFS0wziAUxx3A4emMWb3ef91uR2EmG+ibscovfHPn4xt5j00jvxUhXbhsXrR7HzEWn8ISRjKqVAMXu/jjyhPNM7nxeaJ2HShOXGQDAxge3rOA8W/AQ+OgWoMVZB+KUBDkXuHXqFx3n941K9tsQX+fAFMPSdjFoOVQLLRvl/7/31jV+qgxi9KzwZE8gSSCO4UwRHwHsB9jaPUPECrftPPwB9Ip60O3KniX2yRhp40uRyjHcRlOKGlMu98v85fhPJmppdtRfk1mzVazNd4opXYi1ZKysrm8MZ4DHg6sI4ZdBx8dpMiXtJoQVsUa3rnh+hZJ+B4h485DbsvhIUttmXvwTcTif4fhKG5QVKWIpDcxA2XpvJyRiJKZ+cEqsTGh8odJR96dwIKAgmT1HSz+Kn6fbUZLL6emMyeQwiNUcHaq58pc9i0tCA/EK0pKk1UhcPiDuRh2UJS2OTFzqusgkCDafiyjrbbWzu8A+RDz7gF5mjEdZeNRqmGF9GSW2Mt1o+4EGlihuk6Z/cot05b63nz/9+LDove7VJYadYpRw4sMCs9pzqGc7nhoV1QKgUlABrR3l2muaKbK8TPN3dFamnTRE8rJ0ux38Typ2jBwTYQNTRn62E97QrBA4axB52P4va2JD2DaO0zeZkoQzUi0Ljv/7KcDq3yxMmG07OZx2cflYU5Qk4HkBNo0kbRgdMLvEQ5ubCR9F24iEmxw65ZDp9QpkZZb6bJYSULRrPwAjyNYDsP9FJMNHRX8m6muVaefP/XgzHkptRe3iSUFJvCaPdiWsujlnIsNjqjjL/DVFf1sGOMgIOCSuAoNF3M5LzSTLqwBff2J/ArHSXHeU5ku/FQrZPvx9Ch9+U4e4wkGLGJt1Nr9sg3wD4p9X2Be+iFVQ67o3Wo2TWCJB3sXjtj8z3fAa4FQ7EdkdNHCyqeRzvsmMurEWsA3WuMZJrLXiANk9jtQMBG1QLE9oou9kFVPujtH4r+ODMRbO7LaKB4/HJwipYu/wGZWzwmUKn6lOMMUemFaoUJ1Kcm/o2WmSaKB8fgk9danQGgm+LawwK5HnDVFNVcdPeXuXDKIJSdbOBP2yMyLD/XWpnHpK2xEPcCV7f3wVGTrKS6T30duax2JrIT3dYq0GdUkiFD7t3gbXBSa+HjYUxDybgcottL4D3zFnRD1eID3xHhN4Mp1OudohXiJX86GeW70u+VuiaIkLA0JzbO99IPqM8JIrtgTXmdotZDzy33ldK/D8ahfUVvoyiWlgiis9+CFwwctVXYC1pPT42n/3tqM1xzXfo3zVARaUM7FkGy/IYNgXIZX5J5X8vJx9bM935vSCZIOUl5qkDngZwlHFwGMYBNLVQwSFBFJW0rInCKg6hq6DYIowyLv25LmmV6nk33K/5Fy9d4QtogrqJxbmrL1gZ2yZblEwchGHa0d/zbJoX+mrtKQx5j3JjpgGj4bwES8q8UeYmJ/WvapEo+Tqqasr9zdmdiF0rxtX2POk0HAbgvaeIsTn9bO3EtQkgsD3JMSd6MLxtEmT4Q6ztBn3wFaZ/L882CnvozQgiFYwZiBm+H7KQ9v0FZjzDNqHOoKJM3FcJJtKhzVJvPpG2phoKAdw7XdlOS+AlKs/86L05OjADR9LiqaFzCqupUKgMAYlbCc/Up2xmcEgoJK7IMzVAPvydCuwHP0OfQU2S7L/ofyA5vGt/GBlU0hJyeRKPk3rmojal8J91cZP+Y0nf3fB7d1nq579kSSFWTSwUE3ggvUSvB4xwHIUwLtJ6uua/J8GnCFmS5NaM+CaFBqFhPaIpveJ5iUaUZwUPptf9EkgtujVPK/hTTyb4Wju+iebYko6cW26b6dvGIO74fTxmijCd9Z2Yzu/aUijiu5lPGY9TOJkM8JdmglQAkpkZVgcnBwRPa2599KcRJ6aaJ3Q1X3PS1eP6tuTZ3As7f/k79jumUs1O8tYyRbgQnZtMYKkllUy6j3QiJBi5y50tc+A8pyKgLkmT9LJz+HbdzZqLGb944Oi8wUTClhEX3YCVW93bowPzDQxZBKnRDiMf8Iv9iTWr7l1kEFYldGOznUIPm1fwM5MXQ8gwi2Ot/oySFDZJ3JJ4iHUCvT2IcVBseQOhmtzksvlOuFrPkvMvc8gZAv5zOUQu4+dWOQdtkFETWbCEhZ//OGqQOgyEXMeZg3zQkkWxkrpNgIjutGbVeR6GkYE8Ni917nkPU6vQkk3tJ2Y8uUQUbh08uH8TarKV6GvEgVNBU1GV99M1PeCeWiHJ3FiAq7A1f/1nSHP19YF2+hdd7y9i1hlVzXd6ZZLzwcnYvMM4fneEZk+zXCY1i5xxJRqYCCNQ/C53BPui3PhaqqzcIY9enfVbaEB1zqWg1vR39UTscWew75osFopmkTiSNeU9TcmBcyJpI2Pkltmymv//OJhvsSDMdK5rkVHrXhJx9G//GvA4x6jjJpZFG6DwSTdpwp4r2eMweTWcMXd0IBRcY52xcTfX5luQGSiSNfeB26xQgXvZZzPkXWAAaNiipOAqNNpMnfYPRiy5/ZtffvPqUHgPPKBhiJ9hkn5lDZhKCrY9Kc4r5g937GQf9H7K5SFLIa2dSuMSdfZWLMpS9xJczBAsdxmdASnrCuw0g3KXRRUfcVKmSADaePG9pEwOGKwb9LMMY0zc+PkSUfr7OiB8f7hdCrfvZREM6X6mRhkhTw0LPjMVJ19ESND0waHongWmrJwRQ9OpmacYsmoeL5j8MFqifODYAGS9FvrAPCu5oFsVARkfwTS00gT0wBv5CuwiBJy8WQcAxlO5St0BXJgv68VFDYpXM61B1rSjN3GAuuxjI0x25YBsBNvtmx26PIlwVj14kjC3bT9OvHLJsuyB2mv95exBKQzv9Ryppjlcl8EhbFWZEsCJ5OuKfw9NU5HIREsxBXcKdtStnhqq9kbXRMYj7zBDDmBVWvPS2lIeTWDAIDfSX7CK5yHWc/quP5j1GBzJocG3vd8bjwwSuDGuiA9pVw1oz6B1soajV0pd3dFgj7DSK1+trr5Y5Tb+X6ECs7iKASKJnVg1RL02cVoeAMOLuQH7aq6doiiE8RGjELv/FphA3AiPYRIUIzGKEgC0NdBaQy2okO/fxuxueR4oHowI/TLP0QHmWPNkLkwPjubgW0flrOvpkYvXOhcBDT0VB2u02jQbGOq+TLwdT3PoHM5HAOZlvm2GFZ5Vh7180cdxrCJ04Yr5UmnuobXWnusL0f96bMbmiOuPoVp7Pwm2yOZ1Q58qzolYQUuzhX6fuYAe5yFQNpt8lEbM8uiPO3mGfyOJY1mtHSVqcfx9SuAVPteMlDsA9s9jBuj8kfI9aBqx7xUO3FJyHgvMCUrOe3+rswNqs/zAvqCCUoB4yD1+aT+SUzamser2IZfnTxfYQGwJDdy30klgcQzaZy845McE5GoFbkJAxe6I/OoFy3Mso4qYtcHXP5h4jB6spE8XDkfKuBYx/Z80JIYXGQpQIadAg0yRnaSOctW7tjn8cvDi6YXKFmnEbEZfmEOTeT3+sEeWCdN3Ue5bVb3978+HHhc7mALQr+3z+OSSQ4shr60ZRRumli/Knnw3kd3h4RRaNhaGmEA5PcRIZ6QQ2Z7CuFBMobrcCcraIHW+DgVp04kWimQFsPGWhXGLH0U5T7q94eLZnirMikHUvHjqUy6H16jD0M431YdQ0928h8jhjl75QQOnJeB58rfgWYTpODXoKDb2YVTApVQBYBaX9J52NRPww0iI2yFHJCxhtsbsnGRFYBRvFrDZ+FNODvAEV+cAs/PRXBUp3XCOZSKO3J0SBOxjv5lNUIXwbYo2GbugiKXbyana9WmcFKb7+61yRAhtc6CuPtlfOLvudPX+pdnJmAbxt216urQKgko3eCLlC0ZnovG0nCxxv5BU5epHBOCxXJr2VExI1wqkQiAU1yst/aXaf9vxeoRpEbZyeGBUjj5dmuH+p8ImTnDWwzpwcAnTmuGPErO6NUSsYu3PLrcJfrnOu/u6gin0tpZ2Y2Yhj1ViaYX3aHIN1lUuMjeUF9zd9ReVu74h0ojOodPY5butAIuOKiauGVVVkVsutwedoVwUdS5fxREfBgOugM2qcpg6SFOiyosP81JwaAaQZe6o9vhTuR+QbQXew+xkI9xYQclsjlfmpe2RvM4a8/xQEJJKXXpo2/WR4/3zxpdJFVHGZwf1SG/7U+ZHYOFTKCxGVnmVE16dS/8Lv/tAz31eRcGE9c1HYBugnUe4m1Tlz4uC6jXhjJ0b+PJ1D+F6tBTMS61t6uUMF7e6nU1nwQMH//i1BPPNwpePPVrrbmWA/CSGHbNuF7dYyYOk9me1nvi5YTsHfVFY/wFpxjaThtowre63tXa+8p58/Q0zqsIWkGK4jAzeHGUiTMI2+lkgEMQdjQIEJoPKIoJ47TrIShSl+6qzM6s1w1N0mXgvf1EXvrNk8vigfehQd86MdI2ezs/wLf/CSMkPT4LIMebqkw2b6hifW5zchjb5R/MmCJOjFjKyVu2cBnqqu+tXEplOdowNhVL3TS4nrRbmZPBN4VcNXkV2RWTpra5z32ZH7ezNmDnMD+N58EzvFOjehb9l1u2YWmNyplAClo2c/n7eELvHl6Ge8mzMUNeu7jRmOjLGJZXOAkmM8LWJm87ZhGOqPBnceCM+D+UfA3OtfHlqM8b9gANoZuGcGB2LdAYmRSPfNrp6tDZoOb55DEi1XcgadSuPlysklhUQEZXv0UO+I4D29ZG1iPciQtn+3oPtmu5MF0Zy6GUmshhGt4lI2f4ZpQuDowYFo3twGLYe4mnUVERY0EObvFKz0vYac5s8Fi41aX1GvRG7Rd+Jms0SPeDLb8uXxRueJiPrneqjIAEWTZbfsISZQgk/oN6HunGfyGndubnZQe/hB6c9HIr07adQTNsJ//GvP0JmKMiI4tz9xjzlLv/AmvPtfwKWD7tpsA257iQLk/WyzZAeStVTLTlAS0jnPAKzWqoIJUEF9CUKlJODiAcxrfgywVCAjvSU0vaNwUlaEN0XF9j4oJ38/ndk/s1AZEikM8eNKOzuSdsJMTHmwWGRfpQ285GLhpIJwI6CJlDZxnORO7ByTD9PNV4XGtXICru8bOJ1wgzm3rud9PFzrHrhGCYLEfN0rgV2UljcXEqRZKMhSe1Ijyz1UpXQaUEEAy4QnbJl5ybnh61gsHYnbmMkUaMj+G3PLcjwD2GWPXn4SH3E5lbhIfAHfo6ieT+ZBNujvUj7p1K+taQOb5J5ftYifjHVhjrkVz4/dVQUbd2lOlGwT9pXcp9WXEDfM54bAPhfVWG5IBm/0F3Jlqintjv19qCaav9CBnE6z+ET6yTFo1F3P2kCCcjttAhSuDwB6gwG0UffE5SBqtihOXWtTO2gBef/i2sSwNSuDnErNMA0d0ZPMmIG2jQHd9kSLVoKkmInKYDrr1dHn3kbjYpJd5sSlFQzFt+IWox4xda/f+QYbn2WFwhcFErZRgmhjqsY4MLNXbrZTpDSA38XZQIrJ18gPJL0MSZM9yVPugV+R3h/isOHWq5d1jKVqEtc+eB4l5QlggIxWqmkQxK30N0gp0CdOzRlir5EIhqj2JaSGmI29Nd4+40vn9CWZwQKx/MYzqroNYR5USBe2dl/+teB8eHhJGiHDrqFDS5JUAY1vSUnnM8V3IoRC16wMQ0kdJ0V6bvYXMVhgaUuj5g3koCdRv2E5EvCl6CPcx0btune9O1Z+LTVa8aX98ULuGQcCU0uVm6g3QBvkiMXfaA8Nstie2I1nCSn30Hw77uDx9pVE+ZJoIDab+WkpoiIUqC+0x56hL/ZI4/gOmS9WJN/c7EmGVn5dTU1RWWqeL13kITZxpedbvUf0Q6SuxheO+a0r8lM9BjVd1b2LA8t1a4Sk201OkyYszO4yEQUbTKaahES3r19RSljGOfGLoQLX+qwvTNXJkA9kBzdNhCd275nOWq0rxkfOYWrREPe3WShGXJgvDov8E9IsVyShiuIBHFtpEeFm89DHYOwgLCjKJ29xkQD8co/dCGnn69bjZfeD0orr0zys/qec2eh9RjvKFv44seHu0SHuYi2YyRQ3isp7hA90U3Ad6F1fuQ0us9GfomUodhr0a7lLMNIm40n11gwt8MrsPh3QZIOf9iHktipSq+psAjnzvsqXcrTEYd/J6p8QYIKB2exyza85qgOWAPjftnj5gL1M1ELBr+G5Zw+lqP9bh/3btLyRHLg7XWV2Dkz7JcdFSC4iQOJTlyQfrvy71BWA/TRZ6gWipXq6FCi4LlVGU9CmZlvVij0LE9Nmn853QBTPB1iEziTu2MVDEUyaGXsKR81XR8XeJRGi8atj4DlhXUgVdReLRKx3OOGAW+GiouJZJqK1Bk9m8TdptCixBS+yvDWikyaXzPYbUSa/+i5zMxk0UEclcdbLgalphtJ97S+zGzqDmPGDOnt2rUNAL01q/UvUKtC4jpspWrE7D4gbQJK5fVhvzg1a51EtmPkqgFwOIBnTnPsDpXhX9uMpwqsxDi9NSSNrHZbVjQAsaq+9trUqxmq/I0T+UfiCYI0DqshhQGZ0iOr2ALmZrfxK8fnAvRVEDf2EDL66CZAuaFcVi/pOjDSedXQzArgPtptt0GjDOajqcKZvUU0OkX9pd8FcC3FRFCNyELrcN+z7Vu1v2rWV0A3pVxCoLN6QkND3c0xV0/Ci0MjN4mRKlqP5luk1uIPVE2yl3ADL7j0u2QrrCB2Ia2C2Khgd5SWFd+hm76t6AFJHW5TorBnf9HhAItx9m2J62T6CaxvT7oGn2a36fKN2TnoTqffYW47BtnAREv/Mu/14ng6BRnOM85xifS3vjD2hnOHbUjFcA05utyBoEORkjsxjTMBLPpNqZprg3WvaSTbYPFiv+1h2pW3O9PheJEz51p1BGDmN2aYWiir7tBKNbM6rekWEYJxAcoI0qv41oMFtHarkomrwttDNQtTVY6k3mAejUYoajmucVWtEUEG52pb5EdmRE37oJEWjKlv3GgYjIeLGMPOxMekLd453WPwVpWbwCQ/6f4WCjbNrrysGRUe14vjZs1m9TQbnIfqlbwjzYUW+BYAGexs2KWDrCUYw7OSoFVrPB0GqVqaKns7/T0RvfL2SFqcEvVBcfpWgrg5MKBhw/n3KYf+e3Wwj/HWxk3LsMnpPFpP5g718qEm1APFtwekDq8J7+hDdD5bsTN9ZdXQ8gyrQq0CwyLpW1yziiNDFCp+Qb+WGOEzwRF4qAqHtKtBN1oVeQmtn8KdphPKpluLZj0gqfRU0pQ8c8JhuknL+TFVHb5uGvbGLBfW3qe65p9+f43fac1K5/oY/mVQqmBqkDI5OCPfomScytZv/zsvozxfUkgPexBU4YMT6ctHIPdUgB62MANrnQehwQS8aM4N+8fH04qmJ3PXnnPdlw5ZuAJVmwtuyd2Fd4SM6ASQ6Sr2a9wRLTUjT0a06pKT3z4q4xxWpHqQXGD6F5H7ekY0R8aiT67uAsHlvc68xu/5qtGHItxwD/4la5PFeDyujMcXTXWwSgbR3KZIJ5sqWpaqGZ1VULF1ZGqrMGUHUBqQlUGa/ucbEoXRGHnB0YFdhmBfJHJ+aPSY3aIOWk3UuBQIr3O/O2haeiT8RWNr8n2q0q/n/W8KwmugR4QNXeQh2kT3WZb6yybnxu87+gBqom59QDoNp+FshZkTOL+p6uaxaRoSLE0UCSOee8QBFmeRMZ/OWQF4p4nysYeUoN2xKNJplb9PzuJ5QxFRr6cJ1grwK7RI+94IXtFg2ObyA+ZnZVGxPtjcI1iaSZTT+QPocbu+BB30hYq38On6t+zaC44qBIdMFQ0/tFluMG5sacF2L0qIlaW1SHl48WGMuU6/Zi8v0VEt6jiuRuj43lqzUxcv3OaG6gVKq9DI0/C4fF39yHQYZ8T+2K9nYBm7x6jYEjL/b1fI0iKTacHQOjOAYxKUwNI1TKJAul4SJ2+a3ebtM4OLOUc2B+vGaZOLdxa7h7Q4gSwWkRAA93za8b6r7duFvM3u+ZcABmhMcuT6DP018+gn1BDijbshpCCSffLzwvEv84Xr0wMPv4KxoDzfHsYZQ4XDsrF2lZKBWi8VgclsTqPXtyVcGzMpNH/TCdcRwxD+B/xspSkIqwmyQQd7lahvNPu7xOWszm/sukdlhXSeFVpeR+HsOZKGyQQ/QkUe8YCvHFI/UbpXMZw8zSDGTsb1yjnUNvMssQ6H3D+/QT+nvsjcq420wgLfxy1M3riH+oolFjDmSF5ff2yii9ihEQ44IuY8ZULL/9q9djgyxEhwoVKXJMbtYFsjgF7HaCy5XLklsum+O0f3ZTzVKcpyZzjpDf8oDb4Tza8hpGVpfLfzMwYMrbZuQvXYff3VXEtCNvwcLpTtxAVNJS9H6CLB22EMRm9d5LyvxSYnW1QJmKPREeGK08Ly1Az1qM0Ow+KmQ2W2vEoMnWJDMX+JUjGLNKwUGM16Klb/w3nbBsylo4hZGZyKB7Vi2GrK+7XWF8Hfu3wFdX14sTSHFtYqUL0O3yzon8S2vp+BXe0Rn/QZqC/nC5G0l7c+uiOZV39G4SkwqRjNMgbc1c1wGrbYwRbOOfd2SjkdVfHuOHEfjRVK/vgQ1GCnfAcQj8obJobPqum4FZw1P3lAxTE96JsYCmLrD8jxQIoe8ZoWuZ7zbu1pJ+DRHFrrNQ7cs2Xu6v2NUCy1+tFVCXslxfcCjixYOB4/4B/dI235aiIkT/pbL4AYoLTI4qsuQV4rHbp+x72g1C1X4amgIxJfxR0NSFbS45BcIlCN7EZms+GDoeKMEj97ih9MFH4pE7YDm/Rn+t1c4q/0SmllWxlao/21H7adAR9069AiTpP9zaYnF/eSFfmOeFJbpYruzl0xOFAM6HIstsPGTZHVAaqyNKXsL6Ke60S+nE1wCJE+hoX20giSfEgsM/ZAJwF8ovecK9V6DBV8g6XA4NgetdhnudRCP54leRcSMKSIATf8U6Oj0cD64nsW3ZsmTU/0fegrQ8YKMP8fUPNbYmUcrpl9H/Lstf8YH0AtohwZcvqdaPkkDk3ML3mIM3LgCeFMMovyH6o/12lM+GXA9H+tVVVXElIOhaTVfwjoODlVD+hW5M4uQ0rNAi/2kenL3V+Ju8FmGroNdPHqwChCfrKSGAmbtTryFOQ5vBZJRyKtufaTsZgKpAa06s0BcWN1TIhftHquYMvxplLTeLXtjorO/mA6DdLAJdwL6VvsSQQb3CmYM92zXZAs3itSED4aIlXe+N2rsVx0PqaikWQDAZ1/5DpiAQuPkM7u5lLY4IA4lYoqfe3jojWNTU/RjuZiFja2t37ry4v/JOAoA5/rNRTfZhmN1dSVH7KrDrU8RMJATklrs6EG1eWb1rR1SPiDB/mtbiDrUOHCENyN28Aws7oX9zz0AZ7teSDCUcPerfZCBv0oqjeCLBXCxpBCtM8gZ0CTfNK82ARLgAwrGQGx8oXMcXnippwkwmjK5rRrqRBoN74rhnQG7DKmXN99nClEINrBuwxzDXwp4NYcLHLHYP7iO2/MVPP8/HFvwedPng8ybhB6Z/NrrkVByxx3KctoLz7K1arj0aDmAtg+QAHVsZ4Fgbo3ltNtsSFJvkaiQkLTEMqefC9Wrr7eH7n6xQ6jUDJhy17vTZFBBao2sQ2H17Wfg5SbVctcv3SrPPlzH65mvroFhqzcUGw6AA/5Pt3YtOS9FpyYiia0BL3z2GahfbfKAOUkM2g7NtO2PcqWlA6Vc8rw/EjH494+5/dtRlcg3UqSKsTIC0cHrbmvJ/jYq0jNI5ZIS2Bbb3ISoQN7NMQBOniZbb01DXQgyLUJUiJl+AzWnRew3zC9+uJnYPXaHRr9kR63zy9PKm+UuZAnPMEFL5N+hrx99kdN2EjqSROevM5m9cBs46xMIiDV6WHi9j9SCduP8VsrKgz7tijx5A+Pr4/P26gQmQQifEOxGBOSg6J/i/LO3gSaoFCCNDy/eEEC0ZWhpEOOO6Lj8u7Z11OLJpjI9FiwPQBrFcTzp/tV3HHEcFVlNBRsa7Vn7pUC9cXUzIVByRmp72Z+MEf4w2PVz0SvfyujDYrZPYJnypkW/qw5SIqvJphAPht2LjZErRRxUBre1R6jol+Ra0pdtIR6aCIsboPU9+eSACdJggRsm6GYqMfP2yhRL1mXDxId5tTgLfrCIEOkLjQ4mz452q71tGvUYYTZy0HzqdvWOeteBwtpMPzaA5Ppkc6EbJ2L9pGQkG+rFMRijWNJkmqHAaA0NiSld6nU4dQJ1Aw2nTv036iiwElxXqOGXuY/mSzTfocu0gskszRQJ3O3IYxgqLdGli+CS0W0kg/9DUeVrRODZ1CnnLbOkujwegSbglTxuSjR1RqRb7su6BsthjG94l+vFLHuXGg78vZCedzi9W7qqEbyhbrRIxwBhFouiwdlImNh5bZQJJNbsfH9uEVKFRBq276n2s25WA+25NcE54C9JlcLrhSJOWvZ8stcACHyBKU72yNApa8b9AkRQ9K0OdwM3H1jqpM9ERULNJSGemVq5QnllTsuH3gzpFmX+p/6GCiJZNagZQLuJj/dCCXBjYp5S/pmgvlGlig3CIcrhmW3O7XtE5nfA2a1fyxRH9SYQba+Zfucjj6FbgnadjtXfQh5ZizSQ7snLuGlYvNdIgsZgf7bsH0dTMuInSDnKBBoe9KR4shnvFdp2lnxzCltbQDdPmO5HBi32DNcoxcJEGa+dcbmdT/vc5Mu5uv3UoWPBBNBatL8cdceLHUiPCmmUNuUzGVSUsbm7yeV15NJhbH/9rLzAh8kUi65MO9+7Hpyff2KNtXug5r3fnacLon62nSNamCIG6GANigyuWhvGT77BS/ogLb3HtB6EGIoTV48MSGUxyKXWliBR5B/lPi7qISeqrwtMbTHd84QtEWamjw+aTU+7ZakQNZsK3Fem8/+Mmdm6uOoG6GNpBRheRMOpf2hLJeR9vA/wHeqDM0KqR0zzZsPecVNH7J9NYaFU37gxvsMAO+b4hrhp6gZUgFqRr5PuAHy7mZEs+1J/47fAHtk9/VwHzUHI9CuBeTO72a477v2BRMYKNqzOwVv9VJUzTA/pT/+PieYFRahTQRp+WBnK05KQl6NnUUtidWfGid3xSoIlOQ3bP8NaXTpJ8E5TLCoqaLAO3LM3gHr49EO4Mhr6zE6qtAw66hU0pR0uwiLfGJITemdNSDWozeBl1BJ9fi/flV0frTwMouai00Jv/KsARwohVBq9NkHxFAwAvMjpbThmVclDn6+aQ4/8jPSWV0LVXfK1ghXRLHcS3A4Q31YSIsjed1dzdi7oZNDpSdE6yVjqVOjmnMCFq5EnhV7Vkmr3DG/6Q5M1otgUvXniQCzuAeFlwLMZQBanQKd6yX/4mPukk8g/MwGseZftYTaYibnno9+O2YhepDIU6XSMV5sLVDX5kuYSTEaj/bbaCqoJ2IwZhXQ4wiG9su6kdp52NO0cB1uDkq/Q0+Atp7gCEPvNYY3rajtFhndlKM5yHAMUOSCZUfPwnEa5xn0yKQ3osxGvInP6rBATvKVP2/eLEcP5rKKGJ+cyZgpAxswHrFTmQIOqshRNVbVeJvsYTZsQZddH7JPfyZzcEZqk3KpCEw8vHb9AXtgw1SdbZeXY9yNw8n5q6P5wNLjRPaGn/8O08tMc97s/D6O7OWkChxmSspWBJ33MbDQ5G5UtVu2eCkCuQEcJlVz8bTngMck23MzIlcYnFkfWSEo/KcwTKkzQL5qjSI7sfvy78ATp4vP/KOIRhHnSe8Pv++IAB8lC51AK61jnjpupHmo1n4JHP2uglSeFJQOstzVR/TZW5Fe2TFbk5ZiCG3Sq/qOD2MP1jsbomsYDECzQnNqEWxykqrfZl8g1gSev8aUtg5qrqpjGVkQYT0s1LDqhgfBx6UtfJOj/hv7g1JNH+loWxxwZjDDFLVYQ5s9idK+HGYCMzxn0uGUvJpErvwUxzA7s1sRJLQxDpPI0Ky3CVBv5+X1kqP9kDq9IWDhv0IQch6Spmufhmg6mSV/jeiiODcD4tjXyj0jKUqb0+vCFf1+cGWowRdsmIOtUk5zWgr+ron6Kb5Xa/KxE/aIgXv5Vo/4b9VVFPwG93lK6H2FHvjEkGuU7Cy0uACVvkqmKHdzjifqlEcXrHwZKFsC9pNtFZjHqBVjZsUxH6eaAb543njJNCB5GVSiAgBfAJns/D20BJ2iS9dpx6uUH7W3QEXIx7Qd5eyJdpQnD8UEZ2RBqU6bokDGpA265CO25lvWRQ68T1O+gSb66YZFHDJt4Jz/HFogTyCq9QeawwzpObUy9oJwlGSG/dPvU/QgGQE/XYE1pE1VfGqe5g6qoGvi7wgWl8m8KprOHMwXSW29urGZQxHLcf0qy8pRiZJ8PgAbPGbStBZyp1/swAG/wIK5vlLBvOAktNlZxwb+tSWMZn5PwnTgqFUKMz+odd29cuviVlC47Na3FmaDyb4HHRKdp6Uphk1aoZl8irlYf14s5x80vS1Tk38XP4XYYnzv2dXuMNrsyW1pwVwL4siGEVuFqaKSyOI8+vxoGbW2p+SsGSm2lYbv5TLI6w+uYTjCEKhD/38XO1EmvKqvqlp2zK0i/gqCttMpfKpeUtblssuWc6FDVIeYN2hRH161pIZbdrCP5Z76qpd69VCG+oZCHXpTGTqyR4YrTN35SU01rZ1CGCSwKu5CT5so/1VAaRQtZGbGgiCsdr1V3LTK/rkyPuPmajWU7W21U3yvvYZ0nBYeXZJbkzyQiwC+G6NRjTv8vzdkJd0HuSSQlUUyH6vkr2O4nIJWpyF4L+Xmgc6Y9QnjF1kFLMDF59pHsp8myGe+CIAKlMOisexWIv2NrRJojwEM37iOwFtRzIlW4ycohary3p0sRbstJ70hMHzfrm+WGW4RP5TNb6N5TKL0CHrx/WzTLgJMvbtkMx8pBlnFUoSsJJTfFBkegdpy1fPozLS1Le2scRJwX3OEjtzuWkFWwPnijEJOA8VKlYL2l67Giha9PVahjb4X07YgqhtcWoU25s5qOGvV1/fpNccIg56DggC7rUjEkrWtsehqdaK7l/2ity3iJe0W+zDPee9FjLNvUZ8qlRxrZ7UPCxWko2Wcqj/fiwoP/q66OwiH8IE13Lya6eDdwqIqtBpn9TuHDi7MKPrsWfKNjQzKCOeL0t4/hAhZW5dv7bSeSYE+oKN3SBJwA2ADYFuehiNvrwecdT0Sna9GmynknEwWwUwIslJqJBcDBYXRDfXV3yNeUOgtrIv4nma+nsd6wcQPH+eYWfm+gcRQteEyxd/SHvlbeXy98Dikzgbw//DknneOQ2IyQz1xKxnVutGCc7/0rGc2j2MjeBWooyoD2DaptyvKJgbMQWCE870YRWsQ8w8KZ2ZBxaCOdw9BIcFYIKvkbLomKDLZ1wcNN8/p7SBYz8xw7VCaq0P6BqrVwyb/XiWw5kuioyeTXDJzaEZ1KM33NQmk1kt+hsAHN+6OLwP8spqmYfk/6HhH+jUisqdGrpLq/+EjBgWnhU3eWu6SY3JmINf6lWnB191Ldv0i/lT0RCXlMztGyqD/t3ZL2zB2DJ1pGAQEFAu3r1MPkLb0AZsPzff/m0q9JOFrNpQSgDLLVOQ58uqXeR57GEDeDD4/b7ucQmtiT0BfkiYsXZjbpSq+9Lre8t8BW5JWh0xGrtYjEeE4qJgeFkld0ZrawUhXGO4jSp/tupAkA1ALfyTo88e2qbU/0jEMYgsWXWz5cFhVUB6vfkZJM4GEPdWHDVxAqiIMzX8xoQPrwp+i1w+6rd41S1odvUfZFgdd7ekb8OzSeHNWzY/8y8Mf0EqZm1xikh5ptFwrMTublDXOIv0ZHw1V1wHpH+ZlB/IShk24YQknNyJcUpfR8XCSs4UaKaBQgS7bsLjQ7qIoeOQX8leV3SY4E5RGtV4QpIhTGoORnE6X0YGC+D4+uUhq6dU0rLLdLbh5xwDB/d4dt8hqLUSUK8dE3V7itKcSs10st2Zp28iWB6IbZF3MYedH1+3j5ozd4hnfqTc89dVXkY5QKASvDJxEIxTirgEOV2rgMWSxjFHN2nT8Jjd5oGXSQ1z+nL9vLrQ0zX5n83cbmB7zi5YSUnpJM/othAsf6J6fq16hCS27hCyfAKmks5TT3www/jwxrVb2V5juPyEqXRCCo4unrfiyBZb8Ws4TWxBu3qiyZVWUeDKe8AJS3SSP2Uppp3bxQHYiMrlC9tFcXLhhByAcQd6jh+29xaVmR8/TNOndWsp4LZ9v/OpTdF18wfAgVlTjMn88k5Rc3p0+9lSYvcJ16tO2smKDJL5zcr6bwjlvBtJqRXfilvek3HcJffpvinCjcAP4GKJ9y7JJamqe9lRAvtNttp4DiM/JXfYQFSyG8q9tlKfEwXcDkr7L5Ac4aMiFH/M9rzTcM3RK5awmYTFSwTwJMgxA8XOjz94q05gnE+wNtirrkQQXqpYkCG05w9bBWWXW3G/+fsp4De7HZI665s5F44tSUOfHpcmXlvQCt/8nTrZfpFWoxhWomXizMSeA0kPukNNa8vt32FuYA974nUKYdX0u3cp7gFE7gEnbrbXZiiRp6JjNiNqLU59QmaJ7XnQ9gJyspVqHLE8YkGHyUdYj/DcWQUR92I46m8Gf7nDj2dgDhtWiOHD2UgmLOQcCSb+Da1WOaQJUyd+AUloDi8SbDNawx2a9vVdXqXMuQd2F9sAbvZCY5QU4SWDQKASY4bgyi3/C0FmFQX0dJJAVej4iViwunpVtXwOk8MSDVU4synfBYrPbFW6bjcVKjnDHqXww57lL/sheoqoN9zGTJGGHaR+J9lnXYFmjwROUuUtX7WCuMjwBFszVK/5lJxkepV5WdqNGKHfPGo00geAzccHJP/c5IpJ3cQLcs91j+fo9kgY8bwXwYx9ZI/sRB75j7er1ck3VmF9ybdY1j2YPz0gYjC4KO2KoHHrS+gFZT7nh9iaznhHoYsvqUNmFxmSVrnTqecGEZC/sHq8iMjRAV28lqvzyJz0WjMe3jpLivK4oBaBeDHkXvcz6ugT4Nlc3eDJ6PljeoLim1VVPnfItuKFB7q+N/iE6gqz9cczqJYOVaWyo8Ki46n0ssE7qenOglg9uvnrEO842vQuhb7UJOs0EHxxKIjjdbp7wKLW5eCUJkKzRGiVtiuN1mUjiwTC4+S1G/wVXnMABmC1yRNa6wcnTV+DqxrajAN3Tb6ePcTgMoMEp+0ZZeHPCowmJdsjYUw8e8yxd31o4dL23poyCt0dYPAEt5ACwM123pNUhRF5dKs/Gfyapb9yBQDddW7uZXK3Epy+bFNFp8ouT27XhIn/n/Rk6J3YuW5MxV59wUVYvqXBuBDY3VAJLzANW3yEAFYem41YcOc9MsZAfomZciVbdHFTPgpL8Qv+2tpViVWZlmSVrdqIRafeomRtvweS0TU73uh9uYIUjkBW4g1JLS+NWa8syhgiFajyEd69qFuOg+YULverDETmFJRXbeDNSmDzdAdQfAI/DtDwfW/4ssaCDrBqeOEi9L7P09iVuh0ptb9PC5B59NfSk9QSpRfOV1LO7LXEyC1MdSJBUgNfI+9YUdlof0y7NoWLzFjxxKMiSsg3zDjonKMsELv0+McYqEf73Jicn4nIAVwk+9iaCCpu14DX1YFo+sayomQqwJeaI+Z2EHlffY17sWJH8KQBH6sJwKha2e09dfnvNaV1CRU/eTSwdoJFaW0MPt4cUr+VSREAhOVliOpFqXZD8G6e8SD9EGzM2xn6/k2uHN7zFZxMgRGQO91h+R5TN/vjOQtNzzXg5vxPfN4+agQ/z/A+cVloXNuBTrUgAOiajuo/oaWb2UXLoDiYClVf2lMZAI2bWbIkMSxbY0qPIzUKknlCXao6vKK0u8uhtkPUMu6m1drn46blHlIqvSqq6iPmdOG7uHs3VkW/20BxRU0SEqnCQb9/3WQW/GUKe5Ys9fNQneOWgDdih/r77/PfbztAQQyfAbEdI9DulC8kPAPXogwZj4ur6xYbMhTmh/HLUjoBvNkKzMAemiymjE3RNChLqu9O+TSZZ9Xs5ffiSik2MRvV33o3LKrAfY0PYYt49PChUKWrSA6qrXMC3X4CXhTeMkVw8K1SGggGMGcUbHCx4Vu6B99ofsJ4IC9bUU3cnMxc4Unq4uzN6C+UcNABqFxYCGQGq+ldCoLwGAJ6sMgDiQkui/jrWk1alfUh6y2ANanj9WcKPnxbxrDOhlWpVdDMqFP/dVYil5ax4/vHzowlQSyvBDin6lCTl5HRd3kQ/NMKbP3pg8grwxM3Egq3xYRWjHtntThyy0miBZpeoLB9O2sDHWgMH4kyUGlGG5inMEUt+w+W1XYCOgrvMvb1S6E6cbMlaUioQS7tMLwSXcNNKU8c5cwNAFPr+Sb0VW+cl6EX9Et1r3/0lTz0Eu5rC2mbSjKJYLiwFFT0Kwt+5TTXM8z0JPAI3tR9bgH7nDYfKJ5cf9M9HO1DGQP9Doz3pgmgbotqmnQwHABRLloiqhVVekWYiNRLXB9UYYSPKQ/7My+Ljh/xDUoavxMgXQTaZgLdhK6uH/z9kbpuA21FB2NHV0b6UpcmIJ+RByiZ10z4MegyWrG6ccIVyavpKMPlV29DJB6xObb9NrLt1S9+ZwEbb+kwj+9fmeGyoqQltP4NIohZg1cjOkzwOLZKlSY8QfwobTf5+/ttflvwVxByggKe/9ZopCt3u2Jz3FB773Hs+k4lriCUdZ5TzDj1kVm6090jFIxu2EzqC3lCmPIlfTc8LzNIC4j0UA+95PHxREbS2fHwDFcdhUe/7nXkCPOJlX4+FkODsRPxg3b+NoANJk8cZM3uWdA/52Uv4T29wzTzRPIvgJK63MPbcTORs6FqfCEdJPqX5cubRuI+9anzN+VjtLTpp9bt0qP3aGttv7iFd2elvOozaykoqqgFA+0w1amd5wrLhjEgzHlJL5jyHdpcZGiZvQBY6QmAwlCw7isyLeiSt31UWYHTHTXGXhl1ckDq/+mECIyHAFz2CKBFV6m+UClMt1bhuBjJG3PsUwx+Nmai2melmYHjeetBJWGaSL41L8YvvQtj4LD42Z6Z3nVRCam6wabB2fXyZWiLx5zD2MZ9cAbRoIDb+o+d1dsN/s5Nx3v3HpsDgStwrW2r94N2QnnSZCBv6atXxlEmFjvsHbMMZBucqZjOyoiV0a7J1MWFkCbCvCXR/jPa/3EsfUsXObTqqM6cCmdboRxHhwXiCm54gTNfly1gtCmLwKmTFMEX+STFNKCaRQmsue8uM3JHxC2FGA6zyaMvzgYz14OlroBuTnOZY7J3Cr2WYGsPUINTI23sH/YAV/zFEfGKp6ruLKms6cGSKR1a2qWQbzI78eoZgtAJDXa9v5HtE1hk5MsvDv7wMRPdFzSoMsw2CPuc34h3uJ3qyYg0AMOvlAFirqYNot4J7uSkoy6mRPH4u5FpiG0IlP3k76m19w5+ZOrB4BVoKPl3LbhAXptvbKpt59OwLk0aQDe4F+tZc4fBdl3W7XJ3FXyYDIf7CG6fEe+jTwzO8mosPvwqew+olzelh1je2WYukb45BUj3UnznepO4kKU4OngIFIC0BCH39wXiJ0H4p2ofCXrJoUfcL36dmMoKkLhNrzewY/MmXxMW33Qo+i3NU4HfT/rPXhxU0ckbJePisZ0QIJaOYYBbwQIkUeQZ4PUWWaYfjNb2/hjE45/3RLmsa4wub9aILqlJRVFixjKMFl3/OuOsgHA9yWBN9O0ez/x/vZgWwc5Gnkjqf38SaR+5ddBa3RUlRnO1ytXw8y9EyCthkZG7mMv94JIqW88c8jWG9l9eJ7Z6CWY9coj7DdkqGlOzRTLTaaKFUJ7JXoOKy7UWh9tKr5AuF4NCoI8bGRRGSUKSZQtObzzHCcAbxkVoq5ns9bPDklstyzPIQyeYGlD5GDWFfF5OTddSzWuTB/CWZLszTPf0wVcGVZzLHkGWRg6DGXWUQmrkt0z9wfnJJ6MLIXcFvFyoxJoKz31P6qI+Lgt90I1Ckgl+G3o6YmRQdczeB4o4fdovVeB+ySUmIGtnL046e2CYWjtpyJvNvN0dH5SyuRrQ1WQZQKtF4h0eOaqxngrda3sL61Fq6MC72bM7lCh5vXtjjiBT+ItW8gmScR1K47fuhRr/SjY4QxQ+1oq62+1g3ODOO/fwU8Neqfk12j7SkNQp8FIadkLt046s5NvtWuwndBOaWGRk5lqcoorhgQfCYtRaH0njifg5/px1u3+O8Zn4EwvLPc3asCfFie4xpSmguOPJD84CKzjCC/MBvob1CpF8aonKtnha1Dpk3r8JP2EBFRIY2YFZJG39Oc3FKgisG3H6dFaDX/Q5c5LlQ5jBEVZ6GE+FLq1zEynpixkHCZg9vpbzSUD6D2jSG4RkZ/0jtk8s+6YVlrYvxfEAQ1WRHctCAGnMGiAr00D+yWakaD7K1xVhbDx8Zk5cZFlGH56DR9NHDNNKSxO5/bjKgjg5o7sGKNdIfg0LkxSZ154QJ6BnfnrGBONlclt2Z9nEMhlB0kcjHhc70e53YkxkUBCs0r7prkFurZS4fSoukYSxW5C+FQqTy7ZtuyRzyoWlTkE0Ik9J7PqfEHq0Mv16CRWpH4A9CLDNBWaY496aHYhygZkFmeD/VH0VFx/GQGvr0eDFzjwgfYjo5NPUAqj5asx3RUzVCKdrMEzFFbjsz9hRs7mVvcyrojBv5Tz2TWu5R+T12iFgz9WAratXtsoDBcMvcAjyDbiPxkJu7vdJ/8gRF9NnweNyyqErTy4Ny4V5395BbBjbSyxaGPq7KI3krcHO5aiy9NY00YurigV9kyT3V0osJIueuWZMr9w3ZDJBsYOuQ5rKT05wmn5x+gjyE7rMzB3yO1dEWzysvp+l1peGfMOQEPhuWZypS5PTMKe94CaWY2xQYx3LhBJPba/Bd7qqiszmAjNGjWP/1tKZz4K765tCCBZiNVPSg2CP//2ptdX4hIwI3ULPT4WzKUiY1/RdvtnIDMA1X3FzU2As5Ixpj26hzW+q9jsuxAM9MnyeUSlpIr6HIx6CUJS9ygoPvMuD4LZ+0gcG9WC56HJF+iB+/GxzncwhlRjzVJLrw29KbkTD2GcDnOnAzDpX6yaDm7aluf2BV+g0xZ9C+khh4x+01hgKpTN+wTG7IBd4DWCeuqqcqUXMR7UDv5DrK3CEgles1sKBwqhhDO4HEsah52SRnRcTWTSOuPUsDIex2vFggyaNklVaOur42NALX2RLSSpenslKTc+VDkhLH8p0S7SaFtYTTl8Y+8cE3YpmRnkfrTpBW7E3vfopiDlh5cqtp+AsxkNRupggOp7g/TihK3tIeTN1ECWFUPsQBdjSE7MA4Qjd4BpeWhLIvisR3pD3VRbA6GwgBA0r3atkSPQcxg4STlWG97oMp2iRd0Vdq4l2YE9k9bTzcPOuk1VjIhnZTVE9XoEf+ieDh6cm+Rc92bhBFSCciXetznmCxEVOdeDkFVrcvTybfdui5fxRZQ8k9vPyfuZxDu4kdp2CaBV8hbVk90+SGFeaXHJ9QWTxx5e/9E749o0sTY8iRaVHS2SE3H1c9gHVRI08dy0xfg9DAjsqkWySyGSiEFcVb3/lNy7jz4VLd9akftFYDYyFOfmNz3/5mvAjbGIiBMOBMlhbfMPTd2koWFPmuJ59ajyglF9GeeHg3FyamgwtEQSWNGBTsqsbaK0Hssu6izjiEnfljbghSSx3o2E6kBIKmvrT1Z/ichWIqmwE1ZjtEEhFV1OZKHFB3FQQ5H4To20MW7qbJp97EM2RuDUi7k0d1pjTvZ8J12PNeShoHEMavpspNFKYzlenD/8odCGBJgybSuetazWJxg5mQ+8cxSIhTxFhrRmHwgo5SiiJLxdODDkySyOgzEDM4m5Yx0+2FZoZx2JJt9yESwt8GxfKamF8iAeb6fN2mxSjF1W8+DYFT5LbqL7t+e4d7fk2aujp23g6XM77lt5e/QNuTOlUMlIqBFfBnEtvtc5OE5fNWch3tzaqo8Dqh4CH7abHYEIAI+UqB+oPDkj7uvaDwqDEHGXzhIbtLh6hObANLlVl07+lBunOSpb90pj1RuQiWZXYrn2hBWwkMxoAMjkdsx+kUd9H4Bm+3GpfgT7cvh2H8gY7D8gpIqFzI0GEQYLE2pUyA5yhMkH+Qr46PT9Ax7SnNrrAx1IVWH9m2qVWUQOEVj4XuFFhmJ3rASr+hdTmxKnq+W5XlahwDRR/UQWrnWykPGGcQEM8fvSqbIwXeP12HGVcJ9ZjbN54F2+fD5BH0GRK4pFDdpU3Dp/yxCbwTN2iuFQbzRUw9E0cEL9lnYPG0d+BsM1kPDzev3i/sU0kC2nTKrH+gz33nLPptjzCOhN8n8S6auvU98+xGU9UucVFTta6I+C4ktJJ56BBgG6ij4nrPBIYwvy9IvdE5s5MzWPFjJrGbSOwWbq7B0fmdJt5E+veHt1frAQONpMbEMYIS/59AIF5kBXOSDW+iwH66CzWZOgu0fe9JV0P4JsLKmN17flrO2scIrPL/Evd2Uo1qBGXOvFOdWSeKPXY5GP4t2SaCkFfIn6c5lzukenOekZ0yDR8nUCk6250mghdrjdpC9EHfShfMBBySqRHjTVvnToy7AxMofmhbZeVgPhUSDIOkcP5nNTqTQrdPuB1DXigzQsmb8FrX2ip+lDTmJAjPHLLRWjGZuPCpk/0rrlOXaNE+SavZOUB5xqn/lu9KvM+nSApglCV9NKkyzM3M4nUxA7KulcWYUmZ3pdCC/KxJ+7RBV+yNyXr8HzUOA6H+uUSvAWG9xCV6KlxhM+CRZd/qIyfTnG4X8FoKt8i7YFEABBbRcPzpNd+y0H+WEfLrcV6NwWsY3/nv/0lfu91z787HEV3bCaecpdP+K71BDE2vs7bz5Y1yc2On8fp3HZkudw+GjZJITW4qEIQgJyYsBeAO/ewIckmp+ZJM+GIs41I+DQ+9/zoFyCAswRBUS6T7754NwCjB809JWwKEgr7KxSX4sj5Ig7xWZnYjunXFIKF0dVoCX+D3OUItnYEfvuvxYfiRGTlGcAqH2nq/J17WbElMj8mf2LmcIABWbm2CLXJPC6lAH9RtQBu2kDAiY2p+WJ+hff/rj2HuP5IOEGtumWz59npp8oxeMZj8iZSzKJA/Mru06pmEn2cYscxXU4SFSpWVIDDu4/Rv/vbEITybrLfWBPSs4APuGpr+wc8azQ45Trgf6CS0z21yrANdqDQ4CsPvS/l+9zjIUZkLG9DCZfb2Thsb4Ge32KXP6m6z0GI3VbbjkNs1nF+PsrX0AE3ViyDqj8ke9DGWJtuhn1cqatkxEJHuYS3jCIqWr4WmQyVLTynninre++9bM02HXF8vrZbGH6MggW+Qytv/aWJ6YdrrAcwtc7da/SYITqDN5jMFxmgi+lwkJafpH/ZmKZs0nG9Ao7kxuGDavsWtVV49YFOe6W5aaUmVH3HEzJ2gSW+YfKDiRQ1ZsMbw9DwJ6Wxz7pApuaQLNKEU7U8cheSpNVHp44ZiOY8gjrpltFoEodQkBQswWcOGPQc+hJoXtrTTk5XnnDsiMFS4dtnCiAXxzxkPe4TosyXmnFOhwyjJEPo78YxI+xKdzzeJlDVFlLXk4oXyub9Qf+DZbo/mqglzZtRvna5c6C2lEfnykq/m3e5jmlg4ftFEASjyp+8rIpX3W17d7X6DIH+tJ3s/DnnWZtWb/VxzkyoH7+76bgHUhmdBAG4Slyd4RKd20IJSve88zAEQW+s9cYMiF9GdNHzlCnIAZHnVuELl76Dd9tJAS8VN2c8gUCixaR+mO2fjbeCeW8doHQdI7AL90peJ9lDJ20mFRpafirbdqMYSJ2lBv2tM1zIdqV7LoKgPjiF/eK9hegvWjQ4/8oAGJcMg0sQSkcVRX/5TE5mm4jOZbLu685DnYXgPlW5NAzMAqVhzxQB7Cm1Uo/OBn9/BGRyASh/ihBH4OtOd27K5q4kSuoImRrOTIH9ZOHU5sJNPCM2oiQQNuyp2CWNkmvQc98gKiWvqXpJ5k22iye2EMfIvX8mIsxy+YYxAG2TpkscYsdd6gRn9aTnAiGFPxG5rBoezkE5WcwY90DE6Hw5hQSJa9tyASoi2l3Q9Tcy8HlOHGYEyRee8WP+LGwsx0lCnPerL0CgdRPSc2DhImpHUe9GW+TaQC/7pjHxS7s5dEZWRjwubbHj/DWsI4KudFqmp8a73Gu5T3FKAA4QOTr+hyrSpU+kQ5ChjJsG3kozu2ASkL7jF49hSZJRE/yJRyEMifwbFRVsxW2qiGMdA3NNToW91m0FJPKdnfhvh523Vf2fT0aDb1waWEtj9C/Cdkx0xlkheYjCpe88iNJVlhjEkuQuB0AF30zRyEk5IQrCZU50cpL+EXkfEIcwJWRbalAKmQgB7sDaTO4Bk8LRzVf+rdhlBxd3pph8EMDVHqTF28wP69BU0DCS8Arae0LFMOLO8Gs3EQYFWeObaJSyg9LDhNQFoOgOM7Yhfy1ZUyyXAlBFhI+Gg3nRUTbaT7KT0nEQrShBE5rgLBZy5Clk+Vc30XGwuaEHJlqTjgrZkp7yryO7SGWqPPM4BBypzSS8KdMuJnMFKCovp+Wa/mMfmno0+WOXK0zJahD+DbpRY4xLgJuz3Vi07I3zcqQYm9/PUVXljMpWP0ogzFb6hU5QAedtAFynptnEnnKST/op6pazbjqxqBnYShAgQgySWRS273iozaCTBKzEXb43syxftzTJ+6ZFkodRWM+37KnrM+mvwocEPBTsSuOenTMmdPOmRWWM/U5mUstnPdMZSlUeW80VhOgvM0dyNPytw2OYPkQKbjgkHaTDzFQW1A1obR7Ba/hfrmc/CmXR1b5sLixAgLGmg18AmItKgU2fCFgvUuJ9ydEqewJRKCJLMJc1sX7zrVmITKfaONDCxlNOUFfhAj74stJs0lqROZ7Ts4+oV446cs+7ecksHQNnSt44O75ZGMGvNSs5gdNR4BeLe9K46V5H55L4EwuTdAblFlPjmPy8Lz+jFGsLrMc+7dSlXKPeEc6tuFi7k71lrCfP/VkUdydwjo9iUqfr2Al4s+7GkA/00Spaydia/rD2SIjypMZnoIxRB9Z3z7aWfqOrZ13Cib3msZLQSETcXWRBND3ZZenMcMdkxL2yYhGwD4NhphduMjeZHX3ohEMXT7hpdjcwTlvuoRZVQzH17v9Do5TcXqzSPIGBDcTmItLZQiHV33TB7gJHLAFi8k1Yc/klOaEu3xN3GA1WDetfJH3sk49HqYo4gMfOQqgbrMJlbvy4l6wdggTZTkwraUIGHVJpHwF7aMDYP56lw7cqDRNWZQLJANEpwKn01f0AkKnnLPDdh0YWeTfK4w7FE6hQapR4nJUCwbbwLLbnFFoheycqufP0w0YAnuJzcIVKvsyNB8ITNF9wjKM8fmlhqmGxQnNiJ+UX0y3C7WQAW6XHkWGjSC/wvFfD2VFN1hRPrG/QDArmqQv+EHaBvhhLZzVDT9jShXakCLfTF8TcmkZXEJjPg20PW5T9lWKTMxikQf5vVwNWopJAPhwQlAjXY5u3AGaZvww1vxO/Nfm4jTO0bZDR1xjGmr8j7apZQ1aOfxHvMRMmOza56qJOMZSE0G9iYQTnZcHvliWdJQR3x87VSnwEINdXSMJFkSsxi+rygFN/7nknLN7/1gGEANbvM/qF1E1b31Rn4ufu8LxQYq3aT+lVM1U+VaIe6k7hJX7sYsVAngOA1Ikare3+ne5l9YtuAEgQcBJ+TUTytV0uQGsNhwt155nwHMxBms6SSitHTBXux1CW0WSVkJgArGM1xY19KBt5ONaeCaNBw1yq4ccZU/RNpaDwoNmotd6E2pxIvKyq/2itwCmYfYfnrN9xaTxyXiE76oPL6S6C9rgAkxmllGdjaMZy4fT/Y2hM15DpVN+yQERyDMo2nY9cVd6m+5M7fyEci8ORUbyp34nj0f3qkZsWWIhY4SIBVetIlIuuCjvDEp0fT9T46VTLvFJYktjfmm3r934+lJDu1lAxJ0qCgL2UKcFRnQm5zdQeVciIWYrN2WYRWncW5Y2FetdeT43Sq7DJIlYnAkT2VWsIaBFOfQDvHJuv/v1jziYLJbHxnFX0XvyKR6hGr7QjYQKfFxvKXG7MC0QxFHWx2jxfO+KNO3CEXroQWHDbWwKmAGvABJlLsfY1QGDunYCg2+Fs3F0btfi8sbNT5gwKNDefc+Vqt3BegIeVn8lR3cNQWMCCsxKg2zdFDELdGNpGTuQQ76mS3nel0zHiwEqfxqyWCJYrPUHkyvjKG9Gq5vxwBrnX50Sut9qQQ+8a5LmsDk62sTrYjPuRWYBUsMR9SA/dxFvsomAb9h+7vjwp/9DZwNvXC8jRYL+fhSz9q67txEp95jSzAdo96WI/QYR8naEo1EFszO1ZswDuJoAhADNBDY8ZdqvbHwhMPvDQDd7eKKT/M24JkXh9sLw8FzU8vc7mQSabWC7NtnugFktgueJGGYaqIk2vqzR61fYq2BxquHP4i1SiEdlSEY2esWCL+Dgpp/BIX8GpJyqpjJN1cpOwuFS9dIJtvshCfifaFKQFYnrhasezK/12MZLdD53S3Jmdqpxl0+cIuSR27mb3mc7vavQHnvl0yCTEoEKeeTcrQdnznH1db5HSo+m8gZceP2ABGgKtNh0vO5Vt99srUVzXrsSaAIGzBI9SubOcZGWONxcijA9B1wB8n0g+NOeAQXICV5GLpuBC2gXsOWnH1NJDD/nO+r4MRc9ayWuCzc3UJsvGt02BHPHIS8plOQ9+FqNULXNDz8dhwWWNvySATWIPvE7kjAGdsRCZt9iQpPJnzbtclf+fx5Beb1IxGdwHFz1MA65htZ5GWVLuJ8yGUEuYTxDE6QasswgyuUOzFIg0oPaBYro22wG/4Yg1icb09vtgE9tLdqVOfIpkTOYgQWJl0V5Gsovazx7Sd1BKno3piz0X1/3G9Cgz/IhFOltEI/HRe1h9CK7UkGdgOpwaEaRA7njoYkByPX2zzlQHWRjCQWYBer41Ez6Lupb3KalZwALHDvxihXx5OZznwsru+mApzaMop33ecnTJK88zLVCuc5pJ1CdCrKSwsaMrxAkeJi4Yokzc5AT8DfQwiBcU1VADR1Ds75x/62fcJLzS2uysKlueuwvUG6jteNduCy4LppeFtBaSvBW1jil/lmeHnfGFtdFQr0vIewqfzuFfRQfeTjTBSm0Fa/gLkAVBg0H1xTuxw0uAom/EbgdGBFHOw0zWXsNXvD11rB1u1fR5/4FZH8w410z2VmkOjyNiF3QBeTqtgqMe4gRGNl9wqX+RsCq4vUjDSLGx38Kmxj4Tbw4qMor3y/6LS422ktzUwm9BnaRABhYKk61Soahd810MkzAZhOeLEP8AJdS2cSunjdPZ57s+R1JY5bdVDEzRk7s2Zf7xX087Izn0/TUK5dVKRwSD98OBHnxVlFfktxm/POD/VvAe+F0QutrPyu4td6TrbOOM+TlCFqSKZUVgzXR/Nk6fhLQHD3MTTF/PFbFVrgp451IuJsyBfyV8NVB84bs4ixNs2TvI0uwA2UHIqM6HzkBlaks1zOm9O1O5+Q7LpCf8P/g5m0bd5gHVoUOxLgH4OfqWWPHevyLi6nL/3Ysse47tC8lnnlCYhYTpvYc6VJYXOvNpAtG05Yo7+PPf5B9m/lzUYrfozMSzM3FNEG8CzmbsYkjbfztvqxSd0Fl0D+89gDG9w88t+IsCndm0M0vOnDfvVqtlGJLmKTholvbM6sTmEEHO9V/GrS/FgCHslFzjA9Poy865UzHrk8Q69uRdWayKWVpnzpSM73NIsD5y43QYUdI5g+iCG8EiEyUSaNOAsz3hPADTy8uED9b/6QFB33/9PtKTYZkbO1/o368z0KQLiDWFVo00oIOM8fg0qW0mMovskqV3swilx0c4DEf+WaWBYkIftmbcPtLzLWAdp6MU4NNvj/0edwi7wNVgqwBHT7tvrlQdOGGEif02++2Ryh+lRq0g5HPPIrPBX2+ht23ORekkb55VGWFUeWAakxQhu+EEXa5Qy3ZdYkufbIh5qbB6tmq2ugP0P2aUKcoK4SZZjVyeQS3n+dC1P5VwqrtWy9VfuE/r2NNL7m4pC9fNXjpMkPAO/JtujISayA6fKH7QRb8L+C1+wW7z7toOi9xXsYyxRR/hTW66KULzR+vQGCrQ24RsYR39Ha4ACnlTmk2JzTsb6bSVa0lv9YU8CNJ4N+uRycqgW1pVfBlKx2hWpSv+GKrF/j0lH196Nm27ciK7MSlr+JjVPwCtZ89xWjct3VTRC/ZxSXgTkfcaEYrGvltKJi7bPlpm8SpdqFmoLWdZ+RkaOApaxWeovENwZWd3KcRVYxdN+EVO5xbchPGZQzNIbf+5947johnfSorOX0HaVqoA+IplB9/8zop4Ca2TxWdNKjsqX24AlDISw7+xbdgYhb50h53TyflJVOE0qIgR1VtBknEGnx4mJAQhiv2BGa4Ned2/wLZo4vpUitPS6a49Wt3vEvCEqFHQSS09s3PClENLTOtz+eBTRRZl7bp6Z55f8JPWm7oVmavBgKFj27Ur4gVAyTddPoVA2KVI0BtWZ1RED3I1SDdusEbdTmDMp3ahxtWoix9M6NPpc1qvhhwl7dxwLaATPe7cZMynFR30COhjeuOoaHxL7f2Ut/HXMyTjvmXc9EeqkFQaN2chS41z6kLkR5F7ILHqAUUD96+tVOa8YDHHYCUWGRXsFOq/4DGGIT14gOYIEF7ziuq6xVQPxp8kWf5s371s6O1bClQTwl1+951X3/mC5o0BVWXR8IyvAIT3/C3E9ckL8GujGI1E76jtva1hBFDX7y/NpP1tdAGIR6eE1rqaZmed33m/KyuEpF8rpzfcZeDC6Fqn9jcxR49Mx07ZC4xdJnUJ7Roil3QmjoGC19QbNNDT4zLZeDjnK4jn1EuAOvqcNYtpsofeDMdJXcutUAu/MVT2pGlZ6VyQ+pm0CvswufHoAdNynCeNc4ffzeAH0BAsx38XQnc/eTWyZJ3h6AlGbi1tIvkeNZRkLd3UA/inLF89bOPF5QHM8uZmpkQc/ChNBjbbeG9n4EmBkGV06x9ihpjQ8i/huCCRM7x1nVYfvcfTpe0WrlV5KjRtGlPegPdugoxLjAN2XIzDKHyah7G1NEjROtb88DDd19wqPubalUguybaPNdrfIEMltJZeGLK4jrymyvcXzLCyWWCeYKsfZzr4nEbj5NGcSvKkM9SNrESUnQqx+x/xXLDLfde104tvEyYvInVztRp1hGV8YQ34lN6obCIQ3iqa7PuolauFG+saMPbT46vf4G5ZrAd3EsY4C5nUZ2r/g2gLuQz6Qz0spXAE8ANcSHlC92fzcp9o0ejlaxcO+scXipZTX/bfHgnDcVdajAjrQ7uYmHMGumZaGoG5Gl8c3FizoZnjsSXKJoFwCs6psVk1DaJjdwz7FWCvkGhwf7+9JtoyvWAm6LN19ryOcc00Tip580s0PspfPZxpcUyull1kWHPtYsuO9+LavCbPyvgBKxZz1rVxNn8SsSdF8VDhwo/FD8ih1F6IBbUpIzJJphDX1XJUM7Sjkc01FfGRH5EVchCSvrZjDSu39PF/QfRJEfBNrzKEHwaF1WOr1tkDfmRfAvXAIPdzBY2CeewXu39Kmd6YLQciKE8KE+FYcnYvZVOLglVI7wFk9/3JB2EaRCsLuLel6YCaBIhWldNCF7sVv1LgFZu0rPbOVkidGTSh3q59xCyrAV4NCCy3tp2Bm4S2mG4H5rOUjaSZBkG3ajCCmeKvl4nKtiRjTk0eET3TccIoNKEyO5iHr6t0Lu8HvnzgqXEu/E6iRyWsvoO4aDGDwXQpSsVvPN8LERULR+PFd9NyfEN9P3eAv77+y6n504OmF+/E1EtxADBGKY/G5Utx3uYSlC1uAfG9wCsT+9RtencvKQU30UZqxniHPzYnKRdrne2VaGD9MUxaOrPHW/q6gCsXZeB66bk8SJA1tpWwWks6eVNtD3NMTyyaVJ7xbzJVAKZtVlG32eKdhlw2Ne3SgahiCOqP1ObrSRCyNRyYQRTq44B7aSVTIz69Fq18wlZSdUG9WvlnDEqznqq9u57gBNJMVRE+IFMegK5t6JlbJSjgR9p+i1OWZR1EfDupcIjHTABf7X7Obw1GAvGIhTEigbxWWp5fujrUJctWAfHpI4HAGG8cpBTBF6n1wYJnm0o25A1KDfF/+giZeJfTfj5PQaea6wvCEZBfa/WAehBwMhXvtK5SftPBMtC2avJ42uvHlRGhkhORxrOkyEjd0GqcoKLEriaVtOIcBitvomD+mysNMg1R5Orib64aauHSSXgTxEyphyH2grLf2+tLlBc2qUU427S5d6Gp19evWZCZ+O2E+QYj9M22WLDz4GJr0CoCEXMiuspDWguoTAZZMf9NqBHP6UR7DFxpLU7u+Xpvp1xfV64/5L3VWVVcQmCs1ZYSiKDGccpKpPRuOFLQ9pGlfB+9OgemWycnA0YXMZ0DrWJhtvT/YEg3ibvx7+SfFZEZehYZPHi5iUnd7KanJq8C+/olbqpP6WUCJrUMti75IrRqItBTK184Zy929IEiPoNfDbEAAbE7GbxzUCfuVlHZghHQbFqxQ/3iJrrN22eosdbCUZbJ9Hsvuf4lyVp1DygABzEwRLAEojITuywjDk8tcpe5V0m3qMCVSEGeeEM+MVUdjk3vlSjw665nOO0kO1PhWF+VLEK6vKzQNehvw2QFeoBN3R/2xErgb5HrDkqgj5svnHrKjq5VhmjfRrwP9JRQ4pf9F+9Cse2XYbyA2t8AbqfgjMw8hlaSBoQF54ymRKF+ToQpdXtxM0Ltfbf7Yh2HMtXKgPvFeekOW0SCNNy2JgFF0vjG/aSfykvBJXHfWIDYw58F1Xy4VpzUZxwuljmn7d6aee5k8Pk3D5109zbZT/AwNIA8qxGV0xLp3joPCN3wrvgOQW2E8qTqqQ6aOGCws0FjX/6AQOqxKwNUFGlhar7VX3ZHLLnH+bU1fIiMowuFgmNd88lmkqrTW3iZ0G4kLRsF/sRDqKgeGm2Z6DMHzSzitZsfQncRgIJQn82KSHMkz2arDBUgvNTOVYC1A3HUSeQfTLiQA3cqt39GUAtt/c+rfRvxiBU3Gf0Ka5KTpvQ70i0YWR2T6ewR4K69NG6gT+ZWWIc6nvaQsRgmm1/8VUB58R/Xulmt78759dexQm6Db/oTcA+GJHm6WrpXJKWbXFslD3oD3RMbsax4824q8xVqFCy+pV/KkCFwsmPc82eCRmq9hJDmaXRf2q5NjDM7Fv8TtzQmY/fgLGc+dKln3Qe269uhnR8LHpgTqP7UOvdQyUoov8hTGqle2Px5sng/0e+sVJPqkYPTLSrJjgjbr2gq8psrBftK+tjV1949JnTMjW2JjggcFfywBxZjpCWxdr5Z6qjGMZL/izvtbIaMZYFDefdcy4oQnPCxG9xTELbonkouKXSbxMPVIylmO0MAf2/fPfLNluvnDoAuMkgNUbnt/3FgkVZ2WJS27oqNjVrlHNmv7Bbj4TNZgS3Q8PdHWKfX74HTCyCXjUYIvQ0bkf7YPTE7N3hDZtdBbvCaKIQju30NkhBTMoXBaiPD8FKKCBz4Hg3KNNXAY0sKHkp3AXNqVwq+Txih5k3+UXsJVuHgTh7ahh4Mjp4IRzvVkX9ciapC7JWiaVPRMsUnYdftQhg0C7cIOYV/96vgVrAvUfSUQKKJgS+f+1LDhYmcia2vRpKn0w2zd8+lWwdZ5H3d6wPpCkKpGeS26GylF1rIoaWgH570YELNhz2EGzA5oayuu/NxcqNDl3RkXNrdyUKfpk2lxSzKylcSVh4I1MuU5hAdV8AoDy6LZGwBiAtJhV0djV6I9MSC4UdAOdHFNJtTAbUFFQitW0W/Df5gX6jcTH9ESALAR86c9I0fqMvJbpg3b7KEyidRhySEfvfdbPQB57GY9XEeFW0WsBUeMpYnxiumV21Eslv9CqiXZbKxP9i4+Lx343a9N2ODDsZYHRyThCHioaYHC8PxJv2AYx1EPzq/RT1Eb2r4BrerebtzlxUztNWcnDKcArGTwNv5yZ3iz9m6jGzzZMRspTSDSJ2XT0eyObm2abycQ9R7dAyBU+CIhd94UW0TKZZ0O36o7ayAaHlM3EAj4XPOvzpEQg1nItG3JV8hSh8uVEos1aqIJxK5rbrgWEvSLONYdmQHJO/c835B8q40nVuw3vlAZpEJsR+EK59R/CkHowXq9ps5yxIkeY3daAzwl7lunP0G6AaGG9EBwzTHMUXydEuq/UNnEKOXf2wg449i1eyHnfkTDOHVVbbcD6VKMfEvzAK4ydGN2bnIP1yZkMB/gH+vocdQzv/Ueg4sRsrp84/BcESQqppVnsS5HXs8DWO001+j7xL9XvruB94pqQIDMb/Lg9fnmpBcZr1xfkBMN/3UJ5H6JAwHyPxfMSnm8XpzGkm/+/jXc9pNd6mF2cyrr/rhWmh6Z96/o7s1x70eANhTC3pH5cTEg19CTn+4J0zcx6vQasdeMlbsKkJaufCixyrlzgtAwvDO/4cytkdXTE2eKbgMW/iPiqtqjZLg9wTDbySe84ck3YAO1Hrg1AOqIb6MXy6uQ0ZoYumo07LVeBEEt7vIC11YI/MEMMUsS0DdP/5Q0OXa5+jknQkvBl8XXQm9ZpZMAUqsOsgJxdIDl0lZF8Prqf58ahofchkF0aNbY9Kw4B9pDb/GfJ7Alm3YhFQ4cr3nV3Ssyxpvhm+Y9h+XsZcDGEZSE/vkunbbSBoz+suIuoqJHWClfKdpScLUuGKDnwTzu0aij5Dx2UrdHCTaH09EABd//FAo+MPqI9cU/ZXnfCJVSNop00UId+fA4kvkwKYiS90f1A7XNYm2yR5r7Cap+dGO0QB4w0grSl6QuKRT36Zhp82F/aC3Nl4ToyP+8u/Axi2or1LJ/gcmqxzIYBhNoVptXFDSKwUTQX67Pg+F/2aLgc8HYj0nKpBMHD5QKbm9aKnYoksoFmKltflyCquxlPAN1WPfvAn5ZUzXYEAUc5/io0JbSD19+2YV+aEpUahSVguF5mkOVbHI8tFCpL5nGdtpt8Sgdls+VhZmJuDJ1F7H/YVDTw9qtsByIFL169JYQhaXNYeqvgIilhRQab1G+ePIQ/teIp2MZj1c/0u/O+dEUmqjbLVx2x+gAT8iXhF03YtMrcmNGpz19j3SQD/1pX7A+E821aR/wxMPPlv7QgeIKMf442e943pJUWSgbU2YkrQM7D0JV+u/7MgDGXZjYuUe1ZBk182IP09REwauezWTmabXDa64E8i4OVQWYefySH2rAZwPMtEufQEsbRLuzzB6sf6JWCsLHxwkcLa5f7FgsUuDRdy/W1ZLjwXIotjwbBWhnPOZpegmpmZzrJkSz82mMWzDJSm9mXebfKmeZ8R2q8aB+jONTCoo1kjDc8wWQ0MZ0DqlDGgobIbaQ3fpe6HsA+HNG0eolly3NuqdY9tK9Fy1u/T8YwVTvsb0XKkqowfdgsry4JDRlq/ri/zEzHWeuXS2qeVKybCykfutmp0htP0ItJrvPll+Mu96UZnQvwtVOkAWjYAE6y4UOa/kRwgvFMKGTYE84fWWa5fielHRDdEJgBGFBLuDo945v9MjBD/hOxvHi9sIIV9JT8dgzfrDmpWnA94Y5qUQgMynM+++9RaDKXd7zjbfMZryIuL6G+UBRfuY7pt19UxVxNbKi5mw2uDyhflZusTLUJBUXYfvOC20h76O00kHoY0d4FAfkPi+9Lt2PtuwFdQ/uyuVwBwQkbIKrkd6stIxC+Hw4JhE/Qvu1yPkZrYIlkKPnE7jpmfq3PFhNWmjSQWSrjUol1sxUs3aK3S2d8MHbUFn756z7/cTI94eoTuE03A5j0a9nj8AN5k+v6rruZ1Lnz/VJumcX8qtWJwKGm9N1/pXc+VVahCHJV6D213V7FqvbbojvvCeMZ81CzE2dtlNjtEE7PNBg+j493D3iIOGFycD3i0GgtctZRfWB5yOdX55YESiRCcjVMag71Im/yvSfVE2pVt2WSggEH5bL1WUUqGhg2aXTBU4jR0iCmNL90bXs8XmRWAye0+Xoe4Vw9A24bOuc+FVQOqQoT+rwW1G2Nf3vUcnsa7eGx8XEz5XESn9zX60uttf989WIhRd1eoVU+Mwsz9Im2t/L8Zqh8LGXDqIlJagXPCfSJUXABRN3q9M4A0If0aiH6t0fWKfuwrrdXyMM/peNfmH81BKO0ff/9wFdLR94vR6GE6GwiQTV4HYiXcS75rvSV9ugXuL2/xDCdgM2i84EIPV3EMvJ4UQzEQwY6gfE5woC2T/mW/L4GJh0gweD9KgH0CPRzhsQlxHJN+n6wkqB4TY3xSPFQ2zf7laOlmTzI/BE0cByihJL6K8ETVk+1GTMRyakRyX5tK/cs91qx8xdPMbJRLgDhpIazA/7YUq3MYBdDrRIfdpul7aqlS7dKNNO2Xco5/oLo9yo/QjZ32iwUHUxXIedZJLZvhqzBe7lGg8kljaSDGTN9OSC75EV3nGIeo98+adTzGU0586LXlVU5nMuKC0gArokhjK4hsBNE4Pc184Yg1s6ZD7Rtu2tsK3v26vtz7ZA8AFxIjjOeH8MuIgdK//JrpQbCvjAGDXXmlwXIVeDnZ94JRCjTNPQweN08+ZB8wxMEHqFzV2uJLjXkFjlcs7qJFGNwkgDO7vxOhlKf6LiaIes6zyW1dvTxHOgZKugGN6AMllhiLTgpsd/zjWtJu78AsOEGF1WycPZ7lEOELnRK0+n+ln49AUbFPb51L7FOzfGAGEkjD//yQqYNxCobdn03uKbnemKkM5wC3j5F6DW8mns3PQThZnFDPTitvL4Iktt0GyDzWKaJCIRy2XR1TPoFPlnpNO5n55kaV298Os8Hjj5Om8NGHCGoMy9BkhnJaFfRgAGTTBfb1a0uCP2K2pYARwXtkVOv3GT/+2SV/Z3ZAG58dc723Q7wf3eCRJR+iQEGjBpgf5R0Ms39HjHKLSyioWLm8foWySkiouOXCeC2FIN/I9nfxRFtZu1WbFTG" title="Mekko Graphics Chart">
            <a:extLst>
              <a:ext uri="{FF2B5EF4-FFF2-40B4-BE49-F238E27FC236}">
                <a16:creationId xmlns:a16="http://schemas.microsoft.com/office/drawing/2014/main" id="{5AB8A48A-95C3-4954-BC1F-A2A8AE81225B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 bwMode="gray">
          <a:xfrm>
            <a:off x="330199" y="1633415"/>
            <a:ext cx="2641600" cy="5072185"/>
          </a:xfrm>
          <a:prstGeom prst="rect">
            <a:avLst/>
          </a:prstGeom>
          <a:blipFill>
            <a:blip r:embed="rId23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6" name="Rectangle 25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z2dD7pS103gZfJ6l4USC3jqtWOPR/ue0umjYEY9KlLthURXCUyUuZbmGDPUXB2idlVQc+R1c0j6vNnMaKvr/AghcgjyTjoGcS2U6lyGcWZbvoYqQsrFJ5DN1RdHsB5gZU4BjQJ6xKwDUEsW8X/QQ4uIPkrhyjIfLLN7ZR3puqzBiN1rMnctBA0J594at1EN5QJYMsPufr2eabAYzIDriNpy1GurybA3KWqcTPRKYh436jQqOHiPaCJtAtzpRgB7Igk7tw7BcBhai66Lc0jpyzFEK/4NRoFF+cso+ThI1HNgDMZbpFoCsJQtilLqk9nQPGX6RXGboCTf8hOOcHaKoTUKF81dro10jOa8Xb8mBGZAZ+Iyl7KGHMy03+9hVypQ0/JtRaxfRYTfdVNy7K8JyeTYCvOpK4Um6k+Hf6A1415CWOGt8a+vq8WTwu+7Bul0vmLkEz3aszB1VoCznECM2pnv6utkLbw1Da2ZWOyUHrKpy5iX8BOePq7cHH/9masWoaJ+p1zLx/oaBRKf3sbqQM16NPrZu9b6T7LzUP/fooQmJaJ7YDvyJduKD5gSBLFw3VDHZ+Zu9wjOrt6QToX7I/fBdA/Fh8Iybwidlu6ktXE6tC7vz3Ekl5OoLBNX2o9xNDH7Z6kmwBncLhr7YnS/5fbjRxlORbCwCLwh1t+I4FqimkP1Uc994oaltNxhfy8NZjGPGHpA3ViiQueZuNUTbqxvKuKEJV8t6LFcaDmmt8509f1tSCkU5uTvjMgOzeLUjoPLizbKNrNnmyjjKWf8hfRj2kXQsDa4coGVdGddzdAylfuhhxmRCMvcK7wS34YvEs6kT8kgnyfnqaSHTwPvNHNMJxUnS1FX9s2uiXNdql54h3cxKdrsvVBI1mJNZWU+oOG75BArPvmJjAyExjVgPKjvc/TVEg5ls60fXSUkN4VCKon9e6gXeq00MLo1Idjn0JbRgZ31/Dahzae+vrkwYdBQN4js6t66JHLHCmEAYhz527OpYgcMICdiSJ88QfobDpa+3YMbWvmYoWtW+xZDcCe8s5FZByXEeglVvv3ulPYDAzbw/gr/niYPpKQfYTSnvWJoBiDG2wxzoCYBEAuyLHFjHDc3OaC86oUySW+BgcJbOsERicd2xx+buk+f+8nlfJLAqWMwGzmnKtCsAMLr932K9SA83TR7r60ceVh3XO+Xxho0uofe61zXOhZ34zvnUZmP80WrkIHhWsRFxKa1WcREJAEhJzbysAqP5d7dbNCrY6xFDew7n2OjtezrTLBgKGi7QzztnwzU+Sx1j+euYMGbHzAygmiF9yS5H0PcJFJAyknBftGGF/zz0GAAqYz4fvOLY/1gun/tATL9leWcAWBQzVsywyYM8G5oxdSqejz/nj7XTA2APKqbn6jYAFj0+FnHAXBic6tJ5t3SXFgwVUfot+jZV3dROTig9OlX7M9oq75+SJDEV3WLJ3cJfUYBmqOU/p1uUKTcRpWZZvNDQuJhsK//+g1dwDcD8Qw0jHTkcHgBn3WyFLE56YzOMIUAgA3TnBIj0cIbrthlDmpRaQ1+asj4DsTViF29MXHiSNFRDMZHYTj/48oGvrBzncUUcK8quEhvxgew4GH1eh5VCh1P+6MqzAQaY99oTaaU2bipq2bm+1wNhOZ1fn76Ijv9zK7mXxsRhE/D6m0FshagD/q4OYvzp3Yd9cXyDXn5OJWNb10rW6ohnqhQ238MKnX+FacfOm/LoPPWUm/AhuC3dOvPyntkqh0vjZMomcAuVmPuhFo1nF9eIFaqsm5jYTlTELJKmdgQJ4VGgAimSNnGa6Lzz5ShywJr9aAPOETJ5KZTj7YrTc90oDgSYTIqSrQvgIE+lcJfaA7/d2BXxkK8wc7NCwbFEPKWES3JhcXxZxKCTpYznpoE39ERiVpx1PR5DG4GC2rqlmrNmxlnBNs8BoKsbmLn+21wtbalOclMJnw6ywjzMtTe6YWQxJTzolq8FjOzplAZdJu6YChrPOCOe3IJMec8iZMNF8yhhpg82Mn6mpUUhnRl0NpHHK3I/cNnJWuZ3clgTSvyuyeyx8LF9hLfhXU2gDfsuw/HXahAZFemu+lSWgp6fChMtyqLeEDNFoivDrNlLrfsvHhz/YRclQBCBOhO3n3oKLP7m+i2V0HkLzTcrOKiLuC06qvKjfYRywT98e4XiH8LFok4+VI49UR/e4JsLu80R39BOMNoj7vGx7spV+TG7cHn6a1Ll7ohUEROWtJWKsLA6huOpFK/9A13951BJ98nX8eesBaCie+ECzAOpDUg39zVWHc9xjeMyZVNRJnn8Uq2REBQcaNkONJ2sQRAKbqHY89XIZyW8BDQTBD+viFA+9tWc2/NlXQTlxMIa4jFG6++pTEPEK/3GahZDogm0g1U8QLJTwf+XRrjANniAKfz/rc6q2qN9hrkgwjlYp/Tan9TJvQCnC88iLfyWY39uC2QGBqG9d6A5gg0DOSjjgvu9eExBuHMfZHfEVSdMvk2ND4zIBdvOYR8s9LmLqDbrabXcefGsBfiQpRnvznQGVa0Q5O9k/SvehUXsBTo9sQT/+LzbW8Ml3R4vNWzClsuJ7sBMskgelbROzseRizsX46T2WZZ6IhW4pdyBd6tVEDu+EAWSoYePs3Tmxq4boY0l01TH5oXVKRzyyhU4F4129kry4EkjwVzAf7lrc6+IMQabyWrpNavJgsecDFB3lrso5q1G3wn1t/iat0B/AP12BGz1jq+I1B/GLvRQuv0KeL2rdW/BYmYa1rca6yFDJeEpM8IoqgbcQjBmH21WdPvhs2UkZGamV9lQTa8jqqqcPyoJ1e6/+QeqvzcUzTWG7IWUJ7GVfi+Y+RPJCrJwfR/zbxljJ+yRujKRCbeB6T73akMD8j7ms+09LjIqIIZAONMGtJrn0GA1qUjJkcZHAEWwQ2x5BuupqJvFdzUDIF1pPTrbfO93iHMI8/CHO0r6/1yybZzFY4sLBgMFUDXFV6sXUkW6DDyl4azA4Me15jAxpNOQJOlIPQlMF6NigQHW6p/sp3xHavnHLNtMmnH0CHnf1oGnATauc2DFbGPOZLuw+m1TnMumDkiYLmNWPRsEE/J6MXfUo/DIPn0rlfRCBPwoOuMabsmSmtiTXEpxwvAkfsYhSWpMwEFUqvaFwr6U/cmEohxJcHQlU9qCXRQ3BTS4bLIPFoBggCfVPZf1Hzb2b1daroLAShAB4U3379Y/xUg+YwOulDTrXv4WJoIh5vW7/+6lqHuCVY8GaY8t1FV/mucdmSvxH+0nytYpEp4EvK9ScmfTTib3vjurPPCuIvrdNHM5GhNYzDMM8eb/0NWVoQ8QBEUsRA9Ta9ZzzBztvZ7SLnK3owtWKM3HqyFrP5MSCyOecIl9C7K68HEKpM591mc4h6tKo3Lfv8VegPAwqYyFc1sIO7A3xloPOiPmq+T3mJveKaxT8dhIhIro8in+EionEgQu4/d1u2iFNYPJzA2qUWoCAfaV6MdMgvbKPLmBgi3gX3prVo7vtooURKOF9tysEP/HHTBdbIW8T4YG+HT8doJARHQasDG3ZSZ0hY0luzCYzyIsR1gGkTytXXQrgmoX1Jfrha9wBM/rZ3c0EV5J4u4aprxl/bq43k2hSHc/7qKel937OzxGvyziOTSn0pOYtZZZ2KeDc20Slb8fcqnnux34lZOaVcCjcLP5xImgBpAeaF31vrVPCll2cGk2x/qZy2LiBF+stgULySyC8PJ3GDujUGCDdpB2jP4fKTJuQUO4VvPbenxCjfzE/neMYBb1vJO30hnoetGuWf8X+XfX6yP/sa6R/ZoN4H3sXEnDQafHDdWAGrCKcs5Vj1RkF3PHyF5LIlSj6Z2Tq9CgfWnYHWFNDrnPSXTJAwSSirH0QSDkl7odBpDHE+oUZzwhToNMCWLOq2DXecRZIRSOlbwvNCgPelIneKQfZQM5NHRGYrUitF6Ssn0ufduev/oVasN4n48X22fUSLqUeaYsN3OXI8wXli7z+1jI0JzNbmdenvkH4DDj3RPXnUb+8QwFp2RLPVpJ29YQ0xa5Tg5LPUjxqUlSyQAYuYaDIkg22ygU0S0BsBJqmWgEJSR6j5Gx8w/IfY3n3nxeV9AUai+6vMW8JP55EcDOdmjQYstKlvG7CwKh5slSbUKXZGD/nMZ4Z33M2+z1X/bkVS99lZW3FYMltrUzUflNZVInF4ft7516XogZAegW22xcIGMEQYffZJqZVj05DhCt61ia4LzQAY7UjKDQa32boG3vpT8pwTP673kPCsEgbD6gpf410LlNhxSE8Aq4fZBHG8mTIsjEc0GTN329xzL23qpkf5Tnsk3lIGg7+jdtANuz1LgW4mVd2nDu+t03FcSOZSrqy6SvQPlaBaOpLr2LqFZLdprh4bacA80IiK/tTS1eUxUlAPnOxfyap4PJZ73n1fuy2Bt/xJBLTk7tSfVFcwgSTPQTUpHtDVCNuGopvavX+hkuwm4al3GKHAAc0KfmehMIwFnmtrJkhvdL/iKX7AmsHYnUD5wkb3t92o5zP/iSLffrIwOA64jnZGA/xMPQKeKoWTguzsTIh2WViAIMlAszSqs/bjohbZpfs8IIEfP1TO4ntCT2MwUR8h5BS9zrjr+YEtBUYFKoIHwpZu/nAeNseDBZkIGMaTtXlL5rVsPspWDo+lNPBNtE3NLOo5op/bgogk30bKjG1u5Es7FXKKRmyBjo6Ik00Wbpi7pMDqQewCHxErtElyck1M/uymkFxS2S17rnhVJKHVO0fNDWXLDIXHb+vK3F54ockZR80LXa2ZiMEWCN65IsUxxTIyLaqk/tMg+DUhde3k2NoP9NlmQkkNpzr1lVAhb2+myeO3EtZPJQybyWRrQFa+4bAM1jXM4t61qfpSo4wYHv7+ffU9hZu4+ZhcYPBsm0c6K7SmKFTuA9PZj9w1ujPCqJ7hNwQdv7AoakY0k64a4KhW/d5h7S4DSe2crXjYEgOWeJSOR19MqEUXgbfdX2My92Z3i13MzeXjGhoHRJC3o8BvU6nwyZ1cgvUNzeErsgava1iZJxXyzzkhG92cp+0bNgcXqdZsLUdtd0+8d2NYh514YATSk9svwMJ/eRgyE3HDbZBtcKEMUD4roFdjd8r5qW8cHGduc9xmZA8524Q+jNe8QUj0Way4QGPd2nXUni0wEP/GDYzcu6HVug9siyShAifQmu4SVSdP0wD6AoBBqEHO16KVe5Cez7uDH+bCk1emOWnpl/gR6OPYUcJ3JzDBMkyfVTznUu7X4edhxjvLDDc0l01Nf65r1lDxtDWnaRpPPR1OZduub+Ns9USAHl/FTx7FHqbER6jLPDOQQ9WczaLS3D7qfMqTqhOIaYU3kieaTxbkx9diaxomwmglnWoCKCoHrVoFnvBMGUpQIsq8ydrKUJISIrDipf1CqQTesiTb0RLRZ1eATqKU+I9xjqrE2msPF4OpIJTe4aCEvQz4rvdYVqjsy+myx9uQ6QsSLEoUKdZCuVDP0VoWw+txAe+MyXRfgcZlh28/j5lFyPNR3AYzQV0BLAXGYrRStVTPl/WaaSz2E9PYfrjtf3alrKo/o8OD6rUUlCoab1+s2allhBO2cI4pajagSRu1Wcc1g5c6R3C0u/t3FFiHGjzLObmqcFjxg845pd6BzfQhsdaVz32SCKd3EabAYkgFI3efAqvE++ZNG3XX9M1WVhShCgIOE34nchhDAaxWqOnIBCsgmkmZm8vNPnazQFsHP2UNR7swv4AXCJ6LQ5UaZZ619maqsEyiKI28wgZaj8CH0EPTVl5CpEyfBvbhIMbcAO47kHjIcWPd1g2s4xhDVVRAZTui7OCg926LCIPjPKhax5iBfWTZ5JgZ9Dc/B3VBOpioTKYzkU4ivyakkj8UcHRF2ItorDqBHcSn11aJrmSfZ5+3vEgidAnYYoh9yz1d2c0bIzDaPvLAJjfIogxlyPOi0rbRTmqYU6m5h/SzlkzOeNlEqJFZKbbaW7PSC7X9ep0bRHrfYzIKCOVrCdc7avDNMMXmriXV96pDX/ptttY7h6iS8r+1FakpamRKpATFx6cFU91+LnQ/7epby6TdAhjcpuO1GJeBqswDkLQtrKbBqZ5cFaiqC7qNcRX8ncodUViar/FP4glDbMbBkk5O5/EMzffIuW51g7OfT/+lShuLa1poi865S3ls4E4zubAePaVjFU/72QVZBc+sZ9c5Dw7eD4riZc4WM8xCIzz7PWBG7YyMB98bkmbsn2rJ1wDJ77CCWaxZyunFwloDAH7VfIrHaflCamY10HCpQicFIdTXGfRHn1KSYglWOXA+th8v+aX5qa8Q5BIhQi25HdwIGerfNu6UKyLt2kDWYOVxMhC0GndkYYM6ElhX0zH01Rapekcry/9u3erC1Bgz1eCCT/7abLDZb3tEl+xj7YXFK8viq3Sx2OLUcow2BcANCLrb7YUN012VmV7yG1sk4VLAy/mXUxZ+D1dGMuNceUNEN2c7TQZlOGbDB/b+9cRPHDQC9Xbmu1o+7ESZE7Xzri9lu8htQVTfSw1Qcj70gJN7RB8KKAHr3uzzEdwBlD/HoI42VkwBrugOmtInhN3BzcjjQD2OFuipA5iBG54p2mo1g2c5vlfGnlnv7zEJ0Ro5SXiJ8qasfg04z7a+HHkTp1j4gaWZ005KaI5nNBMwBVEYtIXiPZsjG62O/CrsqI+WNskEugvnfN1nWHAVLW9vFXJ0rxz7auApTIOypmA1MEkEabZw9/LPe/s04UmR+V/7zA4a7wFclDOg732Jy/0Zc5UDDg+dZwu2jANhJkDeRJHA1W94ACZ4IxJq4ISTgS3T1mJdH4JAhqxAk0sbDHvhvfjrj390Pr6Chfk8vrEed8vHgWBjwoadUFuCP37GPANtIbM14ZfEG0c4Z+xXmhnW6H/awDYC758+o2TQe0OIBGE55PDQ0+6k1dIdzNpqTdD5wJDDjNMNBPwzquqM9iwLwXzAj/gJnHG8MakLVqfrk15UCdPaRKpbJDVDI5AQYXN2liM/XtvWKxRhJ62FPraapZ9ZPSx/5hlaXCmN1eCDoeP2x0pyiy7dVtixf5HwsrYQrpar6CTikbsWn9p0BXJRFyzbrqlMA7RS21/Tb/+f0X13mqdKXpUwVWpjWaSV1iknHInaFfyRQyUQr1PR2/G2Jhu/CCYvV1bZSfrFGrjof2osFQ6FzVAm0QZEO/lhxc7BycAx1VBVdeV0m9KpZ1AYlYhAPPL5+X//E8JBQ/sj77LqUoeNRGmaobE/Rt0Ad46kHOwMcz7Sa3xg5TwLlInt6M1EiUNcMEIIIfv3S5qHAlQjRhcchIXQMAhwgDWwaelg34dCkMSrhEg0oflb0ROtQkcAxULN5rOi6z0ZEB+ZPITR0TBt2kAxFmmzB+BAqKJHpncmF0GYnkha1R4lkF/AwL2eAoII5tDKVM2nqL0JGqoXSXQUab8GdJlN9nTT8GKRVC7Oq1qp5k3HAMTDgPIxcVOIufdSm31ztUUOMW+w0ARE4V+3VUcMXmgL36EbMDrUQhycknB0Vm9hMv1lRoVUbYE7kPk4tm4hUWmBMkD4pDc2xPbJILueeN7f/9ADm8miP87FjC4DHIhX2Dyzjgijui5w2TIeANel9+M7lve2TSOozqoFSyKBC+ZoFlshCEJySit0xSXpPz1h+VjPPrCSW58vgPVsuHbHxgmg6QDs/wOpvoiIwmhyRVbCmg7Eu2JLlpd1BDVtG2FMYZoOO+XT80kbnOCsONPdNpb7N7k4G6Yuf9GJQrboCGiNCBw2z4oULE7wrKxttZUU18UWuxoMX784bKRKE4VVmEFvLa+9fZEvUwgpwL8XmAL6UU9C+RXguPXpouZarotfAokIEgBMNuRTMdPtTnzvvVYAyZJV/cZmxzw5imHYdUtt4g5R7rsgrw+f2go7YW+twfYUhweJXlEGrTD4eknNz9DyZ4ovaDLft7BN2baYYPmnTbdzlSKoQwy9GCrU1zNj0MzIXtvdamsTjJELr1CQPb0gsf9MsweJQnB3kDsXSnYiIlEujwC9EUND4puF6p3pcuI/Ws8/ePk24vKSjMAwIbZj8O/rLnDJfR8FY7ANQrufL0dypJt+IdDeiaGDePj2sgvwh+W9O0MviIk7AB1vFBD3C2MK0VWCjXs41gDuKjFkg301sOcf/Brn8lub62I5lipP8P+T+QIWUxwMzcI+pLgxDXQWt/LbvK7b5Z3LZOhNFWe7pvy4rPxaxTd/7JyEOBB0R69F0r15FW2trYSPVtQPJNcomag320HcXxQFF1M/V1NCXa9cuaci+OpbUKIO5v14mL2aMamlpObwA/HTbKGJIUpyEyjevb3jOK5nkgGrgB+fH925RSqpjCipma34BXiePnazD/KqPNTib1X/3O1UTSBAhADWY6UP5ELxd6SDgkjqCLD1AJ4GMyz/foL0SDV45D0xSm8eTHQ/BDqAUXDZC/tCHAWtHD3C9JYQYJ1DT3SP23XvNDOPBuZ0rxySiPpc4y0MYPjUAvi3gTh8CzUbj+M/Dx9KCZYbUpKPp+OeKt8uokFq4yhXAw09pNJt3h0r5UOuWuATF3wUwJ5ji2tHNuXTDL4KgUaJC9P1Lg1nPd+7BMMa+SGPl0gApBUkrBudt4mXZmHTH7a3ykkXKCBrAiHEDgk1XHRi6AQrd1/d2kVSDHZanUGxmGq8aTP9b3JN6EZwtDpnBYWArQu1iTI37uc8NsyiSZNIDFPeCWyDrPOIGPfgeHUnccxgl1jpC7j77rtjWFP6EZHeQ0zS3C1Gv546bGtUbJ3xLW7ZoSQb0gQSK7+/T3Ug0JIA5+9cSlWmkwRKbRTSuOTTyhsLSoNZDAgv/XY9rBC8YcNXPn/jhV9Room3d0LJxgje8UopEZjEqe3ZmgPrkEp/+gbYCKGrCgk2HSur0v+wnZjxwI+qBrFjYiGpDQ3+rnN3kfBVJZtfEJuN5hUU9rWOIHQ9xgBmVOSekxvQnXw1cFo9Tib21vhUyTamkXSgeM2g6yQf3bqaWVqMYwQQHlFx7ZfzWU1LaIRmEZLJeJYRI4mlrADtxXLvQf5H+vwAtDzHLMuHaNGgxLSgp3GAyPQfSAAVXLvDqVxxIRd0IIrIR5V4KUfBTARPk8dR8LV0qprkBzurrYKRv0DVK0M46qnugKjy0QUwds0YQlgRaPwfJwLTLj+jKaco96VfS7JCF/DGzdMEoLc5RpS6sgLRBxD1yPp0DfyP0+Xe5iRUMUcrrgtpAzYFs+YXtuB7qCN7d/TcF1ZsR0zG4mSwbWinDUhn0Ke34ohTDNrjxRlGOYBVLOUs9kf800b2sv1ZJDEeTFOJwpT6SiACbDLY9cbtXMW7Sld8UwWDCeqLgtQDUissrE/SBKcMxEVsd7nyo9Hv0D+CKWnKDMrNSGZXCa4LYFooTi6cT4ROuCgegdqsyyfsZ6ryn2gbopne4VOZRRZOwzeBAMj3Jt2MMD2jWyV2pxIaMHF96W+yQWNHFCbfF7gwYHaiIQ93a2s13V6ZuyGXiQsbj4NhMaZuSKnf/Qi1e8EOErSZJoR19I9rmD83jR92ODVfrQqyGki8PUs6CMrUMwv8JqZq+pK0A7Fz3p6RPvpzobQsVsHkXxSdDRMo4oHoNDD/2P3JMSn0GXK3wmA7ldrxC9zMyUuu88gIObEPfgI4EPBHCaWYC29fk487xJaFX/VVXPB2uEzVzOyUf39oQyuCfaZ+MeBEgqFCXxToFBckkMJnYNcGsp8BlMKxAxsJcMmL91vfHrbFULrrLPDZcQoHRfz+gWK4zbRaxa/W4HiEOLBpdsLc6s5mZ87CsDOrh22Mz1VE7oPgdytPmkEcw6ZJ16PV1Q6SlzFBjcyc41we4fBnLUqGpPMb67jH+6qr5Y22P5IsDeJXQDXoyBKLXSbop9pZtIHxepOtWF6lBvmTdQ0HQvS23P+zMsvgepvrHCpdmRAXjzSY1RKfGql5CX9nqLeUiGUy8FKM5xRL76uPKqOVudAptH0O161/rA/ijLDJE6cwUEFU/gnNxsZ2xqRGuzrf5S+T1En22fjwzC2bJIwYjcypmI47pQwbPZT+ICQZg3wdG0h/x+Ls8TYpdQU13ap+rsgl4rpQB1OsQz71V3M3IeDf6Jhb3UvoP0LdaSjm1vsE0F+QAt+UfLtIr+r/GfxmwabqE9SGEmQ7aP08SKFOru7f9BPsT/+QT5ut7V2nKb5L9p6DIV09o2WpNCSThooo0+uOPjDHk1s/8F1Ujfy5fYFNXoX5Ru2Kuiaqs6U746upkMEz2WaSt+ba0R+xDgcLvF/2yJs5Ut+8pYtcHQUh/chqT+c6UDwt9kM+X+SnXmyWtT5aQZY283P6NRAWUSnijoBop/qd2vhdYIZsBql8wv2U2NQSomwdzy3FyHLG0pyde2g5J1FM3UwLFQYWSI5YEnnFMs94kaW67g3WpJwZz1Gl4SmTcWXnxaF8pkR1snJ7DCv/gl77OuddQSb27jwNG1LQ7bX8bHBsAVkGv7LdACUXiJKXM6KxEeQnnn4z8GJr133FOJwR6y1m8dqpe245WqcprgEFERpqVGYvSUFnVLTdcNmkd1gTMZ601O28o1J2jCvgy8Hp6WxJCz5TMrc4TM4AVNhFh0TGBQ2NrD39E/vp3FzGDUNiUMtpAAdnWq+3C/L/5zkcOofgICRo7cTgI9cJovsnnPtOWZNmDzbAJtPgzmZHE3EVyqRgtxv9KSgyHRSYjBb+cjRxT5Ab2Qj0PLrVEGc0z06CCiGKdWtmNyy6cnncqM5NuXdXQ1IpUnkrAde6nHhu5Hk0Qg1EnqXzoZvMmcxNXzJmXI0kS/joSVkKFTphdn7xeaU1hY6su2WkgDlkJ88XFzBtSgS1PTG/vBtXLLHmjKBX3+iyUeWcQkiU8B8emfL3Q2vtqpDxgMEgomJXpgswNbv+fu6GL+mgftNT01giFvT7syXy7sWLsFhsXsX3Bxlta0yNTg7o4vZ2HqBEMgeesTT6cImZk/QUSHe0KXYwahV/EeRuj5NRcx3EqtBMq4+hVGrM43frLIjg4SXI0amorUpM6EPr6Ru9ORF/FRGfVfuqiqBIRWLOrWdefpp0Ea+XNzN5k5BDOPjKHfE7qOUV22DHtfQE7wv6ispQJZi5t3G6s2mbrLcR2VyoygbS/DgAXPE81ux1/aHMNfyaJ5YAAAuluyqpgWAS6LotkVz92yzYJuG7qBVLTQ+JFua09oAQXDauj3fEJXsn0sdrMLAO+3wp4iWpG0w0kNY7FmwRRxPgSW9O9W0RH9ux8Wlvm64ZwdoDULVd0vcHMBSu0uBJOx842B4oLpq2ujptV/7RtaXirCdWSZtp+L4ujffZN40LR9KZOysmo/wI8Hb/DHJUHU2lExvdrUbv7CvkYEazgsxMYg9DZDFmzQCy9DuMnWBjo37xlmYOLBjsd8ibQwOvnbzGzs843nLxPxizoWMkd+C8ZSD0lLmiNfrSQYdQONyZsme0QXeMj8vXc/f182HMmOslCFKqx+hZFFz3MvxLVwDhIkm7TBuItm9Aun7uqFQY8ZB2mfkx54Z00+1ZQqzV5MypSodOHc3k0bwE3U9p0dfzkhwtOz+ts04KdSJVYPUuy0Q0sjMkzv3Dp6Wk7F1mz7v1F//XIcGg1ZEW0jEqKHP36+5lg/DUPw0OKx6J6sS49nlAuo5FejSGOwsWvtVcu/JQ0qbkAUaAR1G6Wk+eThTBssxcYU/U2Ka4mOB8IrHPdrfoN1BuWa1+LQmZ9oURmJxLM5vuL/JG0RJILDY2ZT29ihx3CQGVjBEkudoONv/kN4y4J7ebEbNvllpFp3RIXrP6xaRq3BqgKof7Oxql/LRw11mWHbC5aKa5sbczy3Qap4ZqWC9L79INfnrdD4qFhFuQwDewCDPMPRkrFpxRBXhdJx4OaczqcPjHae/92VTEgTJYfBXvTtMYeYUdCVVb6wfDUXYmwoV05tK7rnhQnALFiGyo15PFnO2wDnekCTkMz2knv3tW56oCY9Dj+wZzajDH7zARkvXwAVUhd0R9fMTDUlM8BPk0BDfjpi9EXekYKWMMJDdfb8hj7cE+JXT3sX1Ww4SOf59Xy5EWxEXZ1rFmPtEXlPDywzuhO8PAeohnUd7SKN7j5OcV8SGDfmSzCALerVMime7sxsa3O838aDBuVcWYZSvkhxkc6zrvbEKVUlYcj9TmExxxR/7DptBaA0k0y/sDlSaNco2znfQW5eK5CfWX3IoKXXz493qvy9rRD6G5hG6niRYG5v+9xqe9KliT3MZ94Oy1sIvg4ZbszxNMNNybcnRNpGEz9e0kyMjBHMXVphy3szA60fv1ItWTg6w7OJ+SnlUAnvlf5RcueVhWgM8qRPmcXwH6lYOUnt+u5lRQ0uANWejm5o6DA+vJX7yj8iS3KF/qSBqe/ndIXLCqBOgDkyXhiTGwPBjHUyOjtWB3xcOJVUQFeOAZEPtBhgWLjl4GGaH7b+OSoM2r/CN0wKtmKokOXAeiez4WCw+EC0VJvbiM4JlPjDRcYgkhDaCcsBEK3FCCVB8KgZAfK77XhSSrH04+ZMuyF4wKrwxcBuEn3vm+gtFISqd99k9QOgnXRaoEeILb3i5H/+W2mKkuBAUZJJAMeu6LsKdEZNNddmooVPYIVeZIEGlZkPD1g/fVQBfa9J1VBpf4EJWzavoMDngqVq+ZMhF7oLRZC3ATMdheHm6v4QDI2vo1PcqbaZhsu14JZE71MqbAcqwdHJMcLK/W39GbtWPaRANq7HE1RYLVw7vdW3XRc3JAussQLsG4rvaCSrFWE6iGw0wJsTWUhT9axjawY1cAw4rKVSO5X68nMPOFVqpDm+N7lnJ6B7UT1krulffG05KUX3l1ZH32wXAMbhIV2wTWWTGHhaJM6yHoGz/o5DaVrZCGYw8RHM39aQq2ACPWCDUFKkOQpZX4U1nbQpligl+kBn5zIZsUCShjYE1TPrx4kTTYc+/QfhdZoA3CYOwlxPk58Xiusw5WIugadk4CFBpTdm5H8IQVFIJidaewqQcFqnGHbfNhnik/rTbDBf/Kgld/QxugbFlftj54h1Up5J/4rntWwKUwrnVgh1uSUh/K6Z8LJZ5j3ubEUT7QRycT7s/HuoeUhs8JVaMZZP76Ds087iksQweDylLHR1LnLQGG/Vya2dZb7gf48BjHhBVoHrGtEdcVKcB/ZxoD3MZXz3as0xl3mZfQrreJFoFvwacxR7AlYL01t0utzFUbiIWSKi2tLVv2bLI7ZeioGA+y/A5rG2FN6Bbw/UeaNub8vQrNlqSxCmdRhrg8FzcCSKnbgJf0DjN15WvqsrGNarsDjPgC4hZLJfCsqp2TDcoTEhzymzp67RdChhmBYsJiDSbSVhsXWFuJ+/+XkJzMfPyHNA09ACaV4e/XoKbwmXd3Fau0kG5jeHg2Ev5E17AQztPwnmqV8dnD9BzZHbiFGe+i2bSnjT8k1YTAw7a4LSDhjyKjy4z1+u5GC49VnOawk52pDClGSpJ/2eJDBj3X2P3SfBQwwnEN3qTZK//uzjSVkRCFJ5C9vaUzK01Kqx+tiA/UwriVhazaJy8UzPc2J+nIepNFUjQa1ipwVOKY9gqEUHkCtuNr9nFsNzBLL0hAoA1gYuUSTqsa9PJSsl2Rn77ezfVYrviJgyPe3v8r0OmHg5+L0DwoLZrM8IMcNhHeLvz3qEvaZq+EOeN7m1hDALRJLv3ahkuu9PzZ/Iz/svroLEoFxJ7fyv//g/++8FDj7Amef1U3+C0T6XS+WNH7HlTI0KthrZZQjblkLpDHGuG/s7TN9Lm1Rn6klsFhr8NMajnIjJk7a9Z0IShw/7tChSV/GECTeHz6Ddc3kBJALlvvEPwIiOjc907xytqo9qrquG00Wb6fiv2bgkdWLQsfwg6Iz+jsjroKMJaWFZzQa7atNZe2SJvd01yBWxQh8gLupRVC99G3tTko7jFGBG52OIYOa9/9sX7uIm3kpd1ZYCXAzu/CWe8w48hHIMLQQ1eZaA33cDBbuq5/oeFxhsNbiaa4l1xdbt5Kq8+JDAIgoXh0G61D+ieZXCYEclMCUOZqv1VTeQ5CdAOiuBJWWuTG4srkZxAo1xQreKkdoq2UWM0V5RNcPoAKvOKz3SSzrhBETGqLhicVxNPOAdJKbJHi1vjA73O6yaGl2E7rrE+V3yv4OOFfVUHRveDIZx8jmTBIs0PpmFuhFUeL5CzxxcfF5TRI8XYtzrfsTx5bqLRqvWB6Va1LmrCXDZieYxp2DTyxMGP49AmduhFMAPE5x2jh4pj+lD7nzn5XJ3pwLfjvd4G7RqJ5Hb9htrOHpRG+RkzsN9hCy210B7Cg2MRqKepDPgyaF98Lt8r6lvxTzpXqXsir7cScrIqpzKqvrWbjKl6X4+Jbqc/ns8IhSX1bnQd6ayymEK/wlbBy3PptfukrLdnMd3oQ5MSIrHzwcaE4pk0sZcZHcVKSvDuWzart3up2Rq0KKkEeZfIN3ZZUm00whlgizpRh67etRCHzpOrFqSisCVM5qo0s0bmW41kiTHtnwxP3OgRXjPuaBtSh4ahQwcmdTJ9YjQcrgMQ56E1vU3ZfBaPKi9Byycw1abU9HbRn5wRki3mkqd9oL8lTrRa7huF6g37cGDuXQSCcBqoDh5tfT2ifSlgGvbhs84DPI54WykBnALHnGMvjtj0/sDHan1JQ7j1gkWpVsrMwAye+Kh+3d7BpR2VlzShV0CbRbo+Zs3PWR21zSzIMApa8r0P20F8WTI+jxRusCtHF++H5gcjyTD27mKXEVy2KdlTBRO6RMuaHmHQWfimdGiDETYDI+PgAW2vNypn9QG+cEQZJUwBP6y1AoN3PPaxfOoyMpo4rDbdbcFPXKF5823LDWFu/30+j8vJDObDc2aOIuvif3wNtkzd4sWc/+Nl0JFcQZLFeoV4RHMRivuphVDm3Fy3Bsh/iF7OFNOmcOzQQ2xd3YIN9FbSmeKfX8ZF15HCOyuMCgK8yD2XlMCwRTRlXDfdFulSeJ9vStnV2SfrEYoeTq4yWvMH4E1H6gdjTe56e3MIp07J4hnDAKtqaaGFj3XmVT49rZ/VfbZ12Vc0LPu0LpvFNWPb2hL1dlaaZkCkCBgBXIhGvCZxQ25VNWMX2fi8Lyorgi1rrMT7Nnr/iyf4nDF5lQr5YH2M1yGeKc1ADKVuemjDe6CguH2iKdJ99qWXVLTwfNFAOHPbL+6HeAY1Dk5wA/apd8Y3I7z4Lls5ev8KAzwps8ZLEE+HW6zmc88I8lNYNFv0ZWDhIHzRxp4YTATFZnhOy2k2KKSWYfxei7bfI7GHIq/rIndYYSSMQ/DXvwoWIwf8rm/UaQM96cyjhFTyW3SGQp7fDmRUiwUv4O5C43Fw6zEBcteYO4G3RffF2TqlUJTfaXV58sYJClgpkh4gXba7jaVqcSGNJJgdWbMR7vRufpzFQqfD6sV2jt1L/cP2jRl33y8tOVvYMxyJ/KdpPXDVZQmfktrQMJmN0s503RsAnsvIIIHsUZQkUyI7CtNrPL+X7jjjJ2WiDjMxitoODCqEoZ2Q0Ydce0rnUQPdFfk34DE4luQB2/KIWqYoTmTBcXGCCL30bZBUKylSge60zkgXMhrzptr5NaLR3VB8XJVTxGlsD3VtIpbAbWWNiOVwG7+lbBIInp6R7oSzQvHcogXtINIbmeGa5qUdJIOEa0YiDUUSsbsBr7sDskMO5qP5E0XSyWCFZ0OU+pQoAJJF0PgPf+IM76gmTIPXZRIk5NSUeKEbHEFzKV3paVjbK5VUXU3e0yVph6KZ7rgeINx7v9sRtcgBsiSS7GDMJkXDzjS2Je3K8SIF8jMQvOCqnfyhmYRyu4ohLWlvSdnsSs56x/G2e0W355Yi9oprrZzRlZIwmQTh5MngUzVtFynuKlJC1+XMEYXN22ye1OGe13sSc2v+nGb//qU8ygk4EWHuDZ7TOfxrr2Yd89dv6lhiobQVdLdUu25Lxz27kO4/g6LJFhmnRe6Y/kT60u5cvia6WLcwHfmGsQMWUto19W9MaFTzAdaCP4eiM/cdOh65AgeS1Hbg/jjDgsT1Q3+ET7NbtwOYIwOGLml2e5WfUZfUle9tHPrNndzEHlW7rA4Tu32KTS59YjFUvUEzWBqPZIKz692YeBUf1/m4+ViXNoORR1jxOzy15mMtEzQRL95wNSRYzsucQJ9mZ7UC57D5YHh8k0Urhhvs/cH7S1zSaCp67jRyoBthdWJlUWhw+cWwJnU8ryZY51ejMCkZjmjX9PYvXQEcVOw3HrryM9dYYleFSXytsv12bfDcV5KJNha1/CMu9JKbM77reVbDNhHrzdiOv4nZeBjCDdDEjv5juAOd+eVjcN1t+gMvOgygUT0KdowuRhSpLQctpgmsyjxO30Zo38RtfsHkvjOExZRGkUq8vsvZRbKcEtk0b/OTOQWyvdkWz5ig9Law5FmRUdFx+Oo8xc9UnTMD3PZ/yAEHNGdcIk4gjBAk5tNXtIFYrEFxYpVyN1MgMTFkRAk5TNlCeDf4IJGEVq6d51wGDWhcCmjBNUd+eKHqD7k56BHdKvi5INko/NaacNKSRZ5ke59GovNu02k4kK7DgdFEpd29C6DZsqgl/1C8FVIq4HrrMGbI7aEoMZ7D0VY9/weclg4KfmmsIfSkjhb0RbOFsIwPUyWW6O6HfqVyp0MBcdpR1P6Rkr6SLfpI5rcSn5qA+Z4arHjt+o4Q/wNJvTAkjn9SUA9kWL5CzCNv7V9U8pPt3VkBWpRM/efZ73yl1dgoCUgvaDd/BwM3/zgLkQ8QE6zF/v8kePthmiwtSL+14BIQw9FIWCOGzJ2N62FH/Cho/rmoyTygO65tRWZIYTvBAn2/Jr4BMqFhFuRDsWu5LYzsSSWG/SjpEZ/yNdwHY8SpbO5Bwd0M2f+j5pZd4ymjA8rkjR6BoN4Exr+jnYDaWsu4NUk1U2oxjQlTDcvvi35GSQvCVN2O1qUbtATxtCKpdGrSc3MdPBUvvhU0yuOLtkmrT10g50a8WJLzXijnYqS4rx4KByK841vXhRxum6qGgDEVK0QY32pZwn39uJ5Aj8lMZ14iOiJaAzWujgcy9M1Y0LLYbJ4qe/g1Xxqm8PNuy7ftL2qxlaUPdRhrQg9F4tS7sjub5LStbHL3pfFyp40nPcvdEaKwThUVik38Ruig2fWgDy00Ejiz3Z4lkAGNgf0OPLCT2B5ZuPojTu4WB7iqiFLKKej1EZCwbGxGvVn2ChIXq0hlbMHswpX2dLUCXfTOeti9aT/yj2cccc6w4pjKPjri0uvQ4UaLT/UnFjf1u7ryo32sQY+zRoU4jugQIK+3FuEoOe0ZLPNfU9hOKNS/8h5PP9wX0uZVhXyXHZIb2KW/FVmE0988oosTfwpJ8iOQv7YuaM87/pYOTxAcNo2WYX5g4iuYyVmuBtqomaNjgMSfn/W+4NhRQfIIx7Tli7hkwU05lk+XNpEakrpR39xo+0vTuABYrUpxIhSExT/M6NtQzTtch317Qk4F3QbYf/73Gb0Xfc3hziqX7au84arD2AR6PD2gO2GJuPFgE+ULzqhE0vPxTrPAkvqlhKqyjYgPJRT22j/wAM7hnpFM3k5Q5y6X/s2+hCKlxsTgglpO/rReAUyXNHqafuUPTvIxe9e5oZuj/IJdIgyGjZKj23IRRbjgz/lrpIsSWzF6NOoh0pTErOuNrNQerYydjFi1oFSNkWtIrSOo/M77VXHTiwOUCu2skj4S1Kyi1zrEfBEur+AOsNb3wdQbeA9gHd+W+WOXPXXaTC9z/4IiXp6n1dOsWODS2+n/yhBZtpCILdJNAsn3kR7SQUtsCY9L/U0rzOt1NBnsWFmgUrEPC4BnhpIEtsSB2QO80w/WFW+SACQJDpPyfnZpcGEMVizJbP6pKazsqWzFDG3N6Xt5HsF93Owj3dUyk9l4FB+xI5ZzbzK/U+mBiuGxFSknDz+OGnB+z2IzUaZ3qqhXwd+XaHdnW5fEVsjFywbS8mZ0OHfu1Olz26nyzOrBh3dPulxFvRSFVEfihXgdaAgFU7zRZKEMPW01XJxb0OR5O56ACIESWo4XJlTnD8yMueNiGqj3TwwzqUKrEP9uUcBPPxmlfxw8wQ1Cl7Aw/XJ2gM0f2QEbdSf9OWbk6EsVW7LtrTBZBDmEirnrXAcHa4yrp0vCkTAB25MKt0KruMaG8WFCy4oc1MXKW94yRbBMVdO7WLW5nUtneqrJo008fzrdhX+hiA0WtqN7J1SuuWjqmGZZU1Ep3GM2fKsgMozeqP8BdgabfluFOW2DeXobDkY82OOCjzFAZmtU2r1HH9pgbju8rdy7dHJC0Oy7p9zVB4A7orXWv8Wp48DxiR0WiHGu1AKHzp3SWBieszQsya0xHytxGAbYaRNX2dPVCOOG2FnbYurUP7Bfd6HmIsbijXcs4iB/CcAPS3Ap8XIUrCuaBxDac2VPJ8j/NaRmPEf03CN1w3RC0wl2MQAI66YXiYuKRgN7bDc4L9y1nq2XQeG0wP9oU2JXtq53ga7n+/QJqdvZ3JJZ+vwyMlX0NTDFFjwlc7pBmP75aKa4euKYkJH08udoUOhWeWNs7uZVG7M1tDp9MYpOWAH0AXqOcOLTU4l9Qd8cyT8+dieOBPRY8jYxUoXu8CxohCXSbsrbtHPJMWuf16iJJ/JPwEs4WO/o0y9oUlG4UjIe2ZfrRFgSfY1hLoxjhMsu/wGSK2PlKENppCpPB2zXFlZ6S1A4Zq5T/0S+ImQYQibiMA4CCTOKf7Ko9DX2D1uQpEFfAbvzWjLM2TmxXR7Nzf9NxyP8k16PTkYFKpSRHjIknMlGV3Aff8rhHAMa5ZkQaix6ottwoZJgyYdA1qjRGzX9iZeiyfZN5dpdA5qLxnmvtAMOKPTvSWjhCTWqmZf010ErS8Li6zQ8OELmSekJxw9nLBVsjWbbDhrlC7Nf4Ca7v+iePacg4UNMnZNLTUJ9DNcSrvb7u/5qk/H23/TazYX9qxyrVH0QsVQwkYhdDcEBHjc7+eMGVHvbt6wIMs1W5CJToaHcTeNPdd/IJSNlqwIP/LCt8OFWyJmfkOXy1RmLINTSvYkMkinFe7WOR498t1YoQQ3dXB5ZPbVfRTvI8umvkXuHPNofo2p74PyXOUs+KLnN1fuZqPRLezsljLqzHtHPIJ0ayf8U4Mbo6OaKE/3kdffFqju7Ae2a48/inLyX5nvMeqlAGyr6ndBXFPcJiIsAgckyse93FlUBdhNKQxdqdiAR7JxJn7i5+tXeaoVddVtmX4UDFTVGemzIfGmOXt4FUhTl2mPqCS1k+eP+FtOD9UaVDpnJ79XQzugAD9fWaAbIPz+N190lDQzlQMDSK27vEspPFLYj/2El+4pRNS/q8IOMqXVPZ0QOvd3qYXyKvvgRDYTleam+w44PyyQX0krXgTa7E7J0z+YuxHdzh9cj6P7GPUlJdzhh0bVDo5rw6v1pJ6p3S92TN7UTqHb/ZWjYNKeHw4/9Lc9gif+zxSvh3WeM4L+gGQk4kSKmVwMWb/5Ly0GxI+4gt56TaRKTYy2F6CrcfIctLC/HwaDOeChQ5fYO38mNbZh/wkvJmFNWLit4b6pN2KO/PKScY87/JAp+Kx0IQw5nkkIpKjPWMQDkN7Qvj/yZLEvaamARGt1w7ZprauvY6ztaGCl9vnuXdlgH12mPhmMX6EWSZ4HuyJiT5/Rb8cCZgCZcy2oiPoB0cElcaF73o3WdW18d3jQNSA67R2G59bYiwOiedgktlHbqu65gW1cg7z74dDGtbyKacmcjiUrAz6dckARWHy+vixiSY32loeYTIUZrXtQQIVT4hTve89rra8E6C6glk9QhjlHy1TOWDwGDrL6nz+NgZW6HaW6c2j2ANbFzbxpkHH8fjRLmcoylE5yokEn58hUVUGblxEVUu84U1kILG5SlkDZDlVBEtAwMzsDVAkjomNaT/l7JVkaAbbwaXaucMfvWG6xGRsFM5t1wPe9mPvmQLPRi7c55C2UtQik2BQ4C67lYviKTB4iBb1d0VmVIc0wBY7PjiP/+/Wa9kBAy+5TSvhGh9Z51h7T/BTYY8BDbnnARs8On3xHy6YXWQx682zuaZXL7AH+pZyQ/4q8d2DLC813SGeam2wSmImEPTJDzJdQtDYnd4tVZ14gZKy39mrKw0Ac9sSPCvwm8XLyfm2MCsgdby8mrr7CUmO7DAWn0V8XBeNCbDQWg+J95mMnubuDtcjlT7NFXeuPiHM5ST6EwaV53SS6Cb9I0gguhf9d5J/amzrHxLtgzgi2kq5n82EOhUOCso0Tfr+5TROLEGXtnVKryzCVdqsUfQ0jbRVm/XYaiYnfVtDRm0TMxsRo62bDfe7JKo2TOogt2AUPyzp0ZJ4Vb2Zrv/Js/McBJETjvxZspp//yPjh7XqPMygSYLApgUkMqWXtSe2D91eMKzq0TJ5VZ//24umVInyd+524yNoKtNsm3stsBMrWWGhtTL6fwLBwqCcdWJv3LjV53bZGd5Ra0W0sGea92Pc5PtPhHsCvfjULVtMUnP+eVSbPcMoG/90WbQX5JzMQ4eBuZtqVW+38PhQ/qBouivKfOFAOjBfzo/x4XRoE5L4imz0Zzwh1oKdZgMiVVdVhsw2Aio400By9RDwPmioUiD/NLHYAIOq2mrfT8Kr3IV/CdpapaPwVZkBfiwdON128N3Mr0ikJJ8JVFdrkThBBg+xk4AJvpRV0q/JIqpGcaO1ay4FBA9XzYP2NoH6pm01wnnajEB+pqjhLmE9Pe0z6J+x9UiLothMGz7qt8I+7DlIwv8V5El3fJwnhDh6E4Rd0ccaSTuDBQ3qidb7sCVNpYJUJkOnyqmyXlrUXnqIcz1YXnJ4wf8CLmts4PTAg/570bCmkiZ5UuauwudkU6xkeWaXqs9Bn8MUACw3hyr3N3pGYprSnn2vagh6mg5ibZvjsvXd+nqyOJIGI1Upiy7TaaUyC5ADo+7gDUg5E6XCrGtChMq399CreNXzXum1dt70QKgImOkbqfBA5pKPXK10eGrlE690WKaxlkndHP8B0Id0LmpFm3CNAjq3QY/zy4tT/E5MmtnNd/m2Calma7pt3tc9+RgjZebT7g77EgW8J2T+QA0RqCuE/d2GYCID08Qy9qcQLznmcAYuElxZ/OwlUJdnT9GVXfzHF13ubfeym7uBGE3lYRmBuCeSK9TMQW3NnPct5HkaKiw18e3qMJd90chuLpmiMr+tRkLY/eB7YSIWtDG1BnVnvGMGDumyWCOxFXfnON+D4P7taC+zmjLAuhs+Ptg5WlU9GJHfsFjwKd+7nnEipMAkCn1TvuRLtxusR7A2/ZU+xgkRa3JX0eUV+Ug8dHCJkp6F0XtDspyLreNfpm58YYTQa6tIWRIROOrZl8yYixf0lVSR/1BeMLa9/4Fi1B1hHDpy8f6vaxRZDDpS/f26hzaFI4UFCz7BvgPdZC+ATej0xlzPwUfUNJqD0O1W2KK/lOK8k1LuxNplG+JyZTBskqhuV1gLWmiMyn57WIs1dMshcpRcu+PtAFWUbFb11bwxvh06B6GkHRPZLPY3JlBm6xUiiV4mXhJ6VuO+WYDERJCE6MfRKVIEckjjfd2LuvCkC5PQZNKz28BQ2BQwriyLO2X1z1hX2BRkyi8cewbq6hdvrHoYXL4w4fluUdX2LdScLnhvSwL7DkNHsI/EKwIq3cfQ7054CQDw6c/+CyosRG4hXf3Niise3ulm3MVn5FIhvv37IdIBq3kfCpSHnzxm3HJ9ambvrstPcaka3EMYIAl/jsm+Z5o9T8XKOiYda2mxvN7m2jcf0SE5GNtwrrfkJMVAJAa+IG5B6BhIkmaz3t8+B6u8g+0zfMTh2ca/OhgGtrrocdGi19B2ggoGC/BK7F2atJglmQ6b4jNf9sDZ8Vto9EhIqewWkWFbQ3rUmP2MiV04qTdfh0qz3sspuMpraa9R7N8Rtm9Yd3K4pDZGqFFW303+++TTJ9lOLRp/Q2C+1m+EKMIArR+rccEULFfv1RrLZ9hS2mWWeT+kOP717/j7khj4148ej7TS0eDjOpP8Aojt54jMtne2VaukoKvsdeNVhxOjkOCzx9SReKV+qrVFOXP4inI6dnoGuf43nt/v6skKsyFT13TU8cipeG++ns4cxutVf1Vk1nnt5oORCarY+WTf/WBArKwIqa+3uKt43nouJ+0xqvRTQFRQ5xCiU3Si///38zZOy2CP1rdiRWjaHO+cIJwWC9BaGDKOh6L2bBwK0QSnaOXgP79sMAyaDfkcMJTcetiujChiqbE9UNmcprLwuwYTCFCyFcVKpaXgShZgflInxYwJtzihyWQ5SzADJ2HfdZGo7G513/S/OY7cLGr1If0j6Fsn6a2UDmpkSZ2LMgGXXaOVBWVuP/+jEWncdMs3FCdNQrjC47PYo+qbRIPuXGbFFZ//RW6PNjbQ1lw9cYrywAPP99blQNpnrspNNviBM/0d5EOb/zyBRA81jbNlnhzjBvMLgBpvzIYPkxQTsdpugxTHvgJ+cG4iTOmP8kehMXysOeA8eWxIUjfYj+GO0wSHskGM43EZkTMkRqgbsl6F49BG5uJ8fu9yHjPSwaRJAaX5ZFN28TFFFKQGSZP3ucwBJo76mcBAlsQemyg9/MB5EeO4KWIPnAieU2YJgKZAA6b5XkXJIx4jEkMufMugfwPe00f+TJ/6ZmGgm6KnhU8PCBP+sEaen8ILwXJWgoAOH5av18Tun6tZ6a8FRGEhcASXVYwTUzA3qYI3Pm9PfytVaNgoocISHPFNGJxo7e1Mj448Oka1rBosjHJw555J0M24I2O8YvVSNe0V8N04hvUH2RhU+cJ+Vo2ImqzmYoMzfbalkCrroj72H3B9DhZnfgOYuXyqEQo3KoGrftssopU0Z9XHgR0ZBRvrxI00unh/OzEx4nO1xaOu0r3W+RmgZOBHutNEOWoSa2kwhl8BDBEgjMbh5aIOUP+Gs0fMII6IOFCIpd5DSjI49jCe2p+uFycyxd/7VibadxNI9d+9Xu4k7YJ0Fo3T72t+gEOmIgfjAcBuNoxTpGOelNwgS0JxnML/uh1KV6+klsRXZFk1dcD5HK/QMrS+uBNIAXaO7YlvUzEbd8jVKap5IskBO6Z4UoOu8lgt+uNkUonzhkeoSI5/eckFDTWV8/IVDSg2REkOZKRagAaBbwRt2um7/TnG95DMeVdQ0SnUx4J3R9A3vGn4kNV8DkM4XuMu+YgW3Aswk3qzGAKZhuPhmwiSc13oiN4X0rYiWvx2uEqRKV477FCg3oK6egaxhjGoYJUW27oj4cgqXQY9ZE1/JxEP8roz5nAKiYHgaKCnropcsIEk77HzuYig7SYfHMepBYDF4PxpV1d7N3APutguM6V5xwgjgCqhxmnbDwwVylvo7dZ0TBQwUncAQrhSDYlWrZ2ew964P0MZx8pyeqm+ONrHkZI0azr2pUlDJVpdmiFAWYVPvFNhrIDhjEff5v9TpGDYDunMJBQ/JELtLBOy/wvIJcm18K3rLZW2K3TkX8kcA7INQ6eRQwKx5JttEGfl+kknmBQqsi/RvcKkptfccxIQ8gnnSAjPKBJQmzV146w63kMXaFFhsxOhQy2lsrLRCOhKNVGqAJ3JiVat50ijgo3kwoWyJJpz6fvwqHEZcpW+TUgM52YWdsl7opB5FG2sZS0STlqxrHBKrEz9Q1FblXCYLV+xp8ix/xHy7dkEtTdHm1TQVObCWmuP0lSOOZz1yzj0jJ4n2Gfsoz5b8D1mFt63gqhsIECJc23RZutTgsxKzBjjFCdhcBk+7D59glkq0Mdxqtyfyd2bzeFXTdJCunEzkaeOuIieQXOa5czzGPqLX2KWiwGu/I7oBVIvumP961O++UABo/NunraQXhfOaPapy3q2hTyYEFsDMDbY7vkmjbpUBi/n92tTnjAGgzkJf4TwleRzY7gKwvqmASoB3q+/Q3yBkHIQTRvk4IPtXQQJrMeBnEXUcT8vS4Oq1UTfFXt/aa5X1TuyGTLTteSAm9spui0hdZO8iUZFbO2Zm/Ib3IgFFiAXuCoreHypRBURod4Ia6JaXr6a2+qh7lxWWmNGF+Z1Js19DSpdm7S0SXn5M7ZgjJADid85X9jWbh+jDBLg4IE1ZeIgAI1ZcDCgpdhpYSSR6NvZk4KmS7FmQxI1w7XlJx6ZkDdrOWmCjqS2+k84NUkm1u7MMKKK7Cg2IVr0A90vIUrBDbqiOO5VN/fAaAMCvODT6pYzIyFrAk0hlD+1rOjJva6g3JHBMif2ZwUd/SO3RfUsT8pMiMuQkhFrwFkaC2i8ci47/Otpa/C99XwZ0IRxz2LBOGUoXBefJeLFGbujww6cqId6/gLwLzDqXUyZyO0XM1FIDa6vevY6cEnuH6FszqE7W/pZRukEtwkC3tRHmwnZhjLdzNWaU1s5LddZ5VD7fY0EoUCk96WqVvLGtvzBID5zJhozyKC3EDF8ZyjLXJpNH3XvNAFb6O3sHcyojZF6+zAjLQMYBcsVYi3PR7d/b4a0uhPkWcxQWEBPFb93YIfYQ9FCw6lHpnELTYTaS1tIclCYSwpYsnZhR1YOwNDqfExqrZjSw8q2ygE9b3zgZQt6W43sgpNdnBsTSck+ssG9V2AqaTL9g9GzK2fOFwq0zKyUHJ3EuXR2yULI+qT1tvxQz1i+zaMFlkQBtcHGyI6LKOQMz+Am45uesMieFurPPBa0tJqBS9Ig1I6wSKT6gk0TfAxeemi6dNSJ2hiaxsTNgGzxiwAmENqffi3QGl+asIfNXuxNetD0gm+xa6Yd3vlGhb/6jO0X3R40oJQSWGFTZw1lKfqhRoXm7MSuhlzOULm27PO9sCCDl+X+UpSZYs7SXW81vApXEsh+LwGAcMIE2pt1H21wfDS6InrflGUpCkD5xXjNqD9TK132Bcry7PNbGNdRvskOEW7G+aac6zHVTpzG5MwiB/0bTYClbpJXAmgidt5+eWNRptFppNF3jJESM7X6W59aev0FRFJPbA6UuRYTJLEvia7N8Mi959j+Z0xjl++QN5yTud4tYzw7FX3plmRgLx/p7HjhMSsVtDdRyq/IYVfNkvZzSuppi0bkQBbmGrR1ISRNsskI6pENeClL7i/nZI2A/r76zH39nw8H9cCDXd4cbT4F781IYtbGvIJsnbFX/D658R7ikflHK6j4Fkldab8iUtQxhBKroDQjY12KloIKGqIrcUm5KnV3uMI9SWbG+m6XVFTMVEk2U1TSQPvd1F/Qv6M1RHKVPcWhzHJaeh2wqmH26pvHPhdKhqiphsP4JDeY9VV1o6h2ydJurwwNLFmOTSNrAYN01mpAmteBFYSuGWcqbwJYaimzbI7Fb2ZHgpabs8koKXSs2sBOyRBF/qRp7wryoP0YbruqJ7gJN+LBPIodwBK7niN7UWiUrcou78+DRkhNi6qw3Loxrau+lOCuVHK8vbj7NYhr+I9SXkovaivPU1NFLSvTWP4TTtDUPv/EH7zUxdhYQ5/loYZHDxjpyYLcGDrGzlPKtV7pTWBNCF+bDsxokmim5fIHD5mlJqpgTEj4KKIi8eiL14iyEE94H3acegC6dUebOAuPXGO6CwUirzOfHkfdVCcOh2NswA+Ke6MWAgqyKORFB8x37uhOuhjE3aLwTkB92TFPKWAatWWx8q7X0myoQQoL9S2k9lDXs7vasmOdJ96xYjhybUH3398+lelbfKBi0J4LykOR0uHSngKk+Y9019JF/Spts8Q6y0dalU/Z4bxDV1heHg1voJitJ0bbCAckXS5xCYdB/XnPPWwme4Rlyq+h5wOnQFaA7ClICFEpRsJGaWvuyppwQPc8LMw1I2BolHJE1ndQqleRO0g4uhz6dGtgGXkrepiCxgCar9F1qzzS+Q64TEs4u42/J3JpSCt8aHK2C0ncKJexcQ5P+xuaY414UHBLHzdDxpiGJ5+dr45qpYV8r0+e0iZ7AUaQL+miaBXd3ds2CPA8XIfDZWJo7LJoXVwez4vzb3UNf/ylKIfqWt+vLZ03epULGE0X0iQf8vjtnA6E7WNqocGHqYu9bUDghpHjg4DqIG/c1AuBLMOZZSsM2Hg1ZvkWT2s4b5Zru+TufZ/5XWHH5wBk6VkGNect1+KOTRiJkqFvKquV+Ln4GWa9X+0AEBGuzEAOpar/s0FEtJFVT/M0Ee4x7FCqw9IBie0Dxy60Mn3WgA7y5N3wOKO641t8zbcU3ePVVeGC6Ljx748MKkETk2E/aarf+G1P2o4GPeLxDt297C9Re0jYFmiGAHWpNRNTDkPyUyxvkYu/YLel2Fwl5orGvMhRxMHvD5qTRZ3LVHezYfcTyLHKbew43YMHwkPZAAM04EZZNCco6LNYNFldcA8a9KhFnc/a0iLSykQs2AOqga5KA3uWL1hGNyc8VhDiIuc6bMsHK4UDR1Y/q+r5nkrm/ThVZ0zzvcbnh0UuGPns8BJVWGOMVLxwAlysLe9LjI3xn/b9SfYmtF/c6khyZfVteQOOGRs6MfqH34++UFGHlOR49W6E2BSBmuVdTXa6D7Z5hEhhGg0bBDV6XuduK2NMucR+LAgDQyUtPZcuq2ZUruhuz+Nu2OnfxlTKuuMWIXZbBd3f05wI/pDY15z1FeQuQFnI+Y/xLUyOfeCMVL02CdgsoIhMRPNRwad/vdfPLzRaV6UiC5E4H7daCIPQ2C/0xLe/IaFIeCT+9954SSvSVqLHX2OOVN8AruzLN2orGPu9lomQ05a3f18c5K1Giudq54JgogwnDhnDDlfDAFip8kLOJLE05/ms8zS4nKXQr3NDycemre10fCvZFhIRkxhhvpfXtYcTrnaKJcfen5PbOAadviddO24kzEYXROTwetZRFb/7p6YAHsNnWLS62LK6KFHgbkBjptwUnx3fuJBNlJbvRHhbByPJLJ+i3asjJ6GLCYjAfJxjr1u5vCFrT0lgzP6tu34lEokji1BFEWBiZutaDffgC6qnfVgWkbnnAfGlUCuPIiL2MvhcXoJ8Ofugci2CUclDu0PpQiypVDchYUD+2HEcfKuIJybi+R2AB2FFVyF0m/yNCq2uOvpI8vZKP4YvnmbCNQbc0ZupAMuUwNOUntxOTjeEACRwnYkrhS2+0tm/1vSDRt5LWr3fvkXXpCEEi3owkfMz6k3S6pddORnJ7E60r4NSqKX7aKqxESKuQQA1cx5lrN5Aj2MxcQzgTK6W8wAwLjmaQxUgESQZ9FZl5ooiIPUHMlBtHG/p6NvoFR6c2s5IuH64PY4npPAO0sSVQI+rB6szEuks2ItukI+rnLKhcpO6HFv9WJU6HfeprAcAEqzqcvTMsntJaTwG4zM0qTSrAa0aYQ/pK3QpMern5VIUdzrnfeDUOBbzJXiDcvgYHqXYcjVezgeKkWPgCoJdmqta2Aj5q694bW6ZSPW1F9W7m7f6yQbjhpiq4+4l5+ie+gEMyYeLJUuFFx1HlvBaCqwYft86tKGrAqZKO3bseVq2A+pRsrg3+RrrFjzldH0XgLvBcuyz0hhGUL+bxVgy/j2BS/qolAeCHusIutxsMMUtdyMg8FPeby2SQrPtfJuJTNE6S50jIIy94eEh/osY7OIS5EpJEYfFGK4Q4R0A8ZnUB+Guu9Qb5ayQyv5lLque5ZCOTv7yDFE1tBafQ9Mt/SRAQhijVC0YBl2MOMLf1UgaZLRmPuiKHiA3fiNpk0pNb7NqFgSSBLAL91WbYmzLKPggUHHNkb7F1bG6D1YmfP965FDfcakiA5wHGzV4Vni73xNL3UdFNqr94rC49SdB5a6na3OFCvq/t4HaFbq5OPcmnzV0838V/VPQS8TXCnPohY1a76W3x1ytkJKxevGOPd/JfhpMSrD0+fVlVzjahqUDqTa8lHB3RClKT5G6S1EA8F6j8vz97Dn55t9K/IwJiqrHidLK4f5oOrdM2WXz1HfG3YSc+MqlPcTqO7jQUzGxT7j0z3DaJVpkbo2ut4FXnz4aytyVQSp1WIZPPJMD6hUxMsikasXQgdGkqjCbRIbD3FDKQ0hFsLxq9A/qrc78sPxsshU9LILvYJBMCudBfUOut6uGyfL5cG13GZHuZmm6fw8GE4izmpPd1+aUrhcDt3gtOU/qSIrxQb0KLRK5e0yIZXERVzXJMLKiBYFPb5RsIDgpf9fahjGNUNtCwyAZQSjYj/4/XJIqGTW611ipZcSSO3Tp77SiGww8DgsPj/9aKRfUFWGucbsNEtOhTaUK7lsD9i0VBcdmgY0az+17soucyVSYheNykAdNAGlurnu5r96PbqaXC0HWI6xwpJ6L3jAF3Dr1RtXpZhunuSdZZUp9TjctWAD7QQ/o8DpvVZAoXhEJxyPInbKgo+XgiyzyhELcHGctlOGwi4lvRzkm9RNffx3XqdcM+zqe2DiROnokLg0ipYl3TTq+OqhUPJkAbKYfYflYHmL1pqElTukgI0qdICOC/RPU2X/B2+yT0DD2iZnEPptXLJ8SLQTv7iqIrmLFjdrUwjh2DR4w1yHObXIhrokHco2yrH7y8ePhPOyQtqlYOobtaLMPaUyKAz5BmMvRHs/POvjR7l72A8ZVhDScz84bJjP24zvKptpgFP1xJmYuDZ0ROG2EwCi1QvMzB7+F8CbUJaRys73aIC+jCUzhoxmHVA16VnU1/ceb5rLeulG7GUBZ30HwLlenFzOfDbuDCqdy6CQTfnK+VWFBfgGvJ+SR8sodk//R+1V5h6CHwUaq8xztbfdDA4BYthlKtkESyF0mIegudnnzmnTv/iUr2t+9dscUknnMmbdE0ok7A2ArZ8pWx/yLrBBlzO7WKdPOafIrnGHQi40oL6oINnqiIjHVpG8oTnr/E0LUrn372Rd3MX5M56DZvd4bQPr9cqRK1GQlBI3IjvFj5t6cnz/OltUapU6i2hQ9X/DfeRG8quJpnxyMgTlB7YppgvBVZjZzk63uZJmcue3OLHfN3r6pM0bsHX9Af9pKtBhKpfH/MdTFGnnrHVi4emU7q96e+c34LjGCT0igpPBDIUZEd7LOdqKaEy6cPb3hrEOzXwsC/oTuUvWv6l5PNHsFC41nrwRojunhi1H5kpqU5RMFcb4ndDPEjxeHpqoDLY0YUYpzUUMd4rQJyM4U0snxqWg0p3Fp6s/X4Zpxwffr3QNmuiKcB7sxCbBP6ZlQ66SJkCeOL8ziIa85QhEFwsdT++VlhcUNVs4VBd2n3gHkcarzIWTA+BMS8UDgdWdloW15r2/V6XgmtPie9lI13sQKVTrftEBXdkiaXqSKtWs96NU4F87hxVSzf0A4ErTQA8UJPIow4hPPIKarxUq/3UXgwHMtQtIo7G1rHWUSQuThm0qhnzOSf7LUZxBhZekK+zWWk9wgo1ktEiWRaheXL+hd4oOrD100hPe+WSOPe4ce30FTccUmzKtYrn4uw7gHu3Cp7YIHDBEhly1qCZf+MYKcxjtQw+xUf/ctgrpyv03sS29gj6vD4G6fHSTPt/zzvy8UGIepG5ughD+o0sLJ7RqOKkqHO9HZZowfTxb8TVuVP1JoFZmnAU6P0zsafX+O6ERxkIVXrFtfoFlBS1s7Irs3CSpz4hLXPSggrB7XLKxfaJC9B39OZg41rkLyIlsSbC97MmMwxQQrHEEf4Thi/vePGxbNABdS7CmFxMVel57Vu1+bhzwreADh09eW491l3NDy/s+nmlkpVXJNJbKwx0dOdohKp45EGyykmUDjnyeJbxv4rs9YHLl/sgHPFzRj6WFFAyQ6nfkKQDeisGD3ee5/OPca/DcNWRoG71FQ4xlN7BT2460OQjEIzkakaHY5xNXWnW4xJ5UUtA4yt/TTwWsiBhj5J0PJBSmPOMthskQXUJPG+S4QFgBVIhM0PcgdbZs6tSCWHNOBXFJiRZd/fNatQRvg1Q6HGSVUlJSNiqlmWNH6l8aJn/DHqrEo96R6840o2ASqHE1DTBIjXZl+iTX/iatdoWDIbGcXhXGYq2t5tDAzFr5G+pPWRtyT1OcG1OlqiwJXzU+ReswNG0dWLBg9DEqHs9TVwes/HLYSM+BZR94GXytOIyYm+dPCYRfb6lgQzNaBz2GkUVEze2TXEhM0EEhyki79PvRhfVvbXwVEe5ceVCNCMUyjKiH1IzrmWpt9lA3eugpd+NjX5gPvyvIKowVTdwgAUSMGcLbO/CjzyQkrT9d/NEpchSlrWji4k2aeFmqnjdiJ0a2PfHnU0ILAWAWsrJLffxcxSZ7IePSJ2Qh//JAksWolfiqX68YPoOTFu41iwaLK5rL0dyHcYZL+V3+UPlxGqUlvUEWHvjguMc9RqD56Wfik+59YmtMvJYno4JT+FRdNjLKN26GM2r4w0idGlt02jnblxLrmzgKOzel9KuQDcsUb+t/r/jtgHTzieBTEK8Bi5c9zKtGlI1QKgcUz95mVQ2FpneYxVyV5USmtGKV2y3DdSKSdgMrSWd26u/+1fuIqCOPa+BsBJpePZgXwBjGGmoCYf0zEAYGMwmr67CqBouhmpObBOcU8J4i25NzgBP9tCqRYoYIHSc3USSXDluKv+vY8hNuleuB+6yr3muqTx0OV0xrhVmRHer113n2aE0le7VCznb+JQZbsx/7AIDsETMBpclcdciphVswiSEny2LCMVbTA5hxXwNwsXTDMvU4nrmf3gUuC7WyKlDIrJPBXc5m9SUeZKlddGBzJtH805wRa8uWjX5FG28Cqq5vwp80fsQ54xr9uIUYw/VKS16BUnfbjdwJ8BAtTx2px/Er/5cGaGrx1rmbVICl5fqhKBNL39xxxbfTrfDahuAeh1MIhxCgXx22V58i113B/rAV9E86kR4f2fYfEcQAY/1F8Bbvdr4lcrBF0+Rcu4k+BmO192/oOZrd+GQQ5FP7KAsUIvYynFSsJUygXUmiyora4lUa2FFA+NLoGyU/dhYTYgGLxe4HSXkUlMS7HEillPxRJdATg0WanbLC3oyp3jYsWJ8OqXfDqQDDcQHpXZiqtrNYgnQWb1oqwKKOf4vbUZjIbAXuyV5Xfrx4fjK2fj1Jvi3t6nmUlIZA+ad4MQEb/2xKbmCMCEEAzm0YBlEB6CsxMnw6p2pxe9lLLg8yXW4EOwUD1JwlsyRURHJST/lDsJ0gHVqAjOG95m/nWkgKvkEp2rsqexLzlc9dvUBdlBC9BQSCIB8vHAA8HAnn2qpLKNyswYTg0x45H/Ly84CzIDO463QCB3Ez8hyNv7eA9PH1CRbtovmBSYR5onjp2H6o4/o/RXDAhNTbwECe96tb4Da0YmTUzIvjMYmI3PTcrBp3g1DJ1UwlV3bB00Xy9ESjR5NVDRlRQgM4kpIBwebSEDsDYgZfUn9t3xfaeiwt9OWiyLUT6jwQV9ydDQ07dHuGIVAhNGrT8pgtob6fhpgYm5kmB5X4LLn1LOeYFKtsOwQlpmzhj4IHGYLF1jgxXCRHg89lNXwPEcNWstRO6+FmwblFXIVjBZ5c1XCxp892vyGJtN2br3XPQZp4lfmxPCC909f9pAvK0yG3X0ojtl1SG3+0a0MNQ6YMlWMFwsNCPbRIuGNgWtnxgDazKn3pAq00WsVrA9iE6L38/i+08DsWUjkpO8q4ZGDQ6975NSQl9YE7nRVqbzScSUfH7eYW618mpT6JTabyw53yuCiNgIgiQyKTFheIn2PBc8nyyou1OnzMeeSlhqgT9yayaOSt2+oVgjQNq1VVE/aJFGY9V8Q3mLVGcEoh5GNxpbEIQv0W0LmY225KuZzouxG007lLALjnXU4cqh1g+VDN/kO3iAivtYFevRugwhn+EMqs3HxStdIi2BeS1chNo2JpCt/Iw37Vvn5vbas9JLxFwQgI8wGPj0OXXUQsJU+968uWr2BAAYH4Oi9dSgWfit1wsYgFiKAXsKXqbzKI8Iy/JE4e4fvfbrZMaRFiR78IypFy+2TvXG47paroK1jmq1CDTDLuQ9rrw4dyIg3Sv+Z5JtumtiLggjzg9/dEVYOxo7iqMU1qw+NJ27i4FPwtSf7hnonMU7hVhU67H4y8nGcSRpO5KnC02w0SxQRvUsh5606L5Yu+lDmwluVy/YoazixQQX3qsUIbiLvotl3IBMBdvbPEz18hbp/ZGJGBj7iH0aHLDVAzjU/OLNSObg/AC//9o16PRG7n2EnSPNiuKzTx0Nv4OtigbJz1hfn+GBz+Kt27gmFQubakOR1+RQBOhJKKCcv7wMzAkT0j0X+hB8xzmRfHT69d+LX++bhl95YNVnelaH0zQCZzakG8DMORAkQwQeeCokf0No0Kz7Xyrq0lseTwrIBUeqci4CSPWjGNI1FW/kFJtCDqKMrY9wNyp8WMXF/3LkkkoGxBHE6UDk+dCCFYjdhmzJ/VUZYA0802H03RvJIZonERbq+OYKB2UZLebJB5pXkut6OQ3fkh/W33HvOTVEpidblL/Szy1N7r0qEPIDklaRtkOETA4q4hE+gqYw9p0vVjpwDCL0AU0VCBPRD25jqBN1H1sK1iEteV1wU3jhl8ANbs+6ItfKSQdaz2Hcnu4wXCgVYP3oUwdNc5F0+O0F0DchheDHth/1MyqYG2L5/PMW1KRzu2S1y5T/9caPavy8v2BNYDmdd8h/8bPps4MnCjvf1dPGgeLN+kUIQqd7KRt2gmBviBTel9oPbNCJHDJBFwiZm0c52HPkG31z0UBtgwxIxf17NNpUO6k2GW/g+gM6pcJsmYQCgEgT+FQmR+f0brgiJn+JbkOXHEjuzh56zNNf5I1swNZ2JqDzO9pqyCXdNoG6XfIqiP46LkcAilU94Yf+QThvgTN9HvE6PNEXCbEfthksvuYf5+bsnBLJcTA83bC2iPlwurHV0uKebkGHGJqjz4VhFqbiwLQffMyRy4ELb4SYGIb7MNJciYzP6dBSnCyRXsDGmFf8fe7MBcW9eaUJiZTXeeGUOYArV4E96EwVl9KVxuvFVXA3Ihzv+UiwtOZCmCm7qRkmbsltETdHOhY/uhYDF0zCIeo0BGnpE0Wp6FS6d6jEz+sC7Mh3Ktffl75paRJV4Uu78A6Zt/lxCri0B0XqRr7inmBKRSwG+5KRXcbI+0aEAeJzs0PsmWMlJqOWJM3yleBJ9OboTmW6csrN7ZMHxmjcjTQkQADUe/ICuB6+U64BYdZIA0g21q83GNQOQb7mP7v2UGMaeTmhNsKHglQs+TBXitPQrAqXB48mNaJWMQoqD4bZpicDtW12C0cGpXSQ8sxFuu7cCNYa6Wqdo6aSwmve3x3FzU/MkDpQQoCdYYKdguWVP6m3dEqxvPEYlFrgtt0NdSMiDN0QWawpidqlwu1/HMvBteR+MTFblyK2a0GLCIXqUIJPNgu4m4UBnE6WYuRv8vbOZPfy3HN4FCaYDw5Da+bHivUb5eMSD6XNLYn+guMnfulr+czVVZ441k0ONjY3DB09V3brXTJC8A/jhfJGTXrSt6zKoqO2oUKSy+o+/Gvry5bTcxU7XidcxR/l5ivqyMbMLyp8AmynniADer7uoY7RJOL5848Y7uxFwSWLYw/pTZTdssAYPGamvSqAFugHowVShlRrk9YzGoFXJ5TQ3VwGHgdeSKODN50XDIGkx+C6velorceU9Q8eOxbBBnBU1NQO7lUwHkuHpkiPcrbO6H5d+APw8258Y98kVUpmaBDdAp2C69Ek7oPklfjQwjD5+KawlTlB9ueAIrEZgo5A/paqw6cxV8noJlKs94CkIaYg7R0iCr3LJWOEwvlhU2Zx6VLbdFqklqVr+hzRPGe9NG5Q8+6vrpXmy7YOJtAl4iP9Rsk3/D0MaoVYztmMyqLDmH9BS7u8qAA6PU/m8eEiHmDt85mOzasUF6MckuyPHyt1Y+Y/rBFBN9FKRRwtonMbTyaEktdG+1pJvp3R3pUeM3q/P3SJpgD77jXKSPOl8c4//GBmxGxjK4zD+RPD7743CFKCfrG6kSj2XntkUcT1onaen8vOAoQVTReczyxbI1GFyisTXCgqRvy8K0FcHJ7TBjwOvbMEcFhmY6N+4hfkI68H5awVIxO27gKP/AjFcKuXC+LKkzGlrGiyr1RcdLxgR6DbqVLggrTnTJHc6Z/XDBZP2mt65qIQZ35+Fe68flXROiAbhi+jN6JUEfwC4Cy3LZrFGs12r2Vmm8ztosr7M9YLL3FOT7gUetmjbRq4MWv37SOaqW+4ik8tcIGpDXiNBw5ntpXdjz6EgQ4mQ6sMLzB/47NXfIzXbNwkpKlbMSCtfjBVEFTfTmZIhdsAEtbdA+TX7EGn4XIAfwBVVZwhHv5mCTm5AA9mOyDJIU0A6uCm3TftMadHlz4YUZb99bZFG55g9zuI6UqjHCi62aaiYJ9JSg5oC68VQ16HXfP+w+KOs3bIzab1s+d38ueMVrYDp25np9HJ7GIBFzlw6OunyoDeICGI+1H8l4bJ2IoULrUN1Ggoasib4Lu86C3LOx6FRtOu6068wlaq4V1H9+KvbZJQtfLOwsGPBdRvXc3fCUxW/AwfJ8aJr/YvQ1lStG3x9Tx4YkfNhMkOnRgU867p7DPJw7VhSZE7A+c6O58YgVcS16CbaBDiN3QW4+do0WCmYVNnUwTyMh62J6sW0C5KKKlPrO4oL6IOANXclQQwtfusBYonbK3LIxnMbKMEF71wcoO+FdV29A6AcCmxmkZpSFKw2PCQTvEzKuOtHb1ShLeAyZYX9+JoK5yzUDwRQSlt6g262aLrZxhyH3B4smxYD8BwnQza4L0D0XmTZyapRgG/i68APcFDjU3g9LB79x8YLku6Suc234vWG8j39Rkc5XPrGo3fLSR+TrNRw2Nbb3tCoafAxSnW1TKMZO2vCBPRlvnJxUOPLpRAa8mACyxhCX3rtJJ169XyVFBksphDPo6+4gQ5XWqz2hYS0RmZ1YS1UkSAzQU2hyZc/eJXlBbcHdmbyjI6ktzH5gl2BiEkG+PGcgp1JL6AV5X4vj0xSPrFJKoFY4/DFGe3NM1WLU1x0ghbfqpRnStpwDwL4rR+s4kKfhqIL9lvOUE5GtMsdULodXIHMf7bIv46W4gFDsYlwhJJz9fre38Wz/tn5rGT/10/p4kcebaI2NauG2wP4T5Rm2WKUkNV+30km7nwcYz+ylkGdjOnKP8wv0O//jnPFjAMMhOfvOWBaANi8eJ8M8dSU3LQgdemGPEc4NIfoQDYFVYBEfYwgBzCFswCOX6AUgMeR1+W3hkleeKse7XOH1XIcxWgXB/y+kSlC6ydk8eTdUHjudL7lLZXP4Wp1GeSDLmAonKz7zF3y+l0+tIMrO1JFMKCIyEF8WDFb5qdZIdNfdq9jg0gqA/k5Zp6HhnAzlsEgVjfXvupjzQF3xziwKo94km4tw6Ss7A9Qdcj9oJbLWupbq32yuo6/y4aD1Q/LShEuKPFyBstjwqGQ0R0nazk9NqlN4eifYSUXtFFDUjI2Z/773IGCg8UVqUbj34xXGBAAHtOBZjt5O978z47i1bEbgOwkNbkr6ANvlAQ6FYwIlhQ7ZI9Xkd5zDm59ZbeXH3DwFlMe6+nqxWMO9J2x5wTWH6kkgXBvOnBzyuHrmlceRH9E8vqDYlUXYl3HzenZLcBC2zUZnCavikou9wSIWGSc0wml3Yg9QZbYa2abS4lNZTET3PhAZqj+D2wNPE0Efo0k5FjgIWpeTBhNhWEvc7ihmlUMxRMLpPOXUwSFQeHxPaFl4O8OiTG/RQooEUvILYpZArASDS+w3lycMmm6R6zBCJfSZ1HI+JIs43bb4xfw6Z1N7cN71eDTc1NN2jYqO1ij0AvgwpMpOnwfll1KYm5xrV+xOiAGDSrNpF6TQyDk3THO3z+6wxTAH9BL1F6rTizgLUQwDI6rbGWkpdotX64vAQGhyHxfvhWh8LXpYX0/UkDFl0bMnxChLaHduryEJb7BGY6N9h7BN+TzEJdmYUf+UauwF/5BktcP6rg03dKMo+z5DatDQ3VoaDsyKDZdzUytWnCOkPUj/aDt+Cnitezael4oCCbdRnkkmALQQ3837t2yIqs8mUYmimlm5ZbciXchav0E38dttDf/GCkCXLinQ2Dm+NehQXg84RMKv1EPIV9bBkTQHF63Je81sM9F7JOmpwTlMxpH6DMAl13SzduXGSZRAKBncBeAhrXOpKUCWjt5KmlmNu0HOAwkJtGqjVhugX6FzgPgwoGkctqPEDlMnzyr5zjpO809Rk42eneLE4+5GQQNF+qPGpM4Ht5ctMU/LO4j1cUZAQs54AnSdkqfkDimWOgNzvI01HoTmgWI61RLGVNZAwBsBL7/pSLvobyfPCETqS44NxMYC6g5rH3UQXD+gNF8VLFST5BzDiS2TO06WjN951OeW9BHQ8WyHKBTjmxhOrUHDPVXyB/1M2S3xb02md8aykeXkIeHSLFpV6YevWHXR+NAFSBHbiQmxzzjPzAcYaGOEge02E+W4IJdExpGiOwaZ6pREETNKDFBUEXp8OhT+p6b8PXqUcYR0qu//4Y8JCxRo5+8JVaCrjq/ERvlKLAK+uMEC1jEYSOZeYukeUcPd4Ljz7AzCSHW9Tl2a9AFvbsUl+MRBILmeQfYLW2IkrGVkkR2+677+C1pGyepEQ61Agw0dnR+7SX1pqKdqGom+Fuxs7ITYPtvaLMv/p4jPXSeEI8H685+vTCA72yUD0O1lYtPCfdq/y/IBVFVp/XpP93l6cjkKEXwuXpW9dwAIXi/65X4h9QUGBQTjG/RENROgcxyXteDOaUzwfrnmxsf4PzEwhNZBh6wN+S/rvwdSPds7vk/Jnh1KYsDgzOVsDEOZNrkJisk5jl9JiRJ6XRBbc3PTm7PLn9cH45xTtjXyRvoiIfxMeoX4MrH4ZXAeFb7ZPGJ4uG+Ks7EcehtGJpdz6r40IPkuZ35fM2gaN/x9en/mtted1lazJ1mRLvNGhz4bqJn7nXLlzEdjBR8Ud2yoEOogYLFgorwqd08ujKtszlaLkZUluTnF/IU80ow7xfauBNjt2EU20NpGMY9dUOThdz+m8GHeD9hNv5Ml3Mm8aWRhjiKFNjBZYy0B3pyvtIF58SVXfuIMbX+290WBD6hfVoanPVnZtMqkIHL5I+mO9XgxZAolby/+M18l+DT04XfK7KS3c+HlSopWfLMU79mY9VyWXlm70MAhlnTl2HhQe/A+g6T3OibSW8ovWKTTtBWjhY09J7LjK/nhlEJKmF2jKLff4y009xuDXZcz8b/fia2uAlg9WExNWWW6J3FFbZpNG922ehJsp0N3oKdsH59Z+Wio2siMUQ9afbe/NgyzMEcs97ciq9eWgOt1gFR5cA+EwgCo9V1uen7fEaGQpxESkR4slj8CEUgCdQk87TG57tlkkv+YPnqR5kj7/1QhdU/Z5ZRJdT2U/S30uFwmeQTnTYsxud3BuzJH5HFLLob8DTJIpIOBt9XGI4KsFvBcJLKLZXU+QD2eOHaYBjEH0vfZ2g4MMeqq4IuLn0ABwdgMZBQQe72nNcp/wWXoTHn5heDUo2kVWuLBWy4QKy7CDcw/YdbKWOeWnoO5+sseBRbapbg+WSJKIGWu9Vub/hAMernngEZCFlaDXuvjgJM7+spxYXV3xrsgV5kU336OS3AjEuU4QvXeKPaCAUooegfn3KZhdpTZX6WcMM+WsA6X6KRbF8kDCGNKCkYCgzwFBtq819gbXINGOY62GIeikxrD9w3FVPFD4ivkx8d2YHxfPPkQyoYA7t88Rpb1buMUlHhTz9gWo28MdF9fBotCrx+rp0XhNaTbrr5vdVRFOzYKANrSDEH9QaKuBSQ5NRNvnApeer74shgp2ivjCV1IL7sSDv5I2Ku3c0NlSRjjY2gUGNptFEViWlo0JmXkCi3oGYW+A8c6jpUGIM0ghK4FnOVZeBOexYHvPKf7LGDOfSoEFkDlHeickxsdWxH45z+o4IpzhygC1FFLnJgYEZ1iqsYbB0BwhhwT1MvrYIf53XWjcN38++wWqZEkk3FEROsdnnDoj7Ne0UvbBx6AQbIzz/E88+UYyIgjXs7LjgeI9WkR08aJPAHTCCzPNN4WTYV5z4gFnQra9fmnn6xLgE+aL1SH6Qlxu53UvUMaKs+KrHH3AqWxEzfZBV5vT5nKNkvnKQSC9zOKuYowed+nHs/gmnsRXjnL7yHgAD9dK1zXCEw13UJXp5vrsI8TguNmKl1RuAlH+JOydKFID50Me4PlxuW3/RM4GW/VEg7uvCkkt/8+6WABCfuNghvZahQV0m9pLZ0MMJ7yWCUAumIXlfWwJws+8wWnkEb3uXeEcePy44tle9TlQwuV3GTtufONxxSkebkOJJ1lI5JM2l+fDz9Ie20qmYqMuamIEbom6fUoSGMt4aGNj8xfNYFx0Q5bQmkn+UspkelWhcebJpg1V4Xgnqpz3goE2mM7atNJZPzD9F7wPx1NoePBVSdkXsziq31qtNbvHVT81+HtbWL5mwGMkq0yCW4VVHQ0uAk1LTRt6v6DwmjtraGxaaSWy0kueryq68nfcjzEdjeXH4RZR+LlGxummgwrXJtFDCkpb0r1NRlwK8aicS9Ngbt5GKWhl5AKCnCXcMKdClzwQaIPGg3rUh9VveNcb1SOJBi+lQw1t2nC0zH1OH9z681R1hLX29v6Umk/iGTXbN7kMgdDPBr4Zl0LVUKZXBkw537Jc4gUtMhidudp6EHyQp8fA+cd+C8G6hpX7ADGIcy4t7POkygB4DKxmpyrIqC4ArpzizCsk9D2MdQ0P+RtUAUpQPH6sexfYJmDvpsj4h2ByuqsloedOF8SqcHjotyEt4VFdzjtiArgLcH2U7GS5XMH+UegyNPnnvBOATsSQIrzyOxrOy6oHMCjD1l+FFkPtGfUuMcgXIzK3eGsQqZvCqMxCDpRn7Fvh7i9BtQ9JDgfBXAKKislw30f7eXWnDcXMn5hqjDz+fcSV0quEAOjgSlTuy+uZ2114jy0ed/gH2vPNbPi108310txMPFZQ/xcocDYZr1FWvfaUVwbCzwW6zXBotbDtQ7upur2ZZbHbDcPWEzwI9rnNEewfoqWSGbvcnrNYBcV+vUcyazImWId8FoBPB5us1pLt8VnXk2VFVZ+mw0MuBJZuzBePFxGs3D9Jqr/+gaDSFgwRyh5R+hwu3YAdN8rVXVYk6yxU+dteKM0KOWLtxp0kQidEwtVXi5nW3rWpqWB7r6V68YXMcNts7xhcURUYap72JRmlEIIyxNj4RTxKxZ1ao60BvStGHujjN38iauNQYp8xtKVu3w52qNg1B4bitH2SOunN3mRWuPnb2FJRltmdh1ddfm9cIhxNG+7Ei49zHh7oQjU4SadJLNgMQ0MdsAFYp+2XJq4cx6L9DAMDPJBNDcDVhCvpNDjnsb8C0Skrf6SX/7hkel7FaTVfAQadLOWMVtqm1yGmNd8WqvFBfHFm2nqqmkoXqnJmu7Q58Efk0IAeRltYjd15SURvsOCSMINZxCFQBfvgkYV8sQ+ingKfB2BG1+BWss2MIdlwB46s9VCNkDfDKMxnDzlTV8lt57cKk2218yZN7rD5vavOvzPSrG3yEB4jmSX4LM/zO6COPJVLO0bZrlx2kPcxos6Kg/+FDnPBYhY6xSTU3UqbDXQZBmYS/g3ny8dhUQhlm7xi5iIvDRRCRwZ/P7J7aTjGhALfygko+gdAMqk+DxYfD0nuCC4jWpqVzeSyRJ3xnoeGI8R4eLLt0PW8ikkJAWo7Xst/5QYUezzlcIaNcIhaaz2Zqy8ILU25OnPgvtaxUm7PM2HDNEPtSbxtXyanzI2gbdulEQ/EMHA8MwcYy8TP85K8t5f9/GKvllx7wxmQGOcReMrny79z5hs742xxHmgRsajbHl2u0y3/kJ9Rls1n2CK3eDd8kCjjpYy9mR3oeNWtOKaXDvB6s5L1SOw0eYbboOomIE/hVASFqMQr5jGPJlkLPfYUQBYWEyrpI1BexmOuVBUPb1Yt2L26xAAZ+Aj0jzY8wRVGQSxrboT2A+78x4DnxPC589HiwfzRCFtsMXPq0H86Ryp9g+y0DX/OKpigUxqVefIP+ze6LGr5ir4Bz276hmybs1s9H4iPMYEytwQ/c+h+T5OBsr4Zbkcvvg/xM4orlC0Sf5ffVxttKYsVMxvOzV4NaZiohpdjGbMWbysiDiOdxEmTXfjzr4Y/LS2YaOIXHglftue1rQt1Xp5WJIhjmx4lLdrW/fvlVvZZQzkqPZKxKB0XSDUZTYq/O2/Xkf4GIALEGx5zwQK0yiHSXEq+B6SOiUiQKBZdObh9eTs66atS2SfExJPxFiqp1EBYRCDTofaQiwI/zewGTZJKWl0LKgBQ8btUxMnGgrV6DgjfqKQG29ik3X6JRfEWd4005+Qlr+/FKs6ubZKx3uJ1vpf8xNm+HGCIaEY2/AgFieOjqB0+8nn82uKQs87wdxMdEw9CJllfZHdFsMg6DeBUyv0kX6wnwOC9jqaOYnbxBDjVdhks4B3ZUZ8TDvmIYCarp0HOhPZCqcri7HnX8jBuwcELx/oD//xZxTQM0Q2pNhYuYG5/VLyAhd0bpyotGWH69pWCka91DX610wjGvlsBzWlxm5pdfKSsqS6Z1za70SPrCOYT97hkzwig2zccu/J4/v8G2OWxTdNJ9NWoNryumThff4I4EqX5ZgDfJyJDXpKZdzW/zRi3wEK5tXbeGV5wG81JXHNS7Ajp4pxtI7qENu3WXFnfHBVZsvryV0gpxX8Klh0GvIM9EFc8w4RsZGYdhXuVGUDjSmdOrf/L1o24h/HeVK+OcoWXabpeuEDJLo9Wlt74U4rejQVfwXYUNsObiT6c7vK4A8ZpDtjGrX4KRxSPxqvAZjd54/KdhsAAn4ENY9m8xzEssn0/71UhtIlUNBQ6ORSgpKfiz/SwX2VdMl4944CPBHCTG6YALRlPySsXB2ObsTM4uqeaavEr9g1rvUZjWEqvKbAGLobIbhp2Jm9AzeA9Xuuv8JmhWdywQVti93rUXqmSEXDZM+rIxo6zUZrzhY8qbXCHqJlDr/bZaFWUCQzaBc4kHsDa9IF+gOInC4pvVYsuO+AdDYXKL27aURR9bemetDfy0kZ3Q/mq+UQulpsh4e01I35lsmzA86kPkzez3rz/QQo/LYbPwzXZurW2mWbpHNgcj6T2mUBu7Oj8sAKA3tvBM1YPtm7gRNQrouVKYscUkkKcwR8puJQqbYcN75wrU5wFHBDRcFWJJcuUI+9Jms0aiikzGAr+Q8MLLS+/d6EyrmIBbShvRfZhmjkoelL2Byv5bTwRFHicApHH4jaJne0fKveMFpSGrSx19C8JI3C1/gAq2rvzvstNw06t2Z/irFuuOh4Xz7sj8EWMVT7YIWbX86mClNsk7UMT8AgGFNMsJ8VLloQN9vOYNVH4oOUYHpQuTdpyiJ2791ip3dm/Iv4OF3ifQ29D4Al2x9u5KfwDCq0SOVCu1sVg+ZWrgcSTkbPL1M0wfxbKXS1dnVTw/Z2xqlsmcqz7Hjo0qwuAefa723z1XnlW4aRKaGcVAuwO2vt8DV2DjLx5TAjBVdCG8FW1iglEHCkcKFlqqnJpqRLGMAxNL9Xu/7Zn85v+dCiNxs1M6MFfH1n8iajZj1f4gs/o1L3YE9SC3Ij/nyElDIiGkNtXihcIl+x2jxicZlAFhGeI9FZhxyX73QZr1LdiFGKZwgqLBS/Z8WnWupXqi9H7GbRyza9HMmY5Kyl/oPzsMWy0iOnyUc3eDXADTnO/P0POzqP8jxw709rNWSbT22Mqu9rISxRU2WIesOXGEAZsUVHZNrthhyYXlLFpWoquYmdi+Ce7IXxNP7XpH2ccqqtFoouAhtqSkksQeU4+UOht6tQyV+D+Zsy8NJJjUHEwpuEcHukBD+7Auu6JI7een1FfaXP0kJR9LRH9KhijF0l39ED5OHapdET+YapLhlizkWkZ+HYW5NJ3YTaZ1AnKThzA/myHrR3BRfupnzVngYkcAUn1ly/TuE3OZ9F9OwUFd/YSuWuRkSbf7LX8C46U3gmWD9Q4sKrwIyByVw4SSXW2eveJIEhaiFaOfWgT2NHbXLWQ7J7/GlE3YVsQfdRn8gIEWzv6VOChzJ84Qhmosb7AdAGz07q9QqTdWNvJXKBa+f91kNDgI1BS0tog91ww+j9kBMg2s9/mgoQhiqY/4pJGi651ZGZSFFm0+tlQSDLGO6mZa/AH5GCXBuoU/joLuG0PMLe3HaUZth/y7ZguiTsJNAgztSjX8HOy9p9/Hdf/IjppYwYeVy5KJA4rZFLfO+iXeLncnMqpsPU9XhOlv8HHYqYB2V8l5yZERTBaKv2vpNwq/TjxHXhB9W2ym8HBsPZYL6XIS4rIahT4qkJb8rqy3Niks4S8SyA1CEsxTEmvXIeBclE4ax2VnfZaArq1pj+YQbxDCO4NqpgBl8jh7kyi+RzTLQN28W6EAxHrer0zFKGJsoQXqh2uuevpfuv+lSSJGHdAWd1SBjEOlDCHSGHaHNQWco6mlUFKbcQkOLvwt6beSS8RwCJTzutbmSkmTxf9B4lx+cFfu/MeVnWkRBJ2C7GPS0LwpgdTosmYrwl3AsprTDdze6mA6T5UxD/ox3J3SxB5Wql4o23MttXCFOrZpaML3/Hw/ktkHj2nqXMq0s74yCFb7GHTBdItwIf8dtPDGGPaC0L68JQvFy7j4MWfFWm6wUtO/qsSI2X9tG2hmtLTB/2ehfcXP2gITSL4r46knWdg65ic0by9/X2TmvVoQP2jV6NDRmvVfLXJAYcZPnRrQPr1kes++UAuuPjzQU6iXxFf8WW8HrbfOxD3Z+/4ihoeClm4rPj6xjaUYxjPfMdP2bAT62jFk50wQJF0DNP4X0hHtNLxl6CBF2f9cp+pub/6PJ011fghZnnNqWRYPZMp6FHOpRymaT1IoVtepfaEA547QSV3dcCB1FVrZQOChmlk9kC/OkhJbQL89yx7Xxekp9EF3gOCTRVsWBikLzBTHmPfB5F/6f9ftQOC28O4yDjAx24tmOZSR8+C+0+oG3xvSHt6YlM5kw9RURNy4B1ynsdroeBgImevkmuDNahg+BjrXFjbkIYkJMetlaKdeZycnOXnjTE99LA/CMRvuU6lsIxQF89hxs9lNvag4tZGhGQ7Yevn+W3mwVTukHunqLa3RnJKQGS/2UCZLQi2GuIv0npkJb4jk4jQccnYq9Q1aHohprRAIWZsFxEy3VDhFrew5K78Da7Nw3WnZJblP5ztuSbUtuM4dfLniA4zTVzuoWIyD1eJ/0+I98eyO8X950GU9WBuOelWPC4OMWDbBOKXI+ISFnnypp/tODpiAD9nQI8ZgBc6w9K/aNe38wIKsNHIiRoEc188NC1dIQMzfIaddx5oTyhZiJurNAjnDpivRdr2ZA/b6M2aiJy3P86JPENKQd4py1W1o73JYuMB0YHlS1rq/DCz+YWElv7PqwegS6Nw3Y/InY/IUraSqQQ+9Al/FKMJEc34Er3ucyEcUKn9LQ6NEIHOSWC0TFgvJV9fR1qSiDu7iroWNBc3a5MZG1KeuJQLvyKBd79Fn/q51HfZVULcVZ+T2G36OVmyla+NaaKjx5rd6oNt/2QjeD82DkwOv8oBMYEln8WiZ76bOs+bDG5p5uJzmfqIxkj5kkiVnAM+0M6ruWq8zcogBJliAemcszZdsh5KPfc+MN25V7FoKvxYrMCQptKK0wZdCKRl6WBgJ/8gON58y2r6af9oYGWjkjx+llahPzvHX/FBa5KTVYgZmKJXG3IlDPsuDiudD14TAvKkcBqb/0KE5rH1qyDO/IsiUPFFigUrXiV0yudyB58nftHAweAqJ3w2sw+CVSnjdNedi1HL9jydGxmZ4KCUHdNuOpYRe0+zBKWpzm/CSkqDsYdDEqFymojhWlFhOIVP+F5oBX7FtUa2UUQt+T/wMJWYHp2HTIpd57nbycsCmPvPjlpZCcF+4Vpo4nqyCJXSyDilq9OQjWeR5bDE8VG2p3n9H+/P40HCTzbRzUp3JfyFQdYLBpmrbNqTg6WexX6Gfp3vXdN2cKCBMo1OB+Ni0a2S4j1Wau1f+22BMB3yiF9cU5By7HTBkOIR1horvt3x4f4vQoPw1iENXHWBlJUulB1RUq5uckF2ra6fknXuvqsFA8+pHpfVNYgO9P2ctGRJOyuHuRTmJDC5aK3mxgzA113/7KmyylbNsk1oJ2XA231cmWigZkEbsOlYc3dhmTVcFGTYcmqX/LD2LUV5Yldrxia6+qthEKTkm9i+NIOssxBEYFz0masMlfRKXkimj5Twf3YA+PHoaQGZ15QnsbjQhvSdivSVLyrM6kTDxadOmiefQX2esYOegwQgRnhkhVLePAP6d9o+IaEN6+GFJZAW4/VLnpH3r7jUbwPTFh+6yUNrVX4sVslmzcT34l12/gaLBb13AG1QSV8mp8wtDR5xylqFjE4c7CRV0QBk5rgZ5MVmfDwwcoPlneNMwVcnx0cyBtBeWSebiOOZGsdgq/IN0du6QNXXc3ejhAlCcqY9AGcfX7to=" title="Mekko Graphics Chart">
            <a:extLst>
              <a:ext uri="{FF2B5EF4-FFF2-40B4-BE49-F238E27FC236}">
                <a16:creationId xmlns:a16="http://schemas.microsoft.com/office/drawing/2014/main" id="{DABE4511-750F-4EAE-849F-4442A4EAB0D0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 bwMode="gray">
          <a:xfrm>
            <a:off x="3451420" y="1636410"/>
            <a:ext cx="2477493" cy="5070122"/>
          </a:xfrm>
          <a:prstGeom prst="rect">
            <a:avLst/>
          </a:prstGeom>
          <a:blipFill>
            <a:blip r:embed="rId24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grpSp>
        <p:nvGrpSpPr>
          <p:cNvPr id="3" name="btfpColumnHeaderBox386460">
            <a:extLst>
              <a:ext uri="{FF2B5EF4-FFF2-40B4-BE49-F238E27FC236}">
                <a16:creationId xmlns:a16="http://schemas.microsoft.com/office/drawing/2014/main" id="{CA681908-250D-1C55-8A41-3A2C9B1DB762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6366272" y="1396917"/>
            <a:ext cx="2477492" cy="444596"/>
            <a:chOff x="6366272" y="880465"/>
            <a:chExt cx="2477492" cy="444596"/>
          </a:xfrm>
        </p:grpSpPr>
        <p:sp>
          <p:nvSpPr>
            <p:cNvPr id="5" name="btfpColumnHeaderBoxText386460">
              <a:extLst>
                <a:ext uri="{FF2B5EF4-FFF2-40B4-BE49-F238E27FC236}">
                  <a16:creationId xmlns:a16="http://schemas.microsoft.com/office/drawing/2014/main" id="{2F45D7E3-0DA3-4128-04B1-9F41BA82EE1E}"/>
                </a:ext>
              </a:extLst>
            </p:cNvPr>
            <p:cNvSpPr txBox="1"/>
            <p:nvPr/>
          </p:nvSpPr>
          <p:spPr bwMode="gray">
            <a:xfrm>
              <a:off x="6366272" y="880465"/>
              <a:ext cx="2477492" cy="43783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dirty="0">
                  <a:solidFill>
                    <a:srgbClr val="000000"/>
                  </a:solidFill>
                </a:rPr>
                <a:t>Peer 1 behind peers in Unbranded CTR (avg ~0.1%)</a:t>
              </a:r>
            </a:p>
          </p:txBody>
        </p:sp>
        <p:cxnSp>
          <p:nvCxnSpPr>
            <p:cNvPr id="6" name="btfpColumnHeaderBoxLine386460">
              <a:extLst>
                <a:ext uri="{FF2B5EF4-FFF2-40B4-BE49-F238E27FC236}">
                  <a16:creationId xmlns:a16="http://schemas.microsoft.com/office/drawing/2014/main" id="{9F50CD24-176D-7610-269E-47B19BDBFEAC}"/>
                </a:ext>
              </a:extLst>
            </p:cNvPr>
            <p:cNvCxnSpPr/>
            <p:nvPr/>
          </p:nvCxnSpPr>
          <p:spPr bwMode="gray">
            <a:xfrm>
              <a:off x="6366272" y="1325061"/>
              <a:ext cx="2477492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btfpColumnHeaderBox271946">
            <a:extLst>
              <a:ext uri="{FF2B5EF4-FFF2-40B4-BE49-F238E27FC236}">
                <a16:creationId xmlns:a16="http://schemas.microsoft.com/office/drawing/2014/main" id="{9328C74C-E81B-4989-0E84-72905ACEE712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3430181" y="1403681"/>
            <a:ext cx="2641386" cy="437832"/>
            <a:chOff x="3348235" y="895857"/>
            <a:chExt cx="2641386" cy="437832"/>
          </a:xfrm>
        </p:grpSpPr>
        <p:sp>
          <p:nvSpPr>
            <p:cNvPr id="22" name="btfpColumnHeaderBoxText271946">
              <a:extLst>
                <a:ext uri="{FF2B5EF4-FFF2-40B4-BE49-F238E27FC236}">
                  <a16:creationId xmlns:a16="http://schemas.microsoft.com/office/drawing/2014/main" id="{C7A387EC-BCB0-3717-4E24-FCB4851BA6C0}"/>
                </a:ext>
              </a:extLst>
            </p:cNvPr>
            <p:cNvSpPr txBox="1"/>
            <p:nvPr/>
          </p:nvSpPr>
          <p:spPr bwMode="gray">
            <a:xfrm>
              <a:off x="3348235" y="895857"/>
              <a:ext cx="2641385" cy="43783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dirty="0">
                  <a:solidFill>
                    <a:srgbClr val="000000"/>
                  </a:solidFill>
                </a:rPr>
                <a:t>Peer 4 &amp; Peer 1 are positioned well on Branded CTR</a:t>
              </a:r>
            </a:p>
          </p:txBody>
        </p:sp>
        <p:cxnSp>
          <p:nvCxnSpPr>
            <p:cNvPr id="52" name="btfpColumnHeaderBoxLine271946">
              <a:extLst>
                <a:ext uri="{FF2B5EF4-FFF2-40B4-BE49-F238E27FC236}">
                  <a16:creationId xmlns:a16="http://schemas.microsoft.com/office/drawing/2014/main" id="{F32E63CB-C347-EDEB-501A-BFD9FE294A61}"/>
                </a:ext>
              </a:extLst>
            </p:cNvPr>
            <p:cNvCxnSpPr/>
            <p:nvPr/>
          </p:nvCxnSpPr>
          <p:spPr bwMode="gray">
            <a:xfrm>
              <a:off x="3348236" y="1333689"/>
              <a:ext cx="264138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8" name="btfpColumnHeaderBox896171">
            <a:extLst>
              <a:ext uri="{FF2B5EF4-FFF2-40B4-BE49-F238E27FC236}">
                <a16:creationId xmlns:a16="http://schemas.microsoft.com/office/drawing/2014/main" id="{D6CC18D9-669F-AD3E-0A4A-DFCD6A643E87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330199" y="1403681"/>
            <a:ext cx="2641385" cy="437832"/>
            <a:chOff x="330200" y="903589"/>
            <a:chExt cx="2546350" cy="437832"/>
          </a:xfrm>
        </p:grpSpPr>
        <p:sp>
          <p:nvSpPr>
            <p:cNvPr id="59" name="btfpColumnHeaderBoxText896171">
              <a:extLst>
                <a:ext uri="{FF2B5EF4-FFF2-40B4-BE49-F238E27FC236}">
                  <a16:creationId xmlns:a16="http://schemas.microsoft.com/office/drawing/2014/main" id="{8826F626-B687-8B21-A32E-42F2E5B4D79A}"/>
                </a:ext>
              </a:extLst>
            </p:cNvPr>
            <p:cNvSpPr txBox="1"/>
            <p:nvPr/>
          </p:nvSpPr>
          <p:spPr bwMode="gray">
            <a:xfrm>
              <a:off x="330200" y="903589"/>
              <a:ext cx="2546350" cy="43783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buNone/>
              </a:pPr>
              <a:r>
                <a:rPr lang="en-US" sz="1200" b="1" dirty="0"/>
                <a:t>Peer 1 group drives traffic mainly via unbranded terms</a:t>
              </a:r>
            </a:p>
          </p:txBody>
        </p:sp>
        <p:cxnSp>
          <p:nvCxnSpPr>
            <p:cNvPr id="60" name="btfpColumnHeaderBoxLine896171">
              <a:extLst>
                <a:ext uri="{FF2B5EF4-FFF2-40B4-BE49-F238E27FC236}">
                  <a16:creationId xmlns:a16="http://schemas.microsoft.com/office/drawing/2014/main" id="{23A4AB6C-2779-B776-8E8B-EF8FC5B3BBC2}"/>
                </a:ext>
              </a:extLst>
            </p:cNvPr>
            <p:cNvCxnSpPr/>
            <p:nvPr/>
          </p:nvCxnSpPr>
          <p:spPr bwMode="gray">
            <a:xfrm>
              <a:off x="330200" y="1341421"/>
              <a:ext cx="2546350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1" name="btfpColumnHeaderBox279529">
            <a:extLst>
              <a:ext uri="{FF2B5EF4-FFF2-40B4-BE49-F238E27FC236}">
                <a16:creationId xmlns:a16="http://schemas.microsoft.com/office/drawing/2014/main" id="{196B721B-AF0A-4E3F-18C9-E4BA2A2FA5AE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9384308" y="1550210"/>
            <a:ext cx="2477492" cy="291303"/>
            <a:chOff x="9384308" y="4861757"/>
            <a:chExt cx="2477492" cy="291303"/>
          </a:xfrm>
        </p:grpSpPr>
        <p:sp>
          <p:nvSpPr>
            <p:cNvPr id="62" name="btfpColumnHeaderBoxText279529">
              <a:extLst>
                <a:ext uri="{FF2B5EF4-FFF2-40B4-BE49-F238E27FC236}">
                  <a16:creationId xmlns:a16="http://schemas.microsoft.com/office/drawing/2014/main" id="{5B7014A7-943F-0240-1E53-9B187A3E8183}"/>
                </a:ext>
              </a:extLst>
            </p:cNvPr>
            <p:cNvSpPr txBox="1"/>
            <p:nvPr/>
          </p:nvSpPr>
          <p:spPr bwMode="gray">
            <a:xfrm>
              <a:off x="9384308" y="4861757"/>
              <a:ext cx="2477492" cy="28543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>
                  <a:solidFill>
                    <a:srgbClr val="000000"/>
                  </a:solidFill>
                </a:rPr>
                <a:t>Commentary</a:t>
              </a:r>
            </a:p>
          </p:txBody>
        </p:sp>
        <p:cxnSp>
          <p:nvCxnSpPr>
            <p:cNvPr id="63" name="btfpColumnHeaderBoxLine279529">
              <a:extLst>
                <a:ext uri="{FF2B5EF4-FFF2-40B4-BE49-F238E27FC236}">
                  <a16:creationId xmlns:a16="http://schemas.microsoft.com/office/drawing/2014/main" id="{A9F82BB0-3060-5BB8-2EBD-510C04B9E599}"/>
                </a:ext>
              </a:extLst>
            </p:cNvPr>
            <p:cNvCxnSpPr/>
            <p:nvPr/>
          </p:nvCxnSpPr>
          <p:spPr bwMode="gray">
            <a:xfrm>
              <a:off x="9384308" y="5153060"/>
              <a:ext cx="2477492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StatusSticker719082">
            <a:extLst>
              <a:ext uri="{FF2B5EF4-FFF2-40B4-BE49-F238E27FC236}">
                <a16:creationId xmlns:a16="http://schemas.microsoft.com/office/drawing/2014/main" id="{108984B9-E886-5691-F63F-AF24C774D716}"/>
              </a:ext>
            </a:extLst>
          </p:cNvPr>
          <p:cNvGrpSpPr/>
          <p:nvPr>
            <p:custDataLst>
              <p:tags r:id="rId10"/>
            </p:custDataLst>
          </p:nvPr>
        </p:nvGrpSpPr>
        <p:grpSpPr>
          <a:xfrm>
            <a:off x="10102664" y="955344"/>
            <a:ext cx="1759136" cy="235611"/>
            <a:chOff x="-2269853" y="876300"/>
            <a:chExt cx="1759136" cy="235611"/>
          </a:xfrm>
        </p:grpSpPr>
        <p:sp>
          <p:nvSpPr>
            <p:cNvPr id="18" name="btfpStatusStickerText719082">
              <a:extLst>
                <a:ext uri="{FF2B5EF4-FFF2-40B4-BE49-F238E27FC236}">
                  <a16:creationId xmlns:a16="http://schemas.microsoft.com/office/drawing/2014/main" id="{E9791AA7-14E8-AC44-F75A-39C8919F3F29}"/>
                </a:ext>
              </a:extLst>
            </p:cNvPr>
            <p:cNvSpPr txBox="1"/>
            <p:nvPr/>
          </p:nvSpPr>
          <p:spPr bwMode="gray">
            <a:xfrm>
              <a:off x="-2269853" y="876300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19" name="btfpStatusStickerLine719082">
              <a:extLst>
                <a:ext uri="{FF2B5EF4-FFF2-40B4-BE49-F238E27FC236}">
                  <a16:creationId xmlns:a16="http://schemas.microsoft.com/office/drawing/2014/main" id="{D68F35DA-7978-6692-3160-924B3FDCB8A2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69853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btfpRunningAgenda1Level385877">
            <a:extLst>
              <a:ext uri="{FF2B5EF4-FFF2-40B4-BE49-F238E27FC236}">
                <a16:creationId xmlns:a16="http://schemas.microsoft.com/office/drawing/2014/main" id="{EBC226C2-C68D-A70F-E8AF-8DF9E73CFADB}"/>
              </a:ext>
            </a:extLst>
          </p:cNvPr>
          <p:cNvGrpSpPr/>
          <p:nvPr>
            <p:custDataLst>
              <p:tags r:id="rId11"/>
            </p:custDataLst>
          </p:nvPr>
        </p:nvGrpSpPr>
        <p:grpSpPr>
          <a:xfrm>
            <a:off x="-1" y="944429"/>
            <a:ext cx="3007453" cy="257442"/>
            <a:chOff x="-1" y="876300"/>
            <a:chExt cx="3007453" cy="257442"/>
          </a:xfrm>
        </p:grpSpPr>
        <p:sp>
          <p:nvSpPr>
            <p:cNvPr id="25" name="btfpRunningAgenda1LevelBarLeft385877">
              <a:extLst>
                <a:ext uri="{FF2B5EF4-FFF2-40B4-BE49-F238E27FC236}">
                  <a16:creationId xmlns:a16="http://schemas.microsoft.com/office/drawing/2014/main" id="{DA9670E5-6681-34A7-8240-417B4914DDEE}"/>
                </a:ext>
              </a:extLst>
            </p:cNvPr>
            <p:cNvSpPr/>
            <p:nvPr/>
          </p:nvSpPr>
          <p:spPr bwMode="gray">
            <a:xfrm>
              <a:off x="-1" y="876300"/>
              <a:ext cx="3007453" cy="257442"/>
            </a:xfrm>
            <a:custGeom>
              <a:avLst/>
              <a:gdLst>
                <a:gd name="connsiteX0" fmla="*/ 942786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42786 w 1816204"/>
                <a:gd name="connsiteY0" fmla="*/ 0 h 257442"/>
                <a:gd name="connsiteX1" fmla="*/ 888066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1111101 w 1111101"/>
                <a:gd name="connsiteY0" fmla="*/ 0 h 257442"/>
                <a:gd name="connsiteX1" fmla="*/ 888065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89034 w 1289034"/>
                <a:gd name="connsiteY0" fmla="*/ 0 h 257442"/>
                <a:gd name="connsiteX1" fmla="*/ 1056380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289034 w 1289034"/>
                <a:gd name="connsiteY0" fmla="*/ 0 h 257442"/>
                <a:gd name="connsiteX1" fmla="*/ 1234312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1 w 1289035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1 w 1289035"/>
                <a:gd name="connsiteY3" fmla="*/ 0 h 257442"/>
                <a:gd name="connsiteX0" fmla="*/ 1457351 w 1457351"/>
                <a:gd name="connsiteY0" fmla="*/ 0 h 257442"/>
                <a:gd name="connsiteX1" fmla="*/ 1234313 w 1457351"/>
                <a:gd name="connsiteY1" fmla="*/ 257442 h 257442"/>
                <a:gd name="connsiteX2" fmla="*/ 0 w 1457351"/>
                <a:gd name="connsiteY2" fmla="*/ 257442 h 257442"/>
                <a:gd name="connsiteX3" fmla="*/ 1 w 1457351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0 w 1457351"/>
                <a:gd name="connsiteY2" fmla="*/ 257442 h 257442"/>
                <a:gd name="connsiteX3" fmla="*/ 1 w 1457351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1 w 1457351"/>
                <a:gd name="connsiteY2" fmla="*/ 257442 h 257442"/>
                <a:gd name="connsiteX3" fmla="*/ 0 w 1457351"/>
                <a:gd name="connsiteY3" fmla="*/ 0 h 257442"/>
                <a:gd name="connsiteX0" fmla="*/ 1710626 w 1710626"/>
                <a:gd name="connsiteY0" fmla="*/ 0 h 257442"/>
                <a:gd name="connsiteX1" fmla="*/ 1402630 w 1710626"/>
                <a:gd name="connsiteY1" fmla="*/ 257442 h 257442"/>
                <a:gd name="connsiteX2" fmla="*/ 1 w 1710626"/>
                <a:gd name="connsiteY2" fmla="*/ 257442 h 257442"/>
                <a:gd name="connsiteX3" fmla="*/ 0 w 1710626"/>
                <a:gd name="connsiteY3" fmla="*/ 0 h 257442"/>
                <a:gd name="connsiteX0" fmla="*/ 1710626 w 1710626"/>
                <a:gd name="connsiteY0" fmla="*/ 0 h 257442"/>
                <a:gd name="connsiteX1" fmla="*/ 1655904 w 1710626"/>
                <a:gd name="connsiteY1" fmla="*/ 257442 h 257442"/>
                <a:gd name="connsiteX2" fmla="*/ 1 w 1710626"/>
                <a:gd name="connsiteY2" fmla="*/ 257442 h 257442"/>
                <a:gd name="connsiteX3" fmla="*/ 0 w 1710626"/>
                <a:gd name="connsiteY3" fmla="*/ 0 h 257442"/>
                <a:gd name="connsiteX0" fmla="*/ 1710626 w 1710626"/>
                <a:gd name="connsiteY0" fmla="*/ 0 h 257442"/>
                <a:gd name="connsiteX1" fmla="*/ 1655904 w 1710626"/>
                <a:gd name="connsiteY1" fmla="*/ 257442 h 257442"/>
                <a:gd name="connsiteX2" fmla="*/ 0 w 1710626"/>
                <a:gd name="connsiteY2" fmla="*/ 257442 h 257442"/>
                <a:gd name="connsiteX3" fmla="*/ 0 w 1710626"/>
                <a:gd name="connsiteY3" fmla="*/ 0 h 257442"/>
                <a:gd name="connsiteX0" fmla="*/ 1710626 w 1710626"/>
                <a:gd name="connsiteY0" fmla="*/ 0 h 257442"/>
                <a:gd name="connsiteX1" fmla="*/ 1655904 w 1710626"/>
                <a:gd name="connsiteY1" fmla="*/ 257442 h 257442"/>
                <a:gd name="connsiteX2" fmla="*/ 0 w 1710626"/>
                <a:gd name="connsiteY2" fmla="*/ 257442 h 257442"/>
                <a:gd name="connsiteX3" fmla="*/ 0 w 1710626"/>
                <a:gd name="connsiteY3" fmla="*/ 0 h 257442"/>
                <a:gd name="connsiteX0" fmla="*/ 2023210 w 2023210"/>
                <a:gd name="connsiteY0" fmla="*/ 0 h 257442"/>
                <a:gd name="connsiteX1" fmla="*/ 1655904 w 2023210"/>
                <a:gd name="connsiteY1" fmla="*/ 257442 h 257442"/>
                <a:gd name="connsiteX2" fmla="*/ 0 w 2023210"/>
                <a:gd name="connsiteY2" fmla="*/ 257442 h 257442"/>
                <a:gd name="connsiteX3" fmla="*/ 0 w 2023210"/>
                <a:gd name="connsiteY3" fmla="*/ 0 h 257442"/>
                <a:gd name="connsiteX0" fmla="*/ 2023210 w 2023210"/>
                <a:gd name="connsiteY0" fmla="*/ 0 h 257442"/>
                <a:gd name="connsiteX1" fmla="*/ 1968489 w 2023210"/>
                <a:gd name="connsiteY1" fmla="*/ 257442 h 257442"/>
                <a:gd name="connsiteX2" fmla="*/ 0 w 2023210"/>
                <a:gd name="connsiteY2" fmla="*/ 257442 h 257442"/>
                <a:gd name="connsiteX3" fmla="*/ 0 w 2023210"/>
                <a:gd name="connsiteY3" fmla="*/ 0 h 257442"/>
                <a:gd name="connsiteX0" fmla="*/ 2023210 w 2023210"/>
                <a:gd name="connsiteY0" fmla="*/ 0 h 257442"/>
                <a:gd name="connsiteX1" fmla="*/ 1968489 w 2023210"/>
                <a:gd name="connsiteY1" fmla="*/ 257442 h 257442"/>
                <a:gd name="connsiteX2" fmla="*/ 0 w 2023210"/>
                <a:gd name="connsiteY2" fmla="*/ 257442 h 257442"/>
                <a:gd name="connsiteX3" fmla="*/ 0 w 2023210"/>
                <a:gd name="connsiteY3" fmla="*/ 0 h 257442"/>
                <a:gd name="connsiteX0" fmla="*/ 2023210 w 2023210"/>
                <a:gd name="connsiteY0" fmla="*/ 0 h 257442"/>
                <a:gd name="connsiteX1" fmla="*/ 1968489 w 2023210"/>
                <a:gd name="connsiteY1" fmla="*/ 257442 h 257442"/>
                <a:gd name="connsiteX2" fmla="*/ 0 w 2023210"/>
                <a:gd name="connsiteY2" fmla="*/ 257442 h 257442"/>
                <a:gd name="connsiteX3" fmla="*/ 0 w 2023210"/>
                <a:gd name="connsiteY3" fmla="*/ 0 h 257442"/>
                <a:gd name="connsiteX0" fmla="*/ 2191525 w 2191525"/>
                <a:gd name="connsiteY0" fmla="*/ 0 h 257442"/>
                <a:gd name="connsiteX1" fmla="*/ 1968489 w 2191525"/>
                <a:gd name="connsiteY1" fmla="*/ 257442 h 257442"/>
                <a:gd name="connsiteX2" fmla="*/ 0 w 2191525"/>
                <a:gd name="connsiteY2" fmla="*/ 257442 h 257442"/>
                <a:gd name="connsiteX3" fmla="*/ 0 w 2191525"/>
                <a:gd name="connsiteY3" fmla="*/ 0 h 257442"/>
                <a:gd name="connsiteX0" fmla="*/ 2191525 w 2191525"/>
                <a:gd name="connsiteY0" fmla="*/ 0 h 257442"/>
                <a:gd name="connsiteX1" fmla="*/ 2136804 w 2191525"/>
                <a:gd name="connsiteY1" fmla="*/ 257442 h 257442"/>
                <a:gd name="connsiteX2" fmla="*/ 0 w 2191525"/>
                <a:gd name="connsiteY2" fmla="*/ 257442 h 257442"/>
                <a:gd name="connsiteX3" fmla="*/ 0 w 2191525"/>
                <a:gd name="connsiteY3" fmla="*/ 0 h 257442"/>
                <a:gd name="connsiteX0" fmla="*/ 2191525 w 2191525"/>
                <a:gd name="connsiteY0" fmla="*/ 0 h 257442"/>
                <a:gd name="connsiteX1" fmla="*/ 2136804 w 2191525"/>
                <a:gd name="connsiteY1" fmla="*/ 257442 h 257442"/>
                <a:gd name="connsiteX2" fmla="*/ 0 w 2191525"/>
                <a:gd name="connsiteY2" fmla="*/ 257442 h 257442"/>
                <a:gd name="connsiteX3" fmla="*/ 0 w 2191525"/>
                <a:gd name="connsiteY3" fmla="*/ 0 h 257442"/>
                <a:gd name="connsiteX0" fmla="*/ 2191525 w 2191525"/>
                <a:gd name="connsiteY0" fmla="*/ 0 h 257442"/>
                <a:gd name="connsiteX1" fmla="*/ 2136804 w 2191525"/>
                <a:gd name="connsiteY1" fmla="*/ 257442 h 257442"/>
                <a:gd name="connsiteX2" fmla="*/ 0 w 2191525"/>
                <a:gd name="connsiteY2" fmla="*/ 257442 h 257442"/>
                <a:gd name="connsiteX3" fmla="*/ 0 w 2191525"/>
                <a:gd name="connsiteY3" fmla="*/ 0 h 257442"/>
                <a:gd name="connsiteX0" fmla="*/ 2377474 w 2377474"/>
                <a:gd name="connsiteY0" fmla="*/ 0 h 257442"/>
                <a:gd name="connsiteX1" fmla="*/ 2136804 w 2377474"/>
                <a:gd name="connsiteY1" fmla="*/ 257442 h 257442"/>
                <a:gd name="connsiteX2" fmla="*/ 0 w 2377474"/>
                <a:gd name="connsiteY2" fmla="*/ 257442 h 257442"/>
                <a:gd name="connsiteX3" fmla="*/ 0 w 2377474"/>
                <a:gd name="connsiteY3" fmla="*/ 0 h 257442"/>
                <a:gd name="connsiteX0" fmla="*/ 2377474 w 2377474"/>
                <a:gd name="connsiteY0" fmla="*/ 0 h 257442"/>
                <a:gd name="connsiteX1" fmla="*/ 2322752 w 2377474"/>
                <a:gd name="connsiteY1" fmla="*/ 257442 h 257442"/>
                <a:gd name="connsiteX2" fmla="*/ 0 w 2377474"/>
                <a:gd name="connsiteY2" fmla="*/ 257442 h 257442"/>
                <a:gd name="connsiteX3" fmla="*/ 0 w 2377474"/>
                <a:gd name="connsiteY3" fmla="*/ 0 h 257442"/>
                <a:gd name="connsiteX0" fmla="*/ 2377475 w 2377475"/>
                <a:gd name="connsiteY0" fmla="*/ 0 h 257442"/>
                <a:gd name="connsiteX1" fmla="*/ 2322753 w 2377475"/>
                <a:gd name="connsiteY1" fmla="*/ 257442 h 257442"/>
                <a:gd name="connsiteX2" fmla="*/ 0 w 2377475"/>
                <a:gd name="connsiteY2" fmla="*/ 257442 h 257442"/>
                <a:gd name="connsiteX3" fmla="*/ 1 w 2377475"/>
                <a:gd name="connsiteY3" fmla="*/ 0 h 257442"/>
                <a:gd name="connsiteX0" fmla="*/ 2377475 w 2377475"/>
                <a:gd name="connsiteY0" fmla="*/ 0 h 257442"/>
                <a:gd name="connsiteX1" fmla="*/ 2322753 w 2377475"/>
                <a:gd name="connsiteY1" fmla="*/ 257442 h 257442"/>
                <a:gd name="connsiteX2" fmla="*/ 0 w 2377475"/>
                <a:gd name="connsiteY2" fmla="*/ 257442 h 257442"/>
                <a:gd name="connsiteX3" fmla="*/ 1 w 2377475"/>
                <a:gd name="connsiteY3" fmla="*/ 0 h 257442"/>
                <a:gd name="connsiteX0" fmla="*/ 2646779 w 2646779"/>
                <a:gd name="connsiteY0" fmla="*/ 0 h 257442"/>
                <a:gd name="connsiteX1" fmla="*/ 2322753 w 2646779"/>
                <a:gd name="connsiteY1" fmla="*/ 257442 h 257442"/>
                <a:gd name="connsiteX2" fmla="*/ 0 w 2646779"/>
                <a:gd name="connsiteY2" fmla="*/ 257442 h 257442"/>
                <a:gd name="connsiteX3" fmla="*/ 1 w 2646779"/>
                <a:gd name="connsiteY3" fmla="*/ 0 h 257442"/>
                <a:gd name="connsiteX0" fmla="*/ 2646779 w 2646779"/>
                <a:gd name="connsiteY0" fmla="*/ 0 h 257442"/>
                <a:gd name="connsiteX1" fmla="*/ 2592058 w 2646779"/>
                <a:gd name="connsiteY1" fmla="*/ 257442 h 257442"/>
                <a:gd name="connsiteX2" fmla="*/ 0 w 2646779"/>
                <a:gd name="connsiteY2" fmla="*/ 257442 h 257442"/>
                <a:gd name="connsiteX3" fmla="*/ 1 w 2646779"/>
                <a:gd name="connsiteY3" fmla="*/ 0 h 257442"/>
                <a:gd name="connsiteX0" fmla="*/ 2646778 w 2646778"/>
                <a:gd name="connsiteY0" fmla="*/ 0 h 257442"/>
                <a:gd name="connsiteX1" fmla="*/ 2592057 w 2646778"/>
                <a:gd name="connsiteY1" fmla="*/ 257442 h 257442"/>
                <a:gd name="connsiteX2" fmla="*/ 0 w 2646778"/>
                <a:gd name="connsiteY2" fmla="*/ 257442 h 257442"/>
                <a:gd name="connsiteX3" fmla="*/ 0 w 2646778"/>
                <a:gd name="connsiteY3" fmla="*/ 0 h 257442"/>
                <a:gd name="connsiteX0" fmla="*/ 2646779 w 2646779"/>
                <a:gd name="connsiteY0" fmla="*/ 0 h 257442"/>
                <a:gd name="connsiteX1" fmla="*/ 2592058 w 2646779"/>
                <a:gd name="connsiteY1" fmla="*/ 257442 h 257442"/>
                <a:gd name="connsiteX2" fmla="*/ 1 w 2646779"/>
                <a:gd name="connsiteY2" fmla="*/ 257442 h 257442"/>
                <a:gd name="connsiteX3" fmla="*/ 0 w 2646779"/>
                <a:gd name="connsiteY3" fmla="*/ 0 h 257442"/>
                <a:gd name="connsiteX0" fmla="*/ 2815094 w 2815094"/>
                <a:gd name="connsiteY0" fmla="*/ 0 h 257442"/>
                <a:gd name="connsiteX1" fmla="*/ 2592058 w 2815094"/>
                <a:gd name="connsiteY1" fmla="*/ 257442 h 257442"/>
                <a:gd name="connsiteX2" fmla="*/ 1 w 2815094"/>
                <a:gd name="connsiteY2" fmla="*/ 257442 h 257442"/>
                <a:gd name="connsiteX3" fmla="*/ 0 w 2815094"/>
                <a:gd name="connsiteY3" fmla="*/ 0 h 257442"/>
                <a:gd name="connsiteX0" fmla="*/ 2815094 w 2815094"/>
                <a:gd name="connsiteY0" fmla="*/ 0 h 257442"/>
                <a:gd name="connsiteX1" fmla="*/ 2760372 w 2815094"/>
                <a:gd name="connsiteY1" fmla="*/ 257442 h 257442"/>
                <a:gd name="connsiteX2" fmla="*/ 1 w 2815094"/>
                <a:gd name="connsiteY2" fmla="*/ 257442 h 257442"/>
                <a:gd name="connsiteX3" fmla="*/ 0 w 2815094"/>
                <a:gd name="connsiteY3" fmla="*/ 0 h 257442"/>
                <a:gd name="connsiteX0" fmla="*/ 2815094 w 2815094"/>
                <a:gd name="connsiteY0" fmla="*/ 0 h 257442"/>
                <a:gd name="connsiteX1" fmla="*/ 2760372 w 2815094"/>
                <a:gd name="connsiteY1" fmla="*/ 257442 h 257442"/>
                <a:gd name="connsiteX2" fmla="*/ 0 w 2815094"/>
                <a:gd name="connsiteY2" fmla="*/ 257442 h 257442"/>
                <a:gd name="connsiteX3" fmla="*/ 0 w 2815094"/>
                <a:gd name="connsiteY3" fmla="*/ 0 h 257442"/>
                <a:gd name="connsiteX0" fmla="*/ 2815094 w 2815094"/>
                <a:gd name="connsiteY0" fmla="*/ 0 h 257442"/>
                <a:gd name="connsiteX1" fmla="*/ 2760372 w 2815094"/>
                <a:gd name="connsiteY1" fmla="*/ 257442 h 257442"/>
                <a:gd name="connsiteX2" fmla="*/ 0 w 2815094"/>
                <a:gd name="connsiteY2" fmla="*/ 257442 h 257442"/>
                <a:gd name="connsiteX3" fmla="*/ 0 w 2815094"/>
                <a:gd name="connsiteY3" fmla="*/ 0 h 257442"/>
                <a:gd name="connsiteX0" fmla="*/ 3076383 w 3076383"/>
                <a:gd name="connsiteY0" fmla="*/ 0 h 257442"/>
                <a:gd name="connsiteX1" fmla="*/ 276037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076383 w 3076383"/>
                <a:gd name="connsiteY0" fmla="*/ 0 h 257442"/>
                <a:gd name="connsiteX1" fmla="*/ 302166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076383 w 3076383"/>
                <a:gd name="connsiteY0" fmla="*/ 0 h 257442"/>
                <a:gd name="connsiteX1" fmla="*/ 302166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076383 w 3076383"/>
                <a:gd name="connsiteY0" fmla="*/ 0 h 257442"/>
                <a:gd name="connsiteX1" fmla="*/ 302166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236683 w 3236683"/>
                <a:gd name="connsiteY0" fmla="*/ 0 h 257442"/>
                <a:gd name="connsiteX1" fmla="*/ 3021662 w 3236683"/>
                <a:gd name="connsiteY1" fmla="*/ 257442 h 257442"/>
                <a:gd name="connsiteX2" fmla="*/ 0 w 3236683"/>
                <a:gd name="connsiteY2" fmla="*/ 257442 h 257442"/>
                <a:gd name="connsiteX3" fmla="*/ 0 w 3236683"/>
                <a:gd name="connsiteY3" fmla="*/ 0 h 257442"/>
                <a:gd name="connsiteX0" fmla="*/ 3236683 w 3236683"/>
                <a:gd name="connsiteY0" fmla="*/ 0 h 257442"/>
                <a:gd name="connsiteX1" fmla="*/ 3181962 w 3236683"/>
                <a:gd name="connsiteY1" fmla="*/ 257442 h 257442"/>
                <a:gd name="connsiteX2" fmla="*/ 0 w 3236683"/>
                <a:gd name="connsiteY2" fmla="*/ 257442 h 257442"/>
                <a:gd name="connsiteX3" fmla="*/ 0 w 3236683"/>
                <a:gd name="connsiteY3" fmla="*/ 0 h 257442"/>
                <a:gd name="connsiteX0" fmla="*/ 3236683 w 3236683"/>
                <a:gd name="connsiteY0" fmla="*/ 0 h 257442"/>
                <a:gd name="connsiteX1" fmla="*/ 3181962 w 3236683"/>
                <a:gd name="connsiteY1" fmla="*/ 257442 h 257442"/>
                <a:gd name="connsiteX2" fmla="*/ 0 w 3236683"/>
                <a:gd name="connsiteY2" fmla="*/ 257442 h 257442"/>
                <a:gd name="connsiteX3" fmla="*/ 0 w 3236683"/>
                <a:gd name="connsiteY3" fmla="*/ 0 h 257442"/>
                <a:gd name="connsiteX0" fmla="*/ 3236683 w 3236683"/>
                <a:gd name="connsiteY0" fmla="*/ 0 h 257442"/>
                <a:gd name="connsiteX1" fmla="*/ 3181962 w 3236683"/>
                <a:gd name="connsiteY1" fmla="*/ 257442 h 257442"/>
                <a:gd name="connsiteX2" fmla="*/ 0 w 3236683"/>
                <a:gd name="connsiteY2" fmla="*/ 257442 h 257442"/>
                <a:gd name="connsiteX3" fmla="*/ 0 w 3236683"/>
                <a:gd name="connsiteY3" fmla="*/ 0 h 257442"/>
                <a:gd name="connsiteX0" fmla="*/ 3404998 w 3404998"/>
                <a:gd name="connsiteY0" fmla="*/ 0 h 257442"/>
                <a:gd name="connsiteX1" fmla="*/ 3181962 w 3404998"/>
                <a:gd name="connsiteY1" fmla="*/ 257442 h 257442"/>
                <a:gd name="connsiteX2" fmla="*/ 0 w 3404998"/>
                <a:gd name="connsiteY2" fmla="*/ 257442 h 257442"/>
                <a:gd name="connsiteX3" fmla="*/ 0 w 3404998"/>
                <a:gd name="connsiteY3" fmla="*/ 0 h 257442"/>
                <a:gd name="connsiteX0" fmla="*/ 3404998 w 3404998"/>
                <a:gd name="connsiteY0" fmla="*/ 0 h 257442"/>
                <a:gd name="connsiteX1" fmla="*/ 3350276 w 3404998"/>
                <a:gd name="connsiteY1" fmla="*/ 257442 h 257442"/>
                <a:gd name="connsiteX2" fmla="*/ 0 w 3404998"/>
                <a:gd name="connsiteY2" fmla="*/ 257442 h 257442"/>
                <a:gd name="connsiteX3" fmla="*/ 0 w 3404998"/>
                <a:gd name="connsiteY3" fmla="*/ 0 h 257442"/>
                <a:gd name="connsiteX0" fmla="*/ 3404999 w 3404999"/>
                <a:gd name="connsiteY0" fmla="*/ 0 h 257442"/>
                <a:gd name="connsiteX1" fmla="*/ 3350277 w 3404999"/>
                <a:gd name="connsiteY1" fmla="*/ 257442 h 257442"/>
                <a:gd name="connsiteX2" fmla="*/ 0 w 3404999"/>
                <a:gd name="connsiteY2" fmla="*/ 257442 h 257442"/>
                <a:gd name="connsiteX3" fmla="*/ 1 w 3404999"/>
                <a:gd name="connsiteY3" fmla="*/ 0 h 257442"/>
                <a:gd name="connsiteX0" fmla="*/ 3404999 w 3404999"/>
                <a:gd name="connsiteY0" fmla="*/ 0 h 257442"/>
                <a:gd name="connsiteX1" fmla="*/ 3350277 w 3404999"/>
                <a:gd name="connsiteY1" fmla="*/ 257442 h 257442"/>
                <a:gd name="connsiteX2" fmla="*/ 0 w 3404999"/>
                <a:gd name="connsiteY2" fmla="*/ 257442 h 257442"/>
                <a:gd name="connsiteX3" fmla="*/ 1 w 3404999"/>
                <a:gd name="connsiteY3" fmla="*/ 0 h 257442"/>
                <a:gd name="connsiteX0" fmla="*/ 3565299 w 3565299"/>
                <a:gd name="connsiteY0" fmla="*/ 0 h 257442"/>
                <a:gd name="connsiteX1" fmla="*/ 3350277 w 3565299"/>
                <a:gd name="connsiteY1" fmla="*/ 257442 h 257442"/>
                <a:gd name="connsiteX2" fmla="*/ 0 w 3565299"/>
                <a:gd name="connsiteY2" fmla="*/ 257442 h 257442"/>
                <a:gd name="connsiteX3" fmla="*/ 1 w 3565299"/>
                <a:gd name="connsiteY3" fmla="*/ 0 h 257442"/>
                <a:gd name="connsiteX0" fmla="*/ 3565299 w 3565299"/>
                <a:gd name="connsiteY0" fmla="*/ 0 h 257442"/>
                <a:gd name="connsiteX1" fmla="*/ 3510578 w 3565299"/>
                <a:gd name="connsiteY1" fmla="*/ 257442 h 257442"/>
                <a:gd name="connsiteX2" fmla="*/ 0 w 3565299"/>
                <a:gd name="connsiteY2" fmla="*/ 257442 h 257442"/>
                <a:gd name="connsiteX3" fmla="*/ 1 w 3565299"/>
                <a:gd name="connsiteY3" fmla="*/ 0 h 257442"/>
                <a:gd name="connsiteX0" fmla="*/ 3565298 w 3565298"/>
                <a:gd name="connsiteY0" fmla="*/ 0 h 257442"/>
                <a:gd name="connsiteX1" fmla="*/ 3510577 w 3565298"/>
                <a:gd name="connsiteY1" fmla="*/ 257442 h 257442"/>
                <a:gd name="connsiteX2" fmla="*/ 0 w 3565298"/>
                <a:gd name="connsiteY2" fmla="*/ 257442 h 257442"/>
                <a:gd name="connsiteX3" fmla="*/ 0 w 3565298"/>
                <a:gd name="connsiteY3" fmla="*/ 0 h 257442"/>
                <a:gd name="connsiteX0" fmla="*/ 3565299 w 3565299"/>
                <a:gd name="connsiteY0" fmla="*/ 0 h 257442"/>
                <a:gd name="connsiteX1" fmla="*/ 3510578 w 3565299"/>
                <a:gd name="connsiteY1" fmla="*/ 257442 h 257442"/>
                <a:gd name="connsiteX2" fmla="*/ 1 w 3565299"/>
                <a:gd name="connsiteY2" fmla="*/ 257442 h 257442"/>
                <a:gd name="connsiteX3" fmla="*/ 0 w 3565299"/>
                <a:gd name="connsiteY3" fmla="*/ 0 h 257442"/>
                <a:gd name="connsiteX0" fmla="*/ 968435 w 3510578"/>
                <a:gd name="connsiteY0" fmla="*/ 0 h 257442"/>
                <a:gd name="connsiteX1" fmla="*/ 3510578 w 3510578"/>
                <a:gd name="connsiteY1" fmla="*/ 257442 h 257442"/>
                <a:gd name="connsiteX2" fmla="*/ 1 w 3510578"/>
                <a:gd name="connsiteY2" fmla="*/ 257442 h 257442"/>
                <a:gd name="connsiteX3" fmla="*/ 0 w 3510578"/>
                <a:gd name="connsiteY3" fmla="*/ 0 h 257442"/>
                <a:gd name="connsiteX0" fmla="*/ 968435 w 968435"/>
                <a:gd name="connsiteY0" fmla="*/ 0 h 257442"/>
                <a:gd name="connsiteX1" fmla="*/ 913714 w 968435"/>
                <a:gd name="connsiteY1" fmla="*/ 257442 h 257442"/>
                <a:gd name="connsiteX2" fmla="*/ 1 w 968435"/>
                <a:gd name="connsiteY2" fmla="*/ 257442 h 257442"/>
                <a:gd name="connsiteX3" fmla="*/ 0 w 968435"/>
                <a:gd name="connsiteY3" fmla="*/ 0 h 257442"/>
                <a:gd name="connsiteX0" fmla="*/ 968435 w 968435"/>
                <a:gd name="connsiteY0" fmla="*/ 0 h 257442"/>
                <a:gd name="connsiteX1" fmla="*/ 913714 w 968435"/>
                <a:gd name="connsiteY1" fmla="*/ 257442 h 257442"/>
                <a:gd name="connsiteX2" fmla="*/ 2 w 968435"/>
                <a:gd name="connsiteY2" fmla="*/ 257442 h 257442"/>
                <a:gd name="connsiteX3" fmla="*/ 0 w 968435"/>
                <a:gd name="connsiteY3" fmla="*/ 0 h 257442"/>
                <a:gd name="connsiteX0" fmla="*/ 968433 w 968433"/>
                <a:gd name="connsiteY0" fmla="*/ 0 h 257442"/>
                <a:gd name="connsiteX1" fmla="*/ 913712 w 968433"/>
                <a:gd name="connsiteY1" fmla="*/ 257442 h 257442"/>
                <a:gd name="connsiteX2" fmla="*/ 0 w 968433"/>
                <a:gd name="connsiteY2" fmla="*/ 257442 h 257442"/>
                <a:gd name="connsiteX3" fmla="*/ 0 w 968433"/>
                <a:gd name="connsiteY3" fmla="*/ 0 h 257442"/>
                <a:gd name="connsiteX0" fmla="*/ 1136749 w 1136749"/>
                <a:gd name="connsiteY0" fmla="*/ 0 h 257442"/>
                <a:gd name="connsiteX1" fmla="*/ 913712 w 1136749"/>
                <a:gd name="connsiteY1" fmla="*/ 257442 h 257442"/>
                <a:gd name="connsiteX2" fmla="*/ 0 w 1136749"/>
                <a:gd name="connsiteY2" fmla="*/ 257442 h 257442"/>
                <a:gd name="connsiteX3" fmla="*/ 0 w 1136749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0 w 1136749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0 w 1136749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0 w 1136749"/>
                <a:gd name="connsiteY3" fmla="*/ 0 h 257442"/>
                <a:gd name="connsiteX0" fmla="*/ 1305064 w 1305064"/>
                <a:gd name="connsiteY0" fmla="*/ 0 h 257442"/>
                <a:gd name="connsiteX1" fmla="*/ 1082028 w 1305064"/>
                <a:gd name="connsiteY1" fmla="*/ 257442 h 257442"/>
                <a:gd name="connsiteX2" fmla="*/ 0 w 1305064"/>
                <a:gd name="connsiteY2" fmla="*/ 257442 h 257442"/>
                <a:gd name="connsiteX3" fmla="*/ 0 w 1305064"/>
                <a:gd name="connsiteY3" fmla="*/ 0 h 257442"/>
                <a:gd name="connsiteX0" fmla="*/ 1305064 w 1305064"/>
                <a:gd name="connsiteY0" fmla="*/ 0 h 257442"/>
                <a:gd name="connsiteX1" fmla="*/ 1250342 w 1305064"/>
                <a:gd name="connsiteY1" fmla="*/ 257442 h 257442"/>
                <a:gd name="connsiteX2" fmla="*/ 0 w 1305064"/>
                <a:gd name="connsiteY2" fmla="*/ 257442 h 257442"/>
                <a:gd name="connsiteX3" fmla="*/ 0 w 1305064"/>
                <a:gd name="connsiteY3" fmla="*/ 0 h 257442"/>
                <a:gd name="connsiteX0" fmla="*/ 1305065 w 1305065"/>
                <a:gd name="connsiteY0" fmla="*/ 0 h 257442"/>
                <a:gd name="connsiteX1" fmla="*/ 1250343 w 1305065"/>
                <a:gd name="connsiteY1" fmla="*/ 257442 h 257442"/>
                <a:gd name="connsiteX2" fmla="*/ 0 w 1305065"/>
                <a:gd name="connsiteY2" fmla="*/ 257442 h 257442"/>
                <a:gd name="connsiteX3" fmla="*/ 1 w 1305065"/>
                <a:gd name="connsiteY3" fmla="*/ 0 h 257442"/>
                <a:gd name="connsiteX0" fmla="*/ 1305065 w 1305065"/>
                <a:gd name="connsiteY0" fmla="*/ 0 h 257442"/>
                <a:gd name="connsiteX1" fmla="*/ 1250343 w 1305065"/>
                <a:gd name="connsiteY1" fmla="*/ 257442 h 257442"/>
                <a:gd name="connsiteX2" fmla="*/ 0 w 1305065"/>
                <a:gd name="connsiteY2" fmla="*/ 257442 h 257442"/>
                <a:gd name="connsiteX3" fmla="*/ 1 w 1305065"/>
                <a:gd name="connsiteY3" fmla="*/ 0 h 257442"/>
                <a:gd name="connsiteX0" fmla="*/ 1473381 w 1473381"/>
                <a:gd name="connsiteY0" fmla="*/ 0 h 257442"/>
                <a:gd name="connsiteX1" fmla="*/ 1250343 w 1473381"/>
                <a:gd name="connsiteY1" fmla="*/ 257442 h 257442"/>
                <a:gd name="connsiteX2" fmla="*/ 0 w 1473381"/>
                <a:gd name="connsiteY2" fmla="*/ 257442 h 257442"/>
                <a:gd name="connsiteX3" fmla="*/ 1 w 1473381"/>
                <a:gd name="connsiteY3" fmla="*/ 0 h 257442"/>
                <a:gd name="connsiteX0" fmla="*/ 1473381 w 1473381"/>
                <a:gd name="connsiteY0" fmla="*/ 0 h 257442"/>
                <a:gd name="connsiteX1" fmla="*/ 1418660 w 1473381"/>
                <a:gd name="connsiteY1" fmla="*/ 257442 h 257442"/>
                <a:gd name="connsiteX2" fmla="*/ 0 w 1473381"/>
                <a:gd name="connsiteY2" fmla="*/ 257442 h 257442"/>
                <a:gd name="connsiteX3" fmla="*/ 1 w 1473381"/>
                <a:gd name="connsiteY3" fmla="*/ 0 h 257442"/>
                <a:gd name="connsiteX0" fmla="*/ 1473380 w 1473380"/>
                <a:gd name="connsiteY0" fmla="*/ 0 h 257442"/>
                <a:gd name="connsiteX1" fmla="*/ 1418659 w 1473380"/>
                <a:gd name="connsiteY1" fmla="*/ 257442 h 257442"/>
                <a:gd name="connsiteX2" fmla="*/ 0 w 1473380"/>
                <a:gd name="connsiteY2" fmla="*/ 257442 h 257442"/>
                <a:gd name="connsiteX3" fmla="*/ 0 w 1473380"/>
                <a:gd name="connsiteY3" fmla="*/ 0 h 257442"/>
                <a:gd name="connsiteX0" fmla="*/ 1473381 w 1473381"/>
                <a:gd name="connsiteY0" fmla="*/ 0 h 257442"/>
                <a:gd name="connsiteX1" fmla="*/ 1418660 w 1473381"/>
                <a:gd name="connsiteY1" fmla="*/ 257442 h 257442"/>
                <a:gd name="connsiteX2" fmla="*/ 1 w 1473381"/>
                <a:gd name="connsiteY2" fmla="*/ 257442 h 257442"/>
                <a:gd name="connsiteX3" fmla="*/ 0 w 1473381"/>
                <a:gd name="connsiteY3" fmla="*/ 0 h 257442"/>
                <a:gd name="connsiteX0" fmla="*/ 1633681 w 1633681"/>
                <a:gd name="connsiteY0" fmla="*/ 0 h 257442"/>
                <a:gd name="connsiteX1" fmla="*/ 1418660 w 1633681"/>
                <a:gd name="connsiteY1" fmla="*/ 257442 h 257442"/>
                <a:gd name="connsiteX2" fmla="*/ 1 w 1633681"/>
                <a:gd name="connsiteY2" fmla="*/ 257442 h 257442"/>
                <a:gd name="connsiteX3" fmla="*/ 0 w 1633681"/>
                <a:gd name="connsiteY3" fmla="*/ 0 h 257442"/>
                <a:gd name="connsiteX0" fmla="*/ 1633681 w 1633681"/>
                <a:gd name="connsiteY0" fmla="*/ 0 h 257442"/>
                <a:gd name="connsiteX1" fmla="*/ 1578960 w 1633681"/>
                <a:gd name="connsiteY1" fmla="*/ 257442 h 257442"/>
                <a:gd name="connsiteX2" fmla="*/ 1 w 1633681"/>
                <a:gd name="connsiteY2" fmla="*/ 257442 h 257442"/>
                <a:gd name="connsiteX3" fmla="*/ 0 w 1633681"/>
                <a:gd name="connsiteY3" fmla="*/ 0 h 257442"/>
                <a:gd name="connsiteX0" fmla="*/ 1633681 w 1633681"/>
                <a:gd name="connsiteY0" fmla="*/ 0 h 257442"/>
                <a:gd name="connsiteX1" fmla="*/ 1578960 w 1633681"/>
                <a:gd name="connsiteY1" fmla="*/ 257442 h 257442"/>
                <a:gd name="connsiteX2" fmla="*/ 1 w 1633681"/>
                <a:gd name="connsiteY2" fmla="*/ 257442 h 257442"/>
                <a:gd name="connsiteX3" fmla="*/ 0 w 1633681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0 w 1633680"/>
                <a:gd name="connsiteY3" fmla="*/ 0 h 257442"/>
                <a:gd name="connsiteX0" fmla="*/ 1886954 w 1886954"/>
                <a:gd name="connsiteY0" fmla="*/ 0 h 257442"/>
                <a:gd name="connsiteX1" fmla="*/ 1578959 w 1886954"/>
                <a:gd name="connsiteY1" fmla="*/ 257442 h 257442"/>
                <a:gd name="connsiteX2" fmla="*/ 0 w 1886954"/>
                <a:gd name="connsiteY2" fmla="*/ 257442 h 257442"/>
                <a:gd name="connsiteX3" fmla="*/ 0 w 1886954"/>
                <a:gd name="connsiteY3" fmla="*/ 0 h 257442"/>
                <a:gd name="connsiteX0" fmla="*/ 1886954 w 1886954"/>
                <a:gd name="connsiteY0" fmla="*/ 0 h 257442"/>
                <a:gd name="connsiteX1" fmla="*/ 1832233 w 1886954"/>
                <a:gd name="connsiteY1" fmla="*/ 257442 h 257442"/>
                <a:gd name="connsiteX2" fmla="*/ 0 w 1886954"/>
                <a:gd name="connsiteY2" fmla="*/ 257442 h 257442"/>
                <a:gd name="connsiteX3" fmla="*/ 0 w 1886954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1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1 w 1886955"/>
                <a:gd name="connsiteY3" fmla="*/ 0 h 257442"/>
                <a:gd name="connsiteX0" fmla="*/ 2055271 w 2055271"/>
                <a:gd name="connsiteY0" fmla="*/ 0 h 257442"/>
                <a:gd name="connsiteX1" fmla="*/ 1832234 w 2055271"/>
                <a:gd name="connsiteY1" fmla="*/ 257442 h 257442"/>
                <a:gd name="connsiteX2" fmla="*/ 0 w 2055271"/>
                <a:gd name="connsiteY2" fmla="*/ 257442 h 257442"/>
                <a:gd name="connsiteX3" fmla="*/ 1 w 2055271"/>
                <a:gd name="connsiteY3" fmla="*/ 0 h 257442"/>
                <a:gd name="connsiteX0" fmla="*/ 2055271 w 2055271"/>
                <a:gd name="connsiteY0" fmla="*/ 0 h 257442"/>
                <a:gd name="connsiteX1" fmla="*/ 2000550 w 2055271"/>
                <a:gd name="connsiteY1" fmla="*/ 257442 h 257442"/>
                <a:gd name="connsiteX2" fmla="*/ 0 w 2055271"/>
                <a:gd name="connsiteY2" fmla="*/ 257442 h 257442"/>
                <a:gd name="connsiteX3" fmla="*/ 1 w 2055271"/>
                <a:gd name="connsiteY3" fmla="*/ 0 h 257442"/>
                <a:gd name="connsiteX0" fmla="*/ 2055270 w 2055270"/>
                <a:gd name="connsiteY0" fmla="*/ 0 h 257442"/>
                <a:gd name="connsiteX1" fmla="*/ 2000549 w 2055270"/>
                <a:gd name="connsiteY1" fmla="*/ 257442 h 257442"/>
                <a:gd name="connsiteX2" fmla="*/ 0 w 2055270"/>
                <a:gd name="connsiteY2" fmla="*/ 257442 h 257442"/>
                <a:gd name="connsiteX3" fmla="*/ 0 w 2055270"/>
                <a:gd name="connsiteY3" fmla="*/ 0 h 257442"/>
                <a:gd name="connsiteX0" fmla="*/ 2055271 w 2055271"/>
                <a:gd name="connsiteY0" fmla="*/ 0 h 257442"/>
                <a:gd name="connsiteX1" fmla="*/ 2000550 w 2055271"/>
                <a:gd name="connsiteY1" fmla="*/ 257442 h 257442"/>
                <a:gd name="connsiteX2" fmla="*/ 1 w 2055271"/>
                <a:gd name="connsiteY2" fmla="*/ 257442 h 257442"/>
                <a:gd name="connsiteX3" fmla="*/ 0 w 2055271"/>
                <a:gd name="connsiteY3" fmla="*/ 0 h 257442"/>
                <a:gd name="connsiteX0" fmla="*/ 2223586 w 2223586"/>
                <a:gd name="connsiteY0" fmla="*/ 0 h 257442"/>
                <a:gd name="connsiteX1" fmla="*/ 2000550 w 2223586"/>
                <a:gd name="connsiteY1" fmla="*/ 257442 h 257442"/>
                <a:gd name="connsiteX2" fmla="*/ 1 w 2223586"/>
                <a:gd name="connsiteY2" fmla="*/ 257442 h 257442"/>
                <a:gd name="connsiteX3" fmla="*/ 0 w 2223586"/>
                <a:gd name="connsiteY3" fmla="*/ 0 h 257442"/>
                <a:gd name="connsiteX0" fmla="*/ 2223586 w 2223586"/>
                <a:gd name="connsiteY0" fmla="*/ 0 h 257442"/>
                <a:gd name="connsiteX1" fmla="*/ 2168864 w 2223586"/>
                <a:gd name="connsiteY1" fmla="*/ 257442 h 257442"/>
                <a:gd name="connsiteX2" fmla="*/ 1 w 2223586"/>
                <a:gd name="connsiteY2" fmla="*/ 257442 h 257442"/>
                <a:gd name="connsiteX3" fmla="*/ 0 w 2223586"/>
                <a:gd name="connsiteY3" fmla="*/ 0 h 257442"/>
                <a:gd name="connsiteX0" fmla="*/ 2223586 w 2223586"/>
                <a:gd name="connsiteY0" fmla="*/ 0 h 257442"/>
                <a:gd name="connsiteX1" fmla="*/ 2168864 w 2223586"/>
                <a:gd name="connsiteY1" fmla="*/ 257442 h 257442"/>
                <a:gd name="connsiteX2" fmla="*/ 0 w 2223586"/>
                <a:gd name="connsiteY2" fmla="*/ 257442 h 257442"/>
                <a:gd name="connsiteX3" fmla="*/ 0 w 2223586"/>
                <a:gd name="connsiteY3" fmla="*/ 0 h 257442"/>
                <a:gd name="connsiteX0" fmla="*/ 2223586 w 2223586"/>
                <a:gd name="connsiteY0" fmla="*/ 0 h 257442"/>
                <a:gd name="connsiteX1" fmla="*/ 2168864 w 2223586"/>
                <a:gd name="connsiteY1" fmla="*/ 257442 h 257442"/>
                <a:gd name="connsiteX2" fmla="*/ 0 w 2223586"/>
                <a:gd name="connsiteY2" fmla="*/ 257442 h 257442"/>
                <a:gd name="connsiteX3" fmla="*/ 0 w 2223586"/>
                <a:gd name="connsiteY3" fmla="*/ 0 h 257442"/>
                <a:gd name="connsiteX0" fmla="*/ 2484874 w 2484874"/>
                <a:gd name="connsiteY0" fmla="*/ 0 h 257442"/>
                <a:gd name="connsiteX1" fmla="*/ 2168864 w 2484874"/>
                <a:gd name="connsiteY1" fmla="*/ 257442 h 257442"/>
                <a:gd name="connsiteX2" fmla="*/ 0 w 2484874"/>
                <a:gd name="connsiteY2" fmla="*/ 257442 h 257442"/>
                <a:gd name="connsiteX3" fmla="*/ 0 w 2484874"/>
                <a:gd name="connsiteY3" fmla="*/ 0 h 257442"/>
                <a:gd name="connsiteX0" fmla="*/ 2484874 w 2484874"/>
                <a:gd name="connsiteY0" fmla="*/ 0 h 257442"/>
                <a:gd name="connsiteX1" fmla="*/ 2430153 w 2484874"/>
                <a:gd name="connsiteY1" fmla="*/ 257442 h 257442"/>
                <a:gd name="connsiteX2" fmla="*/ 0 w 2484874"/>
                <a:gd name="connsiteY2" fmla="*/ 257442 h 257442"/>
                <a:gd name="connsiteX3" fmla="*/ 0 w 2484874"/>
                <a:gd name="connsiteY3" fmla="*/ 0 h 257442"/>
                <a:gd name="connsiteX0" fmla="*/ 2484874 w 2484874"/>
                <a:gd name="connsiteY0" fmla="*/ 0 h 257442"/>
                <a:gd name="connsiteX1" fmla="*/ 2430153 w 2484874"/>
                <a:gd name="connsiteY1" fmla="*/ 257442 h 257442"/>
                <a:gd name="connsiteX2" fmla="*/ 0 w 2484874"/>
                <a:gd name="connsiteY2" fmla="*/ 257442 h 257442"/>
                <a:gd name="connsiteX3" fmla="*/ 0 w 2484874"/>
                <a:gd name="connsiteY3" fmla="*/ 0 h 257442"/>
                <a:gd name="connsiteX0" fmla="*/ 2484874 w 2484874"/>
                <a:gd name="connsiteY0" fmla="*/ 0 h 257442"/>
                <a:gd name="connsiteX1" fmla="*/ 2430153 w 2484874"/>
                <a:gd name="connsiteY1" fmla="*/ 257442 h 257442"/>
                <a:gd name="connsiteX2" fmla="*/ 0 w 2484874"/>
                <a:gd name="connsiteY2" fmla="*/ 257442 h 257442"/>
                <a:gd name="connsiteX3" fmla="*/ 0 w 2484874"/>
                <a:gd name="connsiteY3" fmla="*/ 0 h 257442"/>
                <a:gd name="connsiteX0" fmla="*/ 2645175 w 2645175"/>
                <a:gd name="connsiteY0" fmla="*/ 0 h 257442"/>
                <a:gd name="connsiteX1" fmla="*/ 2430153 w 2645175"/>
                <a:gd name="connsiteY1" fmla="*/ 257442 h 257442"/>
                <a:gd name="connsiteX2" fmla="*/ 0 w 2645175"/>
                <a:gd name="connsiteY2" fmla="*/ 257442 h 257442"/>
                <a:gd name="connsiteX3" fmla="*/ 0 w 2645175"/>
                <a:gd name="connsiteY3" fmla="*/ 0 h 257442"/>
                <a:gd name="connsiteX0" fmla="*/ 2645175 w 2645175"/>
                <a:gd name="connsiteY0" fmla="*/ 0 h 257442"/>
                <a:gd name="connsiteX1" fmla="*/ 2590454 w 2645175"/>
                <a:gd name="connsiteY1" fmla="*/ 257442 h 257442"/>
                <a:gd name="connsiteX2" fmla="*/ 0 w 2645175"/>
                <a:gd name="connsiteY2" fmla="*/ 257442 h 257442"/>
                <a:gd name="connsiteX3" fmla="*/ 0 w 2645175"/>
                <a:gd name="connsiteY3" fmla="*/ 0 h 257442"/>
                <a:gd name="connsiteX0" fmla="*/ 2645175 w 2645175"/>
                <a:gd name="connsiteY0" fmla="*/ 0 h 257442"/>
                <a:gd name="connsiteX1" fmla="*/ 2590454 w 2645175"/>
                <a:gd name="connsiteY1" fmla="*/ 257442 h 257442"/>
                <a:gd name="connsiteX2" fmla="*/ 0 w 2645175"/>
                <a:gd name="connsiteY2" fmla="*/ 257442 h 257442"/>
                <a:gd name="connsiteX3" fmla="*/ 0 w 2645175"/>
                <a:gd name="connsiteY3" fmla="*/ 0 h 257442"/>
                <a:gd name="connsiteX0" fmla="*/ 2645175 w 2645175"/>
                <a:gd name="connsiteY0" fmla="*/ 0 h 257442"/>
                <a:gd name="connsiteX1" fmla="*/ 2590454 w 2645175"/>
                <a:gd name="connsiteY1" fmla="*/ 257442 h 257442"/>
                <a:gd name="connsiteX2" fmla="*/ 0 w 2645175"/>
                <a:gd name="connsiteY2" fmla="*/ 257442 h 257442"/>
                <a:gd name="connsiteX3" fmla="*/ 0 w 2645175"/>
                <a:gd name="connsiteY3" fmla="*/ 0 h 257442"/>
                <a:gd name="connsiteX0" fmla="*/ 2813491 w 2813491"/>
                <a:gd name="connsiteY0" fmla="*/ 0 h 257442"/>
                <a:gd name="connsiteX1" fmla="*/ 2590454 w 2813491"/>
                <a:gd name="connsiteY1" fmla="*/ 257442 h 257442"/>
                <a:gd name="connsiteX2" fmla="*/ 0 w 2813491"/>
                <a:gd name="connsiteY2" fmla="*/ 257442 h 257442"/>
                <a:gd name="connsiteX3" fmla="*/ 0 w 2813491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0 w 2813491"/>
                <a:gd name="connsiteY2" fmla="*/ 257442 h 257442"/>
                <a:gd name="connsiteX3" fmla="*/ 0 w 2813491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0 w 2813491"/>
                <a:gd name="connsiteY2" fmla="*/ 257442 h 257442"/>
                <a:gd name="connsiteX3" fmla="*/ 0 w 2813491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0 w 2813491"/>
                <a:gd name="connsiteY2" fmla="*/ 257442 h 257442"/>
                <a:gd name="connsiteX3" fmla="*/ 0 w 2813491"/>
                <a:gd name="connsiteY3" fmla="*/ 0 h 257442"/>
                <a:gd name="connsiteX0" fmla="*/ 2973791 w 2973791"/>
                <a:gd name="connsiteY0" fmla="*/ 0 h 257442"/>
                <a:gd name="connsiteX1" fmla="*/ 2758770 w 2973791"/>
                <a:gd name="connsiteY1" fmla="*/ 257442 h 257442"/>
                <a:gd name="connsiteX2" fmla="*/ 0 w 2973791"/>
                <a:gd name="connsiteY2" fmla="*/ 257442 h 257442"/>
                <a:gd name="connsiteX3" fmla="*/ 0 w 2973791"/>
                <a:gd name="connsiteY3" fmla="*/ 0 h 257442"/>
                <a:gd name="connsiteX0" fmla="*/ 2973791 w 2973791"/>
                <a:gd name="connsiteY0" fmla="*/ 0 h 257442"/>
                <a:gd name="connsiteX1" fmla="*/ 2919070 w 2973791"/>
                <a:gd name="connsiteY1" fmla="*/ 257442 h 257442"/>
                <a:gd name="connsiteX2" fmla="*/ 0 w 2973791"/>
                <a:gd name="connsiteY2" fmla="*/ 257442 h 257442"/>
                <a:gd name="connsiteX3" fmla="*/ 0 w 2973791"/>
                <a:gd name="connsiteY3" fmla="*/ 0 h 257442"/>
                <a:gd name="connsiteX0" fmla="*/ 2973791 w 2973791"/>
                <a:gd name="connsiteY0" fmla="*/ 0 h 257442"/>
                <a:gd name="connsiteX1" fmla="*/ 2919070 w 2973791"/>
                <a:gd name="connsiteY1" fmla="*/ 257442 h 257442"/>
                <a:gd name="connsiteX2" fmla="*/ 0 w 2973791"/>
                <a:gd name="connsiteY2" fmla="*/ 257442 h 257442"/>
                <a:gd name="connsiteX3" fmla="*/ 0 w 2973791"/>
                <a:gd name="connsiteY3" fmla="*/ 0 h 257442"/>
                <a:gd name="connsiteX0" fmla="*/ 2973791 w 2973791"/>
                <a:gd name="connsiteY0" fmla="*/ 0 h 257442"/>
                <a:gd name="connsiteX1" fmla="*/ 2919070 w 2973791"/>
                <a:gd name="connsiteY1" fmla="*/ 257442 h 257442"/>
                <a:gd name="connsiteX2" fmla="*/ 0 w 2973791"/>
                <a:gd name="connsiteY2" fmla="*/ 257442 h 257442"/>
                <a:gd name="connsiteX3" fmla="*/ 0 w 2973791"/>
                <a:gd name="connsiteY3" fmla="*/ 0 h 257442"/>
                <a:gd name="connsiteX0" fmla="*/ 942786 w 2919070"/>
                <a:gd name="connsiteY0" fmla="*/ 0 h 257442"/>
                <a:gd name="connsiteX1" fmla="*/ 2919070 w 2919070"/>
                <a:gd name="connsiteY1" fmla="*/ 257442 h 257442"/>
                <a:gd name="connsiteX2" fmla="*/ 0 w 2919070"/>
                <a:gd name="connsiteY2" fmla="*/ 257442 h 257442"/>
                <a:gd name="connsiteX3" fmla="*/ 0 w 2919070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1111101 w 1111101"/>
                <a:gd name="connsiteY0" fmla="*/ 0 h 257442"/>
                <a:gd name="connsiteX1" fmla="*/ 888065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89034 w 1289034"/>
                <a:gd name="connsiteY0" fmla="*/ 0 h 257442"/>
                <a:gd name="connsiteX1" fmla="*/ 1056380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289034 w 1289034"/>
                <a:gd name="connsiteY0" fmla="*/ 0 h 257442"/>
                <a:gd name="connsiteX1" fmla="*/ 1234312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1 w 1289035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1 w 1289035"/>
                <a:gd name="connsiteY3" fmla="*/ 0 h 257442"/>
                <a:gd name="connsiteX0" fmla="*/ 1457351 w 1457351"/>
                <a:gd name="connsiteY0" fmla="*/ 0 h 257442"/>
                <a:gd name="connsiteX1" fmla="*/ 1234313 w 1457351"/>
                <a:gd name="connsiteY1" fmla="*/ 257442 h 257442"/>
                <a:gd name="connsiteX2" fmla="*/ 0 w 1457351"/>
                <a:gd name="connsiteY2" fmla="*/ 257442 h 257442"/>
                <a:gd name="connsiteX3" fmla="*/ 1 w 1457351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0 w 1457351"/>
                <a:gd name="connsiteY2" fmla="*/ 257442 h 257442"/>
                <a:gd name="connsiteX3" fmla="*/ 1 w 1457351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1 w 1457351"/>
                <a:gd name="connsiteY2" fmla="*/ 257442 h 257442"/>
                <a:gd name="connsiteX3" fmla="*/ 0 w 1457351"/>
                <a:gd name="connsiteY3" fmla="*/ 0 h 257442"/>
                <a:gd name="connsiteX0" fmla="*/ 1710626 w 1710626"/>
                <a:gd name="connsiteY0" fmla="*/ 0 h 257442"/>
                <a:gd name="connsiteX1" fmla="*/ 1402630 w 1710626"/>
                <a:gd name="connsiteY1" fmla="*/ 257442 h 257442"/>
                <a:gd name="connsiteX2" fmla="*/ 1 w 1710626"/>
                <a:gd name="connsiteY2" fmla="*/ 257442 h 257442"/>
                <a:gd name="connsiteX3" fmla="*/ 0 w 1710626"/>
                <a:gd name="connsiteY3" fmla="*/ 0 h 257442"/>
                <a:gd name="connsiteX0" fmla="*/ 1710626 w 1710626"/>
                <a:gd name="connsiteY0" fmla="*/ 0 h 257442"/>
                <a:gd name="connsiteX1" fmla="*/ 1655904 w 1710626"/>
                <a:gd name="connsiteY1" fmla="*/ 257442 h 257442"/>
                <a:gd name="connsiteX2" fmla="*/ 1 w 1710626"/>
                <a:gd name="connsiteY2" fmla="*/ 257442 h 257442"/>
                <a:gd name="connsiteX3" fmla="*/ 0 w 1710626"/>
                <a:gd name="connsiteY3" fmla="*/ 0 h 257442"/>
                <a:gd name="connsiteX0" fmla="*/ 1710626 w 1710626"/>
                <a:gd name="connsiteY0" fmla="*/ 0 h 257442"/>
                <a:gd name="connsiteX1" fmla="*/ 1655904 w 1710626"/>
                <a:gd name="connsiteY1" fmla="*/ 257442 h 257442"/>
                <a:gd name="connsiteX2" fmla="*/ 0 w 1710626"/>
                <a:gd name="connsiteY2" fmla="*/ 257442 h 257442"/>
                <a:gd name="connsiteX3" fmla="*/ 0 w 1710626"/>
                <a:gd name="connsiteY3" fmla="*/ 0 h 257442"/>
                <a:gd name="connsiteX0" fmla="*/ 1710626 w 1710626"/>
                <a:gd name="connsiteY0" fmla="*/ 0 h 257442"/>
                <a:gd name="connsiteX1" fmla="*/ 1655904 w 1710626"/>
                <a:gd name="connsiteY1" fmla="*/ 257442 h 257442"/>
                <a:gd name="connsiteX2" fmla="*/ 0 w 1710626"/>
                <a:gd name="connsiteY2" fmla="*/ 257442 h 257442"/>
                <a:gd name="connsiteX3" fmla="*/ 0 w 1710626"/>
                <a:gd name="connsiteY3" fmla="*/ 0 h 257442"/>
                <a:gd name="connsiteX0" fmla="*/ 2023210 w 2023210"/>
                <a:gd name="connsiteY0" fmla="*/ 0 h 257442"/>
                <a:gd name="connsiteX1" fmla="*/ 1655904 w 2023210"/>
                <a:gd name="connsiteY1" fmla="*/ 257442 h 257442"/>
                <a:gd name="connsiteX2" fmla="*/ 0 w 2023210"/>
                <a:gd name="connsiteY2" fmla="*/ 257442 h 257442"/>
                <a:gd name="connsiteX3" fmla="*/ 0 w 2023210"/>
                <a:gd name="connsiteY3" fmla="*/ 0 h 257442"/>
                <a:gd name="connsiteX0" fmla="*/ 2023210 w 2023210"/>
                <a:gd name="connsiteY0" fmla="*/ 0 h 257442"/>
                <a:gd name="connsiteX1" fmla="*/ 1968489 w 2023210"/>
                <a:gd name="connsiteY1" fmla="*/ 257442 h 257442"/>
                <a:gd name="connsiteX2" fmla="*/ 0 w 2023210"/>
                <a:gd name="connsiteY2" fmla="*/ 257442 h 257442"/>
                <a:gd name="connsiteX3" fmla="*/ 0 w 2023210"/>
                <a:gd name="connsiteY3" fmla="*/ 0 h 257442"/>
                <a:gd name="connsiteX0" fmla="*/ 2023210 w 2023210"/>
                <a:gd name="connsiteY0" fmla="*/ 0 h 257442"/>
                <a:gd name="connsiteX1" fmla="*/ 1968489 w 2023210"/>
                <a:gd name="connsiteY1" fmla="*/ 257442 h 257442"/>
                <a:gd name="connsiteX2" fmla="*/ 0 w 2023210"/>
                <a:gd name="connsiteY2" fmla="*/ 257442 h 257442"/>
                <a:gd name="connsiteX3" fmla="*/ 0 w 2023210"/>
                <a:gd name="connsiteY3" fmla="*/ 0 h 257442"/>
                <a:gd name="connsiteX0" fmla="*/ 2023210 w 2023210"/>
                <a:gd name="connsiteY0" fmla="*/ 0 h 257442"/>
                <a:gd name="connsiteX1" fmla="*/ 1968489 w 2023210"/>
                <a:gd name="connsiteY1" fmla="*/ 257442 h 257442"/>
                <a:gd name="connsiteX2" fmla="*/ 0 w 2023210"/>
                <a:gd name="connsiteY2" fmla="*/ 257442 h 257442"/>
                <a:gd name="connsiteX3" fmla="*/ 0 w 2023210"/>
                <a:gd name="connsiteY3" fmla="*/ 0 h 257442"/>
                <a:gd name="connsiteX0" fmla="*/ 2191525 w 2191525"/>
                <a:gd name="connsiteY0" fmla="*/ 0 h 257442"/>
                <a:gd name="connsiteX1" fmla="*/ 1968489 w 2191525"/>
                <a:gd name="connsiteY1" fmla="*/ 257442 h 257442"/>
                <a:gd name="connsiteX2" fmla="*/ 0 w 2191525"/>
                <a:gd name="connsiteY2" fmla="*/ 257442 h 257442"/>
                <a:gd name="connsiteX3" fmla="*/ 0 w 2191525"/>
                <a:gd name="connsiteY3" fmla="*/ 0 h 257442"/>
                <a:gd name="connsiteX0" fmla="*/ 2191525 w 2191525"/>
                <a:gd name="connsiteY0" fmla="*/ 0 h 257442"/>
                <a:gd name="connsiteX1" fmla="*/ 2136804 w 2191525"/>
                <a:gd name="connsiteY1" fmla="*/ 257442 h 257442"/>
                <a:gd name="connsiteX2" fmla="*/ 0 w 2191525"/>
                <a:gd name="connsiteY2" fmla="*/ 257442 h 257442"/>
                <a:gd name="connsiteX3" fmla="*/ 0 w 2191525"/>
                <a:gd name="connsiteY3" fmla="*/ 0 h 257442"/>
                <a:gd name="connsiteX0" fmla="*/ 2191525 w 2191525"/>
                <a:gd name="connsiteY0" fmla="*/ 0 h 257442"/>
                <a:gd name="connsiteX1" fmla="*/ 2136804 w 2191525"/>
                <a:gd name="connsiteY1" fmla="*/ 257442 h 257442"/>
                <a:gd name="connsiteX2" fmla="*/ 0 w 2191525"/>
                <a:gd name="connsiteY2" fmla="*/ 257442 h 257442"/>
                <a:gd name="connsiteX3" fmla="*/ 0 w 2191525"/>
                <a:gd name="connsiteY3" fmla="*/ 0 h 257442"/>
                <a:gd name="connsiteX0" fmla="*/ 2191525 w 2191525"/>
                <a:gd name="connsiteY0" fmla="*/ 0 h 257442"/>
                <a:gd name="connsiteX1" fmla="*/ 2136804 w 2191525"/>
                <a:gd name="connsiteY1" fmla="*/ 257442 h 257442"/>
                <a:gd name="connsiteX2" fmla="*/ 0 w 2191525"/>
                <a:gd name="connsiteY2" fmla="*/ 257442 h 257442"/>
                <a:gd name="connsiteX3" fmla="*/ 0 w 2191525"/>
                <a:gd name="connsiteY3" fmla="*/ 0 h 257442"/>
                <a:gd name="connsiteX0" fmla="*/ 2377474 w 2377474"/>
                <a:gd name="connsiteY0" fmla="*/ 0 h 257442"/>
                <a:gd name="connsiteX1" fmla="*/ 2136804 w 2377474"/>
                <a:gd name="connsiteY1" fmla="*/ 257442 h 257442"/>
                <a:gd name="connsiteX2" fmla="*/ 0 w 2377474"/>
                <a:gd name="connsiteY2" fmla="*/ 257442 h 257442"/>
                <a:gd name="connsiteX3" fmla="*/ 0 w 2377474"/>
                <a:gd name="connsiteY3" fmla="*/ 0 h 257442"/>
                <a:gd name="connsiteX0" fmla="*/ 2377474 w 2377474"/>
                <a:gd name="connsiteY0" fmla="*/ 0 h 257442"/>
                <a:gd name="connsiteX1" fmla="*/ 2322752 w 2377474"/>
                <a:gd name="connsiteY1" fmla="*/ 257442 h 257442"/>
                <a:gd name="connsiteX2" fmla="*/ 0 w 2377474"/>
                <a:gd name="connsiteY2" fmla="*/ 257442 h 257442"/>
                <a:gd name="connsiteX3" fmla="*/ 0 w 2377474"/>
                <a:gd name="connsiteY3" fmla="*/ 0 h 257442"/>
                <a:gd name="connsiteX0" fmla="*/ 2377475 w 2377475"/>
                <a:gd name="connsiteY0" fmla="*/ 0 h 257442"/>
                <a:gd name="connsiteX1" fmla="*/ 2322753 w 2377475"/>
                <a:gd name="connsiteY1" fmla="*/ 257442 h 257442"/>
                <a:gd name="connsiteX2" fmla="*/ 0 w 2377475"/>
                <a:gd name="connsiteY2" fmla="*/ 257442 h 257442"/>
                <a:gd name="connsiteX3" fmla="*/ 1 w 2377475"/>
                <a:gd name="connsiteY3" fmla="*/ 0 h 257442"/>
                <a:gd name="connsiteX0" fmla="*/ 2377475 w 2377475"/>
                <a:gd name="connsiteY0" fmla="*/ 0 h 257442"/>
                <a:gd name="connsiteX1" fmla="*/ 2322753 w 2377475"/>
                <a:gd name="connsiteY1" fmla="*/ 257442 h 257442"/>
                <a:gd name="connsiteX2" fmla="*/ 0 w 2377475"/>
                <a:gd name="connsiteY2" fmla="*/ 257442 h 257442"/>
                <a:gd name="connsiteX3" fmla="*/ 1 w 2377475"/>
                <a:gd name="connsiteY3" fmla="*/ 0 h 257442"/>
                <a:gd name="connsiteX0" fmla="*/ 2646779 w 2646779"/>
                <a:gd name="connsiteY0" fmla="*/ 0 h 257442"/>
                <a:gd name="connsiteX1" fmla="*/ 2322753 w 2646779"/>
                <a:gd name="connsiteY1" fmla="*/ 257442 h 257442"/>
                <a:gd name="connsiteX2" fmla="*/ 0 w 2646779"/>
                <a:gd name="connsiteY2" fmla="*/ 257442 h 257442"/>
                <a:gd name="connsiteX3" fmla="*/ 1 w 2646779"/>
                <a:gd name="connsiteY3" fmla="*/ 0 h 257442"/>
                <a:gd name="connsiteX0" fmla="*/ 2646779 w 2646779"/>
                <a:gd name="connsiteY0" fmla="*/ 0 h 257442"/>
                <a:gd name="connsiteX1" fmla="*/ 2592058 w 2646779"/>
                <a:gd name="connsiteY1" fmla="*/ 257442 h 257442"/>
                <a:gd name="connsiteX2" fmla="*/ 0 w 2646779"/>
                <a:gd name="connsiteY2" fmla="*/ 257442 h 257442"/>
                <a:gd name="connsiteX3" fmla="*/ 1 w 2646779"/>
                <a:gd name="connsiteY3" fmla="*/ 0 h 257442"/>
                <a:gd name="connsiteX0" fmla="*/ 2646778 w 2646778"/>
                <a:gd name="connsiteY0" fmla="*/ 0 h 257442"/>
                <a:gd name="connsiteX1" fmla="*/ 2592057 w 2646778"/>
                <a:gd name="connsiteY1" fmla="*/ 257442 h 257442"/>
                <a:gd name="connsiteX2" fmla="*/ 0 w 2646778"/>
                <a:gd name="connsiteY2" fmla="*/ 257442 h 257442"/>
                <a:gd name="connsiteX3" fmla="*/ 0 w 2646778"/>
                <a:gd name="connsiteY3" fmla="*/ 0 h 257442"/>
                <a:gd name="connsiteX0" fmla="*/ 2646779 w 2646779"/>
                <a:gd name="connsiteY0" fmla="*/ 0 h 257442"/>
                <a:gd name="connsiteX1" fmla="*/ 2592058 w 2646779"/>
                <a:gd name="connsiteY1" fmla="*/ 257442 h 257442"/>
                <a:gd name="connsiteX2" fmla="*/ 1 w 2646779"/>
                <a:gd name="connsiteY2" fmla="*/ 257442 h 257442"/>
                <a:gd name="connsiteX3" fmla="*/ 0 w 2646779"/>
                <a:gd name="connsiteY3" fmla="*/ 0 h 257442"/>
                <a:gd name="connsiteX0" fmla="*/ 2815094 w 2815094"/>
                <a:gd name="connsiteY0" fmla="*/ 0 h 257442"/>
                <a:gd name="connsiteX1" fmla="*/ 2592058 w 2815094"/>
                <a:gd name="connsiteY1" fmla="*/ 257442 h 257442"/>
                <a:gd name="connsiteX2" fmla="*/ 1 w 2815094"/>
                <a:gd name="connsiteY2" fmla="*/ 257442 h 257442"/>
                <a:gd name="connsiteX3" fmla="*/ 0 w 2815094"/>
                <a:gd name="connsiteY3" fmla="*/ 0 h 257442"/>
                <a:gd name="connsiteX0" fmla="*/ 2815094 w 2815094"/>
                <a:gd name="connsiteY0" fmla="*/ 0 h 257442"/>
                <a:gd name="connsiteX1" fmla="*/ 2760372 w 2815094"/>
                <a:gd name="connsiteY1" fmla="*/ 257442 h 257442"/>
                <a:gd name="connsiteX2" fmla="*/ 1 w 2815094"/>
                <a:gd name="connsiteY2" fmla="*/ 257442 h 257442"/>
                <a:gd name="connsiteX3" fmla="*/ 0 w 2815094"/>
                <a:gd name="connsiteY3" fmla="*/ 0 h 257442"/>
                <a:gd name="connsiteX0" fmla="*/ 2815094 w 2815094"/>
                <a:gd name="connsiteY0" fmla="*/ 0 h 257442"/>
                <a:gd name="connsiteX1" fmla="*/ 2760372 w 2815094"/>
                <a:gd name="connsiteY1" fmla="*/ 257442 h 257442"/>
                <a:gd name="connsiteX2" fmla="*/ 0 w 2815094"/>
                <a:gd name="connsiteY2" fmla="*/ 257442 h 257442"/>
                <a:gd name="connsiteX3" fmla="*/ 0 w 2815094"/>
                <a:gd name="connsiteY3" fmla="*/ 0 h 257442"/>
                <a:gd name="connsiteX0" fmla="*/ 2815094 w 2815094"/>
                <a:gd name="connsiteY0" fmla="*/ 0 h 257442"/>
                <a:gd name="connsiteX1" fmla="*/ 2760372 w 2815094"/>
                <a:gd name="connsiteY1" fmla="*/ 257442 h 257442"/>
                <a:gd name="connsiteX2" fmla="*/ 0 w 2815094"/>
                <a:gd name="connsiteY2" fmla="*/ 257442 h 257442"/>
                <a:gd name="connsiteX3" fmla="*/ 0 w 2815094"/>
                <a:gd name="connsiteY3" fmla="*/ 0 h 257442"/>
                <a:gd name="connsiteX0" fmla="*/ 3076383 w 3076383"/>
                <a:gd name="connsiteY0" fmla="*/ 0 h 257442"/>
                <a:gd name="connsiteX1" fmla="*/ 276037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076383 w 3076383"/>
                <a:gd name="connsiteY0" fmla="*/ 0 h 257442"/>
                <a:gd name="connsiteX1" fmla="*/ 302166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076383 w 3076383"/>
                <a:gd name="connsiteY0" fmla="*/ 0 h 257442"/>
                <a:gd name="connsiteX1" fmla="*/ 302166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076383 w 3076383"/>
                <a:gd name="connsiteY0" fmla="*/ 0 h 257442"/>
                <a:gd name="connsiteX1" fmla="*/ 302166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236683 w 3236683"/>
                <a:gd name="connsiteY0" fmla="*/ 0 h 257442"/>
                <a:gd name="connsiteX1" fmla="*/ 3021662 w 3236683"/>
                <a:gd name="connsiteY1" fmla="*/ 257442 h 257442"/>
                <a:gd name="connsiteX2" fmla="*/ 0 w 3236683"/>
                <a:gd name="connsiteY2" fmla="*/ 257442 h 257442"/>
                <a:gd name="connsiteX3" fmla="*/ 0 w 3236683"/>
                <a:gd name="connsiteY3" fmla="*/ 0 h 257442"/>
                <a:gd name="connsiteX0" fmla="*/ 3236683 w 3236683"/>
                <a:gd name="connsiteY0" fmla="*/ 0 h 257442"/>
                <a:gd name="connsiteX1" fmla="*/ 3181962 w 3236683"/>
                <a:gd name="connsiteY1" fmla="*/ 257442 h 257442"/>
                <a:gd name="connsiteX2" fmla="*/ 0 w 3236683"/>
                <a:gd name="connsiteY2" fmla="*/ 257442 h 257442"/>
                <a:gd name="connsiteX3" fmla="*/ 0 w 3236683"/>
                <a:gd name="connsiteY3" fmla="*/ 0 h 257442"/>
                <a:gd name="connsiteX0" fmla="*/ 3236683 w 3236683"/>
                <a:gd name="connsiteY0" fmla="*/ 0 h 257442"/>
                <a:gd name="connsiteX1" fmla="*/ 3181962 w 3236683"/>
                <a:gd name="connsiteY1" fmla="*/ 257442 h 257442"/>
                <a:gd name="connsiteX2" fmla="*/ 0 w 3236683"/>
                <a:gd name="connsiteY2" fmla="*/ 257442 h 257442"/>
                <a:gd name="connsiteX3" fmla="*/ 0 w 3236683"/>
                <a:gd name="connsiteY3" fmla="*/ 0 h 257442"/>
                <a:gd name="connsiteX0" fmla="*/ 3236683 w 3236683"/>
                <a:gd name="connsiteY0" fmla="*/ 0 h 257442"/>
                <a:gd name="connsiteX1" fmla="*/ 3181962 w 3236683"/>
                <a:gd name="connsiteY1" fmla="*/ 257442 h 257442"/>
                <a:gd name="connsiteX2" fmla="*/ 0 w 3236683"/>
                <a:gd name="connsiteY2" fmla="*/ 257442 h 257442"/>
                <a:gd name="connsiteX3" fmla="*/ 0 w 3236683"/>
                <a:gd name="connsiteY3" fmla="*/ 0 h 257442"/>
                <a:gd name="connsiteX0" fmla="*/ 3404998 w 3404998"/>
                <a:gd name="connsiteY0" fmla="*/ 0 h 257442"/>
                <a:gd name="connsiteX1" fmla="*/ 3181962 w 3404998"/>
                <a:gd name="connsiteY1" fmla="*/ 257442 h 257442"/>
                <a:gd name="connsiteX2" fmla="*/ 0 w 3404998"/>
                <a:gd name="connsiteY2" fmla="*/ 257442 h 257442"/>
                <a:gd name="connsiteX3" fmla="*/ 0 w 3404998"/>
                <a:gd name="connsiteY3" fmla="*/ 0 h 257442"/>
                <a:gd name="connsiteX0" fmla="*/ 3404998 w 3404998"/>
                <a:gd name="connsiteY0" fmla="*/ 0 h 257442"/>
                <a:gd name="connsiteX1" fmla="*/ 3350276 w 3404998"/>
                <a:gd name="connsiteY1" fmla="*/ 257442 h 257442"/>
                <a:gd name="connsiteX2" fmla="*/ 0 w 3404998"/>
                <a:gd name="connsiteY2" fmla="*/ 257442 h 257442"/>
                <a:gd name="connsiteX3" fmla="*/ 0 w 3404998"/>
                <a:gd name="connsiteY3" fmla="*/ 0 h 257442"/>
                <a:gd name="connsiteX0" fmla="*/ 3404999 w 3404999"/>
                <a:gd name="connsiteY0" fmla="*/ 0 h 257442"/>
                <a:gd name="connsiteX1" fmla="*/ 3350277 w 3404999"/>
                <a:gd name="connsiteY1" fmla="*/ 257442 h 257442"/>
                <a:gd name="connsiteX2" fmla="*/ 0 w 3404999"/>
                <a:gd name="connsiteY2" fmla="*/ 257442 h 257442"/>
                <a:gd name="connsiteX3" fmla="*/ 1 w 3404999"/>
                <a:gd name="connsiteY3" fmla="*/ 0 h 257442"/>
                <a:gd name="connsiteX0" fmla="*/ 3404999 w 3404999"/>
                <a:gd name="connsiteY0" fmla="*/ 0 h 257442"/>
                <a:gd name="connsiteX1" fmla="*/ 3350277 w 3404999"/>
                <a:gd name="connsiteY1" fmla="*/ 257442 h 257442"/>
                <a:gd name="connsiteX2" fmla="*/ 0 w 3404999"/>
                <a:gd name="connsiteY2" fmla="*/ 257442 h 257442"/>
                <a:gd name="connsiteX3" fmla="*/ 1 w 3404999"/>
                <a:gd name="connsiteY3" fmla="*/ 0 h 257442"/>
                <a:gd name="connsiteX0" fmla="*/ 3565299 w 3565299"/>
                <a:gd name="connsiteY0" fmla="*/ 0 h 257442"/>
                <a:gd name="connsiteX1" fmla="*/ 3350277 w 3565299"/>
                <a:gd name="connsiteY1" fmla="*/ 257442 h 257442"/>
                <a:gd name="connsiteX2" fmla="*/ 0 w 3565299"/>
                <a:gd name="connsiteY2" fmla="*/ 257442 h 257442"/>
                <a:gd name="connsiteX3" fmla="*/ 1 w 3565299"/>
                <a:gd name="connsiteY3" fmla="*/ 0 h 257442"/>
                <a:gd name="connsiteX0" fmla="*/ 3565299 w 3565299"/>
                <a:gd name="connsiteY0" fmla="*/ 0 h 257442"/>
                <a:gd name="connsiteX1" fmla="*/ 3510578 w 3565299"/>
                <a:gd name="connsiteY1" fmla="*/ 257442 h 257442"/>
                <a:gd name="connsiteX2" fmla="*/ 0 w 3565299"/>
                <a:gd name="connsiteY2" fmla="*/ 257442 h 257442"/>
                <a:gd name="connsiteX3" fmla="*/ 1 w 3565299"/>
                <a:gd name="connsiteY3" fmla="*/ 0 h 257442"/>
                <a:gd name="connsiteX0" fmla="*/ 3565298 w 3565298"/>
                <a:gd name="connsiteY0" fmla="*/ 0 h 257442"/>
                <a:gd name="connsiteX1" fmla="*/ 3510577 w 3565298"/>
                <a:gd name="connsiteY1" fmla="*/ 257442 h 257442"/>
                <a:gd name="connsiteX2" fmla="*/ 0 w 3565298"/>
                <a:gd name="connsiteY2" fmla="*/ 257442 h 257442"/>
                <a:gd name="connsiteX3" fmla="*/ 0 w 3565298"/>
                <a:gd name="connsiteY3" fmla="*/ 0 h 257442"/>
                <a:gd name="connsiteX0" fmla="*/ 3565299 w 3565299"/>
                <a:gd name="connsiteY0" fmla="*/ 0 h 257442"/>
                <a:gd name="connsiteX1" fmla="*/ 3510578 w 3565299"/>
                <a:gd name="connsiteY1" fmla="*/ 257442 h 257442"/>
                <a:gd name="connsiteX2" fmla="*/ 1 w 3565299"/>
                <a:gd name="connsiteY2" fmla="*/ 257442 h 257442"/>
                <a:gd name="connsiteX3" fmla="*/ 0 w 3565299"/>
                <a:gd name="connsiteY3" fmla="*/ 0 h 257442"/>
                <a:gd name="connsiteX0" fmla="*/ 2887678 w 3510578"/>
                <a:gd name="connsiteY0" fmla="*/ 0 h 257442"/>
                <a:gd name="connsiteX1" fmla="*/ 3510578 w 3510578"/>
                <a:gd name="connsiteY1" fmla="*/ 257442 h 257442"/>
                <a:gd name="connsiteX2" fmla="*/ 1 w 3510578"/>
                <a:gd name="connsiteY2" fmla="*/ 257442 h 257442"/>
                <a:gd name="connsiteX3" fmla="*/ 0 w 3510578"/>
                <a:gd name="connsiteY3" fmla="*/ 0 h 257442"/>
                <a:gd name="connsiteX0" fmla="*/ 2887678 w 2887678"/>
                <a:gd name="connsiteY0" fmla="*/ 0 h 257442"/>
                <a:gd name="connsiteX1" fmla="*/ 2832957 w 2887678"/>
                <a:gd name="connsiteY1" fmla="*/ 257442 h 257442"/>
                <a:gd name="connsiteX2" fmla="*/ 1 w 2887678"/>
                <a:gd name="connsiteY2" fmla="*/ 257442 h 257442"/>
                <a:gd name="connsiteX3" fmla="*/ 0 w 2887678"/>
                <a:gd name="connsiteY3" fmla="*/ 0 h 257442"/>
                <a:gd name="connsiteX0" fmla="*/ 2887678 w 2887678"/>
                <a:gd name="connsiteY0" fmla="*/ 0 h 257442"/>
                <a:gd name="connsiteX1" fmla="*/ 2832957 w 2887678"/>
                <a:gd name="connsiteY1" fmla="*/ 257442 h 257442"/>
                <a:gd name="connsiteX2" fmla="*/ 1 w 2887678"/>
                <a:gd name="connsiteY2" fmla="*/ 257442 h 257442"/>
                <a:gd name="connsiteX3" fmla="*/ 0 w 2887678"/>
                <a:gd name="connsiteY3" fmla="*/ 0 h 257442"/>
                <a:gd name="connsiteX0" fmla="*/ 2887677 w 2887677"/>
                <a:gd name="connsiteY0" fmla="*/ 0 h 257442"/>
                <a:gd name="connsiteX1" fmla="*/ 2832956 w 2887677"/>
                <a:gd name="connsiteY1" fmla="*/ 257442 h 257442"/>
                <a:gd name="connsiteX2" fmla="*/ 0 w 2887677"/>
                <a:gd name="connsiteY2" fmla="*/ 257442 h 257442"/>
                <a:gd name="connsiteX3" fmla="*/ 0 w 2887677"/>
                <a:gd name="connsiteY3" fmla="*/ 0 h 257442"/>
                <a:gd name="connsiteX0" fmla="*/ 3068368 w 3068368"/>
                <a:gd name="connsiteY0" fmla="*/ 0 h 257442"/>
                <a:gd name="connsiteX1" fmla="*/ 2832956 w 3068368"/>
                <a:gd name="connsiteY1" fmla="*/ 257442 h 257442"/>
                <a:gd name="connsiteX2" fmla="*/ 0 w 3068368"/>
                <a:gd name="connsiteY2" fmla="*/ 257442 h 257442"/>
                <a:gd name="connsiteX3" fmla="*/ 0 w 3068368"/>
                <a:gd name="connsiteY3" fmla="*/ 0 h 257442"/>
                <a:gd name="connsiteX0" fmla="*/ 3068368 w 3068368"/>
                <a:gd name="connsiteY0" fmla="*/ 0 h 257442"/>
                <a:gd name="connsiteX1" fmla="*/ 3013646 w 3068368"/>
                <a:gd name="connsiteY1" fmla="*/ 257442 h 257442"/>
                <a:gd name="connsiteX2" fmla="*/ 0 w 3068368"/>
                <a:gd name="connsiteY2" fmla="*/ 257442 h 257442"/>
                <a:gd name="connsiteX3" fmla="*/ 0 w 3068368"/>
                <a:gd name="connsiteY3" fmla="*/ 0 h 257442"/>
                <a:gd name="connsiteX0" fmla="*/ 3068369 w 3068369"/>
                <a:gd name="connsiteY0" fmla="*/ 0 h 257442"/>
                <a:gd name="connsiteX1" fmla="*/ 3013647 w 3068369"/>
                <a:gd name="connsiteY1" fmla="*/ 257442 h 257442"/>
                <a:gd name="connsiteX2" fmla="*/ 0 w 3068369"/>
                <a:gd name="connsiteY2" fmla="*/ 257442 h 257442"/>
                <a:gd name="connsiteX3" fmla="*/ 1 w 3068369"/>
                <a:gd name="connsiteY3" fmla="*/ 0 h 257442"/>
                <a:gd name="connsiteX0" fmla="*/ 3068369 w 3068369"/>
                <a:gd name="connsiteY0" fmla="*/ 0 h 257442"/>
                <a:gd name="connsiteX1" fmla="*/ 3013647 w 3068369"/>
                <a:gd name="connsiteY1" fmla="*/ 257442 h 257442"/>
                <a:gd name="connsiteX2" fmla="*/ 0 w 3068369"/>
                <a:gd name="connsiteY2" fmla="*/ 257442 h 257442"/>
                <a:gd name="connsiteX3" fmla="*/ 1 w 3068369"/>
                <a:gd name="connsiteY3" fmla="*/ 0 h 257442"/>
                <a:gd name="connsiteX0" fmla="*/ 3236684 w 3236684"/>
                <a:gd name="connsiteY0" fmla="*/ 0 h 257442"/>
                <a:gd name="connsiteX1" fmla="*/ 3013647 w 3236684"/>
                <a:gd name="connsiteY1" fmla="*/ 257442 h 257442"/>
                <a:gd name="connsiteX2" fmla="*/ 0 w 3236684"/>
                <a:gd name="connsiteY2" fmla="*/ 257442 h 257442"/>
                <a:gd name="connsiteX3" fmla="*/ 1 w 3236684"/>
                <a:gd name="connsiteY3" fmla="*/ 0 h 257442"/>
                <a:gd name="connsiteX0" fmla="*/ 3236684 w 3236684"/>
                <a:gd name="connsiteY0" fmla="*/ 0 h 257442"/>
                <a:gd name="connsiteX1" fmla="*/ 3181962 w 3236684"/>
                <a:gd name="connsiteY1" fmla="*/ 257442 h 257442"/>
                <a:gd name="connsiteX2" fmla="*/ 0 w 3236684"/>
                <a:gd name="connsiteY2" fmla="*/ 257442 h 257442"/>
                <a:gd name="connsiteX3" fmla="*/ 1 w 3236684"/>
                <a:gd name="connsiteY3" fmla="*/ 0 h 257442"/>
                <a:gd name="connsiteX0" fmla="*/ 3236684 w 3236684"/>
                <a:gd name="connsiteY0" fmla="*/ 0 h 257442"/>
                <a:gd name="connsiteX1" fmla="*/ 3181962 w 3236684"/>
                <a:gd name="connsiteY1" fmla="*/ 257442 h 257442"/>
                <a:gd name="connsiteX2" fmla="*/ 0 w 3236684"/>
                <a:gd name="connsiteY2" fmla="*/ 257442 h 257442"/>
                <a:gd name="connsiteX3" fmla="*/ 1 w 3236684"/>
                <a:gd name="connsiteY3" fmla="*/ 0 h 257442"/>
                <a:gd name="connsiteX0" fmla="*/ 3236684 w 3236684"/>
                <a:gd name="connsiteY0" fmla="*/ 0 h 257442"/>
                <a:gd name="connsiteX1" fmla="*/ 3181962 w 3236684"/>
                <a:gd name="connsiteY1" fmla="*/ 257442 h 257442"/>
                <a:gd name="connsiteX2" fmla="*/ 0 w 3236684"/>
                <a:gd name="connsiteY2" fmla="*/ 257442 h 257442"/>
                <a:gd name="connsiteX3" fmla="*/ 0 w 3236684"/>
                <a:gd name="connsiteY3" fmla="*/ 0 h 257442"/>
                <a:gd name="connsiteX0" fmla="*/ 3414616 w 3414616"/>
                <a:gd name="connsiteY0" fmla="*/ 0 h 257442"/>
                <a:gd name="connsiteX1" fmla="*/ 3181962 w 3414616"/>
                <a:gd name="connsiteY1" fmla="*/ 257442 h 257442"/>
                <a:gd name="connsiteX2" fmla="*/ 0 w 3414616"/>
                <a:gd name="connsiteY2" fmla="*/ 257442 h 257442"/>
                <a:gd name="connsiteX3" fmla="*/ 0 w 3414616"/>
                <a:gd name="connsiteY3" fmla="*/ 0 h 257442"/>
                <a:gd name="connsiteX0" fmla="*/ 3414616 w 3414616"/>
                <a:gd name="connsiteY0" fmla="*/ 0 h 257442"/>
                <a:gd name="connsiteX1" fmla="*/ 3359895 w 3414616"/>
                <a:gd name="connsiteY1" fmla="*/ 257442 h 257442"/>
                <a:gd name="connsiteX2" fmla="*/ 0 w 3414616"/>
                <a:gd name="connsiteY2" fmla="*/ 257442 h 257442"/>
                <a:gd name="connsiteX3" fmla="*/ 0 w 3414616"/>
                <a:gd name="connsiteY3" fmla="*/ 0 h 257442"/>
                <a:gd name="connsiteX0" fmla="*/ 3414616 w 3414616"/>
                <a:gd name="connsiteY0" fmla="*/ 0 h 257442"/>
                <a:gd name="connsiteX1" fmla="*/ 3359895 w 3414616"/>
                <a:gd name="connsiteY1" fmla="*/ 257442 h 257442"/>
                <a:gd name="connsiteX2" fmla="*/ 0 w 3414616"/>
                <a:gd name="connsiteY2" fmla="*/ 257442 h 257442"/>
                <a:gd name="connsiteX3" fmla="*/ 0 w 3414616"/>
                <a:gd name="connsiteY3" fmla="*/ 0 h 257442"/>
                <a:gd name="connsiteX0" fmla="*/ 3414616 w 3414616"/>
                <a:gd name="connsiteY0" fmla="*/ 0 h 257442"/>
                <a:gd name="connsiteX1" fmla="*/ 3359895 w 3414616"/>
                <a:gd name="connsiteY1" fmla="*/ 257442 h 257442"/>
                <a:gd name="connsiteX2" fmla="*/ 0 w 3414616"/>
                <a:gd name="connsiteY2" fmla="*/ 257442 h 257442"/>
                <a:gd name="connsiteX3" fmla="*/ 0 w 3414616"/>
                <a:gd name="connsiteY3" fmla="*/ 0 h 257442"/>
                <a:gd name="connsiteX0" fmla="*/ 2480066 w 3359895"/>
                <a:gd name="connsiteY0" fmla="*/ 0 h 257442"/>
                <a:gd name="connsiteX1" fmla="*/ 3359895 w 3359895"/>
                <a:gd name="connsiteY1" fmla="*/ 257442 h 257442"/>
                <a:gd name="connsiteX2" fmla="*/ 0 w 3359895"/>
                <a:gd name="connsiteY2" fmla="*/ 257442 h 257442"/>
                <a:gd name="connsiteX3" fmla="*/ 0 w 3359895"/>
                <a:gd name="connsiteY3" fmla="*/ 0 h 257442"/>
                <a:gd name="connsiteX0" fmla="*/ 2480066 w 2480066"/>
                <a:gd name="connsiteY0" fmla="*/ 0 h 257442"/>
                <a:gd name="connsiteX1" fmla="*/ 2425346 w 2480066"/>
                <a:gd name="connsiteY1" fmla="*/ 257442 h 257442"/>
                <a:gd name="connsiteX2" fmla="*/ 0 w 2480066"/>
                <a:gd name="connsiteY2" fmla="*/ 257442 h 257442"/>
                <a:gd name="connsiteX3" fmla="*/ 0 w 2480066"/>
                <a:gd name="connsiteY3" fmla="*/ 0 h 257442"/>
                <a:gd name="connsiteX0" fmla="*/ 2480066 w 2480066"/>
                <a:gd name="connsiteY0" fmla="*/ 0 h 257442"/>
                <a:gd name="connsiteX1" fmla="*/ 2425346 w 2480066"/>
                <a:gd name="connsiteY1" fmla="*/ 257442 h 257442"/>
                <a:gd name="connsiteX2" fmla="*/ 1 w 2480066"/>
                <a:gd name="connsiteY2" fmla="*/ 257442 h 257442"/>
                <a:gd name="connsiteX3" fmla="*/ 0 w 2480066"/>
                <a:gd name="connsiteY3" fmla="*/ 0 h 257442"/>
                <a:gd name="connsiteX0" fmla="*/ 2480065 w 2480065"/>
                <a:gd name="connsiteY0" fmla="*/ 0 h 257442"/>
                <a:gd name="connsiteX1" fmla="*/ 2425345 w 2480065"/>
                <a:gd name="connsiteY1" fmla="*/ 257442 h 257442"/>
                <a:gd name="connsiteX2" fmla="*/ 0 w 2480065"/>
                <a:gd name="connsiteY2" fmla="*/ 257442 h 257442"/>
                <a:gd name="connsiteX3" fmla="*/ 0 w 2480065"/>
                <a:gd name="connsiteY3" fmla="*/ 0 h 257442"/>
                <a:gd name="connsiteX0" fmla="*/ 2648381 w 2648381"/>
                <a:gd name="connsiteY0" fmla="*/ 0 h 257442"/>
                <a:gd name="connsiteX1" fmla="*/ 2425345 w 2648381"/>
                <a:gd name="connsiteY1" fmla="*/ 257442 h 257442"/>
                <a:gd name="connsiteX2" fmla="*/ 0 w 2648381"/>
                <a:gd name="connsiteY2" fmla="*/ 257442 h 257442"/>
                <a:gd name="connsiteX3" fmla="*/ 0 w 2648381"/>
                <a:gd name="connsiteY3" fmla="*/ 0 h 257442"/>
                <a:gd name="connsiteX0" fmla="*/ 2648381 w 2648381"/>
                <a:gd name="connsiteY0" fmla="*/ 0 h 257442"/>
                <a:gd name="connsiteX1" fmla="*/ 2593660 w 2648381"/>
                <a:gd name="connsiteY1" fmla="*/ 257442 h 257442"/>
                <a:gd name="connsiteX2" fmla="*/ 0 w 2648381"/>
                <a:gd name="connsiteY2" fmla="*/ 257442 h 257442"/>
                <a:gd name="connsiteX3" fmla="*/ 0 w 2648381"/>
                <a:gd name="connsiteY3" fmla="*/ 0 h 257442"/>
                <a:gd name="connsiteX0" fmla="*/ 2648381 w 2648381"/>
                <a:gd name="connsiteY0" fmla="*/ 0 h 257442"/>
                <a:gd name="connsiteX1" fmla="*/ 2593660 w 2648381"/>
                <a:gd name="connsiteY1" fmla="*/ 257442 h 257442"/>
                <a:gd name="connsiteX2" fmla="*/ 0 w 2648381"/>
                <a:gd name="connsiteY2" fmla="*/ 257442 h 257442"/>
                <a:gd name="connsiteX3" fmla="*/ 0 w 2648381"/>
                <a:gd name="connsiteY3" fmla="*/ 0 h 257442"/>
                <a:gd name="connsiteX0" fmla="*/ 2648381 w 2648381"/>
                <a:gd name="connsiteY0" fmla="*/ 0 h 257442"/>
                <a:gd name="connsiteX1" fmla="*/ 2593660 w 2648381"/>
                <a:gd name="connsiteY1" fmla="*/ 257442 h 257442"/>
                <a:gd name="connsiteX2" fmla="*/ 0 w 2648381"/>
                <a:gd name="connsiteY2" fmla="*/ 257442 h 257442"/>
                <a:gd name="connsiteX3" fmla="*/ 0 w 2648381"/>
                <a:gd name="connsiteY3" fmla="*/ 0 h 257442"/>
                <a:gd name="connsiteX0" fmla="*/ 2808681 w 2808681"/>
                <a:gd name="connsiteY0" fmla="*/ 0 h 257442"/>
                <a:gd name="connsiteX1" fmla="*/ 2593660 w 2808681"/>
                <a:gd name="connsiteY1" fmla="*/ 257442 h 257442"/>
                <a:gd name="connsiteX2" fmla="*/ 0 w 2808681"/>
                <a:gd name="connsiteY2" fmla="*/ 257442 h 257442"/>
                <a:gd name="connsiteX3" fmla="*/ 0 w 2808681"/>
                <a:gd name="connsiteY3" fmla="*/ 0 h 257442"/>
                <a:gd name="connsiteX0" fmla="*/ 2808681 w 2808681"/>
                <a:gd name="connsiteY0" fmla="*/ 0 h 257442"/>
                <a:gd name="connsiteX1" fmla="*/ 2753960 w 2808681"/>
                <a:gd name="connsiteY1" fmla="*/ 257442 h 257442"/>
                <a:gd name="connsiteX2" fmla="*/ 0 w 2808681"/>
                <a:gd name="connsiteY2" fmla="*/ 257442 h 257442"/>
                <a:gd name="connsiteX3" fmla="*/ 0 w 2808681"/>
                <a:gd name="connsiteY3" fmla="*/ 0 h 257442"/>
                <a:gd name="connsiteX0" fmla="*/ 2808681 w 2808681"/>
                <a:gd name="connsiteY0" fmla="*/ 0 h 257442"/>
                <a:gd name="connsiteX1" fmla="*/ 2753960 w 2808681"/>
                <a:gd name="connsiteY1" fmla="*/ 257442 h 257442"/>
                <a:gd name="connsiteX2" fmla="*/ 0 w 2808681"/>
                <a:gd name="connsiteY2" fmla="*/ 257442 h 257442"/>
                <a:gd name="connsiteX3" fmla="*/ 0 w 2808681"/>
                <a:gd name="connsiteY3" fmla="*/ 0 h 257442"/>
                <a:gd name="connsiteX0" fmla="*/ 2808681 w 2808681"/>
                <a:gd name="connsiteY0" fmla="*/ 0 h 257442"/>
                <a:gd name="connsiteX1" fmla="*/ 2753960 w 2808681"/>
                <a:gd name="connsiteY1" fmla="*/ 257442 h 257442"/>
                <a:gd name="connsiteX2" fmla="*/ 0 w 2808681"/>
                <a:gd name="connsiteY2" fmla="*/ 257442 h 257442"/>
                <a:gd name="connsiteX3" fmla="*/ 0 w 2808681"/>
                <a:gd name="connsiteY3" fmla="*/ 0 h 257442"/>
                <a:gd name="connsiteX0" fmla="*/ 2976997 w 2976997"/>
                <a:gd name="connsiteY0" fmla="*/ 0 h 257442"/>
                <a:gd name="connsiteX1" fmla="*/ 2753960 w 2976997"/>
                <a:gd name="connsiteY1" fmla="*/ 257442 h 257442"/>
                <a:gd name="connsiteX2" fmla="*/ 0 w 2976997"/>
                <a:gd name="connsiteY2" fmla="*/ 257442 h 257442"/>
                <a:gd name="connsiteX3" fmla="*/ 0 w 2976997"/>
                <a:gd name="connsiteY3" fmla="*/ 0 h 257442"/>
                <a:gd name="connsiteX0" fmla="*/ 2976997 w 2976997"/>
                <a:gd name="connsiteY0" fmla="*/ 0 h 257442"/>
                <a:gd name="connsiteX1" fmla="*/ 2922276 w 2976997"/>
                <a:gd name="connsiteY1" fmla="*/ 257442 h 257442"/>
                <a:gd name="connsiteX2" fmla="*/ 0 w 2976997"/>
                <a:gd name="connsiteY2" fmla="*/ 257442 h 257442"/>
                <a:gd name="connsiteX3" fmla="*/ 0 w 2976997"/>
                <a:gd name="connsiteY3" fmla="*/ 0 h 257442"/>
                <a:gd name="connsiteX0" fmla="*/ 2976997 w 2976997"/>
                <a:gd name="connsiteY0" fmla="*/ 0 h 257442"/>
                <a:gd name="connsiteX1" fmla="*/ 2922276 w 2976997"/>
                <a:gd name="connsiteY1" fmla="*/ 257442 h 257442"/>
                <a:gd name="connsiteX2" fmla="*/ 0 w 2976997"/>
                <a:gd name="connsiteY2" fmla="*/ 257442 h 257442"/>
                <a:gd name="connsiteX3" fmla="*/ 0 w 2976997"/>
                <a:gd name="connsiteY3" fmla="*/ 0 h 257442"/>
                <a:gd name="connsiteX0" fmla="*/ 2976997 w 2976997"/>
                <a:gd name="connsiteY0" fmla="*/ 0 h 257442"/>
                <a:gd name="connsiteX1" fmla="*/ 2922276 w 2976997"/>
                <a:gd name="connsiteY1" fmla="*/ 257442 h 257442"/>
                <a:gd name="connsiteX2" fmla="*/ 0 w 2976997"/>
                <a:gd name="connsiteY2" fmla="*/ 257442 h 257442"/>
                <a:gd name="connsiteX3" fmla="*/ 0 w 2976997"/>
                <a:gd name="connsiteY3" fmla="*/ 0 h 257442"/>
                <a:gd name="connsiteX0" fmla="*/ 3145312 w 3145312"/>
                <a:gd name="connsiteY0" fmla="*/ 0 h 257442"/>
                <a:gd name="connsiteX1" fmla="*/ 2922276 w 3145312"/>
                <a:gd name="connsiteY1" fmla="*/ 257442 h 257442"/>
                <a:gd name="connsiteX2" fmla="*/ 0 w 3145312"/>
                <a:gd name="connsiteY2" fmla="*/ 257442 h 257442"/>
                <a:gd name="connsiteX3" fmla="*/ 0 w 3145312"/>
                <a:gd name="connsiteY3" fmla="*/ 0 h 257442"/>
                <a:gd name="connsiteX0" fmla="*/ 3145312 w 3145312"/>
                <a:gd name="connsiteY0" fmla="*/ 0 h 257442"/>
                <a:gd name="connsiteX1" fmla="*/ 3090590 w 3145312"/>
                <a:gd name="connsiteY1" fmla="*/ 257442 h 257442"/>
                <a:gd name="connsiteX2" fmla="*/ 0 w 3145312"/>
                <a:gd name="connsiteY2" fmla="*/ 257442 h 257442"/>
                <a:gd name="connsiteX3" fmla="*/ 0 w 3145312"/>
                <a:gd name="connsiteY3" fmla="*/ 0 h 257442"/>
                <a:gd name="connsiteX0" fmla="*/ 3145313 w 3145313"/>
                <a:gd name="connsiteY0" fmla="*/ 0 h 257442"/>
                <a:gd name="connsiteX1" fmla="*/ 3090591 w 3145313"/>
                <a:gd name="connsiteY1" fmla="*/ 257442 h 257442"/>
                <a:gd name="connsiteX2" fmla="*/ 0 w 3145313"/>
                <a:gd name="connsiteY2" fmla="*/ 257442 h 257442"/>
                <a:gd name="connsiteX3" fmla="*/ 1 w 3145313"/>
                <a:gd name="connsiteY3" fmla="*/ 0 h 257442"/>
                <a:gd name="connsiteX0" fmla="*/ 3145313 w 3145313"/>
                <a:gd name="connsiteY0" fmla="*/ 0 h 257442"/>
                <a:gd name="connsiteX1" fmla="*/ 3090591 w 3145313"/>
                <a:gd name="connsiteY1" fmla="*/ 257442 h 257442"/>
                <a:gd name="connsiteX2" fmla="*/ 0 w 3145313"/>
                <a:gd name="connsiteY2" fmla="*/ 257442 h 257442"/>
                <a:gd name="connsiteX3" fmla="*/ 1 w 3145313"/>
                <a:gd name="connsiteY3" fmla="*/ 0 h 257442"/>
                <a:gd name="connsiteX0" fmla="*/ 3305613 w 3305613"/>
                <a:gd name="connsiteY0" fmla="*/ 0 h 257442"/>
                <a:gd name="connsiteX1" fmla="*/ 3090591 w 3305613"/>
                <a:gd name="connsiteY1" fmla="*/ 257442 h 257442"/>
                <a:gd name="connsiteX2" fmla="*/ 0 w 3305613"/>
                <a:gd name="connsiteY2" fmla="*/ 257442 h 257442"/>
                <a:gd name="connsiteX3" fmla="*/ 1 w 3305613"/>
                <a:gd name="connsiteY3" fmla="*/ 0 h 257442"/>
                <a:gd name="connsiteX0" fmla="*/ 3305613 w 3305613"/>
                <a:gd name="connsiteY0" fmla="*/ 0 h 257442"/>
                <a:gd name="connsiteX1" fmla="*/ 3250892 w 3305613"/>
                <a:gd name="connsiteY1" fmla="*/ 257442 h 257442"/>
                <a:gd name="connsiteX2" fmla="*/ 0 w 3305613"/>
                <a:gd name="connsiteY2" fmla="*/ 257442 h 257442"/>
                <a:gd name="connsiteX3" fmla="*/ 1 w 3305613"/>
                <a:gd name="connsiteY3" fmla="*/ 0 h 257442"/>
                <a:gd name="connsiteX0" fmla="*/ 3305612 w 3305612"/>
                <a:gd name="connsiteY0" fmla="*/ 0 h 257442"/>
                <a:gd name="connsiteX1" fmla="*/ 3250891 w 3305612"/>
                <a:gd name="connsiteY1" fmla="*/ 257442 h 257442"/>
                <a:gd name="connsiteX2" fmla="*/ 0 w 3305612"/>
                <a:gd name="connsiteY2" fmla="*/ 257442 h 257442"/>
                <a:gd name="connsiteX3" fmla="*/ 0 w 3305612"/>
                <a:gd name="connsiteY3" fmla="*/ 0 h 257442"/>
                <a:gd name="connsiteX0" fmla="*/ 3305613 w 3305613"/>
                <a:gd name="connsiteY0" fmla="*/ 0 h 257442"/>
                <a:gd name="connsiteX1" fmla="*/ 3250892 w 3305613"/>
                <a:gd name="connsiteY1" fmla="*/ 257442 h 257442"/>
                <a:gd name="connsiteX2" fmla="*/ 1 w 3305613"/>
                <a:gd name="connsiteY2" fmla="*/ 257442 h 257442"/>
                <a:gd name="connsiteX3" fmla="*/ 0 w 3305613"/>
                <a:gd name="connsiteY3" fmla="*/ 0 h 257442"/>
                <a:gd name="connsiteX0" fmla="*/ 950802 w 3250892"/>
                <a:gd name="connsiteY0" fmla="*/ 0 h 257442"/>
                <a:gd name="connsiteX1" fmla="*/ 3250892 w 3250892"/>
                <a:gd name="connsiteY1" fmla="*/ 257442 h 257442"/>
                <a:gd name="connsiteX2" fmla="*/ 1 w 3250892"/>
                <a:gd name="connsiteY2" fmla="*/ 257442 h 257442"/>
                <a:gd name="connsiteX3" fmla="*/ 0 w 3250892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1 w 950802"/>
                <a:gd name="connsiteY2" fmla="*/ 257442 h 257442"/>
                <a:gd name="connsiteX3" fmla="*/ 0 w 950802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1 w 950802"/>
                <a:gd name="connsiteY2" fmla="*/ 257442 h 257442"/>
                <a:gd name="connsiteX3" fmla="*/ 0 w 95080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1119116 w 1119116"/>
                <a:gd name="connsiteY0" fmla="*/ 0 h 257442"/>
                <a:gd name="connsiteX1" fmla="*/ 896080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6 w 1119116"/>
                <a:gd name="connsiteY0" fmla="*/ 0 h 257442"/>
                <a:gd name="connsiteX1" fmla="*/ 1064394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7 w 1119117"/>
                <a:gd name="connsiteY0" fmla="*/ 0 h 257442"/>
                <a:gd name="connsiteX1" fmla="*/ 1064395 w 1119117"/>
                <a:gd name="connsiteY1" fmla="*/ 257442 h 257442"/>
                <a:gd name="connsiteX2" fmla="*/ 0 w 1119117"/>
                <a:gd name="connsiteY2" fmla="*/ 257442 h 257442"/>
                <a:gd name="connsiteX3" fmla="*/ 1 w 1119117"/>
                <a:gd name="connsiteY3" fmla="*/ 0 h 257442"/>
                <a:gd name="connsiteX0" fmla="*/ 1119117 w 1119117"/>
                <a:gd name="connsiteY0" fmla="*/ 0 h 257442"/>
                <a:gd name="connsiteX1" fmla="*/ 1064395 w 1119117"/>
                <a:gd name="connsiteY1" fmla="*/ 257442 h 257442"/>
                <a:gd name="connsiteX2" fmla="*/ 0 w 1119117"/>
                <a:gd name="connsiteY2" fmla="*/ 257442 h 257442"/>
                <a:gd name="connsiteX3" fmla="*/ 1 w 1119117"/>
                <a:gd name="connsiteY3" fmla="*/ 0 h 257442"/>
                <a:gd name="connsiteX0" fmla="*/ 1287433 w 1287433"/>
                <a:gd name="connsiteY0" fmla="*/ 0 h 257442"/>
                <a:gd name="connsiteX1" fmla="*/ 1064395 w 1287433"/>
                <a:gd name="connsiteY1" fmla="*/ 257442 h 257442"/>
                <a:gd name="connsiteX2" fmla="*/ 0 w 1287433"/>
                <a:gd name="connsiteY2" fmla="*/ 257442 h 257442"/>
                <a:gd name="connsiteX3" fmla="*/ 1 w 1287433"/>
                <a:gd name="connsiteY3" fmla="*/ 0 h 257442"/>
                <a:gd name="connsiteX0" fmla="*/ 1287433 w 1287433"/>
                <a:gd name="connsiteY0" fmla="*/ 0 h 257442"/>
                <a:gd name="connsiteX1" fmla="*/ 1232712 w 1287433"/>
                <a:gd name="connsiteY1" fmla="*/ 257442 h 257442"/>
                <a:gd name="connsiteX2" fmla="*/ 0 w 1287433"/>
                <a:gd name="connsiteY2" fmla="*/ 257442 h 257442"/>
                <a:gd name="connsiteX3" fmla="*/ 1 w 1287433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287433 w 1287433"/>
                <a:gd name="connsiteY0" fmla="*/ 0 h 257442"/>
                <a:gd name="connsiteX1" fmla="*/ 1232712 w 1287433"/>
                <a:gd name="connsiteY1" fmla="*/ 257442 h 257442"/>
                <a:gd name="connsiteX2" fmla="*/ 1 w 1287433"/>
                <a:gd name="connsiteY2" fmla="*/ 257442 h 257442"/>
                <a:gd name="connsiteX3" fmla="*/ 0 w 1287433"/>
                <a:gd name="connsiteY3" fmla="*/ 0 h 257442"/>
                <a:gd name="connsiteX0" fmla="*/ 1455748 w 1455748"/>
                <a:gd name="connsiteY0" fmla="*/ 0 h 257442"/>
                <a:gd name="connsiteX1" fmla="*/ 1232712 w 1455748"/>
                <a:gd name="connsiteY1" fmla="*/ 257442 h 257442"/>
                <a:gd name="connsiteX2" fmla="*/ 1 w 1455748"/>
                <a:gd name="connsiteY2" fmla="*/ 257442 h 257442"/>
                <a:gd name="connsiteX3" fmla="*/ 0 w 1455748"/>
                <a:gd name="connsiteY3" fmla="*/ 0 h 257442"/>
                <a:gd name="connsiteX0" fmla="*/ 1455748 w 1455748"/>
                <a:gd name="connsiteY0" fmla="*/ 0 h 257442"/>
                <a:gd name="connsiteX1" fmla="*/ 1401026 w 1455748"/>
                <a:gd name="connsiteY1" fmla="*/ 257442 h 257442"/>
                <a:gd name="connsiteX2" fmla="*/ 1 w 1455748"/>
                <a:gd name="connsiteY2" fmla="*/ 257442 h 257442"/>
                <a:gd name="connsiteX3" fmla="*/ 0 w 1455748"/>
                <a:gd name="connsiteY3" fmla="*/ 0 h 257442"/>
                <a:gd name="connsiteX0" fmla="*/ 1455748 w 1455748"/>
                <a:gd name="connsiteY0" fmla="*/ 0 h 257442"/>
                <a:gd name="connsiteX1" fmla="*/ 1401026 w 1455748"/>
                <a:gd name="connsiteY1" fmla="*/ 257442 h 257442"/>
                <a:gd name="connsiteX2" fmla="*/ 0 w 1455748"/>
                <a:gd name="connsiteY2" fmla="*/ 257442 h 257442"/>
                <a:gd name="connsiteX3" fmla="*/ 0 w 1455748"/>
                <a:gd name="connsiteY3" fmla="*/ 0 h 257442"/>
                <a:gd name="connsiteX0" fmla="*/ 1455748 w 1455748"/>
                <a:gd name="connsiteY0" fmla="*/ 0 h 257442"/>
                <a:gd name="connsiteX1" fmla="*/ 1401026 w 1455748"/>
                <a:gd name="connsiteY1" fmla="*/ 257442 h 257442"/>
                <a:gd name="connsiteX2" fmla="*/ 0 w 1455748"/>
                <a:gd name="connsiteY2" fmla="*/ 257442 h 257442"/>
                <a:gd name="connsiteX3" fmla="*/ 0 w 1455748"/>
                <a:gd name="connsiteY3" fmla="*/ 0 h 257442"/>
                <a:gd name="connsiteX0" fmla="*/ 1624062 w 1624062"/>
                <a:gd name="connsiteY0" fmla="*/ 0 h 257442"/>
                <a:gd name="connsiteX1" fmla="*/ 1401026 w 1624062"/>
                <a:gd name="connsiteY1" fmla="*/ 257442 h 257442"/>
                <a:gd name="connsiteX2" fmla="*/ 0 w 1624062"/>
                <a:gd name="connsiteY2" fmla="*/ 257442 h 257442"/>
                <a:gd name="connsiteX3" fmla="*/ 0 w 1624062"/>
                <a:gd name="connsiteY3" fmla="*/ 0 h 257442"/>
                <a:gd name="connsiteX0" fmla="*/ 1624062 w 1624062"/>
                <a:gd name="connsiteY0" fmla="*/ 0 h 257442"/>
                <a:gd name="connsiteX1" fmla="*/ 1569341 w 1624062"/>
                <a:gd name="connsiteY1" fmla="*/ 257442 h 257442"/>
                <a:gd name="connsiteX2" fmla="*/ 0 w 1624062"/>
                <a:gd name="connsiteY2" fmla="*/ 257442 h 257442"/>
                <a:gd name="connsiteX3" fmla="*/ 0 w 1624062"/>
                <a:gd name="connsiteY3" fmla="*/ 0 h 257442"/>
                <a:gd name="connsiteX0" fmla="*/ 1624062 w 1624062"/>
                <a:gd name="connsiteY0" fmla="*/ 0 h 257442"/>
                <a:gd name="connsiteX1" fmla="*/ 1569341 w 1624062"/>
                <a:gd name="connsiteY1" fmla="*/ 257442 h 257442"/>
                <a:gd name="connsiteX2" fmla="*/ 0 w 1624062"/>
                <a:gd name="connsiteY2" fmla="*/ 257442 h 257442"/>
                <a:gd name="connsiteX3" fmla="*/ 0 w 1624062"/>
                <a:gd name="connsiteY3" fmla="*/ 0 h 257442"/>
                <a:gd name="connsiteX0" fmla="*/ 1624062 w 1624062"/>
                <a:gd name="connsiteY0" fmla="*/ 0 h 257442"/>
                <a:gd name="connsiteX1" fmla="*/ 1569341 w 1624062"/>
                <a:gd name="connsiteY1" fmla="*/ 257442 h 257442"/>
                <a:gd name="connsiteX2" fmla="*/ 0 w 1624062"/>
                <a:gd name="connsiteY2" fmla="*/ 257442 h 257442"/>
                <a:gd name="connsiteX3" fmla="*/ 0 w 1624062"/>
                <a:gd name="connsiteY3" fmla="*/ 0 h 257442"/>
                <a:gd name="connsiteX0" fmla="*/ 1784363 w 1784363"/>
                <a:gd name="connsiteY0" fmla="*/ 0 h 257442"/>
                <a:gd name="connsiteX1" fmla="*/ 1569341 w 1784363"/>
                <a:gd name="connsiteY1" fmla="*/ 257442 h 257442"/>
                <a:gd name="connsiteX2" fmla="*/ 0 w 1784363"/>
                <a:gd name="connsiteY2" fmla="*/ 257442 h 257442"/>
                <a:gd name="connsiteX3" fmla="*/ 0 w 1784363"/>
                <a:gd name="connsiteY3" fmla="*/ 0 h 257442"/>
                <a:gd name="connsiteX0" fmla="*/ 1784363 w 1784363"/>
                <a:gd name="connsiteY0" fmla="*/ 0 h 257442"/>
                <a:gd name="connsiteX1" fmla="*/ 1729642 w 1784363"/>
                <a:gd name="connsiteY1" fmla="*/ 257442 h 257442"/>
                <a:gd name="connsiteX2" fmla="*/ 0 w 1784363"/>
                <a:gd name="connsiteY2" fmla="*/ 257442 h 257442"/>
                <a:gd name="connsiteX3" fmla="*/ 0 w 1784363"/>
                <a:gd name="connsiteY3" fmla="*/ 0 h 257442"/>
                <a:gd name="connsiteX0" fmla="*/ 1784363 w 1784363"/>
                <a:gd name="connsiteY0" fmla="*/ 0 h 257442"/>
                <a:gd name="connsiteX1" fmla="*/ 1729642 w 1784363"/>
                <a:gd name="connsiteY1" fmla="*/ 257442 h 257442"/>
                <a:gd name="connsiteX2" fmla="*/ 0 w 1784363"/>
                <a:gd name="connsiteY2" fmla="*/ 257442 h 257442"/>
                <a:gd name="connsiteX3" fmla="*/ 0 w 1784363"/>
                <a:gd name="connsiteY3" fmla="*/ 0 h 257442"/>
                <a:gd name="connsiteX0" fmla="*/ 1784363 w 1784363"/>
                <a:gd name="connsiteY0" fmla="*/ 0 h 257442"/>
                <a:gd name="connsiteX1" fmla="*/ 1729642 w 1784363"/>
                <a:gd name="connsiteY1" fmla="*/ 257442 h 257442"/>
                <a:gd name="connsiteX2" fmla="*/ 0 w 1784363"/>
                <a:gd name="connsiteY2" fmla="*/ 257442 h 257442"/>
                <a:gd name="connsiteX3" fmla="*/ 0 w 1784363"/>
                <a:gd name="connsiteY3" fmla="*/ 0 h 257442"/>
                <a:gd name="connsiteX0" fmla="*/ 2034879 w 2034879"/>
                <a:gd name="connsiteY0" fmla="*/ 0 h 257442"/>
                <a:gd name="connsiteX1" fmla="*/ 1729642 w 2034879"/>
                <a:gd name="connsiteY1" fmla="*/ 257442 h 257442"/>
                <a:gd name="connsiteX2" fmla="*/ 0 w 2034879"/>
                <a:gd name="connsiteY2" fmla="*/ 257442 h 257442"/>
                <a:gd name="connsiteX3" fmla="*/ 0 w 2034879"/>
                <a:gd name="connsiteY3" fmla="*/ 0 h 257442"/>
                <a:gd name="connsiteX0" fmla="*/ 2034879 w 2034879"/>
                <a:gd name="connsiteY0" fmla="*/ 0 h 257442"/>
                <a:gd name="connsiteX1" fmla="*/ 1980158 w 2034879"/>
                <a:gd name="connsiteY1" fmla="*/ 257442 h 257442"/>
                <a:gd name="connsiteX2" fmla="*/ 0 w 2034879"/>
                <a:gd name="connsiteY2" fmla="*/ 257442 h 257442"/>
                <a:gd name="connsiteX3" fmla="*/ 0 w 2034879"/>
                <a:gd name="connsiteY3" fmla="*/ 0 h 257442"/>
                <a:gd name="connsiteX0" fmla="*/ 2034879 w 2034879"/>
                <a:gd name="connsiteY0" fmla="*/ 0 h 257442"/>
                <a:gd name="connsiteX1" fmla="*/ 1980158 w 2034879"/>
                <a:gd name="connsiteY1" fmla="*/ 257442 h 257442"/>
                <a:gd name="connsiteX2" fmla="*/ 0 w 2034879"/>
                <a:gd name="connsiteY2" fmla="*/ 257442 h 257442"/>
                <a:gd name="connsiteX3" fmla="*/ 0 w 2034879"/>
                <a:gd name="connsiteY3" fmla="*/ 0 h 257442"/>
                <a:gd name="connsiteX0" fmla="*/ 2034879 w 2034879"/>
                <a:gd name="connsiteY0" fmla="*/ 0 h 257442"/>
                <a:gd name="connsiteX1" fmla="*/ 1980158 w 2034879"/>
                <a:gd name="connsiteY1" fmla="*/ 257442 h 257442"/>
                <a:gd name="connsiteX2" fmla="*/ 0 w 2034879"/>
                <a:gd name="connsiteY2" fmla="*/ 257442 h 257442"/>
                <a:gd name="connsiteX3" fmla="*/ 0 w 2034879"/>
                <a:gd name="connsiteY3" fmla="*/ 0 h 257442"/>
                <a:gd name="connsiteX0" fmla="*/ 2203195 w 2203195"/>
                <a:gd name="connsiteY0" fmla="*/ 0 h 257442"/>
                <a:gd name="connsiteX1" fmla="*/ 1980158 w 2203195"/>
                <a:gd name="connsiteY1" fmla="*/ 257442 h 257442"/>
                <a:gd name="connsiteX2" fmla="*/ 0 w 2203195"/>
                <a:gd name="connsiteY2" fmla="*/ 257442 h 257442"/>
                <a:gd name="connsiteX3" fmla="*/ 0 w 2203195"/>
                <a:gd name="connsiteY3" fmla="*/ 0 h 257442"/>
                <a:gd name="connsiteX0" fmla="*/ 2203195 w 2203195"/>
                <a:gd name="connsiteY0" fmla="*/ 0 h 257442"/>
                <a:gd name="connsiteX1" fmla="*/ 2148474 w 2203195"/>
                <a:gd name="connsiteY1" fmla="*/ 257442 h 257442"/>
                <a:gd name="connsiteX2" fmla="*/ 0 w 2203195"/>
                <a:gd name="connsiteY2" fmla="*/ 257442 h 257442"/>
                <a:gd name="connsiteX3" fmla="*/ 0 w 2203195"/>
                <a:gd name="connsiteY3" fmla="*/ 0 h 257442"/>
                <a:gd name="connsiteX0" fmla="*/ 2203195 w 2203195"/>
                <a:gd name="connsiteY0" fmla="*/ 0 h 257442"/>
                <a:gd name="connsiteX1" fmla="*/ 2148474 w 2203195"/>
                <a:gd name="connsiteY1" fmla="*/ 257442 h 257442"/>
                <a:gd name="connsiteX2" fmla="*/ 0 w 2203195"/>
                <a:gd name="connsiteY2" fmla="*/ 257442 h 257442"/>
                <a:gd name="connsiteX3" fmla="*/ 0 w 2203195"/>
                <a:gd name="connsiteY3" fmla="*/ 0 h 257442"/>
                <a:gd name="connsiteX0" fmla="*/ 2203195 w 2203195"/>
                <a:gd name="connsiteY0" fmla="*/ 0 h 257442"/>
                <a:gd name="connsiteX1" fmla="*/ 2148474 w 2203195"/>
                <a:gd name="connsiteY1" fmla="*/ 257442 h 257442"/>
                <a:gd name="connsiteX2" fmla="*/ 0 w 2203195"/>
                <a:gd name="connsiteY2" fmla="*/ 257442 h 257442"/>
                <a:gd name="connsiteX3" fmla="*/ 0 w 2203195"/>
                <a:gd name="connsiteY3" fmla="*/ 0 h 257442"/>
                <a:gd name="connsiteX0" fmla="*/ 2363496 w 2363496"/>
                <a:gd name="connsiteY0" fmla="*/ 0 h 257442"/>
                <a:gd name="connsiteX1" fmla="*/ 2148474 w 2363496"/>
                <a:gd name="connsiteY1" fmla="*/ 257442 h 257442"/>
                <a:gd name="connsiteX2" fmla="*/ 0 w 2363496"/>
                <a:gd name="connsiteY2" fmla="*/ 257442 h 257442"/>
                <a:gd name="connsiteX3" fmla="*/ 0 w 2363496"/>
                <a:gd name="connsiteY3" fmla="*/ 0 h 257442"/>
                <a:gd name="connsiteX0" fmla="*/ 2363496 w 2363496"/>
                <a:gd name="connsiteY0" fmla="*/ 0 h 257442"/>
                <a:gd name="connsiteX1" fmla="*/ 2308774 w 2363496"/>
                <a:gd name="connsiteY1" fmla="*/ 257442 h 257442"/>
                <a:gd name="connsiteX2" fmla="*/ 0 w 2363496"/>
                <a:gd name="connsiteY2" fmla="*/ 257442 h 257442"/>
                <a:gd name="connsiteX3" fmla="*/ 0 w 2363496"/>
                <a:gd name="connsiteY3" fmla="*/ 0 h 257442"/>
                <a:gd name="connsiteX0" fmla="*/ 2363497 w 2363497"/>
                <a:gd name="connsiteY0" fmla="*/ 0 h 257442"/>
                <a:gd name="connsiteX1" fmla="*/ 2308775 w 2363497"/>
                <a:gd name="connsiteY1" fmla="*/ 257442 h 257442"/>
                <a:gd name="connsiteX2" fmla="*/ 0 w 2363497"/>
                <a:gd name="connsiteY2" fmla="*/ 257442 h 257442"/>
                <a:gd name="connsiteX3" fmla="*/ 1 w 2363497"/>
                <a:gd name="connsiteY3" fmla="*/ 0 h 257442"/>
                <a:gd name="connsiteX0" fmla="*/ 2363497 w 2363497"/>
                <a:gd name="connsiteY0" fmla="*/ 0 h 257442"/>
                <a:gd name="connsiteX1" fmla="*/ 2308775 w 2363497"/>
                <a:gd name="connsiteY1" fmla="*/ 257442 h 257442"/>
                <a:gd name="connsiteX2" fmla="*/ 0 w 2363497"/>
                <a:gd name="connsiteY2" fmla="*/ 257442 h 257442"/>
                <a:gd name="connsiteX3" fmla="*/ 1 w 2363497"/>
                <a:gd name="connsiteY3" fmla="*/ 0 h 257442"/>
                <a:gd name="connsiteX0" fmla="*/ 2531811 w 2531811"/>
                <a:gd name="connsiteY0" fmla="*/ 0 h 257442"/>
                <a:gd name="connsiteX1" fmla="*/ 2308775 w 2531811"/>
                <a:gd name="connsiteY1" fmla="*/ 257442 h 257442"/>
                <a:gd name="connsiteX2" fmla="*/ 0 w 2531811"/>
                <a:gd name="connsiteY2" fmla="*/ 257442 h 257442"/>
                <a:gd name="connsiteX3" fmla="*/ 1 w 2531811"/>
                <a:gd name="connsiteY3" fmla="*/ 0 h 257442"/>
                <a:gd name="connsiteX0" fmla="*/ 2531811 w 2531811"/>
                <a:gd name="connsiteY0" fmla="*/ 0 h 257442"/>
                <a:gd name="connsiteX1" fmla="*/ 2477090 w 2531811"/>
                <a:gd name="connsiteY1" fmla="*/ 257442 h 257442"/>
                <a:gd name="connsiteX2" fmla="*/ 0 w 2531811"/>
                <a:gd name="connsiteY2" fmla="*/ 257442 h 257442"/>
                <a:gd name="connsiteX3" fmla="*/ 1 w 2531811"/>
                <a:gd name="connsiteY3" fmla="*/ 0 h 257442"/>
                <a:gd name="connsiteX0" fmla="*/ 2531810 w 2531810"/>
                <a:gd name="connsiteY0" fmla="*/ 0 h 257442"/>
                <a:gd name="connsiteX1" fmla="*/ 2477089 w 2531810"/>
                <a:gd name="connsiteY1" fmla="*/ 257442 h 257442"/>
                <a:gd name="connsiteX2" fmla="*/ 0 w 2531810"/>
                <a:gd name="connsiteY2" fmla="*/ 257442 h 257442"/>
                <a:gd name="connsiteX3" fmla="*/ 0 w 2531810"/>
                <a:gd name="connsiteY3" fmla="*/ 0 h 257442"/>
                <a:gd name="connsiteX0" fmla="*/ 2531811 w 2531811"/>
                <a:gd name="connsiteY0" fmla="*/ 0 h 257442"/>
                <a:gd name="connsiteX1" fmla="*/ 2477090 w 2531811"/>
                <a:gd name="connsiteY1" fmla="*/ 257442 h 257442"/>
                <a:gd name="connsiteX2" fmla="*/ 1 w 2531811"/>
                <a:gd name="connsiteY2" fmla="*/ 257442 h 257442"/>
                <a:gd name="connsiteX3" fmla="*/ 0 w 2531811"/>
                <a:gd name="connsiteY3" fmla="*/ 0 h 257442"/>
                <a:gd name="connsiteX0" fmla="*/ 2700127 w 2700127"/>
                <a:gd name="connsiteY0" fmla="*/ 0 h 257442"/>
                <a:gd name="connsiteX1" fmla="*/ 2477090 w 2700127"/>
                <a:gd name="connsiteY1" fmla="*/ 257442 h 257442"/>
                <a:gd name="connsiteX2" fmla="*/ 1 w 2700127"/>
                <a:gd name="connsiteY2" fmla="*/ 257442 h 257442"/>
                <a:gd name="connsiteX3" fmla="*/ 0 w 2700127"/>
                <a:gd name="connsiteY3" fmla="*/ 0 h 257442"/>
                <a:gd name="connsiteX0" fmla="*/ 2700127 w 2700127"/>
                <a:gd name="connsiteY0" fmla="*/ 0 h 257442"/>
                <a:gd name="connsiteX1" fmla="*/ 2645406 w 2700127"/>
                <a:gd name="connsiteY1" fmla="*/ 257442 h 257442"/>
                <a:gd name="connsiteX2" fmla="*/ 1 w 2700127"/>
                <a:gd name="connsiteY2" fmla="*/ 257442 h 257442"/>
                <a:gd name="connsiteX3" fmla="*/ 0 w 2700127"/>
                <a:gd name="connsiteY3" fmla="*/ 0 h 257442"/>
                <a:gd name="connsiteX0" fmla="*/ 2700127 w 2700127"/>
                <a:gd name="connsiteY0" fmla="*/ 0 h 257442"/>
                <a:gd name="connsiteX1" fmla="*/ 2645406 w 2700127"/>
                <a:gd name="connsiteY1" fmla="*/ 257442 h 257442"/>
                <a:gd name="connsiteX2" fmla="*/ 1 w 2700127"/>
                <a:gd name="connsiteY2" fmla="*/ 257442 h 257442"/>
                <a:gd name="connsiteX3" fmla="*/ 0 w 2700127"/>
                <a:gd name="connsiteY3" fmla="*/ 0 h 257442"/>
                <a:gd name="connsiteX0" fmla="*/ 2700126 w 2700126"/>
                <a:gd name="connsiteY0" fmla="*/ 0 h 257442"/>
                <a:gd name="connsiteX1" fmla="*/ 2645405 w 2700126"/>
                <a:gd name="connsiteY1" fmla="*/ 257442 h 257442"/>
                <a:gd name="connsiteX2" fmla="*/ 0 w 2700126"/>
                <a:gd name="connsiteY2" fmla="*/ 257442 h 257442"/>
                <a:gd name="connsiteX3" fmla="*/ 0 w 2700126"/>
                <a:gd name="connsiteY3" fmla="*/ 0 h 257442"/>
                <a:gd name="connsiteX0" fmla="*/ 2886074 w 2886074"/>
                <a:gd name="connsiteY0" fmla="*/ 0 h 257442"/>
                <a:gd name="connsiteX1" fmla="*/ 2645405 w 2886074"/>
                <a:gd name="connsiteY1" fmla="*/ 257442 h 257442"/>
                <a:gd name="connsiteX2" fmla="*/ 0 w 2886074"/>
                <a:gd name="connsiteY2" fmla="*/ 257442 h 257442"/>
                <a:gd name="connsiteX3" fmla="*/ 0 w 2886074"/>
                <a:gd name="connsiteY3" fmla="*/ 0 h 257442"/>
                <a:gd name="connsiteX0" fmla="*/ 2886074 w 2886074"/>
                <a:gd name="connsiteY0" fmla="*/ 0 h 257442"/>
                <a:gd name="connsiteX1" fmla="*/ 2831353 w 2886074"/>
                <a:gd name="connsiteY1" fmla="*/ 257442 h 257442"/>
                <a:gd name="connsiteX2" fmla="*/ 0 w 2886074"/>
                <a:gd name="connsiteY2" fmla="*/ 257442 h 257442"/>
                <a:gd name="connsiteX3" fmla="*/ 0 w 2886074"/>
                <a:gd name="connsiteY3" fmla="*/ 0 h 257442"/>
                <a:gd name="connsiteX0" fmla="*/ 2886075 w 2886075"/>
                <a:gd name="connsiteY0" fmla="*/ 0 h 257442"/>
                <a:gd name="connsiteX1" fmla="*/ 2831354 w 2886075"/>
                <a:gd name="connsiteY1" fmla="*/ 257442 h 257442"/>
                <a:gd name="connsiteX2" fmla="*/ 0 w 2886075"/>
                <a:gd name="connsiteY2" fmla="*/ 257442 h 257442"/>
                <a:gd name="connsiteX3" fmla="*/ 1 w 2886075"/>
                <a:gd name="connsiteY3" fmla="*/ 0 h 257442"/>
                <a:gd name="connsiteX0" fmla="*/ 2886075 w 2886075"/>
                <a:gd name="connsiteY0" fmla="*/ 0 h 257442"/>
                <a:gd name="connsiteX1" fmla="*/ 2831354 w 2886075"/>
                <a:gd name="connsiteY1" fmla="*/ 257442 h 257442"/>
                <a:gd name="connsiteX2" fmla="*/ 0 w 2886075"/>
                <a:gd name="connsiteY2" fmla="*/ 257442 h 257442"/>
                <a:gd name="connsiteX3" fmla="*/ 1 w 2886075"/>
                <a:gd name="connsiteY3" fmla="*/ 0 h 257442"/>
                <a:gd name="connsiteX0" fmla="*/ 3155380 w 3155380"/>
                <a:gd name="connsiteY0" fmla="*/ 0 h 257442"/>
                <a:gd name="connsiteX1" fmla="*/ 2831354 w 3155380"/>
                <a:gd name="connsiteY1" fmla="*/ 257442 h 257442"/>
                <a:gd name="connsiteX2" fmla="*/ 0 w 3155380"/>
                <a:gd name="connsiteY2" fmla="*/ 257442 h 257442"/>
                <a:gd name="connsiteX3" fmla="*/ 1 w 3155380"/>
                <a:gd name="connsiteY3" fmla="*/ 0 h 257442"/>
                <a:gd name="connsiteX0" fmla="*/ 3155380 w 3155380"/>
                <a:gd name="connsiteY0" fmla="*/ 0 h 257442"/>
                <a:gd name="connsiteX1" fmla="*/ 3100658 w 3155380"/>
                <a:gd name="connsiteY1" fmla="*/ 257442 h 257442"/>
                <a:gd name="connsiteX2" fmla="*/ 0 w 3155380"/>
                <a:gd name="connsiteY2" fmla="*/ 257442 h 257442"/>
                <a:gd name="connsiteX3" fmla="*/ 1 w 3155380"/>
                <a:gd name="connsiteY3" fmla="*/ 0 h 257442"/>
                <a:gd name="connsiteX0" fmla="*/ 3155380 w 3155380"/>
                <a:gd name="connsiteY0" fmla="*/ 0 h 257442"/>
                <a:gd name="connsiteX1" fmla="*/ 3100658 w 3155380"/>
                <a:gd name="connsiteY1" fmla="*/ 257442 h 257442"/>
                <a:gd name="connsiteX2" fmla="*/ 0 w 3155380"/>
                <a:gd name="connsiteY2" fmla="*/ 257442 h 257442"/>
                <a:gd name="connsiteX3" fmla="*/ 1 w 3155380"/>
                <a:gd name="connsiteY3" fmla="*/ 0 h 257442"/>
                <a:gd name="connsiteX0" fmla="*/ 3155380 w 3155380"/>
                <a:gd name="connsiteY0" fmla="*/ 0 h 257442"/>
                <a:gd name="connsiteX1" fmla="*/ 3100658 w 3155380"/>
                <a:gd name="connsiteY1" fmla="*/ 257442 h 257442"/>
                <a:gd name="connsiteX2" fmla="*/ 0 w 3155380"/>
                <a:gd name="connsiteY2" fmla="*/ 257442 h 257442"/>
                <a:gd name="connsiteX3" fmla="*/ 0 w 3155380"/>
                <a:gd name="connsiteY3" fmla="*/ 0 h 257442"/>
                <a:gd name="connsiteX0" fmla="*/ 3315679 w 3315679"/>
                <a:gd name="connsiteY0" fmla="*/ 0 h 257442"/>
                <a:gd name="connsiteX1" fmla="*/ 3100658 w 3315679"/>
                <a:gd name="connsiteY1" fmla="*/ 257442 h 257442"/>
                <a:gd name="connsiteX2" fmla="*/ 0 w 3315679"/>
                <a:gd name="connsiteY2" fmla="*/ 257442 h 257442"/>
                <a:gd name="connsiteX3" fmla="*/ 0 w 3315679"/>
                <a:gd name="connsiteY3" fmla="*/ 0 h 257442"/>
                <a:gd name="connsiteX0" fmla="*/ 3315679 w 3315679"/>
                <a:gd name="connsiteY0" fmla="*/ 0 h 257442"/>
                <a:gd name="connsiteX1" fmla="*/ 3260958 w 3315679"/>
                <a:gd name="connsiteY1" fmla="*/ 257442 h 257442"/>
                <a:gd name="connsiteX2" fmla="*/ 0 w 3315679"/>
                <a:gd name="connsiteY2" fmla="*/ 257442 h 257442"/>
                <a:gd name="connsiteX3" fmla="*/ 0 w 3315679"/>
                <a:gd name="connsiteY3" fmla="*/ 0 h 257442"/>
                <a:gd name="connsiteX0" fmla="*/ 3315679 w 3315679"/>
                <a:gd name="connsiteY0" fmla="*/ 0 h 257442"/>
                <a:gd name="connsiteX1" fmla="*/ 3260958 w 3315679"/>
                <a:gd name="connsiteY1" fmla="*/ 257442 h 257442"/>
                <a:gd name="connsiteX2" fmla="*/ 0 w 3315679"/>
                <a:gd name="connsiteY2" fmla="*/ 257442 h 257442"/>
                <a:gd name="connsiteX3" fmla="*/ 0 w 3315679"/>
                <a:gd name="connsiteY3" fmla="*/ 0 h 257442"/>
                <a:gd name="connsiteX0" fmla="*/ 3315679 w 3315679"/>
                <a:gd name="connsiteY0" fmla="*/ 0 h 257442"/>
                <a:gd name="connsiteX1" fmla="*/ 3260958 w 3315679"/>
                <a:gd name="connsiteY1" fmla="*/ 257442 h 257442"/>
                <a:gd name="connsiteX2" fmla="*/ 0 w 3315679"/>
                <a:gd name="connsiteY2" fmla="*/ 257442 h 257442"/>
                <a:gd name="connsiteX3" fmla="*/ 0 w 3315679"/>
                <a:gd name="connsiteY3" fmla="*/ 0 h 257442"/>
                <a:gd name="connsiteX0" fmla="*/ 942786 w 3260958"/>
                <a:gd name="connsiteY0" fmla="*/ 0 h 257442"/>
                <a:gd name="connsiteX1" fmla="*/ 3260958 w 3260958"/>
                <a:gd name="connsiteY1" fmla="*/ 257442 h 257442"/>
                <a:gd name="connsiteX2" fmla="*/ 0 w 3260958"/>
                <a:gd name="connsiteY2" fmla="*/ 257442 h 257442"/>
                <a:gd name="connsiteX3" fmla="*/ 0 w 3260958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1270248 w 1270248"/>
                <a:gd name="connsiteY0" fmla="*/ 0 h 257442"/>
                <a:gd name="connsiteX1" fmla="*/ 888065 w 1270248"/>
                <a:gd name="connsiteY1" fmla="*/ 257442 h 257442"/>
                <a:gd name="connsiteX2" fmla="*/ 0 w 1270248"/>
                <a:gd name="connsiteY2" fmla="*/ 257442 h 257442"/>
                <a:gd name="connsiteX3" fmla="*/ 0 w 1270248"/>
                <a:gd name="connsiteY3" fmla="*/ 0 h 257442"/>
                <a:gd name="connsiteX0" fmla="*/ 1270248 w 1270248"/>
                <a:gd name="connsiteY0" fmla="*/ 0 h 257442"/>
                <a:gd name="connsiteX1" fmla="*/ 1215527 w 1270248"/>
                <a:gd name="connsiteY1" fmla="*/ 257442 h 257442"/>
                <a:gd name="connsiteX2" fmla="*/ 0 w 1270248"/>
                <a:gd name="connsiteY2" fmla="*/ 257442 h 257442"/>
                <a:gd name="connsiteX3" fmla="*/ 0 w 1270248"/>
                <a:gd name="connsiteY3" fmla="*/ 0 h 257442"/>
                <a:gd name="connsiteX0" fmla="*/ 1270248 w 1270248"/>
                <a:gd name="connsiteY0" fmla="*/ 0 h 257442"/>
                <a:gd name="connsiteX1" fmla="*/ 1215527 w 1270248"/>
                <a:gd name="connsiteY1" fmla="*/ 257442 h 257442"/>
                <a:gd name="connsiteX2" fmla="*/ 0 w 1270248"/>
                <a:gd name="connsiteY2" fmla="*/ 257442 h 257442"/>
                <a:gd name="connsiteX3" fmla="*/ 0 w 1270248"/>
                <a:gd name="connsiteY3" fmla="*/ 0 h 257442"/>
                <a:gd name="connsiteX0" fmla="*/ 1270248 w 1270248"/>
                <a:gd name="connsiteY0" fmla="*/ 0 h 257442"/>
                <a:gd name="connsiteX1" fmla="*/ 1215527 w 1270248"/>
                <a:gd name="connsiteY1" fmla="*/ 257442 h 257442"/>
                <a:gd name="connsiteX2" fmla="*/ 0 w 1270248"/>
                <a:gd name="connsiteY2" fmla="*/ 257442 h 257442"/>
                <a:gd name="connsiteX3" fmla="*/ 0 w 1270248"/>
                <a:gd name="connsiteY3" fmla="*/ 0 h 257442"/>
                <a:gd name="connsiteX0" fmla="*/ 1438562 w 1438562"/>
                <a:gd name="connsiteY0" fmla="*/ 0 h 257442"/>
                <a:gd name="connsiteX1" fmla="*/ 1215527 w 1438562"/>
                <a:gd name="connsiteY1" fmla="*/ 257442 h 257442"/>
                <a:gd name="connsiteX2" fmla="*/ 0 w 1438562"/>
                <a:gd name="connsiteY2" fmla="*/ 257442 h 257442"/>
                <a:gd name="connsiteX3" fmla="*/ 0 w 1438562"/>
                <a:gd name="connsiteY3" fmla="*/ 0 h 257442"/>
                <a:gd name="connsiteX0" fmla="*/ 1438562 w 1438562"/>
                <a:gd name="connsiteY0" fmla="*/ 0 h 257442"/>
                <a:gd name="connsiteX1" fmla="*/ 1383841 w 1438562"/>
                <a:gd name="connsiteY1" fmla="*/ 257442 h 257442"/>
                <a:gd name="connsiteX2" fmla="*/ 0 w 1438562"/>
                <a:gd name="connsiteY2" fmla="*/ 257442 h 257442"/>
                <a:gd name="connsiteX3" fmla="*/ 0 w 1438562"/>
                <a:gd name="connsiteY3" fmla="*/ 0 h 257442"/>
                <a:gd name="connsiteX0" fmla="*/ 1438562 w 1438562"/>
                <a:gd name="connsiteY0" fmla="*/ 0 h 257442"/>
                <a:gd name="connsiteX1" fmla="*/ 1383841 w 1438562"/>
                <a:gd name="connsiteY1" fmla="*/ 257442 h 257442"/>
                <a:gd name="connsiteX2" fmla="*/ 0 w 1438562"/>
                <a:gd name="connsiteY2" fmla="*/ 257442 h 257442"/>
                <a:gd name="connsiteX3" fmla="*/ 0 w 1438562"/>
                <a:gd name="connsiteY3" fmla="*/ 0 h 257442"/>
                <a:gd name="connsiteX0" fmla="*/ 1438562 w 1438562"/>
                <a:gd name="connsiteY0" fmla="*/ 0 h 257442"/>
                <a:gd name="connsiteX1" fmla="*/ 1383841 w 1438562"/>
                <a:gd name="connsiteY1" fmla="*/ 257442 h 257442"/>
                <a:gd name="connsiteX2" fmla="*/ 0 w 1438562"/>
                <a:gd name="connsiteY2" fmla="*/ 257442 h 257442"/>
                <a:gd name="connsiteX3" fmla="*/ 0 w 1438562"/>
                <a:gd name="connsiteY3" fmla="*/ 0 h 257442"/>
                <a:gd name="connsiteX0" fmla="*/ 1707867 w 1707867"/>
                <a:gd name="connsiteY0" fmla="*/ 0 h 257442"/>
                <a:gd name="connsiteX1" fmla="*/ 1383841 w 1707867"/>
                <a:gd name="connsiteY1" fmla="*/ 257442 h 257442"/>
                <a:gd name="connsiteX2" fmla="*/ 0 w 1707867"/>
                <a:gd name="connsiteY2" fmla="*/ 257442 h 257442"/>
                <a:gd name="connsiteX3" fmla="*/ 0 w 1707867"/>
                <a:gd name="connsiteY3" fmla="*/ 0 h 257442"/>
                <a:gd name="connsiteX0" fmla="*/ 1707867 w 1707867"/>
                <a:gd name="connsiteY0" fmla="*/ 0 h 257442"/>
                <a:gd name="connsiteX1" fmla="*/ 1653146 w 1707867"/>
                <a:gd name="connsiteY1" fmla="*/ 257442 h 257442"/>
                <a:gd name="connsiteX2" fmla="*/ 0 w 1707867"/>
                <a:gd name="connsiteY2" fmla="*/ 257442 h 257442"/>
                <a:gd name="connsiteX3" fmla="*/ 0 w 1707867"/>
                <a:gd name="connsiteY3" fmla="*/ 0 h 257442"/>
                <a:gd name="connsiteX0" fmla="*/ 1707867 w 1707867"/>
                <a:gd name="connsiteY0" fmla="*/ 0 h 257442"/>
                <a:gd name="connsiteX1" fmla="*/ 1653146 w 1707867"/>
                <a:gd name="connsiteY1" fmla="*/ 257442 h 257442"/>
                <a:gd name="connsiteX2" fmla="*/ 0 w 1707867"/>
                <a:gd name="connsiteY2" fmla="*/ 257442 h 257442"/>
                <a:gd name="connsiteX3" fmla="*/ 0 w 1707867"/>
                <a:gd name="connsiteY3" fmla="*/ 0 h 257442"/>
                <a:gd name="connsiteX0" fmla="*/ 1707867 w 1707867"/>
                <a:gd name="connsiteY0" fmla="*/ 0 h 257442"/>
                <a:gd name="connsiteX1" fmla="*/ 1653146 w 1707867"/>
                <a:gd name="connsiteY1" fmla="*/ 257442 h 257442"/>
                <a:gd name="connsiteX2" fmla="*/ 0 w 1707867"/>
                <a:gd name="connsiteY2" fmla="*/ 257442 h 257442"/>
                <a:gd name="connsiteX3" fmla="*/ 0 w 1707867"/>
                <a:gd name="connsiteY3" fmla="*/ 0 h 257442"/>
                <a:gd name="connsiteX0" fmla="*/ 1876183 w 1876183"/>
                <a:gd name="connsiteY0" fmla="*/ 0 h 257442"/>
                <a:gd name="connsiteX1" fmla="*/ 1653146 w 1876183"/>
                <a:gd name="connsiteY1" fmla="*/ 257442 h 257442"/>
                <a:gd name="connsiteX2" fmla="*/ 0 w 1876183"/>
                <a:gd name="connsiteY2" fmla="*/ 257442 h 257442"/>
                <a:gd name="connsiteX3" fmla="*/ 0 w 1876183"/>
                <a:gd name="connsiteY3" fmla="*/ 0 h 257442"/>
                <a:gd name="connsiteX0" fmla="*/ 1876183 w 1876183"/>
                <a:gd name="connsiteY0" fmla="*/ 0 h 257442"/>
                <a:gd name="connsiteX1" fmla="*/ 1821462 w 1876183"/>
                <a:gd name="connsiteY1" fmla="*/ 257442 h 257442"/>
                <a:gd name="connsiteX2" fmla="*/ 0 w 1876183"/>
                <a:gd name="connsiteY2" fmla="*/ 257442 h 257442"/>
                <a:gd name="connsiteX3" fmla="*/ 0 w 1876183"/>
                <a:gd name="connsiteY3" fmla="*/ 0 h 257442"/>
                <a:gd name="connsiteX0" fmla="*/ 1876183 w 1876183"/>
                <a:gd name="connsiteY0" fmla="*/ 0 h 257442"/>
                <a:gd name="connsiteX1" fmla="*/ 1821462 w 1876183"/>
                <a:gd name="connsiteY1" fmla="*/ 257442 h 257442"/>
                <a:gd name="connsiteX2" fmla="*/ 0 w 1876183"/>
                <a:gd name="connsiteY2" fmla="*/ 257442 h 257442"/>
                <a:gd name="connsiteX3" fmla="*/ 0 w 1876183"/>
                <a:gd name="connsiteY3" fmla="*/ 0 h 257442"/>
                <a:gd name="connsiteX0" fmla="*/ 1876183 w 1876183"/>
                <a:gd name="connsiteY0" fmla="*/ 0 h 257442"/>
                <a:gd name="connsiteX1" fmla="*/ 1821462 w 1876183"/>
                <a:gd name="connsiteY1" fmla="*/ 257442 h 257442"/>
                <a:gd name="connsiteX2" fmla="*/ 0 w 1876183"/>
                <a:gd name="connsiteY2" fmla="*/ 257442 h 257442"/>
                <a:gd name="connsiteX3" fmla="*/ 0 w 1876183"/>
                <a:gd name="connsiteY3" fmla="*/ 0 h 257442"/>
                <a:gd name="connsiteX0" fmla="*/ 2044497 w 2044497"/>
                <a:gd name="connsiteY0" fmla="*/ 0 h 257442"/>
                <a:gd name="connsiteX1" fmla="*/ 1821462 w 2044497"/>
                <a:gd name="connsiteY1" fmla="*/ 257442 h 257442"/>
                <a:gd name="connsiteX2" fmla="*/ 0 w 2044497"/>
                <a:gd name="connsiteY2" fmla="*/ 257442 h 257442"/>
                <a:gd name="connsiteX3" fmla="*/ 0 w 2044497"/>
                <a:gd name="connsiteY3" fmla="*/ 0 h 257442"/>
                <a:gd name="connsiteX0" fmla="*/ 2044497 w 2044497"/>
                <a:gd name="connsiteY0" fmla="*/ 0 h 257442"/>
                <a:gd name="connsiteX1" fmla="*/ 1989776 w 2044497"/>
                <a:gd name="connsiteY1" fmla="*/ 257442 h 257442"/>
                <a:gd name="connsiteX2" fmla="*/ 0 w 2044497"/>
                <a:gd name="connsiteY2" fmla="*/ 257442 h 257442"/>
                <a:gd name="connsiteX3" fmla="*/ 0 w 2044497"/>
                <a:gd name="connsiteY3" fmla="*/ 0 h 257442"/>
                <a:gd name="connsiteX0" fmla="*/ 2044497 w 2044497"/>
                <a:gd name="connsiteY0" fmla="*/ 0 h 257442"/>
                <a:gd name="connsiteX1" fmla="*/ 1989776 w 2044497"/>
                <a:gd name="connsiteY1" fmla="*/ 257442 h 257442"/>
                <a:gd name="connsiteX2" fmla="*/ 0 w 2044497"/>
                <a:gd name="connsiteY2" fmla="*/ 257442 h 257442"/>
                <a:gd name="connsiteX3" fmla="*/ 0 w 2044497"/>
                <a:gd name="connsiteY3" fmla="*/ 0 h 257442"/>
                <a:gd name="connsiteX0" fmla="*/ 2044497 w 2044497"/>
                <a:gd name="connsiteY0" fmla="*/ 0 h 257442"/>
                <a:gd name="connsiteX1" fmla="*/ 1989776 w 2044497"/>
                <a:gd name="connsiteY1" fmla="*/ 257442 h 257442"/>
                <a:gd name="connsiteX2" fmla="*/ 0 w 2044497"/>
                <a:gd name="connsiteY2" fmla="*/ 257442 h 257442"/>
                <a:gd name="connsiteX3" fmla="*/ 0 w 2044497"/>
                <a:gd name="connsiteY3" fmla="*/ 0 h 257442"/>
                <a:gd name="connsiteX0" fmla="*/ 2212813 w 2212813"/>
                <a:gd name="connsiteY0" fmla="*/ 0 h 257442"/>
                <a:gd name="connsiteX1" fmla="*/ 1989776 w 2212813"/>
                <a:gd name="connsiteY1" fmla="*/ 257442 h 257442"/>
                <a:gd name="connsiteX2" fmla="*/ 0 w 2212813"/>
                <a:gd name="connsiteY2" fmla="*/ 257442 h 257442"/>
                <a:gd name="connsiteX3" fmla="*/ 0 w 2212813"/>
                <a:gd name="connsiteY3" fmla="*/ 0 h 257442"/>
                <a:gd name="connsiteX0" fmla="*/ 2212813 w 2212813"/>
                <a:gd name="connsiteY0" fmla="*/ 0 h 257442"/>
                <a:gd name="connsiteX1" fmla="*/ 2158092 w 2212813"/>
                <a:gd name="connsiteY1" fmla="*/ 257442 h 257442"/>
                <a:gd name="connsiteX2" fmla="*/ 0 w 2212813"/>
                <a:gd name="connsiteY2" fmla="*/ 257442 h 257442"/>
                <a:gd name="connsiteX3" fmla="*/ 0 w 2212813"/>
                <a:gd name="connsiteY3" fmla="*/ 0 h 257442"/>
                <a:gd name="connsiteX0" fmla="*/ 2212813 w 2212813"/>
                <a:gd name="connsiteY0" fmla="*/ 0 h 257442"/>
                <a:gd name="connsiteX1" fmla="*/ 2158092 w 2212813"/>
                <a:gd name="connsiteY1" fmla="*/ 257442 h 257442"/>
                <a:gd name="connsiteX2" fmla="*/ 0 w 2212813"/>
                <a:gd name="connsiteY2" fmla="*/ 257442 h 257442"/>
                <a:gd name="connsiteX3" fmla="*/ 0 w 2212813"/>
                <a:gd name="connsiteY3" fmla="*/ 0 h 257442"/>
                <a:gd name="connsiteX0" fmla="*/ 2212813 w 2212813"/>
                <a:gd name="connsiteY0" fmla="*/ 0 h 257442"/>
                <a:gd name="connsiteX1" fmla="*/ 2158092 w 2212813"/>
                <a:gd name="connsiteY1" fmla="*/ 257442 h 257442"/>
                <a:gd name="connsiteX2" fmla="*/ 0 w 2212813"/>
                <a:gd name="connsiteY2" fmla="*/ 257442 h 257442"/>
                <a:gd name="connsiteX3" fmla="*/ 0 w 2212813"/>
                <a:gd name="connsiteY3" fmla="*/ 0 h 257442"/>
                <a:gd name="connsiteX0" fmla="*/ 2381128 w 2381128"/>
                <a:gd name="connsiteY0" fmla="*/ 0 h 257442"/>
                <a:gd name="connsiteX1" fmla="*/ 2158092 w 2381128"/>
                <a:gd name="connsiteY1" fmla="*/ 257442 h 257442"/>
                <a:gd name="connsiteX2" fmla="*/ 0 w 2381128"/>
                <a:gd name="connsiteY2" fmla="*/ 257442 h 257442"/>
                <a:gd name="connsiteX3" fmla="*/ 0 w 2381128"/>
                <a:gd name="connsiteY3" fmla="*/ 0 h 257442"/>
                <a:gd name="connsiteX0" fmla="*/ 2381128 w 2381128"/>
                <a:gd name="connsiteY0" fmla="*/ 0 h 257442"/>
                <a:gd name="connsiteX1" fmla="*/ 2326406 w 2381128"/>
                <a:gd name="connsiteY1" fmla="*/ 257442 h 257442"/>
                <a:gd name="connsiteX2" fmla="*/ 0 w 2381128"/>
                <a:gd name="connsiteY2" fmla="*/ 257442 h 257442"/>
                <a:gd name="connsiteX3" fmla="*/ 0 w 2381128"/>
                <a:gd name="connsiteY3" fmla="*/ 0 h 257442"/>
                <a:gd name="connsiteX0" fmla="*/ 2381129 w 2381129"/>
                <a:gd name="connsiteY0" fmla="*/ 0 h 257442"/>
                <a:gd name="connsiteX1" fmla="*/ 2326407 w 2381129"/>
                <a:gd name="connsiteY1" fmla="*/ 257442 h 257442"/>
                <a:gd name="connsiteX2" fmla="*/ 0 w 2381129"/>
                <a:gd name="connsiteY2" fmla="*/ 257442 h 257442"/>
                <a:gd name="connsiteX3" fmla="*/ 1 w 2381129"/>
                <a:gd name="connsiteY3" fmla="*/ 0 h 257442"/>
                <a:gd name="connsiteX0" fmla="*/ 2381129 w 2381129"/>
                <a:gd name="connsiteY0" fmla="*/ 0 h 257442"/>
                <a:gd name="connsiteX1" fmla="*/ 2326407 w 2381129"/>
                <a:gd name="connsiteY1" fmla="*/ 257442 h 257442"/>
                <a:gd name="connsiteX2" fmla="*/ 0 w 2381129"/>
                <a:gd name="connsiteY2" fmla="*/ 257442 h 257442"/>
                <a:gd name="connsiteX3" fmla="*/ 1 w 2381129"/>
                <a:gd name="connsiteY3" fmla="*/ 0 h 257442"/>
                <a:gd name="connsiteX0" fmla="*/ 2541429 w 2541429"/>
                <a:gd name="connsiteY0" fmla="*/ 0 h 257442"/>
                <a:gd name="connsiteX1" fmla="*/ 2326407 w 2541429"/>
                <a:gd name="connsiteY1" fmla="*/ 257442 h 257442"/>
                <a:gd name="connsiteX2" fmla="*/ 0 w 2541429"/>
                <a:gd name="connsiteY2" fmla="*/ 257442 h 257442"/>
                <a:gd name="connsiteX3" fmla="*/ 1 w 2541429"/>
                <a:gd name="connsiteY3" fmla="*/ 0 h 257442"/>
                <a:gd name="connsiteX0" fmla="*/ 2541429 w 2541429"/>
                <a:gd name="connsiteY0" fmla="*/ 0 h 257442"/>
                <a:gd name="connsiteX1" fmla="*/ 2486708 w 2541429"/>
                <a:gd name="connsiteY1" fmla="*/ 257442 h 257442"/>
                <a:gd name="connsiteX2" fmla="*/ 0 w 2541429"/>
                <a:gd name="connsiteY2" fmla="*/ 257442 h 257442"/>
                <a:gd name="connsiteX3" fmla="*/ 1 w 2541429"/>
                <a:gd name="connsiteY3" fmla="*/ 0 h 257442"/>
                <a:gd name="connsiteX0" fmla="*/ 2541428 w 2541428"/>
                <a:gd name="connsiteY0" fmla="*/ 0 h 257442"/>
                <a:gd name="connsiteX1" fmla="*/ 2486707 w 2541428"/>
                <a:gd name="connsiteY1" fmla="*/ 257442 h 257442"/>
                <a:gd name="connsiteX2" fmla="*/ 0 w 2541428"/>
                <a:gd name="connsiteY2" fmla="*/ 257442 h 257442"/>
                <a:gd name="connsiteX3" fmla="*/ 0 w 2541428"/>
                <a:gd name="connsiteY3" fmla="*/ 0 h 257442"/>
                <a:gd name="connsiteX0" fmla="*/ 2541429 w 2541429"/>
                <a:gd name="connsiteY0" fmla="*/ 0 h 257442"/>
                <a:gd name="connsiteX1" fmla="*/ 2486708 w 2541429"/>
                <a:gd name="connsiteY1" fmla="*/ 257442 h 257442"/>
                <a:gd name="connsiteX2" fmla="*/ 1 w 2541429"/>
                <a:gd name="connsiteY2" fmla="*/ 257442 h 257442"/>
                <a:gd name="connsiteX3" fmla="*/ 0 w 2541429"/>
                <a:gd name="connsiteY3" fmla="*/ 0 h 257442"/>
                <a:gd name="connsiteX0" fmla="*/ 2862030 w 2862030"/>
                <a:gd name="connsiteY0" fmla="*/ 0 h 257442"/>
                <a:gd name="connsiteX1" fmla="*/ 2486708 w 2862030"/>
                <a:gd name="connsiteY1" fmla="*/ 257442 h 257442"/>
                <a:gd name="connsiteX2" fmla="*/ 1 w 2862030"/>
                <a:gd name="connsiteY2" fmla="*/ 257442 h 257442"/>
                <a:gd name="connsiteX3" fmla="*/ 0 w 2862030"/>
                <a:gd name="connsiteY3" fmla="*/ 0 h 257442"/>
                <a:gd name="connsiteX0" fmla="*/ 2862030 w 2862030"/>
                <a:gd name="connsiteY0" fmla="*/ 0 h 257442"/>
                <a:gd name="connsiteX1" fmla="*/ 2807308 w 2862030"/>
                <a:gd name="connsiteY1" fmla="*/ 257442 h 257442"/>
                <a:gd name="connsiteX2" fmla="*/ 1 w 2862030"/>
                <a:gd name="connsiteY2" fmla="*/ 257442 h 257442"/>
                <a:gd name="connsiteX3" fmla="*/ 0 w 2862030"/>
                <a:gd name="connsiteY3" fmla="*/ 0 h 257442"/>
                <a:gd name="connsiteX0" fmla="*/ 2862030 w 2862030"/>
                <a:gd name="connsiteY0" fmla="*/ 0 h 257442"/>
                <a:gd name="connsiteX1" fmla="*/ 2807308 w 2862030"/>
                <a:gd name="connsiteY1" fmla="*/ 257442 h 257442"/>
                <a:gd name="connsiteX2" fmla="*/ 0 w 2862030"/>
                <a:gd name="connsiteY2" fmla="*/ 257442 h 257442"/>
                <a:gd name="connsiteX3" fmla="*/ 0 w 2862030"/>
                <a:gd name="connsiteY3" fmla="*/ 0 h 257442"/>
                <a:gd name="connsiteX0" fmla="*/ 2862030 w 2862030"/>
                <a:gd name="connsiteY0" fmla="*/ 0 h 257442"/>
                <a:gd name="connsiteX1" fmla="*/ 2807308 w 2862030"/>
                <a:gd name="connsiteY1" fmla="*/ 257442 h 257442"/>
                <a:gd name="connsiteX2" fmla="*/ 0 w 2862030"/>
                <a:gd name="connsiteY2" fmla="*/ 257442 h 257442"/>
                <a:gd name="connsiteX3" fmla="*/ 0 w 2862030"/>
                <a:gd name="connsiteY3" fmla="*/ 0 h 257442"/>
                <a:gd name="connsiteX0" fmla="*/ 3022329 w 3022329"/>
                <a:gd name="connsiteY0" fmla="*/ 0 h 257442"/>
                <a:gd name="connsiteX1" fmla="*/ 2807308 w 3022329"/>
                <a:gd name="connsiteY1" fmla="*/ 257442 h 257442"/>
                <a:gd name="connsiteX2" fmla="*/ 0 w 3022329"/>
                <a:gd name="connsiteY2" fmla="*/ 257442 h 257442"/>
                <a:gd name="connsiteX3" fmla="*/ 0 w 3022329"/>
                <a:gd name="connsiteY3" fmla="*/ 0 h 257442"/>
                <a:gd name="connsiteX0" fmla="*/ 3022329 w 3022329"/>
                <a:gd name="connsiteY0" fmla="*/ 0 h 257442"/>
                <a:gd name="connsiteX1" fmla="*/ 2967608 w 3022329"/>
                <a:gd name="connsiteY1" fmla="*/ 257442 h 257442"/>
                <a:gd name="connsiteX2" fmla="*/ 0 w 3022329"/>
                <a:gd name="connsiteY2" fmla="*/ 257442 h 257442"/>
                <a:gd name="connsiteX3" fmla="*/ 0 w 3022329"/>
                <a:gd name="connsiteY3" fmla="*/ 0 h 257442"/>
                <a:gd name="connsiteX0" fmla="*/ 3022329 w 3022329"/>
                <a:gd name="connsiteY0" fmla="*/ 0 h 257442"/>
                <a:gd name="connsiteX1" fmla="*/ 2967608 w 3022329"/>
                <a:gd name="connsiteY1" fmla="*/ 257442 h 257442"/>
                <a:gd name="connsiteX2" fmla="*/ 0 w 3022329"/>
                <a:gd name="connsiteY2" fmla="*/ 257442 h 257442"/>
                <a:gd name="connsiteX3" fmla="*/ 0 w 3022329"/>
                <a:gd name="connsiteY3" fmla="*/ 0 h 257442"/>
                <a:gd name="connsiteX0" fmla="*/ 3022329 w 3022329"/>
                <a:gd name="connsiteY0" fmla="*/ 0 h 257442"/>
                <a:gd name="connsiteX1" fmla="*/ 2967608 w 3022329"/>
                <a:gd name="connsiteY1" fmla="*/ 257442 h 257442"/>
                <a:gd name="connsiteX2" fmla="*/ 0 w 3022329"/>
                <a:gd name="connsiteY2" fmla="*/ 257442 h 257442"/>
                <a:gd name="connsiteX3" fmla="*/ 0 w 3022329"/>
                <a:gd name="connsiteY3" fmla="*/ 0 h 257442"/>
                <a:gd name="connsiteX0" fmla="*/ 3182630 w 3182630"/>
                <a:gd name="connsiteY0" fmla="*/ 0 h 257442"/>
                <a:gd name="connsiteX1" fmla="*/ 2967608 w 3182630"/>
                <a:gd name="connsiteY1" fmla="*/ 257442 h 257442"/>
                <a:gd name="connsiteX2" fmla="*/ 0 w 3182630"/>
                <a:gd name="connsiteY2" fmla="*/ 257442 h 257442"/>
                <a:gd name="connsiteX3" fmla="*/ 0 w 3182630"/>
                <a:gd name="connsiteY3" fmla="*/ 0 h 257442"/>
                <a:gd name="connsiteX0" fmla="*/ 3182630 w 3182630"/>
                <a:gd name="connsiteY0" fmla="*/ 0 h 257442"/>
                <a:gd name="connsiteX1" fmla="*/ 3127908 w 3182630"/>
                <a:gd name="connsiteY1" fmla="*/ 257442 h 257442"/>
                <a:gd name="connsiteX2" fmla="*/ 0 w 3182630"/>
                <a:gd name="connsiteY2" fmla="*/ 257442 h 257442"/>
                <a:gd name="connsiteX3" fmla="*/ 0 w 3182630"/>
                <a:gd name="connsiteY3" fmla="*/ 0 h 257442"/>
                <a:gd name="connsiteX0" fmla="*/ 3182631 w 3182631"/>
                <a:gd name="connsiteY0" fmla="*/ 0 h 257442"/>
                <a:gd name="connsiteX1" fmla="*/ 3127909 w 3182631"/>
                <a:gd name="connsiteY1" fmla="*/ 257442 h 257442"/>
                <a:gd name="connsiteX2" fmla="*/ 0 w 3182631"/>
                <a:gd name="connsiteY2" fmla="*/ 257442 h 257442"/>
                <a:gd name="connsiteX3" fmla="*/ 1 w 3182631"/>
                <a:gd name="connsiteY3" fmla="*/ 0 h 257442"/>
                <a:gd name="connsiteX0" fmla="*/ 3182631 w 3182631"/>
                <a:gd name="connsiteY0" fmla="*/ 0 h 257442"/>
                <a:gd name="connsiteX1" fmla="*/ 3127909 w 3182631"/>
                <a:gd name="connsiteY1" fmla="*/ 257442 h 257442"/>
                <a:gd name="connsiteX2" fmla="*/ 0 w 3182631"/>
                <a:gd name="connsiteY2" fmla="*/ 257442 h 257442"/>
                <a:gd name="connsiteX3" fmla="*/ 1 w 3182631"/>
                <a:gd name="connsiteY3" fmla="*/ 0 h 257442"/>
                <a:gd name="connsiteX0" fmla="*/ 3342931 w 3342931"/>
                <a:gd name="connsiteY0" fmla="*/ 0 h 257442"/>
                <a:gd name="connsiteX1" fmla="*/ 3127909 w 3342931"/>
                <a:gd name="connsiteY1" fmla="*/ 257442 h 257442"/>
                <a:gd name="connsiteX2" fmla="*/ 0 w 3342931"/>
                <a:gd name="connsiteY2" fmla="*/ 257442 h 257442"/>
                <a:gd name="connsiteX3" fmla="*/ 1 w 3342931"/>
                <a:gd name="connsiteY3" fmla="*/ 0 h 257442"/>
                <a:gd name="connsiteX0" fmla="*/ 3342931 w 3342931"/>
                <a:gd name="connsiteY0" fmla="*/ 0 h 257442"/>
                <a:gd name="connsiteX1" fmla="*/ 3288210 w 3342931"/>
                <a:gd name="connsiteY1" fmla="*/ 257442 h 257442"/>
                <a:gd name="connsiteX2" fmla="*/ 0 w 3342931"/>
                <a:gd name="connsiteY2" fmla="*/ 257442 h 257442"/>
                <a:gd name="connsiteX3" fmla="*/ 1 w 3342931"/>
                <a:gd name="connsiteY3" fmla="*/ 0 h 257442"/>
                <a:gd name="connsiteX0" fmla="*/ 3342930 w 3342930"/>
                <a:gd name="connsiteY0" fmla="*/ 0 h 257442"/>
                <a:gd name="connsiteX1" fmla="*/ 3288209 w 3342930"/>
                <a:gd name="connsiteY1" fmla="*/ 257442 h 257442"/>
                <a:gd name="connsiteX2" fmla="*/ 0 w 3342930"/>
                <a:gd name="connsiteY2" fmla="*/ 257442 h 257442"/>
                <a:gd name="connsiteX3" fmla="*/ 0 w 3342930"/>
                <a:gd name="connsiteY3" fmla="*/ 0 h 257442"/>
                <a:gd name="connsiteX0" fmla="*/ 3342931 w 3342931"/>
                <a:gd name="connsiteY0" fmla="*/ 0 h 257442"/>
                <a:gd name="connsiteX1" fmla="*/ 3288210 w 3342931"/>
                <a:gd name="connsiteY1" fmla="*/ 257442 h 257442"/>
                <a:gd name="connsiteX2" fmla="*/ 1 w 3342931"/>
                <a:gd name="connsiteY2" fmla="*/ 257442 h 257442"/>
                <a:gd name="connsiteX3" fmla="*/ 0 w 3342931"/>
                <a:gd name="connsiteY3" fmla="*/ 0 h 257442"/>
                <a:gd name="connsiteX0" fmla="*/ 3673149 w 3673149"/>
                <a:gd name="connsiteY0" fmla="*/ 0 h 257442"/>
                <a:gd name="connsiteX1" fmla="*/ 3288210 w 3673149"/>
                <a:gd name="connsiteY1" fmla="*/ 257442 h 257442"/>
                <a:gd name="connsiteX2" fmla="*/ 1 w 3673149"/>
                <a:gd name="connsiteY2" fmla="*/ 257442 h 257442"/>
                <a:gd name="connsiteX3" fmla="*/ 0 w 3673149"/>
                <a:gd name="connsiteY3" fmla="*/ 0 h 257442"/>
                <a:gd name="connsiteX0" fmla="*/ 3673149 w 3673149"/>
                <a:gd name="connsiteY0" fmla="*/ 0 h 257442"/>
                <a:gd name="connsiteX1" fmla="*/ 3618428 w 3673149"/>
                <a:gd name="connsiteY1" fmla="*/ 257442 h 257442"/>
                <a:gd name="connsiteX2" fmla="*/ 1 w 3673149"/>
                <a:gd name="connsiteY2" fmla="*/ 257442 h 257442"/>
                <a:gd name="connsiteX3" fmla="*/ 0 w 3673149"/>
                <a:gd name="connsiteY3" fmla="*/ 0 h 257442"/>
                <a:gd name="connsiteX0" fmla="*/ 3673149 w 3673149"/>
                <a:gd name="connsiteY0" fmla="*/ 0 h 257442"/>
                <a:gd name="connsiteX1" fmla="*/ 3618428 w 3673149"/>
                <a:gd name="connsiteY1" fmla="*/ 257442 h 257442"/>
                <a:gd name="connsiteX2" fmla="*/ 1 w 3673149"/>
                <a:gd name="connsiteY2" fmla="*/ 257442 h 257442"/>
                <a:gd name="connsiteX3" fmla="*/ 0 w 3673149"/>
                <a:gd name="connsiteY3" fmla="*/ 0 h 257442"/>
                <a:gd name="connsiteX0" fmla="*/ 3673148 w 3673148"/>
                <a:gd name="connsiteY0" fmla="*/ 0 h 257442"/>
                <a:gd name="connsiteX1" fmla="*/ 3618427 w 3673148"/>
                <a:gd name="connsiteY1" fmla="*/ 257442 h 257442"/>
                <a:gd name="connsiteX2" fmla="*/ 0 w 3673148"/>
                <a:gd name="connsiteY2" fmla="*/ 257442 h 257442"/>
                <a:gd name="connsiteX3" fmla="*/ 0 w 3673148"/>
                <a:gd name="connsiteY3" fmla="*/ 0 h 257442"/>
                <a:gd name="connsiteX0" fmla="*/ 3833448 w 3833448"/>
                <a:gd name="connsiteY0" fmla="*/ 0 h 257442"/>
                <a:gd name="connsiteX1" fmla="*/ 3618427 w 3833448"/>
                <a:gd name="connsiteY1" fmla="*/ 257442 h 257442"/>
                <a:gd name="connsiteX2" fmla="*/ 0 w 3833448"/>
                <a:gd name="connsiteY2" fmla="*/ 257442 h 257442"/>
                <a:gd name="connsiteX3" fmla="*/ 0 w 3833448"/>
                <a:gd name="connsiteY3" fmla="*/ 0 h 257442"/>
                <a:gd name="connsiteX0" fmla="*/ 3833448 w 3833448"/>
                <a:gd name="connsiteY0" fmla="*/ 0 h 257442"/>
                <a:gd name="connsiteX1" fmla="*/ 3778727 w 3833448"/>
                <a:gd name="connsiteY1" fmla="*/ 257442 h 257442"/>
                <a:gd name="connsiteX2" fmla="*/ 0 w 3833448"/>
                <a:gd name="connsiteY2" fmla="*/ 257442 h 257442"/>
                <a:gd name="connsiteX3" fmla="*/ 0 w 3833448"/>
                <a:gd name="connsiteY3" fmla="*/ 0 h 257442"/>
                <a:gd name="connsiteX0" fmla="*/ 3833449 w 3833449"/>
                <a:gd name="connsiteY0" fmla="*/ 0 h 257442"/>
                <a:gd name="connsiteX1" fmla="*/ 3778728 w 3833449"/>
                <a:gd name="connsiteY1" fmla="*/ 257442 h 257442"/>
                <a:gd name="connsiteX2" fmla="*/ 0 w 3833449"/>
                <a:gd name="connsiteY2" fmla="*/ 257442 h 257442"/>
                <a:gd name="connsiteX3" fmla="*/ 1 w 3833449"/>
                <a:gd name="connsiteY3" fmla="*/ 0 h 257442"/>
                <a:gd name="connsiteX0" fmla="*/ 3833449 w 3833449"/>
                <a:gd name="connsiteY0" fmla="*/ 0 h 257442"/>
                <a:gd name="connsiteX1" fmla="*/ 3778728 w 3833449"/>
                <a:gd name="connsiteY1" fmla="*/ 257442 h 257442"/>
                <a:gd name="connsiteX2" fmla="*/ 0 w 3833449"/>
                <a:gd name="connsiteY2" fmla="*/ 257442 h 257442"/>
                <a:gd name="connsiteX3" fmla="*/ 1 w 3833449"/>
                <a:gd name="connsiteY3" fmla="*/ 0 h 257442"/>
                <a:gd name="connsiteX0" fmla="*/ 4019398 w 4019398"/>
                <a:gd name="connsiteY0" fmla="*/ 0 h 257442"/>
                <a:gd name="connsiteX1" fmla="*/ 3778728 w 4019398"/>
                <a:gd name="connsiteY1" fmla="*/ 257442 h 257442"/>
                <a:gd name="connsiteX2" fmla="*/ 0 w 4019398"/>
                <a:gd name="connsiteY2" fmla="*/ 257442 h 257442"/>
                <a:gd name="connsiteX3" fmla="*/ 1 w 4019398"/>
                <a:gd name="connsiteY3" fmla="*/ 0 h 257442"/>
                <a:gd name="connsiteX0" fmla="*/ 4019398 w 4019398"/>
                <a:gd name="connsiteY0" fmla="*/ 0 h 257442"/>
                <a:gd name="connsiteX1" fmla="*/ 3964676 w 4019398"/>
                <a:gd name="connsiteY1" fmla="*/ 257442 h 257442"/>
                <a:gd name="connsiteX2" fmla="*/ 0 w 4019398"/>
                <a:gd name="connsiteY2" fmla="*/ 257442 h 257442"/>
                <a:gd name="connsiteX3" fmla="*/ 1 w 4019398"/>
                <a:gd name="connsiteY3" fmla="*/ 0 h 257442"/>
                <a:gd name="connsiteX0" fmla="*/ 4019398 w 4019398"/>
                <a:gd name="connsiteY0" fmla="*/ 0 h 257442"/>
                <a:gd name="connsiteX1" fmla="*/ 3964676 w 4019398"/>
                <a:gd name="connsiteY1" fmla="*/ 257442 h 257442"/>
                <a:gd name="connsiteX2" fmla="*/ 0 w 4019398"/>
                <a:gd name="connsiteY2" fmla="*/ 257442 h 257442"/>
                <a:gd name="connsiteX3" fmla="*/ 1 w 4019398"/>
                <a:gd name="connsiteY3" fmla="*/ 0 h 257442"/>
                <a:gd name="connsiteX0" fmla="*/ 4019398 w 4019398"/>
                <a:gd name="connsiteY0" fmla="*/ 0 h 257442"/>
                <a:gd name="connsiteX1" fmla="*/ 3964676 w 4019398"/>
                <a:gd name="connsiteY1" fmla="*/ 257442 h 257442"/>
                <a:gd name="connsiteX2" fmla="*/ 0 w 4019398"/>
                <a:gd name="connsiteY2" fmla="*/ 257442 h 257442"/>
                <a:gd name="connsiteX3" fmla="*/ 0 w 4019398"/>
                <a:gd name="connsiteY3" fmla="*/ 0 h 257442"/>
                <a:gd name="connsiteX0" fmla="*/ 4179697 w 4179697"/>
                <a:gd name="connsiteY0" fmla="*/ 0 h 257442"/>
                <a:gd name="connsiteX1" fmla="*/ 3964676 w 4179697"/>
                <a:gd name="connsiteY1" fmla="*/ 257442 h 257442"/>
                <a:gd name="connsiteX2" fmla="*/ 0 w 4179697"/>
                <a:gd name="connsiteY2" fmla="*/ 257442 h 257442"/>
                <a:gd name="connsiteX3" fmla="*/ 0 w 4179697"/>
                <a:gd name="connsiteY3" fmla="*/ 0 h 257442"/>
                <a:gd name="connsiteX0" fmla="*/ 4179697 w 4179697"/>
                <a:gd name="connsiteY0" fmla="*/ 0 h 257442"/>
                <a:gd name="connsiteX1" fmla="*/ 4124976 w 4179697"/>
                <a:gd name="connsiteY1" fmla="*/ 257442 h 257442"/>
                <a:gd name="connsiteX2" fmla="*/ 0 w 4179697"/>
                <a:gd name="connsiteY2" fmla="*/ 257442 h 257442"/>
                <a:gd name="connsiteX3" fmla="*/ 0 w 4179697"/>
                <a:gd name="connsiteY3" fmla="*/ 0 h 257442"/>
                <a:gd name="connsiteX0" fmla="*/ 4179697 w 4179697"/>
                <a:gd name="connsiteY0" fmla="*/ 0 h 257442"/>
                <a:gd name="connsiteX1" fmla="*/ 4124976 w 4179697"/>
                <a:gd name="connsiteY1" fmla="*/ 257442 h 257442"/>
                <a:gd name="connsiteX2" fmla="*/ 0 w 4179697"/>
                <a:gd name="connsiteY2" fmla="*/ 257442 h 257442"/>
                <a:gd name="connsiteX3" fmla="*/ 0 w 4179697"/>
                <a:gd name="connsiteY3" fmla="*/ 0 h 257442"/>
                <a:gd name="connsiteX0" fmla="*/ 4179697 w 4179697"/>
                <a:gd name="connsiteY0" fmla="*/ 0 h 257442"/>
                <a:gd name="connsiteX1" fmla="*/ 4124976 w 4179697"/>
                <a:gd name="connsiteY1" fmla="*/ 257442 h 257442"/>
                <a:gd name="connsiteX2" fmla="*/ 0 w 4179697"/>
                <a:gd name="connsiteY2" fmla="*/ 257442 h 257442"/>
                <a:gd name="connsiteX3" fmla="*/ 0 w 4179697"/>
                <a:gd name="connsiteY3" fmla="*/ 0 h 257442"/>
                <a:gd name="connsiteX0" fmla="*/ 4348013 w 4348013"/>
                <a:gd name="connsiteY0" fmla="*/ 0 h 257442"/>
                <a:gd name="connsiteX1" fmla="*/ 4124976 w 4348013"/>
                <a:gd name="connsiteY1" fmla="*/ 257442 h 257442"/>
                <a:gd name="connsiteX2" fmla="*/ 0 w 4348013"/>
                <a:gd name="connsiteY2" fmla="*/ 257442 h 257442"/>
                <a:gd name="connsiteX3" fmla="*/ 0 w 4348013"/>
                <a:gd name="connsiteY3" fmla="*/ 0 h 257442"/>
                <a:gd name="connsiteX0" fmla="*/ 4348013 w 4348013"/>
                <a:gd name="connsiteY0" fmla="*/ 0 h 257442"/>
                <a:gd name="connsiteX1" fmla="*/ 4293292 w 4348013"/>
                <a:gd name="connsiteY1" fmla="*/ 257442 h 257442"/>
                <a:gd name="connsiteX2" fmla="*/ 0 w 4348013"/>
                <a:gd name="connsiteY2" fmla="*/ 257442 h 257442"/>
                <a:gd name="connsiteX3" fmla="*/ 0 w 4348013"/>
                <a:gd name="connsiteY3" fmla="*/ 0 h 257442"/>
                <a:gd name="connsiteX0" fmla="*/ 4348013 w 4348013"/>
                <a:gd name="connsiteY0" fmla="*/ 0 h 257442"/>
                <a:gd name="connsiteX1" fmla="*/ 4293292 w 4348013"/>
                <a:gd name="connsiteY1" fmla="*/ 257442 h 257442"/>
                <a:gd name="connsiteX2" fmla="*/ 0 w 4348013"/>
                <a:gd name="connsiteY2" fmla="*/ 257442 h 257442"/>
                <a:gd name="connsiteX3" fmla="*/ 0 w 4348013"/>
                <a:gd name="connsiteY3" fmla="*/ 0 h 257442"/>
                <a:gd name="connsiteX0" fmla="*/ 4348013 w 4348013"/>
                <a:gd name="connsiteY0" fmla="*/ 0 h 257442"/>
                <a:gd name="connsiteX1" fmla="*/ 4293292 w 4348013"/>
                <a:gd name="connsiteY1" fmla="*/ 257442 h 257442"/>
                <a:gd name="connsiteX2" fmla="*/ 0 w 4348013"/>
                <a:gd name="connsiteY2" fmla="*/ 257442 h 257442"/>
                <a:gd name="connsiteX3" fmla="*/ 0 w 4348013"/>
                <a:gd name="connsiteY3" fmla="*/ 0 h 257442"/>
                <a:gd name="connsiteX0" fmla="*/ 4598530 w 4598530"/>
                <a:gd name="connsiteY0" fmla="*/ 0 h 257442"/>
                <a:gd name="connsiteX1" fmla="*/ 4293292 w 4598530"/>
                <a:gd name="connsiteY1" fmla="*/ 257442 h 257442"/>
                <a:gd name="connsiteX2" fmla="*/ 0 w 4598530"/>
                <a:gd name="connsiteY2" fmla="*/ 257442 h 257442"/>
                <a:gd name="connsiteX3" fmla="*/ 0 w 4598530"/>
                <a:gd name="connsiteY3" fmla="*/ 0 h 257442"/>
                <a:gd name="connsiteX0" fmla="*/ 4598530 w 4598530"/>
                <a:gd name="connsiteY0" fmla="*/ 0 h 257442"/>
                <a:gd name="connsiteX1" fmla="*/ 4543808 w 4598530"/>
                <a:gd name="connsiteY1" fmla="*/ 257442 h 257442"/>
                <a:gd name="connsiteX2" fmla="*/ 0 w 4598530"/>
                <a:gd name="connsiteY2" fmla="*/ 257442 h 257442"/>
                <a:gd name="connsiteX3" fmla="*/ 0 w 4598530"/>
                <a:gd name="connsiteY3" fmla="*/ 0 h 257442"/>
                <a:gd name="connsiteX0" fmla="*/ 4598531 w 4598531"/>
                <a:gd name="connsiteY0" fmla="*/ 0 h 257442"/>
                <a:gd name="connsiteX1" fmla="*/ 4543809 w 4598531"/>
                <a:gd name="connsiteY1" fmla="*/ 257442 h 257442"/>
                <a:gd name="connsiteX2" fmla="*/ 0 w 4598531"/>
                <a:gd name="connsiteY2" fmla="*/ 257442 h 257442"/>
                <a:gd name="connsiteX3" fmla="*/ 1 w 4598531"/>
                <a:gd name="connsiteY3" fmla="*/ 0 h 257442"/>
                <a:gd name="connsiteX0" fmla="*/ 4598531 w 4598531"/>
                <a:gd name="connsiteY0" fmla="*/ 0 h 257442"/>
                <a:gd name="connsiteX1" fmla="*/ 4543809 w 4598531"/>
                <a:gd name="connsiteY1" fmla="*/ 257442 h 257442"/>
                <a:gd name="connsiteX2" fmla="*/ 0 w 4598531"/>
                <a:gd name="connsiteY2" fmla="*/ 257442 h 257442"/>
                <a:gd name="connsiteX3" fmla="*/ 1 w 4598531"/>
                <a:gd name="connsiteY3" fmla="*/ 0 h 257442"/>
                <a:gd name="connsiteX0" fmla="*/ 950802 w 4543809"/>
                <a:gd name="connsiteY0" fmla="*/ 0 h 257442"/>
                <a:gd name="connsiteX1" fmla="*/ 4543809 w 4543809"/>
                <a:gd name="connsiteY1" fmla="*/ 257442 h 257442"/>
                <a:gd name="connsiteX2" fmla="*/ 0 w 4543809"/>
                <a:gd name="connsiteY2" fmla="*/ 257442 h 257442"/>
                <a:gd name="connsiteX3" fmla="*/ 1 w 4543809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0 w 950802"/>
                <a:gd name="connsiteY2" fmla="*/ 257442 h 257442"/>
                <a:gd name="connsiteX3" fmla="*/ 1 w 95080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1128734 w 1128734"/>
                <a:gd name="connsiteY0" fmla="*/ 0 h 257442"/>
                <a:gd name="connsiteX1" fmla="*/ 896080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2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314683 w 1314683"/>
                <a:gd name="connsiteY0" fmla="*/ 0 h 257442"/>
                <a:gd name="connsiteX1" fmla="*/ 1074013 w 1314683"/>
                <a:gd name="connsiteY1" fmla="*/ 257442 h 257442"/>
                <a:gd name="connsiteX2" fmla="*/ 0 w 1314683"/>
                <a:gd name="connsiteY2" fmla="*/ 257442 h 257442"/>
                <a:gd name="connsiteX3" fmla="*/ 1 w 1314683"/>
                <a:gd name="connsiteY3" fmla="*/ 0 h 257442"/>
                <a:gd name="connsiteX0" fmla="*/ 1314683 w 1314683"/>
                <a:gd name="connsiteY0" fmla="*/ 0 h 257442"/>
                <a:gd name="connsiteX1" fmla="*/ 1259962 w 1314683"/>
                <a:gd name="connsiteY1" fmla="*/ 257442 h 257442"/>
                <a:gd name="connsiteX2" fmla="*/ 0 w 1314683"/>
                <a:gd name="connsiteY2" fmla="*/ 257442 h 257442"/>
                <a:gd name="connsiteX3" fmla="*/ 1 w 1314683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3 w 1314683"/>
                <a:gd name="connsiteY0" fmla="*/ 0 h 257442"/>
                <a:gd name="connsiteX1" fmla="*/ 1259962 w 1314683"/>
                <a:gd name="connsiteY1" fmla="*/ 257442 h 257442"/>
                <a:gd name="connsiteX2" fmla="*/ 1 w 1314683"/>
                <a:gd name="connsiteY2" fmla="*/ 257442 h 257442"/>
                <a:gd name="connsiteX3" fmla="*/ 0 w 1314683"/>
                <a:gd name="connsiteY3" fmla="*/ 0 h 257442"/>
                <a:gd name="connsiteX0" fmla="*/ 1474984 w 1474984"/>
                <a:gd name="connsiteY0" fmla="*/ 0 h 257442"/>
                <a:gd name="connsiteX1" fmla="*/ 1259962 w 1474984"/>
                <a:gd name="connsiteY1" fmla="*/ 257442 h 257442"/>
                <a:gd name="connsiteX2" fmla="*/ 1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1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635283 w 1635283"/>
                <a:gd name="connsiteY0" fmla="*/ 0 h 257442"/>
                <a:gd name="connsiteX1" fmla="*/ 14202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888557 w 1888557"/>
                <a:gd name="connsiteY0" fmla="*/ 0 h 257442"/>
                <a:gd name="connsiteX1" fmla="*/ 1580562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2141832 w 2141832"/>
                <a:gd name="connsiteY0" fmla="*/ 0 h 257442"/>
                <a:gd name="connsiteX1" fmla="*/ 1833836 w 2141832"/>
                <a:gd name="connsiteY1" fmla="*/ 257442 h 257442"/>
                <a:gd name="connsiteX2" fmla="*/ 0 w 2141832"/>
                <a:gd name="connsiteY2" fmla="*/ 257442 h 257442"/>
                <a:gd name="connsiteX3" fmla="*/ 0 w 2141832"/>
                <a:gd name="connsiteY3" fmla="*/ 0 h 257442"/>
                <a:gd name="connsiteX0" fmla="*/ 2141832 w 2141832"/>
                <a:gd name="connsiteY0" fmla="*/ 0 h 257442"/>
                <a:gd name="connsiteX1" fmla="*/ 2087110 w 2141832"/>
                <a:gd name="connsiteY1" fmla="*/ 257442 h 257442"/>
                <a:gd name="connsiteX2" fmla="*/ 0 w 2141832"/>
                <a:gd name="connsiteY2" fmla="*/ 257442 h 257442"/>
                <a:gd name="connsiteX3" fmla="*/ 0 w 2141832"/>
                <a:gd name="connsiteY3" fmla="*/ 0 h 257442"/>
                <a:gd name="connsiteX0" fmla="*/ 2141833 w 2141833"/>
                <a:gd name="connsiteY0" fmla="*/ 0 h 257442"/>
                <a:gd name="connsiteX1" fmla="*/ 2087111 w 2141833"/>
                <a:gd name="connsiteY1" fmla="*/ 257442 h 257442"/>
                <a:gd name="connsiteX2" fmla="*/ 0 w 2141833"/>
                <a:gd name="connsiteY2" fmla="*/ 257442 h 257442"/>
                <a:gd name="connsiteX3" fmla="*/ 1 w 2141833"/>
                <a:gd name="connsiteY3" fmla="*/ 0 h 257442"/>
                <a:gd name="connsiteX0" fmla="*/ 2141833 w 2141833"/>
                <a:gd name="connsiteY0" fmla="*/ 0 h 257442"/>
                <a:gd name="connsiteX1" fmla="*/ 2087111 w 2141833"/>
                <a:gd name="connsiteY1" fmla="*/ 257442 h 257442"/>
                <a:gd name="connsiteX2" fmla="*/ 0 w 2141833"/>
                <a:gd name="connsiteY2" fmla="*/ 257442 h 257442"/>
                <a:gd name="connsiteX3" fmla="*/ 1 w 2141833"/>
                <a:gd name="connsiteY3" fmla="*/ 0 h 257442"/>
                <a:gd name="connsiteX0" fmla="*/ 2302133 w 2302133"/>
                <a:gd name="connsiteY0" fmla="*/ 0 h 257442"/>
                <a:gd name="connsiteX1" fmla="*/ 2087111 w 2302133"/>
                <a:gd name="connsiteY1" fmla="*/ 257442 h 257442"/>
                <a:gd name="connsiteX2" fmla="*/ 0 w 2302133"/>
                <a:gd name="connsiteY2" fmla="*/ 257442 h 257442"/>
                <a:gd name="connsiteX3" fmla="*/ 1 w 2302133"/>
                <a:gd name="connsiteY3" fmla="*/ 0 h 257442"/>
                <a:gd name="connsiteX0" fmla="*/ 2302133 w 2302133"/>
                <a:gd name="connsiteY0" fmla="*/ 0 h 257442"/>
                <a:gd name="connsiteX1" fmla="*/ 2247412 w 2302133"/>
                <a:gd name="connsiteY1" fmla="*/ 257442 h 257442"/>
                <a:gd name="connsiteX2" fmla="*/ 0 w 2302133"/>
                <a:gd name="connsiteY2" fmla="*/ 257442 h 257442"/>
                <a:gd name="connsiteX3" fmla="*/ 1 w 2302133"/>
                <a:gd name="connsiteY3" fmla="*/ 0 h 257442"/>
                <a:gd name="connsiteX0" fmla="*/ 2302132 w 2302132"/>
                <a:gd name="connsiteY0" fmla="*/ 0 h 257442"/>
                <a:gd name="connsiteX1" fmla="*/ 2247411 w 2302132"/>
                <a:gd name="connsiteY1" fmla="*/ 257442 h 257442"/>
                <a:gd name="connsiteX2" fmla="*/ 0 w 2302132"/>
                <a:gd name="connsiteY2" fmla="*/ 257442 h 257442"/>
                <a:gd name="connsiteX3" fmla="*/ 0 w 2302132"/>
                <a:gd name="connsiteY3" fmla="*/ 0 h 257442"/>
                <a:gd name="connsiteX0" fmla="*/ 2302133 w 2302133"/>
                <a:gd name="connsiteY0" fmla="*/ 0 h 257442"/>
                <a:gd name="connsiteX1" fmla="*/ 2247412 w 2302133"/>
                <a:gd name="connsiteY1" fmla="*/ 257442 h 257442"/>
                <a:gd name="connsiteX2" fmla="*/ 1 w 2302133"/>
                <a:gd name="connsiteY2" fmla="*/ 257442 h 257442"/>
                <a:gd name="connsiteX3" fmla="*/ 0 w 2302133"/>
                <a:gd name="connsiteY3" fmla="*/ 0 h 257442"/>
                <a:gd name="connsiteX0" fmla="*/ 2462433 w 2462433"/>
                <a:gd name="connsiteY0" fmla="*/ 0 h 257442"/>
                <a:gd name="connsiteX1" fmla="*/ 22474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3 w 2462433"/>
                <a:gd name="connsiteY0" fmla="*/ 0 h 257442"/>
                <a:gd name="connsiteX1" fmla="*/ 24077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3 w 2462433"/>
                <a:gd name="connsiteY0" fmla="*/ 0 h 257442"/>
                <a:gd name="connsiteX1" fmla="*/ 24077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2 w 2462432"/>
                <a:gd name="connsiteY0" fmla="*/ 0 h 257442"/>
                <a:gd name="connsiteX1" fmla="*/ 2407711 w 2462432"/>
                <a:gd name="connsiteY1" fmla="*/ 257442 h 257442"/>
                <a:gd name="connsiteX2" fmla="*/ 0 w 2462432"/>
                <a:gd name="connsiteY2" fmla="*/ 257442 h 257442"/>
                <a:gd name="connsiteX3" fmla="*/ 0 w 2462432"/>
                <a:gd name="connsiteY3" fmla="*/ 0 h 257442"/>
                <a:gd name="connsiteX0" fmla="*/ 2715706 w 2715706"/>
                <a:gd name="connsiteY0" fmla="*/ 0 h 257442"/>
                <a:gd name="connsiteX1" fmla="*/ 2407711 w 2715706"/>
                <a:gd name="connsiteY1" fmla="*/ 257442 h 257442"/>
                <a:gd name="connsiteX2" fmla="*/ 0 w 2715706"/>
                <a:gd name="connsiteY2" fmla="*/ 257442 h 257442"/>
                <a:gd name="connsiteX3" fmla="*/ 0 w 2715706"/>
                <a:gd name="connsiteY3" fmla="*/ 0 h 257442"/>
                <a:gd name="connsiteX0" fmla="*/ 2715706 w 2715706"/>
                <a:gd name="connsiteY0" fmla="*/ 0 h 257442"/>
                <a:gd name="connsiteX1" fmla="*/ 2660985 w 2715706"/>
                <a:gd name="connsiteY1" fmla="*/ 257442 h 257442"/>
                <a:gd name="connsiteX2" fmla="*/ 0 w 2715706"/>
                <a:gd name="connsiteY2" fmla="*/ 257442 h 257442"/>
                <a:gd name="connsiteX3" fmla="*/ 0 w 2715706"/>
                <a:gd name="connsiteY3" fmla="*/ 0 h 257442"/>
                <a:gd name="connsiteX0" fmla="*/ 2715707 w 2715707"/>
                <a:gd name="connsiteY0" fmla="*/ 0 h 257442"/>
                <a:gd name="connsiteX1" fmla="*/ 2660986 w 2715707"/>
                <a:gd name="connsiteY1" fmla="*/ 257442 h 257442"/>
                <a:gd name="connsiteX2" fmla="*/ 0 w 2715707"/>
                <a:gd name="connsiteY2" fmla="*/ 257442 h 257442"/>
                <a:gd name="connsiteX3" fmla="*/ 1 w 2715707"/>
                <a:gd name="connsiteY3" fmla="*/ 0 h 257442"/>
                <a:gd name="connsiteX0" fmla="*/ 2715707 w 2715707"/>
                <a:gd name="connsiteY0" fmla="*/ 0 h 257442"/>
                <a:gd name="connsiteX1" fmla="*/ 2660986 w 2715707"/>
                <a:gd name="connsiteY1" fmla="*/ 257442 h 257442"/>
                <a:gd name="connsiteX2" fmla="*/ 0 w 2715707"/>
                <a:gd name="connsiteY2" fmla="*/ 257442 h 257442"/>
                <a:gd name="connsiteX3" fmla="*/ 1 w 2715707"/>
                <a:gd name="connsiteY3" fmla="*/ 0 h 257442"/>
                <a:gd name="connsiteX0" fmla="*/ 2884024 w 2884024"/>
                <a:gd name="connsiteY0" fmla="*/ 0 h 257442"/>
                <a:gd name="connsiteX1" fmla="*/ 2660986 w 2884024"/>
                <a:gd name="connsiteY1" fmla="*/ 257442 h 257442"/>
                <a:gd name="connsiteX2" fmla="*/ 0 w 2884024"/>
                <a:gd name="connsiteY2" fmla="*/ 257442 h 257442"/>
                <a:gd name="connsiteX3" fmla="*/ 1 w 2884024"/>
                <a:gd name="connsiteY3" fmla="*/ 0 h 257442"/>
                <a:gd name="connsiteX0" fmla="*/ 2884024 w 2884024"/>
                <a:gd name="connsiteY0" fmla="*/ 0 h 257442"/>
                <a:gd name="connsiteX1" fmla="*/ 2829302 w 2884024"/>
                <a:gd name="connsiteY1" fmla="*/ 257442 h 257442"/>
                <a:gd name="connsiteX2" fmla="*/ 0 w 2884024"/>
                <a:gd name="connsiteY2" fmla="*/ 257442 h 257442"/>
                <a:gd name="connsiteX3" fmla="*/ 1 w 2884024"/>
                <a:gd name="connsiteY3" fmla="*/ 0 h 257442"/>
                <a:gd name="connsiteX0" fmla="*/ 2884024 w 2884024"/>
                <a:gd name="connsiteY0" fmla="*/ 0 h 257442"/>
                <a:gd name="connsiteX1" fmla="*/ 2829302 w 2884024"/>
                <a:gd name="connsiteY1" fmla="*/ 257442 h 257442"/>
                <a:gd name="connsiteX2" fmla="*/ 0 w 2884024"/>
                <a:gd name="connsiteY2" fmla="*/ 257442 h 257442"/>
                <a:gd name="connsiteX3" fmla="*/ 1 w 2884024"/>
                <a:gd name="connsiteY3" fmla="*/ 0 h 257442"/>
                <a:gd name="connsiteX0" fmla="*/ 2884024 w 2884024"/>
                <a:gd name="connsiteY0" fmla="*/ 0 h 257442"/>
                <a:gd name="connsiteX1" fmla="*/ 2829302 w 2884024"/>
                <a:gd name="connsiteY1" fmla="*/ 257442 h 257442"/>
                <a:gd name="connsiteX2" fmla="*/ 0 w 2884024"/>
                <a:gd name="connsiteY2" fmla="*/ 257442 h 257442"/>
                <a:gd name="connsiteX3" fmla="*/ 0 w 2884024"/>
                <a:gd name="connsiteY3" fmla="*/ 0 h 257442"/>
                <a:gd name="connsiteX0" fmla="*/ 3052337 w 3052337"/>
                <a:gd name="connsiteY0" fmla="*/ 0 h 257442"/>
                <a:gd name="connsiteX1" fmla="*/ 2829302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220653 w 3220653"/>
                <a:gd name="connsiteY0" fmla="*/ 0 h 257442"/>
                <a:gd name="connsiteX1" fmla="*/ 2997616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220653 w 3220653"/>
                <a:gd name="connsiteY0" fmla="*/ 0 h 257442"/>
                <a:gd name="connsiteX1" fmla="*/ 3165932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220653 w 3220653"/>
                <a:gd name="connsiteY0" fmla="*/ 0 h 257442"/>
                <a:gd name="connsiteX1" fmla="*/ 3165932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220653 w 3220653"/>
                <a:gd name="connsiteY0" fmla="*/ 0 h 257442"/>
                <a:gd name="connsiteX1" fmla="*/ 3165932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380954 w 3380954"/>
                <a:gd name="connsiteY0" fmla="*/ 0 h 257442"/>
                <a:gd name="connsiteX1" fmla="*/ 3165932 w 3380954"/>
                <a:gd name="connsiteY1" fmla="*/ 257442 h 257442"/>
                <a:gd name="connsiteX2" fmla="*/ 0 w 3380954"/>
                <a:gd name="connsiteY2" fmla="*/ 257442 h 257442"/>
                <a:gd name="connsiteX3" fmla="*/ 0 w 3380954"/>
                <a:gd name="connsiteY3" fmla="*/ 0 h 257442"/>
                <a:gd name="connsiteX0" fmla="*/ 3380954 w 3380954"/>
                <a:gd name="connsiteY0" fmla="*/ 0 h 257442"/>
                <a:gd name="connsiteX1" fmla="*/ 3326232 w 3380954"/>
                <a:gd name="connsiteY1" fmla="*/ 257442 h 257442"/>
                <a:gd name="connsiteX2" fmla="*/ 0 w 3380954"/>
                <a:gd name="connsiteY2" fmla="*/ 257442 h 257442"/>
                <a:gd name="connsiteX3" fmla="*/ 0 w 3380954"/>
                <a:gd name="connsiteY3" fmla="*/ 0 h 257442"/>
                <a:gd name="connsiteX0" fmla="*/ 3380955 w 3380955"/>
                <a:gd name="connsiteY0" fmla="*/ 0 h 257442"/>
                <a:gd name="connsiteX1" fmla="*/ 3326233 w 3380955"/>
                <a:gd name="connsiteY1" fmla="*/ 257442 h 257442"/>
                <a:gd name="connsiteX2" fmla="*/ 0 w 3380955"/>
                <a:gd name="connsiteY2" fmla="*/ 257442 h 257442"/>
                <a:gd name="connsiteX3" fmla="*/ 1 w 3380955"/>
                <a:gd name="connsiteY3" fmla="*/ 0 h 257442"/>
                <a:gd name="connsiteX0" fmla="*/ 3380955 w 3380955"/>
                <a:gd name="connsiteY0" fmla="*/ 0 h 257442"/>
                <a:gd name="connsiteX1" fmla="*/ 3326233 w 3380955"/>
                <a:gd name="connsiteY1" fmla="*/ 257442 h 257442"/>
                <a:gd name="connsiteX2" fmla="*/ 0 w 3380955"/>
                <a:gd name="connsiteY2" fmla="*/ 257442 h 257442"/>
                <a:gd name="connsiteX3" fmla="*/ 1 w 3380955"/>
                <a:gd name="connsiteY3" fmla="*/ 0 h 257442"/>
                <a:gd name="connsiteX0" fmla="*/ 3549269 w 3549269"/>
                <a:gd name="connsiteY0" fmla="*/ 0 h 257442"/>
                <a:gd name="connsiteX1" fmla="*/ 3326233 w 3549269"/>
                <a:gd name="connsiteY1" fmla="*/ 257442 h 257442"/>
                <a:gd name="connsiteX2" fmla="*/ 0 w 3549269"/>
                <a:gd name="connsiteY2" fmla="*/ 257442 h 257442"/>
                <a:gd name="connsiteX3" fmla="*/ 1 w 3549269"/>
                <a:gd name="connsiteY3" fmla="*/ 0 h 257442"/>
                <a:gd name="connsiteX0" fmla="*/ 3549269 w 3549269"/>
                <a:gd name="connsiteY0" fmla="*/ 0 h 257442"/>
                <a:gd name="connsiteX1" fmla="*/ 3494548 w 3549269"/>
                <a:gd name="connsiteY1" fmla="*/ 257442 h 257442"/>
                <a:gd name="connsiteX2" fmla="*/ 0 w 3549269"/>
                <a:gd name="connsiteY2" fmla="*/ 257442 h 257442"/>
                <a:gd name="connsiteX3" fmla="*/ 1 w 3549269"/>
                <a:gd name="connsiteY3" fmla="*/ 0 h 257442"/>
                <a:gd name="connsiteX0" fmla="*/ 3549268 w 3549268"/>
                <a:gd name="connsiteY0" fmla="*/ 0 h 257442"/>
                <a:gd name="connsiteX1" fmla="*/ 3494547 w 3549268"/>
                <a:gd name="connsiteY1" fmla="*/ 257442 h 257442"/>
                <a:gd name="connsiteX2" fmla="*/ 0 w 3549268"/>
                <a:gd name="connsiteY2" fmla="*/ 257442 h 257442"/>
                <a:gd name="connsiteX3" fmla="*/ 0 w 3549268"/>
                <a:gd name="connsiteY3" fmla="*/ 0 h 257442"/>
                <a:gd name="connsiteX0" fmla="*/ 3549269 w 3549269"/>
                <a:gd name="connsiteY0" fmla="*/ 0 h 257442"/>
                <a:gd name="connsiteX1" fmla="*/ 3494548 w 3549269"/>
                <a:gd name="connsiteY1" fmla="*/ 257442 h 257442"/>
                <a:gd name="connsiteX2" fmla="*/ 1 w 3549269"/>
                <a:gd name="connsiteY2" fmla="*/ 257442 h 257442"/>
                <a:gd name="connsiteX3" fmla="*/ 0 w 3549269"/>
                <a:gd name="connsiteY3" fmla="*/ 0 h 257442"/>
                <a:gd name="connsiteX0" fmla="*/ 3717585 w 3717585"/>
                <a:gd name="connsiteY0" fmla="*/ 0 h 257442"/>
                <a:gd name="connsiteX1" fmla="*/ 3494548 w 3717585"/>
                <a:gd name="connsiteY1" fmla="*/ 257442 h 257442"/>
                <a:gd name="connsiteX2" fmla="*/ 1 w 3717585"/>
                <a:gd name="connsiteY2" fmla="*/ 257442 h 257442"/>
                <a:gd name="connsiteX3" fmla="*/ 0 w 3717585"/>
                <a:gd name="connsiteY3" fmla="*/ 0 h 257442"/>
                <a:gd name="connsiteX0" fmla="*/ 3717585 w 3717585"/>
                <a:gd name="connsiteY0" fmla="*/ 0 h 257442"/>
                <a:gd name="connsiteX1" fmla="*/ 3662864 w 3717585"/>
                <a:gd name="connsiteY1" fmla="*/ 257442 h 257442"/>
                <a:gd name="connsiteX2" fmla="*/ 1 w 3717585"/>
                <a:gd name="connsiteY2" fmla="*/ 257442 h 257442"/>
                <a:gd name="connsiteX3" fmla="*/ 0 w 3717585"/>
                <a:gd name="connsiteY3" fmla="*/ 0 h 257442"/>
                <a:gd name="connsiteX0" fmla="*/ 3717585 w 3717585"/>
                <a:gd name="connsiteY0" fmla="*/ 0 h 257442"/>
                <a:gd name="connsiteX1" fmla="*/ 3662864 w 3717585"/>
                <a:gd name="connsiteY1" fmla="*/ 257442 h 257442"/>
                <a:gd name="connsiteX2" fmla="*/ 1 w 3717585"/>
                <a:gd name="connsiteY2" fmla="*/ 257442 h 257442"/>
                <a:gd name="connsiteX3" fmla="*/ 0 w 3717585"/>
                <a:gd name="connsiteY3" fmla="*/ 0 h 257442"/>
                <a:gd name="connsiteX0" fmla="*/ 3717584 w 3717584"/>
                <a:gd name="connsiteY0" fmla="*/ 0 h 257442"/>
                <a:gd name="connsiteX1" fmla="*/ 3662863 w 3717584"/>
                <a:gd name="connsiteY1" fmla="*/ 257442 h 257442"/>
                <a:gd name="connsiteX2" fmla="*/ 0 w 3717584"/>
                <a:gd name="connsiteY2" fmla="*/ 257442 h 257442"/>
                <a:gd name="connsiteX3" fmla="*/ 0 w 3717584"/>
                <a:gd name="connsiteY3" fmla="*/ 0 h 257442"/>
                <a:gd name="connsiteX0" fmla="*/ 3877884 w 3877884"/>
                <a:gd name="connsiteY0" fmla="*/ 0 h 257442"/>
                <a:gd name="connsiteX1" fmla="*/ 3662863 w 3877884"/>
                <a:gd name="connsiteY1" fmla="*/ 257442 h 257442"/>
                <a:gd name="connsiteX2" fmla="*/ 0 w 3877884"/>
                <a:gd name="connsiteY2" fmla="*/ 257442 h 257442"/>
                <a:gd name="connsiteX3" fmla="*/ 0 w 3877884"/>
                <a:gd name="connsiteY3" fmla="*/ 0 h 257442"/>
                <a:gd name="connsiteX0" fmla="*/ 3877884 w 3877884"/>
                <a:gd name="connsiteY0" fmla="*/ 0 h 257442"/>
                <a:gd name="connsiteX1" fmla="*/ 3823163 w 3877884"/>
                <a:gd name="connsiteY1" fmla="*/ 257442 h 257442"/>
                <a:gd name="connsiteX2" fmla="*/ 0 w 3877884"/>
                <a:gd name="connsiteY2" fmla="*/ 257442 h 257442"/>
                <a:gd name="connsiteX3" fmla="*/ 0 w 3877884"/>
                <a:gd name="connsiteY3" fmla="*/ 0 h 257442"/>
                <a:gd name="connsiteX0" fmla="*/ 3877885 w 3877885"/>
                <a:gd name="connsiteY0" fmla="*/ 0 h 257442"/>
                <a:gd name="connsiteX1" fmla="*/ 3823164 w 3877885"/>
                <a:gd name="connsiteY1" fmla="*/ 257442 h 257442"/>
                <a:gd name="connsiteX2" fmla="*/ 0 w 3877885"/>
                <a:gd name="connsiteY2" fmla="*/ 257442 h 257442"/>
                <a:gd name="connsiteX3" fmla="*/ 1 w 3877885"/>
                <a:gd name="connsiteY3" fmla="*/ 0 h 257442"/>
                <a:gd name="connsiteX0" fmla="*/ 3877885 w 3877885"/>
                <a:gd name="connsiteY0" fmla="*/ 0 h 257442"/>
                <a:gd name="connsiteX1" fmla="*/ 3823164 w 3877885"/>
                <a:gd name="connsiteY1" fmla="*/ 257442 h 257442"/>
                <a:gd name="connsiteX2" fmla="*/ 0 w 3877885"/>
                <a:gd name="connsiteY2" fmla="*/ 257442 h 257442"/>
                <a:gd name="connsiteX3" fmla="*/ 1 w 3877885"/>
                <a:gd name="connsiteY3" fmla="*/ 0 h 257442"/>
                <a:gd name="connsiteX0" fmla="*/ 4038186 w 4038186"/>
                <a:gd name="connsiteY0" fmla="*/ 0 h 257442"/>
                <a:gd name="connsiteX1" fmla="*/ 3823164 w 4038186"/>
                <a:gd name="connsiteY1" fmla="*/ 257442 h 257442"/>
                <a:gd name="connsiteX2" fmla="*/ 0 w 4038186"/>
                <a:gd name="connsiteY2" fmla="*/ 257442 h 257442"/>
                <a:gd name="connsiteX3" fmla="*/ 1 w 4038186"/>
                <a:gd name="connsiteY3" fmla="*/ 0 h 257442"/>
                <a:gd name="connsiteX0" fmla="*/ 4038186 w 4038186"/>
                <a:gd name="connsiteY0" fmla="*/ 0 h 257442"/>
                <a:gd name="connsiteX1" fmla="*/ 3983464 w 4038186"/>
                <a:gd name="connsiteY1" fmla="*/ 257442 h 257442"/>
                <a:gd name="connsiteX2" fmla="*/ 0 w 4038186"/>
                <a:gd name="connsiteY2" fmla="*/ 257442 h 257442"/>
                <a:gd name="connsiteX3" fmla="*/ 1 w 4038186"/>
                <a:gd name="connsiteY3" fmla="*/ 0 h 257442"/>
                <a:gd name="connsiteX0" fmla="*/ 4038186 w 4038186"/>
                <a:gd name="connsiteY0" fmla="*/ 0 h 257442"/>
                <a:gd name="connsiteX1" fmla="*/ 3983464 w 4038186"/>
                <a:gd name="connsiteY1" fmla="*/ 257442 h 257442"/>
                <a:gd name="connsiteX2" fmla="*/ 0 w 4038186"/>
                <a:gd name="connsiteY2" fmla="*/ 257442 h 257442"/>
                <a:gd name="connsiteX3" fmla="*/ 1 w 4038186"/>
                <a:gd name="connsiteY3" fmla="*/ 0 h 257442"/>
                <a:gd name="connsiteX0" fmla="*/ 4038186 w 4038186"/>
                <a:gd name="connsiteY0" fmla="*/ 0 h 257442"/>
                <a:gd name="connsiteX1" fmla="*/ 3983464 w 4038186"/>
                <a:gd name="connsiteY1" fmla="*/ 257442 h 257442"/>
                <a:gd name="connsiteX2" fmla="*/ 0 w 4038186"/>
                <a:gd name="connsiteY2" fmla="*/ 257442 h 257442"/>
                <a:gd name="connsiteX3" fmla="*/ 0 w 4038186"/>
                <a:gd name="connsiteY3" fmla="*/ 0 h 257442"/>
                <a:gd name="connsiteX0" fmla="*/ 950801 w 3983464"/>
                <a:gd name="connsiteY0" fmla="*/ 0 h 257442"/>
                <a:gd name="connsiteX1" fmla="*/ 3983464 w 3983464"/>
                <a:gd name="connsiteY1" fmla="*/ 257442 h 257442"/>
                <a:gd name="connsiteX2" fmla="*/ 0 w 3983464"/>
                <a:gd name="connsiteY2" fmla="*/ 257442 h 257442"/>
                <a:gd name="connsiteX3" fmla="*/ 0 w 3983464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229723 w 1229723"/>
                <a:gd name="connsiteY0" fmla="*/ 0 h 257442"/>
                <a:gd name="connsiteX1" fmla="*/ 896079 w 1229723"/>
                <a:gd name="connsiteY1" fmla="*/ 257442 h 257442"/>
                <a:gd name="connsiteX2" fmla="*/ 0 w 1229723"/>
                <a:gd name="connsiteY2" fmla="*/ 257442 h 257442"/>
                <a:gd name="connsiteX3" fmla="*/ 0 w 1229723"/>
                <a:gd name="connsiteY3" fmla="*/ 0 h 257442"/>
                <a:gd name="connsiteX0" fmla="*/ 1229723 w 1229723"/>
                <a:gd name="connsiteY0" fmla="*/ 0 h 257442"/>
                <a:gd name="connsiteX1" fmla="*/ 1175002 w 1229723"/>
                <a:gd name="connsiteY1" fmla="*/ 257442 h 257442"/>
                <a:gd name="connsiteX2" fmla="*/ 0 w 1229723"/>
                <a:gd name="connsiteY2" fmla="*/ 257442 h 257442"/>
                <a:gd name="connsiteX3" fmla="*/ 0 w 1229723"/>
                <a:gd name="connsiteY3" fmla="*/ 0 h 257442"/>
                <a:gd name="connsiteX0" fmla="*/ 1229724 w 1229724"/>
                <a:gd name="connsiteY0" fmla="*/ 0 h 257442"/>
                <a:gd name="connsiteX1" fmla="*/ 1175003 w 1229724"/>
                <a:gd name="connsiteY1" fmla="*/ 257442 h 257442"/>
                <a:gd name="connsiteX2" fmla="*/ 0 w 1229724"/>
                <a:gd name="connsiteY2" fmla="*/ 257442 h 257442"/>
                <a:gd name="connsiteX3" fmla="*/ 1 w 1229724"/>
                <a:gd name="connsiteY3" fmla="*/ 0 h 257442"/>
                <a:gd name="connsiteX0" fmla="*/ 1229724 w 1229724"/>
                <a:gd name="connsiteY0" fmla="*/ 0 h 257442"/>
                <a:gd name="connsiteX1" fmla="*/ 1175003 w 1229724"/>
                <a:gd name="connsiteY1" fmla="*/ 257442 h 257442"/>
                <a:gd name="connsiteX2" fmla="*/ 0 w 1229724"/>
                <a:gd name="connsiteY2" fmla="*/ 257442 h 257442"/>
                <a:gd name="connsiteX3" fmla="*/ 0 w 1229724"/>
                <a:gd name="connsiteY3" fmla="*/ 0 h 257442"/>
                <a:gd name="connsiteX0" fmla="*/ 1482998 w 1482998"/>
                <a:gd name="connsiteY0" fmla="*/ 0 h 257442"/>
                <a:gd name="connsiteX1" fmla="*/ 1175003 w 1482998"/>
                <a:gd name="connsiteY1" fmla="*/ 257442 h 257442"/>
                <a:gd name="connsiteX2" fmla="*/ 0 w 1482998"/>
                <a:gd name="connsiteY2" fmla="*/ 257442 h 257442"/>
                <a:gd name="connsiteX3" fmla="*/ 0 w 1482998"/>
                <a:gd name="connsiteY3" fmla="*/ 0 h 257442"/>
                <a:gd name="connsiteX0" fmla="*/ 1482998 w 1482998"/>
                <a:gd name="connsiteY0" fmla="*/ 0 h 257442"/>
                <a:gd name="connsiteX1" fmla="*/ 1428277 w 1482998"/>
                <a:gd name="connsiteY1" fmla="*/ 257442 h 257442"/>
                <a:gd name="connsiteX2" fmla="*/ 0 w 1482998"/>
                <a:gd name="connsiteY2" fmla="*/ 257442 h 257442"/>
                <a:gd name="connsiteX3" fmla="*/ 0 w 1482998"/>
                <a:gd name="connsiteY3" fmla="*/ 0 h 257442"/>
                <a:gd name="connsiteX0" fmla="*/ 1482998 w 1482998"/>
                <a:gd name="connsiteY0" fmla="*/ 0 h 257442"/>
                <a:gd name="connsiteX1" fmla="*/ 1428277 w 1482998"/>
                <a:gd name="connsiteY1" fmla="*/ 257442 h 257442"/>
                <a:gd name="connsiteX2" fmla="*/ 0 w 1482998"/>
                <a:gd name="connsiteY2" fmla="*/ 257442 h 257442"/>
                <a:gd name="connsiteX3" fmla="*/ 0 w 1482998"/>
                <a:gd name="connsiteY3" fmla="*/ 0 h 257442"/>
                <a:gd name="connsiteX0" fmla="*/ 1482998 w 1482998"/>
                <a:gd name="connsiteY0" fmla="*/ 0 h 257442"/>
                <a:gd name="connsiteX1" fmla="*/ 1428277 w 1482998"/>
                <a:gd name="connsiteY1" fmla="*/ 257442 h 257442"/>
                <a:gd name="connsiteX2" fmla="*/ 0 w 1482998"/>
                <a:gd name="connsiteY2" fmla="*/ 257442 h 257442"/>
                <a:gd name="connsiteX3" fmla="*/ 0 w 1482998"/>
                <a:gd name="connsiteY3" fmla="*/ 0 h 257442"/>
                <a:gd name="connsiteX0" fmla="*/ 1792185 w 1792185"/>
                <a:gd name="connsiteY0" fmla="*/ 0 h 257442"/>
                <a:gd name="connsiteX1" fmla="*/ 1428277 w 1792185"/>
                <a:gd name="connsiteY1" fmla="*/ 257442 h 257442"/>
                <a:gd name="connsiteX2" fmla="*/ 0 w 1792185"/>
                <a:gd name="connsiteY2" fmla="*/ 257442 h 257442"/>
                <a:gd name="connsiteX3" fmla="*/ 0 w 1792185"/>
                <a:gd name="connsiteY3" fmla="*/ 0 h 257442"/>
                <a:gd name="connsiteX0" fmla="*/ 1792185 w 1792185"/>
                <a:gd name="connsiteY0" fmla="*/ 0 h 257442"/>
                <a:gd name="connsiteX1" fmla="*/ 1737464 w 1792185"/>
                <a:gd name="connsiteY1" fmla="*/ 257442 h 257442"/>
                <a:gd name="connsiteX2" fmla="*/ 0 w 1792185"/>
                <a:gd name="connsiteY2" fmla="*/ 257442 h 257442"/>
                <a:gd name="connsiteX3" fmla="*/ 0 w 1792185"/>
                <a:gd name="connsiteY3" fmla="*/ 0 h 257442"/>
                <a:gd name="connsiteX0" fmla="*/ 1792185 w 1792185"/>
                <a:gd name="connsiteY0" fmla="*/ 0 h 257442"/>
                <a:gd name="connsiteX1" fmla="*/ 1737464 w 1792185"/>
                <a:gd name="connsiteY1" fmla="*/ 257442 h 257442"/>
                <a:gd name="connsiteX2" fmla="*/ 0 w 1792185"/>
                <a:gd name="connsiteY2" fmla="*/ 257442 h 257442"/>
                <a:gd name="connsiteX3" fmla="*/ 0 w 1792185"/>
                <a:gd name="connsiteY3" fmla="*/ 0 h 257442"/>
                <a:gd name="connsiteX0" fmla="*/ 1792185 w 1792185"/>
                <a:gd name="connsiteY0" fmla="*/ 0 h 257442"/>
                <a:gd name="connsiteX1" fmla="*/ 1737464 w 1792185"/>
                <a:gd name="connsiteY1" fmla="*/ 257442 h 257442"/>
                <a:gd name="connsiteX2" fmla="*/ 0 w 1792185"/>
                <a:gd name="connsiteY2" fmla="*/ 257442 h 257442"/>
                <a:gd name="connsiteX3" fmla="*/ 0 w 1792185"/>
                <a:gd name="connsiteY3" fmla="*/ 0 h 257442"/>
                <a:gd name="connsiteX0" fmla="*/ 2050718 w 2050718"/>
                <a:gd name="connsiteY0" fmla="*/ 0 h 257442"/>
                <a:gd name="connsiteX1" fmla="*/ 1737464 w 2050718"/>
                <a:gd name="connsiteY1" fmla="*/ 257442 h 257442"/>
                <a:gd name="connsiteX2" fmla="*/ 0 w 2050718"/>
                <a:gd name="connsiteY2" fmla="*/ 257442 h 257442"/>
                <a:gd name="connsiteX3" fmla="*/ 0 w 2050718"/>
                <a:gd name="connsiteY3" fmla="*/ 0 h 257442"/>
                <a:gd name="connsiteX0" fmla="*/ 2050718 w 2050718"/>
                <a:gd name="connsiteY0" fmla="*/ 0 h 257442"/>
                <a:gd name="connsiteX1" fmla="*/ 1995996 w 2050718"/>
                <a:gd name="connsiteY1" fmla="*/ 257442 h 257442"/>
                <a:gd name="connsiteX2" fmla="*/ 0 w 2050718"/>
                <a:gd name="connsiteY2" fmla="*/ 257442 h 257442"/>
                <a:gd name="connsiteX3" fmla="*/ 0 w 2050718"/>
                <a:gd name="connsiteY3" fmla="*/ 0 h 257442"/>
                <a:gd name="connsiteX0" fmla="*/ 2050719 w 2050719"/>
                <a:gd name="connsiteY0" fmla="*/ 0 h 257442"/>
                <a:gd name="connsiteX1" fmla="*/ 1995997 w 2050719"/>
                <a:gd name="connsiteY1" fmla="*/ 257442 h 257442"/>
                <a:gd name="connsiteX2" fmla="*/ 0 w 2050719"/>
                <a:gd name="connsiteY2" fmla="*/ 257442 h 257442"/>
                <a:gd name="connsiteX3" fmla="*/ 1 w 2050719"/>
                <a:gd name="connsiteY3" fmla="*/ 0 h 257442"/>
                <a:gd name="connsiteX0" fmla="*/ 2050719 w 2050719"/>
                <a:gd name="connsiteY0" fmla="*/ 0 h 257442"/>
                <a:gd name="connsiteX1" fmla="*/ 1995997 w 2050719"/>
                <a:gd name="connsiteY1" fmla="*/ 257442 h 257442"/>
                <a:gd name="connsiteX2" fmla="*/ 0 w 2050719"/>
                <a:gd name="connsiteY2" fmla="*/ 257442 h 257442"/>
                <a:gd name="connsiteX3" fmla="*/ 1 w 2050719"/>
                <a:gd name="connsiteY3" fmla="*/ 0 h 257442"/>
                <a:gd name="connsiteX0" fmla="*/ 2211019 w 2211019"/>
                <a:gd name="connsiteY0" fmla="*/ 0 h 257442"/>
                <a:gd name="connsiteX1" fmla="*/ 1995997 w 2211019"/>
                <a:gd name="connsiteY1" fmla="*/ 257442 h 257442"/>
                <a:gd name="connsiteX2" fmla="*/ 0 w 2211019"/>
                <a:gd name="connsiteY2" fmla="*/ 257442 h 257442"/>
                <a:gd name="connsiteX3" fmla="*/ 1 w 2211019"/>
                <a:gd name="connsiteY3" fmla="*/ 0 h 257442"/>
                <a:gd name="connsiteX0" fmla="*/ 2211019 w 2211019"/>
                <a:gd name="connsiteY0" fmla="*/ 0 h 257442"/>
                <a:gd name="connsiteX1" fmla="*/ 2156298 w 2211019"/>
                <a:gd name="connsiteY1" fmla="*/ 257442 h 257442"/>
                <a:gd name="connsiteX2" fmla="*/ 0 w 2211019"/>
                <a:gd name="connsiteY2" fmla="*/ 257442 h 257442"/>
                <a:gd name="connsiteX3" fmla="*/ 1 w 2211019"/>
                <a:gd name="connsiteY3" fmla="*/ 0 h 257442"/>
                <a:gd name="connsiteX0" fmla="*/ 2211018 w 2211018"/>
                <a:gd name="connsiteY0" fmla="*/ 0 h 257442"/>
                <a:gd name="connsiteX1" fmla="*/ 2156297 w 2211018"/>
                <a:gd name="connsiteY1" fmla="*/ 257442 h 257442"/>
                <a:gd name="connsiteX2" fmla="*/ 0 w 2211018"/>
                <a:gd name="connsiteY2" fmla="*/ 257442 h 257442"/>
                <a:gd name="connsiteX3" fmla="*/ 0 w 2211018"/>
                <a:gd name="connsiteY3" fmla="*/ 0 h 257442"/>
                <a:gd name="connsiteX0" fmla="*/ 2211019 w 2211019"/>
                <a:gd name="connsiteY0" fmla="*/ 0 h 257442"/>
                <a:gd name="connsiteX1" fmla="*/ 2156298 w 2211019"/>
                <a:gd name="connsiteY1" fmla="*/ 257442 h 257442"/>
                <a:gd name="connsiteX2" fmla="*/ 1 w 2211019"/>
                <a:gd name="connsiteY2" fmla="*/ 257442 h 257442"/>
                <a:gd name="connsiteX3" fmla="*/ 0 w 2211019"/>
                <a:gd name="connsiteY3" fmla="*/ 0 h 257442"/>
                <a:gd name="connsiteX0" fmla="*/ 2379334 w 2379334"/>
                <a:gd name="connsiteY0" fmla="*/ 0 h 257442"/>
                <a:gd name="connsiteX1" fmla="*/ 2156298 w 2379334"/>
                <a:gd name="connsiteY1" fmla="*/ 257442 h 257442"/>
                <a:gd name="connsiteX2" fmla="*/ 1 w 2379334"/>
                <a:gd name="connsiteY2" fmla="*/ 257442 h 257442"/>
                <a:gd name="connsiteX3" fmla="*/ 0 w 2379334"/>
                <a:gd name="connsiteY3" fmla="*/ 0 h 257442"/>
                <a:gd name="connsiteX0" fmla="*/ 2379334 w 2379334"/>
                <a:gd name="connsiteY0" fmla="*/ 0 h 257442"/>
                <a:gd name="connsiteX1" fmla="*/ 2324612 w 2379334"/>
                <a:gd name="connsiteY1" fmla="*/ 257442 h 257442"/>
                <a:gd name="connsiteX2" fmla="*/ 1 w 2379334"/>
                <a:gd name="connsiteY2" fmla="*/ 257442 h 257442"/>
                <a:gd name="connsiteX3" fmla="*/ 0 w 2379334"/>
                <a:gd name="connsiteY3" fmla="*/ 0 h 257442"/>
                <a:gd name="connsiteX0" fmla="*/ 2379334 w 2379334"/>
                <a:gd name="connsiteY0" fmla="*/ 0 h 257442"/>
                <a:gd name="connsiteX1" fmla="*/ 2324612 w 2379334"/>
                <a:gd name="connsiteY1" fmla="*/ 257442 h 257442"/>
                <a:gd name="connsiteX2" fmla="*/ 0 w 2379334"/>
                <a:gd name="connsiteY2" fmla="*/ 257442 h 257442"/>
                <a:gd name="connsiteX3" fmla="*/ 0 w 2379334"/>
                <a:gd name="connsiteY3" fmla="*/ 0 h 257442"/>
                <a:gd name="connsiteX0" fmla="*/ 2379334 w 2379334"/>
                <a:gd name="connsiteY0" fmla="*/ 0 h 257442"/>
                <a:gd name="connsiteX1" fmla="*/ 2324612 w 2379334"/>
                <a:gd name="connsiteY1" fmla="*/ 257442 h 257442"/>
                <a:gd name="connsiteX2" fmla="*/ 0 w 2379334"/>
                <a:gd name="connsiteY2" fmla="*/ 257442 h 257442"/>
                <a:gd name="connsiteX3" fmla="*/ 0 w 2379334"/>
                <a:gd name="connsiteY3" fmla="*/ 0 h 257442"/>
                <a:gd name="connsiteX0" fmla="*/ 2709551 w 2709551"/>
                <a:gd name="connsiteY0" fmla="*/ 0 h 257442"/>
                <a:gd name="connsiteX1" fmla="*/ 2324612 w 2709551"/>
                <a:gd name="connsiteY1" fmla="*/ 257442 h 257442"/>
                <a:gd name="connsiteX2" fmla="*/ 0 w 2709551"/>
                <a:gd name="connsiteY2" fmla="*/ 257442 h 257442"/>
                <a:gd name="connsiteX3" fmla="*/ 0 w 2709551"/>
                <a:gd name="connsiteY3" fmla="*/ 0 h 257442"/>
                <a:gd name="connsiteX0" fmla="*/ 2709551 w 2709551"/>
                <a:gd name="connsiteY0" fmla="*/ 0 h 257442"/>
                <a:gd name="connsiteX1" fmla="*/ 2654830 w 2709551"/>
                <a:gd name="connsiteY1" fmla="*/ 257442 h 257442"/>
                <a:gd name="connsiteX2" fmla="*/ 0 w 2709551"/>
                <a:gd name="connsiteY2" fmla="*/ 257442 h 257442"/>
                <a:gd name="connsiteX3" fmla="*/ 0 w 2709551"/>
                <a:gd name="connsiteY3" fmla="*/ 0 h 257442"/>
                <a:gd name="connsiteX0" fmla="*/ 2709551 w 2709551"/>
                <a:gd name="connsiteY0" fmla="*/ 0 h 257442"/>
                <a:gd name="connsiteX1" fmla="*/ 2654830 w 2709551"/>
                <a:gd name="connsiteY1" fmla="*/ 257442 h 257442"/>
                <a:gd name="connsiteX2" fmla="*/ 0 w 2709551"/>
                <a:gd name="connsiteY2" fmla="*/ 257442 h 257442"/>
                <a:gd name="connsiteX3" fmla="*/ 0 w 2709551"/>
                <a:gd name="connsiteY3" fmla="*/ 0 h 257442"/>
                <a:gd name="connsiteX0" fmla="*/ 2709551 w 2709551"/>
                <a:gd name="connsiteY0" fmla="*/ 0 h 257442"/>
                <a:gd name="connsiteX1" fmla="*/ 2654830 w 2709551"/>
                <a:gd name="connsiteY1" fmla="*/ 257442 h 257442"/>
                <a:gd name="connsiteX2" fmla="*/ 0 w 2709551"/>
                <a:gd name="connsiteY2" fmla="*/ 257442 h 257442"/>
                <a:gd name="connsiteX3" fmla="*/ 0 w 2709551"/>
                <a:gd name="connsiteY3" fmla="*/ 0 h 257442"/>
                <a:gd name="connsiteX0" fmla="*/ 2877867 w 2877867"/>
                <a:gd name="connsiteY0" fmla="*/ 0 h 257442"/>
                <a:gd name="connsiteX1" fmla="*/ 2654830 w 2877867"/>
                <a:gd name="connsiteY1" fmla="*/ 257442 h 257442"/>
                <a:gd name="connsiteX2" fmla="*/ 0 w 2877867"/>
                <a:gd name="connsiteY2" fmla="*/ 257442 h 257442"/>
                <a:gd name="connsiteX3" fmla="*/ 0 w 2877867"/>
                <a:gd name="connsiteY3" fmla="*/ 0 h 257442"/>
                <a:gd name="connsiteX0" fmla="*/ 2877867 w 2877867"/>
                <a:gd name="connsiteY0" fmla="*/ 0 h 257442"/>
                <a:gd name="connsiteX1" fmla="*/ 2823146 w 2877867"/>
                <a:gd name="connsiteY1" fmla="*/ 257442 h 257442"/>
                <a:gd name="connsiteX2" fmla="*/ 0 w 2877867"/>
                <a:gd name="connsiteY2" fmla="*/ 257442 h 257442"/>
                <a:gd name="connsiteX3" fmla="*/ 0 w 2877867"/>
                <a:gd name="connsiteY3" fmla="*/ 0 h 257442"/>
                <a:gd name="connsiteX0" fmla="*/ 2877867 w 2877867"/>
                <a:gd name="connsiteY0" fmla="*/ 0 h 257442"/>
                <a:gd name="connsiteX1" fmla="*/ 2823146 w 2877867"/>
                <a:gd name="connsiteY1" fmla="*/ 257442 h 257442"/>
                <a:gd name="connsiteX2" fmla="*/ 0 w 2877867"/>
                <a:gd name="connsiteY2" fmla="*/ 257442 h 257442"/>
                <a:gd name="connsiteX3" fmla="*/ 0 w 2877867"/>
                <a:gd name="connsiteY3" fmla="*/ 0 h 257442"/>
                <a:gd name="connsiteX0" fmla="*/ 2877867 w 2877867"/>
                <a:gd name="connsiteY0" fmla="*/ 0 h 257442"/>
                <a:gd name="connsiteX1" fmla="*/ 2823146 w 2877867"/>
                <a:gd name="connsiteY1" fmla="*/ 257442 h 257442"/>
                <a:gd name="connsiteX2" fmla="*/ 0 w 2877867"/>
                <a:gd name="connsiteY2" fmla="*/ 257442 h 257442"/>
                <a:gd name="connsiteX3" fmla="*/ 0 w 2877867"/>
                <a:gd name="connsiteY3" fmla="*/ 0 h 257442"/>
                <a:gd name="connsiteX0" fmla="*/ 3063815 w 3063815"/>
                <a:gd name="connsiteY0" fmla="*/ 0 h 257442"/>
                <a:gd name="connsiteX1" fmla="*/ 2823146 w 3063815"/>
                <a:gd name="connsiteY1" fmla="*/ 257442 h 257442"/>
                <a:gd name="connsiteX2" fmla="*/ 0 w 3063815"/>
                <a:gd name="connsiteY2" fmla="*/ 257442 h 257442"/>
                <a:gd name="connsiteX3" fmla="*/ 0 w 3063815"/>
                <a:gd name="connsiteY3" fmla="*/ 0 h 257442"/>
                <a:gd name="connsiteX0" fmla="*/ 3063815 w 3063815"/>
                <a:gd name="connsiteY0" fmla="*/ 0 h 257442"/>
                <a:gd name="connsiteX1" fmla="*/ 3009094 w 3063815"/>
                <a:gd name="connsiteY1" fmla="*/ 257442 h 257442"/>
                <a:gd name="connsiteX2" fmla="*/ 0 w 3063815"/>
                <a:gd name="connsiteY2" fmla="*/ 257442 h 257442"/>
                <a:gd name="connsiteX3" fmla="*/ 0 w 3063815"/>
                <a:gd name="connsiteY3" fmla="*/ 0 h 257442"/>
                <a:gd name="connsiteX0" fmla="*/ 3063815 w 3063815"/>
                <a:gd name="connsiteY0" fmla="*/ 0 h 257442"/>
                <a:gd name="connsiteX1" fmla="*/ 3009094 w 3063815"/>
                <a:gd name="connsiteY1" fmla="*/ 257442 h 257442"/>
                <a:gd name="connsiteX2" fmla="*/ 0 w 3063815"/>
                <a:gd name="connsiteY2" fmla="*/ 257442 h 257442"/>
                <a:gd name="connsiteX3" fmla="*/ 0 w 3063815"/>
                <a:gd name="connsiteY3" fmla="*/ 0 h 257442"/>
                <a:gd name="connsiteX0" fmla="*/ 3063815 w 3063815"/>
                <a:gd name="connsiteY0" fmla="*/ 0 h 257442"/>
                <a:gd name="connsiteX1" fmla="*/ 3009094 w 3063815"/>
                <a:gd name="connsiteY1" fmla="*/ 257442 h 257442"/>
                <a:gd name="connsiteX2" fmla="*/ 0 w 3063815"/>
                <a:gd name="connsiteY2" fmla="*/ 257442 h 257442"/>
                <a:gd name="connsiteX3" fmla="*/ 0 w 3063815"/>
                <a:gd name="connsiteY3" fmla="*/ 0 h 257442"/>
                <a:gd name="connsiteX0" fmla="*/ 3232130 w 3232130"/>
                <a:gd name="connsiteY0" fmla="*/ 0 h 257442"/>
                <a:gd name="connsiteX1" fmla="*/ 3009094 w 3232130"/>
                <a:gd name="connsiteY1" fmla="*/ 257442 h 257442"/>
                <a:gd name="connsiteX2" fmla="*/ 0 w 3232130"/>
                <a:gd name="connsiteY2" fmla="*/ 257442 h 257442"/>
                <a:gd name="connsiteX3" fmla="*/ 0 w 3232130"/>
                <a:gd name="connsiteY3" fmla="*/ 0 h 257442"/>
                <a:gd name="connsiteX0" fmla="*/ 3232130 w 3232130"/>
                <a:gd name="connsiteY0" fmla="*/ 0 h 257442"/>
                <a:gd name="connsiteX1" fmla="*/ 3177408 w 3232130"/>
                <a:gd name="connsiteY1" fmla="*/ 257442 h 257442"/>
                <a:gd name="connsiteX2" fmla="*/ 0 w 3232130"/>
                <a:gd name="connsiteY2" fmla="*/ 257442 h 257442"/>
                <a:gd name="connsiteX3" fmla="*/ 0 w 3232130"/>
                <a:gd name="connsiteY3" fmla="*/ 0 h 257442"/>
                <a:gd name="connsiteX0" fmla="*/ 3232131 w 3232131"/>
                <a:gd name="connsiteY0" fmla="*/ 0 h 257442"/>
                <a:gd name="connsiteX1" fmla="*/ 3177409 w 3232131"/>
                <a:gd name="connsiteY1" fmla="*/ 257442 h 257442"/>
                <a:gd name="connsiteX2" fmla="*/ 0 w 3232131"/>
                <a:gd name="connsiteY2" fmla="*/ 257442 h 257442"/>
                <a:gd name="connsiteX3" fmla="*/ 1 w 3232131"/>
                <a:gd name="connsiteY3" fmla="*/ 0 h 257442"/>
                <a:gd name="connsiteX0" fmla="*/ 3232131 w 3232131"/>
                <a:gd name="connsiteY0" fmla="*/ 0 h 257442"/>
                <a:gd name="connsiteX1" fmla="*/ 3177409 w 3232131"/>
                <a:gd name="connsiteY1" fmla="*/ 257442 h 257442"/>
                <a:gd name="connsiteX2" fmla="*/ 0 w 3232131"/>
                <a:gd name="connsiteY2" fmla="*/ 257442 h 257442"/>
                <a:gd name="connsiteX3" fmla="*/ 1 w 3232131"/>
                <a:gd name="connsiteY3" fmla="*/ 0 h 257442"/>
                <a:gd name="connsiteX0" fmla="*/ 3400447 w 3400447"/>
                <a:gd name="connsiteY0" fmla="*/ 0 h 257442"/>
                <a:gd name="connsiteX1" fmla="*/ 3177409 w 3400447"/>
                <a:gd name="connsiteY1" fmla="*/ 257442 h 257442"/>
                <a:gd name="connsiteX2" fmla="*/ 0 w 3400447"/>
                <a:gd name="connsiteY2" fmla="*/ 257442 h 257442"/>
                <a:gd name="connsiteX3" fmla="*/ 1 w 3400447"/>
                <a:gd name="connsiteY3" fmla="*/ 0 h 257442"/>
                <a:gd name="connsiteX0" fmla="*/ 3400447 w 3400447"/>
                <a:gd name="connsiteY0" fmla="*/ 0 h 257442"/>
                <a:gd name="connsiteX1" fmla="*/ 3345726 w 3400447"/>
                <a:gd name="connsiteY1" fmla="*/ 257442 h 257442"/>
                <a:gd name="connsiteX2" fmla="*/ 0 w 3400447"/>
                <a:gd name="connsiteY2" fmla="*/ 257442 h 257442"/>
                <a:gd name="connsiteX3" fmla="*/ 1 w 3400447"/>
                <a:gd name="connsiteY3" fmla="*/ 0 h 257442"/>
                <a:gd name="connsiteX0" fmla="*/ 3400446 w 3400446"/>
                <a:gd name="connsiteY0" fmla="*/ 0 h 257442"/>
                <a:gd name="connsiteX1" fmla="*/ 3345725 w 3400446"/>
                <a:gd name="connsiteY1" fmla="*/ 257442 h 257442"/>
                <a:gd name="connsiteX2" fmla="*/ 0 w 3400446"/>
                <a:gd name="connsiteY2" fmla="*/ 257442 h 257442"/>
                <a:gd name="connsiteX3" fmla="*/ 0 w 3400446"/>
                <a:gd name="connsiteY3" fmla="*/ 0 h 257442"/>
                <a:gd name="connsiteX0" fmla="*/ 3400447 w 3400447"/>
                <a:gd name="connsiteY0" fmla="*/ 0 h 257442"/>
                <a:gd name="connsiteX1" fmla="*/ 3345726 w 3400447"/>
                <a:gd name="connsiteY1" fmla="*/ 257442 h 257442"/>
                <a:gd name="connsiteX2" fmla="*/ 1 w 3400447"/>
                <a:gd name="connsiteY2" fmla="*/ 257442 h 257442"/>
                <a:gd name="connsiteX3" fmla="*/ 0 w 3400447"/>
                <a:gd name="connsiteY3" fmla="*/ 0 h 257442"/>
                <a:gd name="connsiteX0" fmla="*/ 3568762 w 3568762"/>
                <a:gd name="connsiteY0" fmla="*/ 0 h 257442"/>
                <a:gd name="connsiteX1" fmla="*/ 3345726 w 3568762"/>
                <a:gd name="connsiteY1" fmla="*/ 257442 h 257442"/>
                <a:gd name="connsiteX2" fmla="*/ 1 w 3568762"/>
                <a:gd name="connsiteY2" fmla="*/ 257442 h 257442"/>
                <a:gd name="connsiteX3" fmla="*/ 0 w 3568762"/>
                <a:gd name="connsiteY3" fmla="*/ 0 h 257442"/>
                <a:gd name="connsiteX0" fmla="*/ 3568762 w 3568762"/>
                <a:gd name="connsiteY0" fmla="*/ 0 h 257442"/>
                <a:gd name="connsiteX1" fmla="*/ 3514040 w 3568762"/>
                <a:gd name="connsiteY1" fmla="*/ 257442 h 257442"/>
                <a:gd name="connsiteX2" fmla="*/ 1 w 3568762"/>
                <a:gd name="connsiteY2" fmla="*/ 257442 h 257442"/>
                <a:gd name="connsiteX3" fmla="*/ 0 w 3568762"/>
                <a:gd name="connsiteY3" fmla="*/ 0 h 257442"/>
                <a:gd name="connsiteX0" fmla="*/ 3568762 w 3568762"/>
                <a:gd name="connsiteY0" fmla="*/ 0 h 257442"/>
                <a:gd name="connsiteX1" fmla="*/ 3514040 w 3568762"/>
                <a:gd name="connsiteY1" fmla="*/ 257442 h 257442"/>
                <a:gd name="connsiteX2" fmla="*/ 0 w 3568762"/>
                <a:gd name="connsiteY2" fmla="*/ 257442 h 257442"/>
                <a:gd name="connsiteX3" fmla="*/ 0 w 3568762"/>
                <a:gd name="connsiteY3" fmla="*/ 0 h 257442"/>
                <a:gd name="connsiteX0" fmla="*/ 3568762 w 3568762"/>
                <a:gd name="connsiteY0" fmla="*/ 0 h 257442"/>
                <a:gd name="connsiteX1" fmla="*/ 3514040 w 3568762"/>
                <a:gd name="connsiteY1" fmla="*/ 257442 h 257442"/>
                <a:gd name="connsiteX2" fmla="*/ 0 w 3568762"/>
                <a:gd name="connsiteY2" fmla="*/ 257442 h 257442"/>
                <a:gd name="connsiteX3" fmla="*/ 0 w 3568762"/>
                <a:gd name="connsiteY3" fmla="*/ 0 h 257442"/>
                <a:gd name="connsiteX0" fmla="*/ 3729061 w 3729061"/>
                <a:gd name="connsiteY0" fmla="*/ 0 h 257442"/>
                <a:gd name="connsiteX1" fmla="*/ 3514040 w 3729061"/>
                <a:gd name="connsiteY1" fmla="*/ 257442 h 257442"/>
                <a:gd name="connsiteX2" fmla="*/ 0 w 3729061"/>
                <a:gd name="connsiteY2" fmla="*/ 257442 h 257442"/>
                <a:gd name="connsiteX3" fmla="*/ 0 w 3729061"/>
                <a:gd name="connsiteY3" fmla="*/ 0 h 257442"/>
                <a:gd name="connsiteX0" fmla="*/ 3729061 w 3729061"/>
                <a:gd name="connsiteY0" fmla="*/ 0 h 257442"/>
                <a:gd name="connsiteX1" fmla="*/ 3674340 w 3729061"/>
                <a:gd name="connsiteY1" fmla="*/ 257442 h 257442"/>
                <a:gd name="connsiteX2" fmla="*/ 0 w 3729061"/>
                <a:gd name="connsiteY2" fmla="*/ 257442 h 257442"/>
                <a:gd name="connsiteX3" fmla="*/ 0 w 3729061"/>
                <a:gd name="connsiteY3" fmla="*/ 0 h 257442"/>
                <a:gd name="connsiteX0" fmla="*/ 3729061 w 3729061"/>
                <a:gd name="connsiteY0" fmla="*/ 0 h 257442"/>
                <a:gd name="connsiteX1" fmla="*/ 3674340 w 3729061"/>
                <a:gd name="connsiteY1" fmla="*/ 257442 h 257442"/>
                <a:gd name="connsiteX2" fmla="*/ 0 w 3729061"/>
                <a:gd name="connsiteY2" fmla="*/ 257442 h 257442"/>
                <a:gd name="connsiteX3" fmla="*/ 0 w 3729061"/>
                <a:gd name="connsiteY3" fmla="*/ 0 h 257442"/>
                <a:gd name="connsiteX0" fmla="*/ 3729061 w 3729061"/>
                <a:gd name="connsiteY0" fmla="*/ 0 h 257442"/>
                <a:gd name="connsiteX1" fmla="*/ 3674340 w 3729061"/>
                <a:gd name="connsiteY1" fmla="*/ 257442 h 257442"/>
                <a:gd name="connsiteX2" fmla="*/ 0 w 3729061"/>
                <a:gd name="connsiteY2" fmla="*/ 257442 h 257442"/>
                <a:gd name="connsiteX3" fmla="*/ 0 w 3729061"/>
                <a:gd name="connsiteY3" fmla="*/ 0 h 257442"/>
                <a:gd name="connsiteX0" fmla="*/ 986067 w 3674340"/>
                <a:gd name="connsiteY0" fmla="*/ 0 h 257442"/>
                <a:gd name="connsiteX1" fmla="*/ 3674340 w 3674340"/>
                <a:gd name="connsiteY1" fmla="*/ 257442 h 257442"/>
                <a:gd name="connsiteX2" fmla="*/ 0 w 3674340"/>
                <a:gd name="connsiteY2" fmla="*/ 257442 h 257442"/>
                <a:gd name="connsiteX3" fmla="*/ 0 w 3674340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1 w 986067"/>
                <a:gd name="connsiteY2" fmla="*/ 257442 h 257442"/>
                <a:gd name="connsiteX3" fmla="*/ 0 w 986067"/>
                <a:gd name="connsiteY3" fmla="*/ 0 h 257442"/>
                <a:gd name="connsiteX0" fmla="*/ 986066 w 986066"/>
                <a:gd name="connsiteY0" fmla="*/ 0 h 257442"/>
                <a:gd name="connsiteX1" fmla="*/ 931345 w 986066"/>
                <a:gd name="connsiteY1" fmla="*/ 257442 h 257442"/>
                <a:gd name="connsiteX2" fmla="*/ 0 w 986066"/>
                <a:gd name="connsiteY2" fmla="*/ 257442 h 257442"/>
                <a:gd name="connsiteX3" fmla="*/ 0 w 986066"/>
                <a:gd name="connsiteY3" fmla="*/ 0 h 257442"/>
                <a:gd name="connsiteX0" fmla="*/ 1146367 w 1146367"/>
                <a:gd name="connsiteY0" fmla="*/ 0 h 257442"/>
                <a:gd name="connsiteX1" fmla="*/ 931345 w 1146367"/>
                <a:gd name="connsiteY1" fmla="*/ 257442 h 257442"/>
                <a:gd name="connsiteX2" fmla="*/ 0 w 1146367"/>
                <a:gd name="connsiteY2" fmla="*/ 257442 h 257442"/>
                <a:gd name="connsiteX3" fmla="*/ 0 w 1146367"/>
                <a:gd name="connsiteY3" fmla="*/ 0 h 257442"/>
                <a:gd name="connsiteX0" fmla="*/ 1146367 w 1146367"/>
                <a:gd name="connsiteY0" fmla="*/ 0 h 257442"/>
                <a:gd name="connsiteX1" fmla="*/ 1091646 w 1146367"/>
                <a:gd name="connsiteY1" fmla="*/ 257442 h 257442"/>
                <a:gd name="connsiteX2" fmla="*/ 0 w 1146367"/>
                <a:gd name="connsiteY2" fmla="*/ 257442 h 257442"/>
                <a:gd name="connsiteX3" fmla="*/ 0 w 1146367"/>
                <a:gd name="connsiteY3" fmla="*/ 0 h 257442"/>
                <a:gd name="connsiteX0" fmla="*/ 1146368 w 1146368"/>
                <a:gd name="connsiteY0" fmla="*/ 0 h 257442"/>
                <a:gd name="connsiteX1" fmla="*/ 1091647 w 1146368"/>
                <a:gd name="connsiteY1" fmla="*/ 257442 h 257442"/>
                <a:gd name="connsiteX2" fmla="*/ 0 w 1146368"/>
                <a:gd name="connsiteY2" fmla="*/ 257442 h 257442"/>
                <a:gd name="connsiteX3" fmla="*/ 1 w 1146368"/>
                <a:gd name="connsiteY3" fmla="*/ 0 h 257442"/>
                <a:gd name="connsiteX0" fmla="*/ 1146368 w 1146368"/>
                <a:gd name="connsiteY0" fmla="*/ 0 h 257442"/>
                <a:gd name="connsiteX1" fmla="*/ 1091647 w 1146368"/>
                <a:gd name="connsiteY1" fmla="*/ 257442 h 257442"/>
                <a:gd name="connsiteX2" fmla="*/ 0 w 1146368"/>
                <a:gd name="connsiteY2" fmla="*/ 257442 h 257442"/>
                <a:gd name="connsiteX3" fmla="*/ 0 w 1146368"/>
                <a:gd name="connsiteY3" fmla="*/ 0 h 257442"/>
                <a:gd name="connsiteX0" fmla="*/ 1314682 w 1314682"/>
                <a:gd name="connsiteY0" fmla="*/ 0 h 257442"/>
                <a:gd name="connsiteX1" fmla="*/ 1091647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567957 w 1567957"/>
                <a:gd name="connsiteY0" fmla="*/ 0 h 257442"/>
                <a:gd name="connsiteX1" fmla="*/ 1259961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567957 w 1567957"/>
                <a:gd name="connsiteY0" fmla="*/ 0 h 257442"/>
                <a:gd name="connsiteX1" fmla="*/ 1513236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567957 w 1567957"/>
                <a:gd name="connsiteY0" fmla="*/ 0 h 257442"/>
                <a:gd name="connsiteX1" fmla="*/ 1513236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567957 w 1567957"/>
                <a:gd name="connsiteY0" fmla="*/ 0 h 257442"/>
                <a:gd name="connsiteX1" fmla="*/ 1513236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736273 w 1736273"/>
                <a:gd name="connsiteY0" fmla="*/ 0 h 257442"/>
                <a:gd name="connsiteX1" fmla="*/ 1513236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736273 w 1736273"/>
                <a:gd name="connsiteY0" fmla="*/ 0 h 257442"/>
                <a:gd name="connsiteX1" fmla="*/ 1681552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736273 w 1736273"/>
                <a:gd name="connsiteY0" fmla="*/ 0 h 257442"/>
                <a:gd name="connsiteX1" fmla="*/ 1681552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736273 w 1736273"/>
                <a:gd name="connsiteY0" fmla="*/ 0 h 257442"/>
                <a:gd name="connsiteX1" fmla="*/ 1681552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904587 w 1904587"/>
                <a:gd name="connsiteY0" fmla="*/ 0 h 257442"/>
                <a:gd name="connsiteX1" fmla="*/ 1681552 w 1904587"/>
                <a:gd name="connsiteY1" fmla="*/ 257442 h 257442"/>
                <a:gd name="connsiteX2" fmla="*/ 0 w 1904587"/>
                <a:gd name="connsiteY2" fmla="*/ 257442 h 257442"/>
                <a:gd name="connsiteX3" fmla="*/ 0 w 1904587"/>
                <a:gd name="connsiteY3" fmla="*/ 0 h 257442"/>
                <a:gd name="connsiteX0" fmla="*/ 1904587 w 1904587"/>
                <a:gd name="connsiteY0" fmla="*/ 0 h 257442"/>
                <a:gd name="connsiteX1" fmla="*/ 1849866 w 1904587"/>
                <a:gd name="connsiteY1" fmla="*/ 257442 h 257442"/>
                <a:gd name="connsiteX2" fmla="*/ 0 w 1904587"/>
                <a:gd name="connsiteY2" fmla="*/ 257442 h 257442"/>
                <a:gd name="connsiteX3" fmla="*/ 0 w 1904587"/>
                <a:gd name="connsiteY3" fmla="*/ 0 h 257442"/>
                <a:gd name="connsiteX0" fmla="*/ 1904587 w 1904587"/>
                <a:gd name="connsiteY0" fmla="*/ 0 h 257442"/>
                <a:gd name="connsiteX1" fmla="*/ 1849866 w 1904587"/>
                <a:gd name="connsiteY1" fmla="*/ 257442 h 257442"/>
                <a:gd name="connsiteX2" fmla="*/ 0 w 1904587"/>
                <a:gd name="connsiteY2" fmla="*/ 257442 h 257442"/>
                <a:gd name="connsiteX3" fmla="*/ 0 w 1904587"/>
                <a:gd name="connsiteY3" fmla="*/ 0 h 257442"/>
                <a:gd name="connsiteX0" fmla="*/ 1904587 w 1904587"/>
                <a:gd name="connsiteY0" fmla="*/ 0 h 257442"/>
                <a:gd name="connsiteX1" fmla="*/ 1849866 w 1904587"/>
                <a:gd name="connsiteY1" fmla="*/ 257442 h 257442"/>
                <a:gd name="connsiteX2" fmla="*/ 0 w 1904587"/>
                <a:gd name="connsiteY2" fmla="*/ 257442 h 257442"/>
                <a:gd name="connsiteX3" fmla="*/ 0 w 1904587"/>
                <a:gd name="connsiteY3" fmla="*/ 0 h 257442"/>
                <a:gd name="connsiteX0" fmla="*/ 2209158 w 2209158"/>
                <a:gd name="connsiteY0" fmla="*/ 0 h 257442"/>
                <a:gd name="connsiteX1" fmla="*/ 1849866 w 2209158"/>
                <a:gd name="connsiteY1" fmla="*/ 257442 h 257442"/>
                <a:gd name="connsiteX2" fmla="*/ 0 w 2209158"/>
                <a:gd name="connsiteY2" fmla="*/ 257442 h 257442"/>
                <a:gd name="connsiteX3" fmla="*/ 0 w 2209158"/>
                <a:gd name="connsiteY3" fmla="*/ 0 h 257442"/>
                <a:gd name="connsiteX0" fmla="*/ 2209158 w 2209158"/>
                <a:gd name="connsiteY0" fmla="*/ 0 h 257442"/>
                <a:gd name="connsiteX1" fmla="*/ 2154436 w 2209158"/>
                <a:gd name="connsiteY1" fmla="*/ 257442 h 257442"/>
                <a:gd name="connsiteX2" fmla="*/ 0 w 2209158"/>
                <a:gd name="connsiteY2" fmla="*/ 257442 h 257442"/>
                <a:gd name="connsiteX3" fmla="*/ 0 w 2209158"/>
                <a:gd name="connsiteY3" fmla="*/ 0 h 257442"/>
                <a:gd name="connsiteX0" fmla="*/ 2209159 w 2209159"/>
                <a:gd name="connsiteY0" fmla="*/ 0 h 257442"/>
                <a:gd name="connsiteX1" fmla="*/ 2154437 w 2209159"/>
                <a:gd name="connsiteY1" fmla="*/ 257442 h 257442"/>
                <a:gd name="connsiteX2" fmla="*/ 0 w 2209159"/>
                <a:gd name="connsiteY2" fmla="*/ 257442 h 257442"/>
                <a:gd name="connsiteX3" fmla="*/ 1 w 2209159"/>
                <a:gd name="connsiteY3" fmla="*/ 0 h 257442"/>
                <a:gd name="connsiteX0" fmla="*/ 2209159 w 2209159"/>
                <a:gd name="connsiteY0" fmla="*/ 0 h 257442"/>
                <a:gd name="connsiteX1" fmla="*/ 2154437 w 2209159"/>
                <a:gd name="connsiteY1" fmla="*/ 257442 h 257442"/>
                <a:gd name="connsiteX2" fmla="*/ 0 w 2209159"/>
                <a:gd name="connsiteY2" fmla="*/ 257442 h 257442"/>
                <a:gd name="connsiteX3" fmla="*/ 1 w 2209159"/>
                <a:gd name="connsiteY3" fmla="*/ 0 h 257442"/>
                <a:gd name="connsiteX0" fmla="*/ 2478463 w 2478463"/>
                <a:gd name="connsiteY0" fmla="*/ 0 h 257442"/>
                <a:gd name="connsiteX1" fmla="*/ 2154437 w 2478463"/>
                <a:gd name="connsiteY1" fmla="*/ 257442 h 257442"/>
                <a:gd name="connsiteX2" fmla="*/ 0 w 2478463"/>
                <a:gd name="connsiteY2" fmla="*/ 257442 h 257442"/>
                <a:gd name="connsiteX3" fmla="*/ 1 w 2478463"/>
                <a:gd name="connsiteY3" fmla="*/ 0 h 257442"/>
                <a:gd name="connsiteX0" fmla="*/ 2478463 w 2478463"/>
                <a:gd name="connsiteY0" fmla="*/ 0 h 257442"/>
                <a:gd name="connsiteX1" fmla="*/ 2423742 w 2478463"/>
                <a:gd name="connsiteY1" fmla="*/ 257442 h 257442"/>
                <a:gd name="connsiteX2" fmla="*/ 0 w 2478463"/>
                <a:gd name="connsiteY2" fmla="*/ 257442 h 257442"/>
                <a:gd name="connsiteX3" fmla="*/ 1 w 2478463"/>
                <a:gd name="connsiteY3" fmla="*/ 0 h 257442"/>
                <a:gd name="connsiteX0" fmla="*/ 2478462 w 2478462"/>
                <a:gd name="connsiteY0" fmla="*/ 0 h 257442"/>
                <a:gd name="connsiteX1" fmla="*/ 2423741 w 2478462"/>
                <a:gd name="connsiteY1" fmla="*/ 257442 h 257442"/>
                <a:gd name="connsiteX2" fmla="*/ 0 w 2478462"/>
                <a:gd name="connsiteY2" fmla="*/ 257442 h 257442"/>
                <a:gd name="connsiteX3" fmla="*/ 0 w 2478462"/>
                <a:gd name="connsiteY3" fmla="*/ 0 h 257442"/>
                <a:gd name="connsiteX0" fmla="*/ 2478463 w 2478463"/>
                <a:gd name="connsiteY0" fmla="*/ 0 h 257442"/>
                <a:gd name="connsiteX1" fmla="*/ 2423742 w 2478463"/>
                <a:gd name="connsiteY1" fmla="*/ 257442 h 257442"/>
                <a:gd name="connsiteX2" fmla="*/ 1 w 2478463"/>
                <a:gd name="connsiteY2" fmla="*/ 257442 h 257442"/>
                <a:gd name="connsiteX3" fmla="*/ 0 w 2478463"/>
                <a:gd name="connsiteY3" fmla="*/ 0 h 257442"/>
                <a:gd name="connsiteX0" fmla="*/ 960420 w 2423742"/>
                <a:gd name="connsiteY0" fmla="*/ 0 h 257442"/>
                <a:gd name="connsiteX1" fmla="*/ 2423742 w 2423742"/>
                <a:gd name="connsiteY1" fmla="*/ 257442 h 257442"/>
                <a:gd name="connsiteX2" fmla="*/ 1 w 2423742"/>
                <a:gd name="connsiteY2" fmla="*/ 257442 h 257442"/>
                <a:gd name="connsiteX3" fmla="*/ 0 w 2423742"/>
                <a:gd name="connsiteY3" fmla="*/ 0 h 257442"/>
                <a:gd name="connsiteX0" fmla="*/ 960420 w 960420"/>
                <a:gd name="connsiteY0" fmla="*/ 0 h 257442"/>
                <a:gd name="connsiteX1" fmla="*/ 905699 w 960420"/>
                <a:gd name="connsiteY1" fmla="*/ 257442 h 257442"/>
                <a:gd name="connsiteX2" fmla="*/ 1 w 960420"/>
                <a:gd name="connsiteY2" fmla="*/ 257442 h 257442"/>
                <a:gd name="connsiteX3" fmla="*/ 0 w 960420"/>
                <a:gd name="connsiteY3" fmla="*/ 0 h 257442"/>
                <a:gd name="connsiteX0" fmla="*/ 960420 w 960420"/>
                <a:gd name="connsiteY0" fmla="*/ 0 h 257442"/>
                <a:gd name="connsiteX1" fmla="*/ 905699 w 960420"/>
                <a:gd name="connsiteY1" fmla="*/ 257442 h 257442"/>
                <a:gd name="connsiteX2" fmla="*/ 1 w 960420"/>
                <a:gd name="connsiteY2" fmla="*/ 257442 h 257442"/>
                <a:gd name="connsiteX3" fmla="*/ 0 w 960420"/>
                <a:gd name="connsiteY3" fmla="*/ 0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0 w 960419"/>
                <a:gd name="connsiteY2" fmla="*/ 257442 h 257442"/>
                <a:gd name="connsiteX3" fmla="*/ 0 w 960419"/>
                <a:gd name="connsiteY3" fmla="*/ 0 h 257442"/>
                <a:gd name="connsiteX0" fmla="*/ 782550 w 905698"/>
                <a:gd name="connsiteY0" fmla="*/ 0 h 257442"/>
                <a:gd name="connsiteX1" fmla="*/ 905698 w 905698"/>
                <a:gd name="connsiteY1" fmla="*/ 257442 h 257442"/>
                <a:gd name="connsiteX2" fmla="*/ 0 w 905698"/>
                <a:gd name="connsiteY2" fmla="*/ 257442 h 257442"/>
                <a:gd name="connsiteX3" fmla="*/ 0 w 905698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960419 w 960419"/>
                <a:gd name="connsiteY0" fmla="*/ 0 h 257442"/>
                <a:gd name="connsiteX1" fmla="*/ 727829 w 960419"/>
                <a:gd name="connsiteY1" fmla="*/ 257442 h 257442"/>
                <a:gd name="connsiteX2" fmla="*/ 0 w 960419"/>
                <a:gd name="connsiteY2" fmla="*/ 257442 h 257442"/>
                <a:gd name="connsiteX3" fmla="*/ 0 w 960419"/>
                <a:gd name="connsiteY3" fmla="*/ 0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0 w 960419"/>
                <a:gd name="connsiteY2" fmla="*/ 257442 h 257442"/>
                <a:gd name="connsiteX3" fmla="*/ 0 w 960419"/>
                <a:gd name="connsiteY3" fmla="*/ 0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0 w 960419"/>
                <a:gd name="connsiteY2" fmla="*/ 257442 h 257442"/>
                <a:gd name="connsiteX3" fmla="*/ 0 w 960419"/>
                <a:gd name="connsiteY3" fmla="*/ 0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0 w 960419"/>
                <a:gd name="connsiteY2" fmla="*/ 257442 h 257442"/>
                <a:gd name="connsiteX3" fmla="*/ 0 w 960419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2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306669 w 1306669"/>
                <a:gd name="connsiteY0" fmla="*/ 0 h 257442"/>
                <a:gd name="connsiteX1" fmla="*/ 1074013 w 1306669"/>
                <a:gd name="connsiteY1" fmla="*/ 257442 h 257442"/>
                <a:gd name="connsiteX2" fmla="*/ 0 w 1306669"/>
                <a:gd name="connsiteY2" fmla="*/ 257442 h 257442"/>
                <a:gd name="connsiteX3" fmla="*/ 1 w 1306669"/>
                <a:gd name="connsiteY3" fmla="*/ 0 h 257442"/>
                <a:gd name="connsiteX0" fmla="*/ 1306669 w 1306669"/>
                <a:gd name="connsiteY0" fmla="*/ 0 h 257442"/>
                <a:gd name="connsiteX1" fmla="*/ 1251948 w 1306669"/>
                <a:gd name="connsiteY1" fmla="*/ 257442 h 257442"/>
                <a:gd name="connsiteX2" fmla="*/ 0 w 1306669"/>
                <a:gd name="connsiteY2" fmla="*/ 257442 h 257442"/>
                <a:gd name="connsiteX3" fmla="*/ 1 w 1306669"/>
                <a:gd name="connsiteY3" fmla="*/ 0 h 257442"/>
                <a:gd name="connsiteX0" fmla="*/ 1306668 w 1306668"/>
                <a:gd name="connsiteY0" fmla="*/ 0 h 257442"/>
                <a:gd name="connsiteX1" fmla="*/ 1251947 w 1306668"/>
                <a:gd name="connsiteY1" fmla="*/ 257442 h 257442"/>
                <a:gd name="connsiteX2" fmla="*/ 0 w 1306668"/>
                <a:gd name="connsiteY2" fmla="*/ 257442 h 257442"/>
                <a:gd name="connsiteX3" fmla="*/ 0 w 1306668"/>
                <a:gd name="connsiteY3" fmla="*/ 0 h 257442"/>
                <a:gd name="connsiteX0" fmla="*/ 1306669 w 1306669"/>
                <a:gd name="connsiteY0" fmla="*/ 0 h 257442"/>
                <a:gd name="connsiteX1" fmla="*/ 1251948 w 1306669"/>
                <a:gd name="connsiteY1" fmla="*/ 257442 h 257442"/>
                <a:gd name="connsiteX2" fmla="*/ 1 w 1306669"/>
                <a:gd name="connsiteY2" fmla="*/ 257442 h 257442"/>
                <a:gd name="connsiteX3" fmla="*/ 0 w 1306669"/>
                <a:gd name="connsiteY3" fmla="*/ 0 h 257442"/>
                <a:gd name="connsiteX0" fmla="*/ 1474984 w 1474984"/>
                <a:gd name="connsiteY0" fmla="*/ 0 h 257442"/>
                <a:gd name="connsiteX1" fmla="*/ 1251948 w 1474984"/>
                <a:gd name="connsiteY1" fmla="*/ 257442 h 257442"/>
                <a:gd name="connsiteX2" fmla="*/ 1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1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643298 w 1643298"/>
                <a:gd name="connsiteY0" fmla="*/ 0 h 257442"/>
                <a:gd name="connsiteX1" fmla="*/ 1420262 w 1643298"/>
                <a:gd name="connsiteY1" fmla="*/ 257442 h 257442"/>
                <a:gd name="connsiteX2" fmla="*/ 0 w 1643298"/>
                <a:gd name="connsiteY2" fmla="*/ 257442 h 257442"/>
                <a:gd name="connsiteX3" fmla="*/ 0 w 1643298"/>
                <a:gd name="connsiteY3" fmla="*/ 0 h 257442"/>
                <a:gd name="connsiteX0" fmla="*/ 1643298 w 1643298"/>
                <a:gd name="connsiteY0" fmla="*/ 0 h 257442"/>
                <a:gd name="connsiteX1" fmla="*/ 1588577 w 1643298"/>
                <a:gd name="connsiteY1" fmla="*/ 257442 h 257442"/>
                <a:gd name="connsiteX2" fmla="*/ 0 w 1643298"/>
                <a:gd name="connsiteY2" fmla="*/ 257442 h 257442"/>
                <a:gd name="connsiteX3" fmla="*/ 0 w 1643298"/>
                <a:gd name="connsiteY3" fmla="*/ 0 h 257442"/>
                <a:gd name="connsiteX0" fmla="*/ 1643298 w 1643298"/>
                <a:gd name="connsiteY0" fmla="*/ 0 h 257442"/>
                <a:gd name="connsiteX1" fmla="*/ 1588577 w 1643298"/>
                <a:gd name="connsiteY1" fmla="*/ 257442 h 257442"/>
                <a:gd name="connsiteX2" fmla="*/ 0 w 1643298"/>
                <a:gd name="connsiteY2" fmla="*/ 257442 h 257442"/>
                <a:gd name="connsiteX3" fmla="*/ 0 w 1643298"/>
                <a:gd name="connsiteY3" fmla="*/ 0 h 257442"/>
                <a:gd name="connsiteX0" fmla="*/ 1643298 w 1643298"/>
                <a:gd name="connsiteY0" fmla="*/ 0 h 257442"/>
                <a:gd name="connsiteX1" fmla="*/ 1588577 w 1643298"/>
                <a:gd name="connsiteY1" fmla="*/ 257442 h 257442"/>
                <a:gd name="connsiteX2" fmla="*/ 0 w 1643298"/>
                <a:gd name="connsiteY2" fmla="*/ 257442 h 257442"/>
                <a:gd name="connsiteX3" fmla="*/ 0 w 1643298"/>
                <a:gd name="connsiteY3" fmla="*/ 0 h 257442"/>
                <a:gd name="connsiteX0" fmla="*/ 1912603 w 1912603"/>
                <a:gd name="connsiteY0" fmla="*/ 0 h 257442"/>
                <a:gd name="connsiteX1" fmla="*/ 1588577 w 1912603"/>
                <a:gd name="connsiteY1" fmla="*/ 257442 h 257442"/>
                <a:gd name="connsiteX2" fmla="*/ 0 w 1912603"/>
                <a:gd name="connsiteY2" fmla="*/ 257442 h 257442"/>
                <a:gd name="connsiteX3" fmla="*/ 0 w 1912603"/>
                <a:gd name="connsiteY3" fmla="*/ 0 h 257442"/>
                <a:gd name="connsiteX0" fmla="*/ 1912603 w 1912603"/>
                <a:gd name="connsiteY0" fmla="*/ 0 h 257442"/>
                <a:gd name="connsiteX1" fmla="*/ 1857882 w 1912603"/>
                <a:gd name="connsiteY1" fmla="*/ 257442 h 257442"/>
                <a:gd name="connsiteX2" fmla="*/ 0 w 1912603"/>
                <a:gd name="connsiteY2" fmla="*/ 257442 h 257442"/>
                <a:gd name="connsiteX3" fmla="*/ 0 w 1912603"/>
                <a:gd name="connsiteY3" fmla="*/ 0 h 257442"/>
                <a:gd name="connsiteX0" fmla="*/ 1912603 w 1912603"/>
                <a:gd name="connsiteY0" fmla="*/ 0 h 257442"/>
                <a:gd name="connsiteX1" fmla="*/ 1857882 w 1912603"/>
                <a:gd name="connsiteY1" fmla="*/ 257442 h 257442"/>
                <a:gd name="connsiteX2" fmla="*/ 0 w 1912603"/>
                <a:gd name="connsiteY2" fmla="*/ 257442 h 257442"/>
                <a:gd name="connsiteX3" fmla="*/ 0 w 1912603"/>
                <a:gd name="connsiteY3" fmla="*/ 0 h 257442"/>
                <a:gd name="connsiteX0" fmla="*/ 1912603 w 1912603"/>
                <a:gd name="connsiteY0" fmla="*/ 0 h 257442"/>
                <a:gd name="connsiteX1" fmla="*/ 1857882 w 1912603"/>
                <a:gd name="connsiteY1" fmla="*/ 257442 h 257442"/>
                <a:gd name="connsiteX2" fmla="*/ 0 w 1912603"/>
                <a:gd name="connsiteY2" fmla="*/ 257442 h 257442"/>
                <a:gd name="connsiteX3" fmla="*/ 0 w 1912603"/>
                <a:gd name="connsiteY3" fmla="*/ 0 h 257442"/>
                <a:gd name="connsiteX0" fmla="*/ 2173892 w 2173892"/>
                <a:gd name="connsiteY0" fmla="*/ 0 h 257442"/>
                <a:gd name="connsiteX1" fmla="*/ 1857882 w 2173892"/>
                <a:gd name="connsiteY1" fmla="*/ 257442 h 257442"/>
                <a:gd name="connsiteX2" fmla="*/ 0 w 2173892"/>
                <a:gd name="connsiteY2" fmla="*/ 257442 h 257442"/>
                <a:gd name="connsiteX3" fmla="*/ 0 w 2173892"/>
                <a:gd name="connsiteY3" fmla="*/ 0 h 257442"/>
                <a:gd name="connsiteX0" fmla="*/ 2173892 w 2173892"/>
                <a:gd name="connsiteY0" fmla="*/ 0 h 257442"/>
                <a:gd name="connsiteX1" fmla="*/ 2119170 w 2173892"/>
                <a:gd name="connsiteY1" fmla="*/ 257442 h 257442"/>
                <a:gd name="connsiteX2" fmla="*/ 0 w 2173892"/>
                <a:gd name="connsiteY2" fmla="*/ 257442 h 257442"/>
                <a:gd name="connsiteX3" fmla="*/ 0 w 2173892"/>
                <a:gd name="connsiteY3" fmla="*/ 0 h 257442"/>
                <a:gd name="connsiteX0" fmla="*/ 2173893 w 2173893"/>
                <a:gd name="connsiteY0" fmla="*/ 0 h 257442"/>
                <a:gd name="connsiteX1" fmla="*/ 2119171 w 2173893"/>
                <a:gd name="connsiteY1" fmla="*/ 257442 h 257442"/>
                <a:gd name="connsiteX2" fmla="*/ 0 w 2173893"/>
                <a:gd name="connsiteY2" fmla="*/ 257442 h 257442"/>
                <a:gd name="connsiteX3" fmla="*/ 1 w 2173893"/>
                <a:gd name="connsiteY3" fmla="*/ 0 h 257442"/>
                <a:gd name="connsiteX0" fmla="*/ 2173893 w 2173893"/>
                <a:gd name="connsiteY0" fmla="*/ 0 h 257442"/>
                <a:gd name="connsiteX1" fmla="*/ 2119171 w 2173893"/>
                <a:gd name="connsiteY1" fmla="*/ 257442 h 257442"/>
                <a:gd name="connsiteX2" fmla="*/ 0 w 2173893"/>
                <a:gd name="connsiteY2" fmla="*/ 257442 h 257442"/>
                <a:gd name="connsiteX3" fmla="*/ 1 w 2173893"/>
                <a:gd name="connsiteY3" fmla="*/ 0 h 257442"/>
                <a:gd name="connsiteX0" fmla="*/ 2334193 w 2334193"/>
                <a:gd name="connsiteY0" fmla="*/ 0 h 257442"/>
                <a:gd name="connsiteX1" fmla="*/ 2119171 w 2334193"/>
                <a:gd name="connsiteY1" fmla="*/ 257442 h 257442"/>
                <a:gd name="connsiteX2" fmla="*/ 0 w 2334193"/>
                <a:gd name="connsiteY2" fmla="*/ 257442 h 257442"/>
                <a:gd name="connsiteX3" fmla="*/ 1 w 2334193"/>
                <a:gd name="connsiteY3" fmla="*/ 0 h 257442"/>
                <a:gd name="connsiteX0" fmla="*/ 2334193 w 2334193"/>
                <a:gd name="connsiteY0" fmla="*/ 0 h 257442"/>
                <a:gd name="connsiteX1" fmla="*/ 2279472 w 2334193"/>
                <a:gd name="connsiteY1" fmla="*/ 257442 h 257442"/>
                <a:gd name="connsiteX2" fmla="*/ 0 w 2334193"/>
                <a:gd name="connsiteY2" fmla="*/ 257442 h 257442"/>
                <a:gd name="connsiteX3" fmla="*/ 1 w 2334193"/>
                <a:gd name="connsiteY3" fmla="*/ 0 h 257442"/>
                <a:gd name="connsiteX0" fmla="*/ 2334192 w 2334192"/>
                <a:gd name="connsiteY0" fmla="*/ 0 h 257442"/>
                <a:gd name="connsiteX1" fmla="*/ 2279471 w 2334192"/>
                <a:gd name="connsiteY1" fmla="*/ 257442 h 257442"/>
                <a:gd name="connsiteX2" fmla="*/ 0 w 2334192"/>
                <a:gd name="connsiteY2" fmla="*/ 257442 h 257442"/>
                <a:gd name="connsiteX3" fmla="*/ 0 w 2334192"/>
                <a:gd name="connsiteY3" fmla="*/ 0 h 257442"/>
                <a:gd name="connsiteX0" fmla="*/ 2334193 w 2334193"/>
                <a:gd name="connsiteY0" fmla="*/ 0 h 257442"/>
                <a:gd name="connsiteX1" fmla="*/ 2279472 w 2334193"/>
                <a:gd name="connsiteY1" fmla="*/ 257442 h 257442"/>
                <a:gd name="connsiteX2" fmla="*/ 1 w 2334193"/>
                <a:gd name="connsiteY2" fmla="*/ 257442 h 257442"/>
                <a:gd name="connsiteX3" fmla="*/ 0 w 2334193"/>
                <a:gd name="connsiteY3" fmla="*/ 0 h 257442"/>
                <a:gd name="connsiteX0" fmla="*/ 2502509 w 2502509"/>
                <a:gd name="connsiteY0" fmla="*/ 0 h 257442"/>
                <a:gd name="connsiteX1" fmla="*/ 2279472 w 2502509"/>
                <a:gd name="connsiteY1" fmla="*/ 257442 h 257442"/>
                <a:gd name="connsiteX2" fmla="*/ 1 w 2502509"/>
                <a:gd name="connsiteY2" fmla="*/ 257442 h 257442"/>
                <a:gd name="connsiteX3" fmla="*/ 0 w 2502509"/>
                <a:gd name="connsiteY3" fmla="*/ 0 h 257442"/>
                <a:gd name="connsiteX0" fmla="*/ 2502509 w 2502509"/>
                <a:gd name="connsiteY0" fmla="*/ 0 h 257442"/>
                <a:gd name="connsiteX1" fmla="*/ 2447788 w 2502509"/>
                <a:gd name="connsiteY1" fmla="*/ 257442 h 257442"/>
                <a:gd name="connsiteX2" fmla="*/ 1 w 2502509"/>
                <a:gd name="connsiteY2" fmla="*/ 257442 h 257442"/>
                <a:gd name="connsiteX3" fmla="*/ 0 w 2502509"/>
                <a:gd name="connsiteY3" fmla="*/ 0 h 257442"/>
                <a:gd name="connsiteX0" fmla="*/ 2502509 w 2502509"/>
                <a:gd name="connsiteY0" fmla="*/ 0 h 257442"/>
                <a:gd name="connsiteX1" fmla="*/ 2447788 w 2502509"/>
                <a:gd name="connsiteY1" fmla="*/ 257442 h 257442"/>
                <a:gd name="connsiteX2" fmla="*/ 1 w 2502509"/>
                <a:gd name="connsiteY2" fmla="*/ 257442 h 257442"/>
                <a:gd name="connsiteX3" fmla="*/ 0 w 2502509"/>
                <a:gd name="connsiteY3" fmla="*/ 0 h 257442"/>
                <a:gd name="connsiteX0" fmla="*/ 2502508 w 2502508"/>
                <a:gd name="connsiteY0" fmla="*/ 0 h 257442"/>
                <a:gd name="connsiteX1" fmla="*/ 2447787 w 2502508"/>
                <a:gd name="connsiteY1" fmla="*/ 257442 h 257442"/>
                <a:gd name="connsiteX2" fmla="*/ 0 w 2502508"/>
                <a:gd name="connsiteY2" fmla="*/ 257442 h 257442"/>
                <a:gd name="connsiteX3" fmla="*/ 0 w 2502508"/>
                <a:gd name="connsiteY3" fmla="*/ 0 h 257442"/>
                <a:gd name="connsiteX0" fmla="*/ 2670822 w 2670822"/>
                <a:gd name="connsiteY0" fmla="*/ 0 h 257442"/>
                <a:gd name="connsiteX1" fmla="*/ 2447787 w 2670822"/>
                <a:gd name="connsiteY1" fmla="*/ 257442 h 257442"/>
                <a:gd name="connsiteX2" fmla="*/ 0 w 2670822"/>
                <a:gd name="connsiteY2" fmla="*/ 257442 h 257442"/>
                <a:gd name="connsiteX3" fmla="*/ 0 w 2670822"/>
                <a:gd name="connsiteY3" fmla="*/ 0 h 257442"/>
                <a:gd name="connsiteX0" fmla="*/ 2670822 w 2670822"/>
                <a:gd name="connsiteY0" fmla="*/ 0 h 257442"/>
                <a:gd name="connsiteX1" fmla="*/ 2616101 w 2670822"/>
                <a:gd name="connsiteY1" fmla="*/ 257442 h 257442"/>
                <a:gd name="connsiteX2" fmla="*/ 0 w 2670822"/>
                <a:gd name="connsiteY2" fmla="*/ 257442 h 257442"/>
                <a:gd name="connsiteX3" fmla="*/ 0 w 2670822"/>
                <a:gd name="connsiteY3" fmla="*/ 0 h 257442"/>
                <a:gd name="connsiteX0" fmla="*/ 2670823 w 2670823"/>
                <a:gd name="connsiteY0" fmla="*/ 0 h 257442"/>
                <a:gd name="connsiteX1" fmla="*/ 2616102 w 2670823"/>
                <a:gd name="connsiteY1" fmla="*/ 257442 h 257442"/>
                <a:gd name="connsiteX2" fmla="*/ 0 w 2670823"/>
                <a:gd name="connsiteY2" fmla="*/ 257442 h 257442"/>
                <a:gd name="connsiteX3" fmla="*/ 1 w 2670823"/>
                <a:gd name="connsiteY3" fmla="*/ 0 h 257442"/>
                <a:gd name="connsiteX0" fmla="*/ 2670823 w 2670823"/>
                <a:gd name="connsiteY0" fmla="*/ 0 h 257442"/>
                <a:gd name="connsiteX1" fmla="*/ 2616102 w 2670823"/>
                <a:gd name="connsiteY1" fmla="*/ 257442 h 257442"/>
                <a:gd name="connsiteX2" fmla="*/ 0 w 2670823"/>
                <a:gd name="connsiteY2" fmla="*/ 257442 h 257442"/>
                <a:gd name="connsiteX3" fmla="*/ 1 w 2670823"/>
                <a:gd name="connsiteY3" fmla="*/ 0 h 257442"/>
                <a:gd name="connsiteX0" fmla="*/ 2839140 w 2839140"/>
                <a:gd name="connsiteY0" fmla="*/ 0 h 257442"/>
                <a:gd name="connsiteX1" fmla="*/ 2616102 w 2839140"/>
                <a:gd name="connsiteY1" fmla="*/ 257442 h 257442"/>
                <a:gd name="connsiteX2" fmla="*/ 0 w 2839140"/>
                <a:gd name="connsiteY2" fmla="*/ 257442 h 257442"/>
                <a:gd name="connsiteX3" fmla="*/ 1 w 2839140"/>
                <a:gd name="connsiteY3" fmla="*/ 0 h 257442"/>
                <a:gd name="connsiteX0" fmla="*/ 2839140 w 2839140"/>
                <a:gd name="connsiteY0" fmla="*/ 0 h 257442"/>
                <a:gd name="connsiteX1" fmla="*/ 2784418 w 2839140"/>
                <a:gd name="connsiteY1" fmla="*/ 257442 h 257442"/>
                <a:gd name="connsiteX2" fmla="*/ 0 w 2839140"/>
                <a:gd name="connsiteY2" fmla="*/ 257442 h 257442"/>
                <a:gd name="connsiteX3" fmla="*/ 1 w 2839140"/>
                <a:gd name="connsiteY3" fmla="*/ 0 h 257442"/>
                <a:gd name="connsiteX0" fmla="*/ 2839140 w 2839140"/>
                <a:gd name="connsiteY0" fmla="*/ 0 h 257442"/>
                <a:gd name="connsiteX1" fmla="*/ 2784418 w 2839140"/>
                <a:gd name="connsiteY1" fmla="*/ 257442 h 257442"/>
                <a:gd name="connsiteX2" fmla="*/ 0 w 2839140"/>
                <a:gd name="connsiteY2" fmla="*/ 257442 h 257442"/>
                <a:gd name="connsiteX3" fmla="*/ 1 w 2839140"/>
                <a:gd name="connsiteY3" fmla="*/ 0 h 257442"/>
                <a:gd name="connsiteX0" fmla="*/ 2839140 w 2839140"/>
                <a:gd name="connsiteY0" fmla="*/ 0 h 257442"/>
                <a:gd name="connsiteX1" fmla="*/ 2784418 w 2839140"/>
                <a:gd name="connsiteY1" fmla="*/ 257442 h 257442"/>
                <a:gd name="connsiteX2" fmla="*/ 0 w 2839140"/>
                <a:gd name="connsiteY2" fmla="*/ 257442 h 257442"/>
                <a:gd name="connsiteX3" fmla="*/ 0 w 2839140"/>
                <a:gd name="connsiteY3" fmla="*/ 0 h 257442"/>
                <a:gd name="connsiteX0" fmla="*/ 3017071 w 3017071"/>
                <a:gd name="connsiteY0" fmla="*/ 0 h 257442"/>
                <a:gd name="connsiteX1" fmla="*/ 2784418 w 3017071"/>
                <a:gd name="connsiteY1" fmla="*/ 257442 h 257442"/>
                <a:gd name="connsiteX2" fmla="*/ 0 w 3017071"/>
                <a:gd name="connsiteY2" fmla="*/ 257442 h 257442"/>
                <a:gd name="connsiteX3" fmla="*/ 0 w 3017071"/>
                <a:gd name="connsiteY3" fmla="*/ 0 h 257442"/>
                <a:gd name="connsiteX0" fmla="*/ 3017071 w 3017071"/>
                <a:gd name="connsiteY0" fmla="*/ 0 h 257442"/>
                <a:gd name="connsiteX1" fmla="*/ 2962350 w 3017071"/>
                <a:gd name="connsiteY1" fmla="*/ 257442 h 257442"/>
                <a:gd name="connsiteX2" fmla="*/ 0 w 3017071"/>
                <a:gd name="connsiteY2" fmla="*/ 257442 h 257442"/>
                <a:gd name="connsiteX3" fmla="*/ 0 w 3017071"/>
                <a:gd name="connsiteY3" fmla="*/ 0 h 257442"/>
                <a:gd name="connsiteX0" fmla="*/ 3017071 w 3017071"/>
                <a:gd name="connsiteY0" fmla="*/ 0 h 257442"/>
                <a:gd name="connsiteX1" fmla="*/ 2962350 w 3017071"/>
                <a:gd name="connsiteY1" fmla="*/ 257442 h 257442"/>
                <a:gd name="connsiteX2" fmla="*/ 0 w 3017071"/>
                <a:gd name="connsiteY2" fmla="*/ 257442 h 257442"/>
                <a:gd name="connsiteX3" fmla="*/ 0 w 3017071"/>
                <a:gd name="connsiteY3" fmla="*/ 0 h 257442"/>
                <a:gd name="connsiteX0" fmla="*/ 3017071 w 3017071"/>
                <a:gd name="connsiteY0" fmla="*/ 0 h 257442"/>
                <a:gd name="connsiteX1" fmla="*/ 2962350 w 3017071"/>
                <a:gd name="connsiteY1" fmla="*/ 257442 h 257442"/>
                <a:gd name="connsiteX2" fmla="*/ 0 w 3017071"/>
                <a:gd name="connsiteY2" fmla="*/ 257442 h 257442"/>
                <a:gd name="connsiteX3" fmla="*/ 0 w 3017071"/>
                <a:gd name="connsiteY3" fmla="*/ 0 h 257442"/>
                <a:gd name="connsiteX0" fmla="*/ 2839139 w 2962350"/>
                <a:gd name="connsiteY0" fmla="*/ 0 h 257442"/>
                <a:gd name="connsiteX1" fmla="*/ 2962350 w 2962350"/>
                <a:gd name="connsiteY1" fmla="*/ 257442 h 257442"/>
                <a:gd name="connsiteX2" fmla="*/ 0 w 2962350"/>
                <a:gd name="connsiteY2" fmla="*/ 257442 h 257442"/>
                <a:gd name="connsiteX3" fmla="*/ 0 w 2962350"/>
                <a:gd name="connsiteY3" fmla="*/ 0 h 257442"/>
                <a:gd name="connsiteX0" fmla="*/ 2839139 w 2839139"/>
                <a:gd name="connsiteY0" fmla="*/ 0 h 257442"/>
                <a:gd name="connsiteX1" fmla="*/ 2784418 w 2839139"/>
                <a:gd name="connsiteY1" fmla="*/ 257442 h 257442"/>
                <a:gd name="connsiteX2" fmla="*/ 0 w 2839139"/>
                <a:gd name="connsiteY2" fmla="*/ 257442 h 257442"/>
                <a:gd name="connsiteX3" fmla="*/ 0 w 2839139"/>
                <a:gd name="connsiteY3" fmla="*/ 0 h 257442"/>
                <a:gd name="connsiteX0" fmla="*/ 2839139 w 2839139"/>
                <a:gd name="connsiteY0" fmla="*/ 0 h 257442"/>
                <a:gd name="connsiteX1" fmla="*/ 2784418 w 2839139"/>
                <a:gd name="connsiteY1" fmla="*/ 257442 h 257442"/>
                <a:gd name="connsiteX2" fmla="*/ 1 w 2839139"/>
                <a:gd name="connsiteY2" fmla="*/ 257442 h 257442"/>
                <a:gd name="connsiteX3" fmla="*/ 0 w 2839139"/>
                <a:gd name="connsiteY3" fmla="*/ 0 h 257442"/>
                <a:gd name="connsiteX0" fmla="*/ 2839138 w 2839138"/>
                <a:gd name="connsiteY0" fmla="*/ 0 h 257442"/>
                <a:gd name="connsiteX1" fmla="*/ 2784417 w 2839138"/>
                <a:gd name="connsiteY1" fmla="*/ 257442 h 257442"/>
                <a:gd name="connsiteX2" fmla="*/ 0 w 2839138"/>
                <a:gd name="connsiteY2" fmla="*/ 257442 h 257442"/>
                <a:gd name="connsiteX3" fmla="*/ 0 w 2839138"/>
                <a:gd name="connsiteY3" fmla="*/ 0 h 257442"/>
                <a:gd name="connsiteX0" fmla="*/ 3007452 w 3007452"/>
                <a:gd name="connsiteY0" fmla="*/ 0 h 257442"/>
                <a:gd name="connsiteX1" fmla="*/ 2784417 w 3007452"/>
                <a:gd name="connsiteY1" fmla="*/ 257442 h 257442"/>
                <a:gd name="connsiteX2" fmla="*/ 0 w 3007452"/>
                <a:gd name="connsiteY2" fmla="*/ 257442 h 257442"/>
                <a:gd name="connsiteX3" fmla="*/ 0 w 3007452"/>
                <a:gd name="connsiteY3" fmla="*/ 0 h 257442"/>
                <a:gd name="connsiteX0" fmla="*/ 3007452 w 3007452"/>
                <a:gd name="connsiteY0" fmla="*/ 0 h 257442"/>
                <a:gd name="connsiteX1" fmla="*/ 2952731 w 3007452"/>
                <a:gd name="connsiteY1" fmla="*/ 257442 h 257442"/>
                <a:gd name="connsiteX2" fmla="*/ 0 w 3007452"/>
                <a:gd name="connsiteY2" fmla="*/ 257442 h 257442"/>
                <a:gd name="connsiteX3" fmla="*/ 0 w 3007452"/>
                <a:gd name="connsiteY3" fmla="*/ 0 h 257442"/>
                <a:gd name="connsiteX0" fmla="*/ 3007453 w 3007453"/>
                <a:gd name="connsiteY0" fmla="*/ 0 h 257442"/>
                <a:gd name="connsiteX1" fmla="*/ 2952732 w 3007453"/>
                <a:gd name="connsiteY1" fmla="*/ 257442 h 257442"/>
                <a:gd name="connsiteX2" fmla="*/ 0 w 3007453"/>
                <a:gd name="connsiteY2" fmla="*/ 257442 h 257442"/>
                <a:gd name="connsiteX3" fmla="*/ 1 w 3007453"/>
                <a:gd name="connsiteY3" fmla="*/ 0 h 257442"/>
                <a:gd name="connsiteX0" fmla="*/ 3007453 w 3007453"/>
                <a:gd name="connsiteY0" fmla="*/ 0 h 257442"/>
                <a:gd name="connsiteX1" fmla="*/ 2952732 w 3007453"/>
                <a:gd name="connsiteY1" fmla="*/ 257442 h 257442"/>
                <a:gd name="connsiteX2" fmla="*/ 0 w 3007453"/>
                <a:gd name="connsiteY2" fmla="*/ 257442 h 257442"/>
                <a:gd name="connsiteX3" fmla="*/ 1 w 3007453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07453" h="257442">
                  <a:moveTo>
                    <a:pt x="3007453" y="0"/>
                  </a:moveTo>
                  <a:lnTo>
                    <a:pt x="2952732" y="257442"/>
                  </a:lnTo>
                  <a:lnTo>
                    <a:pt x="0" y="257442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27" name="btfpRunningAgenda1LevelTextLeft385877">
              <a:extLst>
                <a:ext uri="{FF2B5EF4-FFF2-40B4-BE49-F238E27FC236}">
                  <a16:creationId xmlns:a16="http://schemas.microsoft.com/office/drawing/2014/main" id="{F5796DB9-C451-0EE5-9A60-D17BE989B902}"/>
                </a:ext>
              </a:extLst>
            </p:cNvPr>
            <p:cNvSpPr txBox="1"/>
            <p:nvPr/>
          </p:nvSpPr>
          <p:spPr bwMode="gray">
            <a:xfrm>
              <a:off x="0" y="876300"/>
              <a:ext cx="2952732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cap="all" spc="450">
                  <a:solidFill>
                    <a:srgbClr val="FFFFFF"/>
                  </a:solidFill>
                </a:rPr>
                <a:t>ORGANIC SEARCH</a:t>
              </a:r>
            </a:p>
          </p:txBody>
        </p:sp>
      </p:grpSp>
      <p:sp>
        <p:nvSpPr>
          <p:cNvPr id="28" name="btfpNotesBox735198">
            <a:extLst>
              <a:ext uri="{FF2B5EF4-FFF2-40B4-BE49-F238E27FC236}">
                <a16:creationId xmlns:a16="http://schemas.microsoft.com/office/drawing/2014/main" id="{F2BCC3E2-6FBB-E0B9-554D-951F21D0F7EF}"/>
              </a:ext>
            </a:extLst>
          </p:cNvPr>
          <p:cNvSpPr txBox="1"/>
          <p:nvPr>
            <p:custDataLst>
              <p:tags r:id="rId12"/>
            </p:custDataLst>
          </p:nvPr>
        </p:nvSpPr>
        <p:spPr bwMode="gray">
          <a:xfrm>
            <a:off x="330200" y="6341860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CA" sz="800" dirty="0"/>
              <a:t>Note: Peer 6 attracts traffic only through Branded keywords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CA" sz="800" dirty="0"/>
              <a:t>Source: SEMrush, data for the last 30 days ending 17th April, 2025</a:t>
            </a:r>
          </a:p>
        </p:txBody>
      </p:sp>
      <p:sp>
        <p:nvSpPr>
          <p:cNvPr id="29" name="btfpBulletedList259408">
            <a:extLst>
              <a:ext uri="{FF2B5EF4-FFF2-40B4-BE49-F238E27FC236}">
                <a16:creationId xmlns:a16="http://schemas.microsoft.com/office/drawing/2014/main" id="{43AD2E13-916B-B27F-4489-F71F28AFB7B4}"/>
              </a:ext>
            </a:extLst>
          </p:cNvPr>
          <p:cNvSpPr txBox="1"/>
          <p:nvPr>
            <p:custDataLst>
              <p:tags r:id="rId13"/>
            </p:custDataLst>
          </p:nvPr>
        </p:nvSpPr>
        <p:spPr bwMode="gray">
          <a:xfrm>
            <a:off x="9384307" y="1977143"/>
            <a:ext cx="2477492" cy="2896553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>
              <a:spcBef>
                <a:spcPts val="900"/>
              </a:spcBef>
            </a:pPr>
            <a:r>
              <a:rPr lang="en-US" sz="1100" dirty="0"/>
              <a:t>Peer 1 brands </a:t>
            </a:r>
            <a:r>
              <a:rPr lang="en-US" sz="1100" b="1" dirty="0"/>
              <a:t>mostly capture</a:t>
            </a:r>
            <a:r>
              <a:rPr lang="en-US" sz="1100" dirty="0"/>
              <a:t> traffic through </a:t>
            </a:r>
            <a:r>
              <a:rPr lang="en-US" sz="1100" b="1" dirty="0"/>
              <a:t>branded keywords</a:t>
            </a:r>
            <a:r>
              <a:rPr lang="en-US" sz="1100" dirty="0"/>
              <a:t>, limiting its reach</a:t>
            </a:r>
          </a:p>
          <a:p>
            <a:pPr>
              <a:spcBef>
                <a:spcPts val="900"/>
              </a:spcBef>
            </a:pPr>
            <a:r>
              <a:rPr lang="en-US" sz="1100" dirty="0">
                <a:solidFill>
                  <a:srgbClr val="000000"/>
                </a:solidFill>
                <a:latin typeface="+mj-lt"/>
              </a:rPr>
              <a:t>Opportunity for brands like Peer 6, Peer 2, and Peer 7 to focus </a:t>
            </a:r>
            <a:r>
              <a:rPr lang="en-US" sz="1100" b="1" dirty="0">
                <a:solidFill>
                  <a:srgbClr val="000000"/>
                </a:solidFill>
                <a:latin typeface="+mj-lt"/>
              </a:rPr>
              <a:t>on unbranded search visibility</a:t>
            </a:r>
            <a:r>
              <a:rPr lang="en-US" sz="1100" dirty="0">
                <a:solidFill>
                  <a:srgbClr val="000000"/>
                </a:solidFill>
                <a:latin typeface="+mj-lt"/>
              </a:rPr>
              <a:t>, to </a:t>
            </a:r>
            <a:r>
              <a:rPr lang="en-US" sz="1100" b="1" dirty="0">
                <a:solidFill>
                  <a:srgbClr val="000000"/>
                </a:solidFill>
                <a:latin typeface="+mj-lt"/>
              </a:rPr>
              <a:t>boost</a:t>
            </a:r>
            <a:r>
              <a:rPr lang="en-US" sz="1100" dirty="0">
                <a:solidFill>
                  <a:srgbClr val="000000"/>
                </a:solidFill>
                <a:latin typeface="+mj-lt"/>
              </a:rPr>
              <a:t> their respective </a:t>
            </a:r>
            <a:r>
              <a:rPr lang="en-US" sz="1100" b="1" dirty="0">
                <a:solidFill>
                  <a:srgbClr val="000000"/>
                </a:solidFill>
                <a:latin typeface="+mj-lt"/>
              </a:rPr>
              <a:t>brand visibility</a:t>
            </a:r>
            <a:r>
              <a:rPr lang="en-US" sz="1100" dirty="0">
                <a:solidFill>
                  <a:srgbClr val="000000"/>
                </a:solidFill>
                <a:latin typeface="+mj-lt"/>
              </a:rPr>
              <a:t> resulting in better reach</a:t>
            </a:r>
          </a:p>
          <a:p>
            <a:pPr>
              <a:spcBef>
                <a:spcPts val="900"/>
              </a:spcBef>
            </a:pPr>
            <a:r>
              <a:rPr lang="en-US" sz="1100" dirty="0">
                <a:solidFill>
                  <a:srgbClr val="000000"/>
                </a:solidFill>
                <a:latin typeface="+mj-lt"/>
              </a:rPr>
              <a:t>Compared to peers, all the Peer 1 brands show </a:t>
            </a:r>
            <a:r>
              <a:rPr lang="en-US" sz="1100" b="1" dirty="0">
                <a:solidFill>
                  <a:srgbClr val="000000"/>
                </a:solidFill>
                <a:latin typeface="+mj-lt"/>
              </a:rPr>
              <a:t>weaker branded click-through rate performance</a:t>
            </a:r>
          </a:p>
          <a:p>
            <a:pPr lvl="1">
              <a:spcBef>
                <a:spcPts val="300"/>
              </a:spcBef>
            </a:pPr>
            <a:r>
              <a:rPr lang="en-US" sz="900" dirty="0">
                <a:solidFill>
                  <a:srgbClr val="000000"/>
                </a:solidFill>
                <a:latin typeface="+mj-lt"/>
              </a:rPr>
              <a:t>Branded CTR reflects </a:t>
            </a:r>
            <a:r>
              <a:rPr lang="en-US" sz="900" b="1" dirty="0">
                <a:solidFill>
                  <a:srgbClr val="000000"/>
                </a:solidFill>
                <a:latin typeface="+mj-lt"/>
              </a:rPr>
              <a:t>user intent and loyalty</a:t>
            </a:r>
            <a:r>
              <a:rPr lang="en-US" sz="900" dirty="0">
                <a:solidFill>
                  <a:srgbClr val="000000"/>
                </a:solidFill>
                <a:latin typeface="+mj-lt"/>
              </a:rPr>
              <a:t>—while Peer 3 and Peer 5 lag peers, enhancing this metric offers a </a:t>
            </a:r>
            <a:r>
              <a:rPr lang="en-US" sz="900" b="1" dirty="0">
                <a:solidFill>
                  <a:srgbClr val="000000"/>
                </a:solidFill>
                <a:latin typeface="+mj-lt"/>
              </a:rPr>
              <a:t>clear path to stronger brand engagement and conversions</a:t>
            </a:r>
            <a:r>
              <a:rPr lang="en-US" sz="900" dirty="0">
                <a:solidFill>
                  <a:srgbClr val="000000"/>
                </a:solidFill>
                <a:latin typeface="+mj-lt"/>
              </a:rPr>
              <a:t>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C8FD9E0-3E5B-85ED-512F-518FC52AD9FF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2590800" y="2375877"/>
            <a:ext cx="187195" cy="3145330"/>
          </a:xfrm>
          <a:prstGeom prst="rect">
            <a:avLst/>
          </a:prstGeom>
          <a:noFill/>
          <a:ln w="1905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306D0D6-032B-39C7-F39A-761FDBE9CE06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1847851" y="2375877"/>
            <a:ext cx="370470" cy="3145330"/>
          </a:xfrm>
          <a:prstGeom prst="rect">
            <a:avLst/>
          </a:prstGeom>
          <a:noFill/>
          <a:ln w="1905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1399C84-0951-1A5C-789E-7755F8C859C1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1095375" y="2375877"/>
            <a:ext cx="568197" cy="3145330"/>
          </a:xfrm>
          <a:prstGeom prst="rect">
            <a:avLst/>
          </a:prstGeom>
          <a:noFill/>
          <a:ln w="1905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A7E50E2-E0B4-66A2-72E6-3C0AC7BD2498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732691" y="2375877"/>
            <a:ext cx="178405" cy="3145330"/>
          </a:xfrm>
          <a:prstGeom prst="rect">
            <a:avLst/>
          </a:prstGeom>
          <a:noFill/>
          <a:ln w="1905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040CEB71-971B-2B7C-C763-29ABAE8A4A98}"/>
              </a:ext>
            </a:extLst>
          </p:cNvPr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38" y="946635"/>
            <a:ext cx="252287" cy="25157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475112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638A59A7-E54A-D588-5E6F-9EF98A9107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6511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28" imgH="329" progId="TCLayout.ActiveDocument.1">
                  <p:embed/>
                </p:oleObj>
              </mc:Choice>
              <mc:Fallback>
                <p:oleObj name="think-cell Slide" r:id="rId9" imgW="328" imgH="329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8A59A7-E54A-D588-5E6F-9EF98A9107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1" name="Rectangle 110">
            <a:extLst>
              <a:ext uri="{FF2B5EF4-FFF2-40B4-BE49-F238E27FC236}">
                <a16:creationId xmlns:a16="http://schemas.microsoft.com/office/drawing/2014/main" id="{6F233616-7787-8897-A7B3-A6EBA17430F7}"/>
              </a:ext>
            </a:extLst>
          </p:cNvPr>
          <p:cNvSpPr/>
          <p:nvPr/>
        </p:nvSpPr>
        <p:spPr bwMode="gray">
          <a:xfrm rot="5400000">
            <a:off x="8940852" y="624889"/>
            <a:ext cx="164592" cy="13716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CA" sz="800" b="1" i="1" dirty="0">
                <a:solidFill>
                  <a:schemeClr val="bg1"/>
                </a:solidFill>
              </a:rPr>
              <a:t>Peer 9</a:t>
            </a:r>
          </a:p>
        </p:txBody>
      </p:sp>
      <p:grpSp>
        <p:nvGrpSpPr>
          <p:cNvPr id="34" name="btfpColumnIndicatorGroup2">
            <a:extLst>
              <a:ext uri="{FF2B5EF4-FFF2-40B4-BE49-F238E27FC236}">
                <a16:creationId xmlns:a16="http://schemas.microsoft.com/office/drawing/2014/main" id="{BF51F2C9-0A57-5284-140C-F1B6A62404B1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31" name="btfpColumnGapBlocker193877">
              <a:extLst>
                <a:ext uri="{FF2B5EF4-FFF2-40B4-BE49-F238E27FC236}">
                  <a16:creationId xmlns:a16="http://schemas.microsoft.com/office/drawing/2014/main" id="{FAAD0F55-92A8-7C5F-DF50-5251B22E97F5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23" name="btfpColumnGapBlocker905596">
              <a:extLst>
                <a:ext uri="{FF2B5EF4-FFF2-40B4-BE49-F238E27FC236}">
                  <a16:creationId xmlns:a16="http://schemas.microsoft.com/office/drawing/2014/main" id="{95B8AF81-8702-9CDE-5352-358302024209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1" name="btfpColumnIndicator811583">
              <a:extLst>
                <a:ext uri="{FF2B5EF4-FFF2-40B4-BE49-F238E27FC236}">
                  <a16:creationId xmlns:a16="http://schemas.microsoft.com/office/drawing/2014/main" id="{14BD240A-C251-C250-1559-25C2220D8DB2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btfpColumnIndicator796515">
              <a:extLst>
                <a:ext uri="{FF2B5EF4-FFF2-40B4-BE49-F238E27FC236}">
                  <a16:creationId xmlns:a16="http://schemas.microsoft.com/office/drawing/2014/main" id="{B5FC853D-DC24-2ADB-201E-A2A28F61DA6C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btfpColumnIndicatorGroup1">
            <a:extLst>
              <a:ext uri="{FF2B5EF4-FFF2-40B4-BE49-F238E27FC236}">
                <a16:creationId xmlns:a16="http://schemas.microsoft.com/office/drawing/2014/main" id="{932FEAD0-2362-163A-8F0B-E34347D9F029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5" name="btfpColumnGapBlocker437631">
              <a:extLst>
                <a:ext uri="{FF2B5EF4-FFF2-40B4-BE49-F238E27FC236}">
                  <a16:creationId xmlns:a16="http://schemas.microsoft.com/office/drawing/2014/main" id="{F65E0ABA-C541-BA6D-1942-26C2691F9761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22" name="btfpColumnGapBlocker834399">
              <a:extLst>
                <a:ext uri="{FF2B5EF4-FFF2-40B4-BE49-F238E27FC236}">
                  <a16:creationId xmlns:a16="http://schemas.microsoft.com/office/drawing/2014/main" id="{183E3E84-D04B-5956-0A0C-9A43E7CD28B3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9" name="btfpColumnIndicator435630">
              <a:extLst>
                <a:ext uri="{FF2B5EF4-FFF2-40B4-BE49-F238E27FC236}">
                  <a16:creationId xmlns:a16="http://schemas.microsoft.com/office/drawing/2014/main" id="{AE8D1074-11BB-BA6B-6CAD-B70B7713CD54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btfpColumnIndicator314946">
              <a:extLst>
                <a:ext uri="{FF2B5EF4-FFF2-40B4-BE49-F238E27FC236}">
                  <a16:creationId xmlns:a16="http://schemas.microsoft.com/office/drawing/2014/main" id="{625C927E-A17C-FB06-28D2-87F73D97A3CF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0343CAE1-DE5B-1168-6B69-E5D53263E1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b="1" dirty="0"/>
              <a:t>Search ranking: </a:t>
            </a:r>
            <a:r>
              <a:rPr lang="en-US" dirty="0"/>
              <a:t>Scope for Peer 1 brands to enhance website content to attract more users and drive conversions</a:t>
            </a:r>
            <a:endParaRPr lang="en-GB" dirty="0"/>
          </a:p>
        </p:txBody>
      </p:sp>
      <p:grpSp>
        <p:nvGrpSpPr>
          <p:cNvPr id="15" name="btfpRunningAgenda1Level385877">
            <a:extLst>
              <a:ext uri="{FF2B5EF4-FFF2-40B4-BE49-F238E27FC236}">
                <a16:creationId xmlns:a16="http://schemas.microsoft.com/office/drawing/2014/main" id="{2AE297FE-58E8-6822-3976-B0BB4645907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-1" y="944429"/>
            <a:ext cx="3007453" cy="257442"/>
            <a:chOff x="-1" y="876300"/>
            <a:chExt cx="3007453" cy="257442"/>
          </a:xfrm>
        </p:grpSpPr>
        <p:sp>
          <p:nvSpPr>
            <p:cNvPr id="16" name="btfpRunningAgenda1LevelBarLeft385877">
              <a:extLst>
                <a:ext uri="{FF2B5EF4-FFF2-40B4-BE49-F238E27FC236}">
                  <a16:creationId xmlns:a16="http://schemas.microsoft.com/office/drawing/2014/main" id="{90F0852B-C4D8-5D20-A4B4-6090AE78869A}"/>
                </a:ext>
              </a:extLst>
            </p:cNvPr>
            <p:cNvSpPr/>
            <p:nvPr/>
          </p:nvSpPr>
          <p:spPr bwMode="gray">
            <a:xfrm>
              <a:off x="-1" y="876300"/>
              <a:ext cx="3007453" cy="257442"/>
            </a:xfrm>
            <a:custGeom>
              <a:avLst/>
              <a:gdLst>
                <a:gd name="connsiteX0" fmla="*/ 942786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42786 w 1816204"/>
                <a:gd name="connsiteY0" fmla="*/ 0 h 257442"/>
                <a:gd name="connsiteX1" fmla="*/ 888066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1111101 w 1111101"/>
                <a:gd name="connsiteY0" fmla="*/ 0 h 257442"/>
                <a:gd name="connsiteX1" fmla="*/ 888065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89034 w 1289034"/>
                <a:gd name="connsiteY0" fmla="*/ 0 h 257442"/>
                <a:gd name="connsiteX1" fmla="*/ 1056380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289034 w 1289034"/>
                <a:gd name="connsiteY0" fmla="*/ 0 h 257442"/>
                <a:gd name="connsiteX1" fmla="*/ 1234312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1 w 1289035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1 w 1289035"/>
                <a:gd name="connsiteY3" fmla="*/ 0 h 257442"/>
                <a:gd name="connsiteX0" fmla="*/ 1457351 w 1457351"/>
                <a:gd name="connsiteY0" fmla="*/ 0 h 257442"/>
                <a:gd name="connsiteX1" fmla="*/ 1234313 w 1457351"/>
                <a:gd name="connsiteY1" fmla="*/ 257442 h 257442"/>
                <a:gd name="connsiteX2" fmla="*/ 0 w 1457351"/>
                <a:gd name="connsiteY2" fmla="*/ 257442 h 257442"/>
                <a:gd name="connsiteX3" fmla="*/ 1 w 1457351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0 w 1457351"/>
                <a:gd name="connsiteY2" fmla="*/ 257442 h 257442"/>
                <a:gd name="connsiteX3" fmla="*/ 1 w 1457351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1 w 1457351"/>
                <a:gd name="connsiteY2" fmla="*/ 257442 h 257442"/>
                <a:gd name="connsiteX3" fmla="*/ 0 w 1457351"/>
                <a:gd name="connsiteY3" fmla="*/ 0 h 257442"/>
                <a:gd name="connsiteX0" fmla="*/ 1710626 w 1710626"/>
                <a:gd name="connsiteY0" fmla="*/ 0 h 257442"/>
                <a:gd name="connsiteX1" fmla="*/ 1402630 w 1710626"/>
                <a:gd name="connsiteY1" fmla="*/ 257442 h 257442"/>
                <a:gd name="connsiteX2" fmla="*/ 1 w 1710626"/>
                <a:gd name="connsiteY2" fmla="*/ 257442 h 257442"/>
                <a:gd name="connsiteX3" fmla="*/ 0 w 1710626"/>
                <a:gd name="connsiteY3" fmla="*/ 0 h 257442"/>
                <a:gd name="connsiteX0" fmla="*/ 1710626 w 1710626"/>
                <a:gd name="connsiteY0" fmla="*/ 0 h 257442"/>
                <a:gd name="connsiteX1" fmla="*/ 1655904 w 1710626"/>
                <a:gd name="connsiteY1" fmla="*/ 257442 h 257442"/>
                <a:gd name="connsiteX2" fmla="*/ 1 w 1710626"/>
                <a:gd name="connsiteY2" fmla="*/ 257442 h 257442"/>
                <a:gd name="connsiteX3" fmla="*/ 0 w 1710626"/>
                <a:gd name="connsiteY3" fmla="*/ 0 h 257442"/>
                <a:gd name="connsiteX0" fmla="*/ 1710626 w 1710626"/>
                <a:gd name="connsiteY0" fmla="*/ 0 h 257442"/>
                <a:gd name="connsiteX1" fmla="*/ 1655904 w 1710626"/>
                <a:gd name="connsiteY1" fmla="*/ 257442 h 257442"/>
                <a:gd name="connsiteX2" fmla="*/ 0 w 1710626"/>
                <a:gd name="connsiteY2" fmla="*/ 257442 h 257442"/>
                <a:gd name="connsiteX3" fmla="*/ 0 w 1710626"/>
                <a:gd name="connsiteY3" fmla="*/ 0 h 257442"/>
                <a:gd name="connsiteX0" fmla="*/ 1710626 w 1710626"/>
                <a:gd name="connsiteY0" fmla="*/ 0 h 257442"/>
                <a:gd name="connsiteX1" fmla="*/ 1655904 w 1710626"/>
                <a:gd name="connsiteY1" fmla="*/ 257442 h 257442"/>
                <a:gd name="connsiteX2" fmla="*/ 0 w 1710626"/>
                <a:gd name="connsiteY2" fmla="*/ 257442 h 257442"/>
                <a:gd name="connsiteX3" fmla="*/ 0 w 1710626"/>
                <a:gd name="connsiteY3" fmla="*/ 0 h 257442"/>
                <a:gd name="connsiteX0" fmla="*/ 2023210 w 2023210"/>
                <a:gd name="connsiteY0" fmla="*/ 0 h 257442"/>
                <a:gd name="connsiteX1" fmla="*/ 1655904 w 2023210"/>
                <a:gd name="connsiteY1" fmla="*/ 257442 h 257442"/>
                <a:gd name="connsiteX2" fmla="*/ 0 w 2023210"/>
                <a:gd name="connsiteY2" fmla="*/ 257442 h 257442"/>
                <a:gd name="connsiteX3" fmla="*/ 0 w 2023210"/>
                <a:gd name="connsiteY3" fmla="*/ 0 h 257442"/>
                <a:gd name="connsiteX0" fmla="*/ 2023210 w 2023210"/>
                <a:gd name="connsiteY0" fmla="*/ 0 h 257442"/>
                <a:gd name="connsiteX1" fmla="*/ 1968489 w 2023210"/>
                <a:gd name="connsiteY1" fmla="*/ 257442 h 257442"/>
                <a:gd name="connsiteX2" fmla="*/ 0 w 2023210"/>
                <a:gd name="connsiteY2" fmla="*/ 257442 h 257442"/>
                <a:gd name="connsiteX3" fmla="*/ 0 w 2023210"/>
                <a:gd name="connsiteY3" fmla="*/ 0 h 257442"/>
                <a:gd name="connsiteX0" fmla="*/ 2023210 w 2023210"/>
                <a:gd name="connsiteY0" fmla="*/ 0 h 257442"/>
                <a:gd name="connsiteX1" fmla="*/ 1968489 w 2023210"/>
                <a:gd name="connsiteY1" fmla="*/ 257442 h 257442"/>
                <a:gd name="connsiteX2" fmla="*/ 0 w 2023210"/>
                <a:gd name="connsiteY2" fmla="*/ 257442 h 257442"/>
                <a:gd name="connsiteX3" fmla="*/ 0 w 2023210"/>
                <a:gd name="connsiteY3" fmla="*/ 0 h 257442"/>
                <a:gd name="connsiteX0" fmla="*/ 2023210 w 2023210"/>
                <a:gd name="connsiteY0" fmla="*/ 0 h 257442"/>
                <a:gd name="connsiteX1" fmla="*/ 1968489 w 2023210"/>
                <a:gd name="connsiteY1" fmla="*/ 257442 h 257442"/>
                <a:gd name="connsiteX2" fmla="*/ 0 w 2023210"/>
                <a:gd name="connsiteY2" fmla="*/ 257442 h 257442"/>
                <a:gd name="connsiteX3" fmla="*/ 0 w 2023210"/>
                <a:gd name="connsiteY3" fmla="*/ 0 h 257442"/>
                <a:gd name="connsiteX0" fmla="*/ 2191525 w 2191525"/>
                <a:gd name="connsiteY0" fmla="*/ 0 h 257442"/>
                <a:gd name="connsiteX1" fmla="*/ 1968489 w 2191525"/>
                <a:gd name="connsiteY1" fmla="*/ 257442 h 257442"/>
                <a:gd name="connsiteX2" fmla="*/ 0 w 2191525"/>
                <a:gd name="connsiteY2" fmla="*/ 257442 h 257442"/>
                <a:gd name="connsiteX3" fmla="*/ 0 w 2191525"/>
                <a:gd name="connsiteY3" fmla="*/ 0 h 257442"/>
                <a:gd name="connsiteX0" fmla="*/ 2191525 w 2191525"/>
                <a:gd name="connsiteY0" fmla="*/ 0 h 257442"/>
                <a:gd name="connsiteX1" fmla="*/ 2136804 w 2191525"/>
                <a:gd name="connsiteY1" fmla="*/ 257442 h 257442"/>
                <a:gd name="connsiteX2" fmla="*/ 0 w 2191525"/>
                <a:gd name="connsiteY2" fmla="*/ 257442 h 257442"/>
                <a:gd name="connsiteX3" fmla="*/ 0 w 2191525"/>
                <a:gd name="connsiteY3" fmla="*/ 0 h 257442"/>
                <a:gd name="connsiteX0" fmla="*/ 2191525 w 2191525"/>
                <a:gd name="connsiteY0" fmla="*/ 0 h 257442"/>
                <a:gd name="connsiteX1" fmla="*/ 2136804 w 2191525"/>
                <a:gd name="connsiteY1" fmla="*/ 257442 h 257442"/>
                <a:gd name="connsiteX2" fmla="*/ 0 w 2191525"/>
                <a:gd name="connsiteY2" fmla="*/ 257442 h 257442"/>
                <a:gd name="connsiteX3" fmla="*/ 0 w 2191525"/>
                <a:gd name="connsiteY3" fmla="*/ 0 h 257442"/>
                <a:gd name="connsiteX0" fmla="*/ 2191525 w 2191525"/>
                <a:gd name="connsiteY0" fmla="*/ 0 h 257442"/>
                <a:gd name="connsiteX1" fmla="*/ 2136804 w 2191525"/>
                <a:gd name="connsiteY1" fmla="*/ 257442 h 257442"/>
                <a:gd name="connsiteX2" fmla="*/ 0 w 2191525"/>
                <a:gd name="connsiteY2" fmla="*/ 257442 h 257442"/>
                <a:gd name="connsiteX3" fmla="*/ 0 w 2191525"/>
                <a:gd name="connsiteY3" fmla="*/ 0 h 257442"/>
                <a:gd name="connsiteX0" fmla="*/ 2377474 w 2377474"/>
                <a:gd name="connsiteY0" fmla="*/ 0 h 257442"/>
                <a:gd name="connsiteX1" fmla="*/ 2136804 w 2377474"/>
                <a:gd name="connsiteY1" fmla="*/ 257442 h 257442"/>
                <a:gd name="connsiteX2" fmla="*/ 0 w 2377474"/>
                <a:gd name="connsiteY2" fmla="*/ 257442 h 257442"/>
                <a:gd name="connsiteX3" fmla="*/ 0 w 2377474"/>
                <a:gd name="connsiteY3" fmla="*/ 0 h 257442"/>
                <a:gd name="connsiteX0" fmla="*/ 2377474 w 2377474"/>
                <a:gd name="connsiteY0" fmla="*/ 0 h 257442"/>
                <a:gd name="connsiteX1" fmla="*/ 2322752 w 2377474"/>
                <a:gd name="connsiteY1" fmla="*/ 257442 h 257442"/>
                <a:gd name="connsiteX2" fmla="*/ 0 w 2377474"/>
                <a:gd name="connsiteY2" fmla="*/ 257442 h 257442"/>
                <a:gd name="connsiteX3" fmla="*/ 0 w 2377474"/>
                <a:gd name="connsiteY3" fmla="*/ 0 h 257442"/>
                <a:gd name="connsiteX0" fmla="*/ 2377475 w 2377475"/>
                <a:gd name="connsiteY0" fmla="*/ 0 h 257442"/>
                <a:gd name="connsiteX1" fmla="*/ 2322753 w 2377475"/>
                <a:gd name="connsiteY1" fmla="*/ 257442 h 257442"/>
                <a:gd name="connsiteX2" fmla="*/ 0 w 2377475"/>
                <a:gd name="connsiteY2" fmla="*/ 257442 h 257442"/>
                <a:gd name="connsiteX3" fmla="*/ 1 w 2377475"/>
                <a:gd name="connsiteY3" fmla="*/ 0 h 257442"/>
                <a:gd name="connsiteX0" fmla="*/ 2377475 w 2377475"/>
                <a:gd name="connsiteY0" fmla="*/ 0 h 257442"/>
                <a:gd name="connsiteX1" fmla="*/ 2322753 w 2377475"/>
                <a:gd name="connsiteY1" fmla="*/ 257442 h 257442"/>
                <a:gd name="connsiteX2" fmla="*/ 0 w 2377475"/>
                <a:gd name="connsiteY2" fmla="*/ 257442 h 257442"/>
                <a:gd name="connsiteX3" fmla="*/ 1 w 2377475"/>
                <a:gd name="connsiteY3" fmla="*/ 0 h 257442"/>
                <a:gd name="connsiteX0" fmla="*/ 2646779 w 2646779"/>
                <a:gd name="connsiteY0" fmla="*/ 0 h 257442"/>
                <a:gd name="connsiteX1" fmla="*/ 2322753 w 2646779"/>
                <a:gd name="connsiteY1" fmla="*/ 257442 h 257442"/>
                <a:gd name="connsiteX2" fmla="*/ 0 w 2646779"/>
                <a:gd name="connsiteY2" fmla="*/ 257442 h 257442"/>
                <a:gd name="connsiteX3" fmla="*/ 1 w 2646779"/>
                <a:gd name="connsiteY3" fmla="*/ 0 h 257442"/>
                <a:gd name="connsiteX0" fmla="*/ 2646779 w 2646779"/>
                <a:gd name="connsiteY0" fmla="*/ 0 h 257442"/>
                <a:gd name="connsiteX1" fmla="*/ 2592058 w 2646779"/>
                <a:gd name="connsiteY1" fmla="*/ 257442 h 257442"/>
                <a:gd name="connsiteX2" fmla="*/ 0 w 2646779"/>
                <a:gd name="connsiteY2" fmla="*/ 257442 h 257442"/>
                <a:gd name="connsiteX3" fmla="*/ 1 w 2646779"/>
                <a:gd name="connsiteY3" fmla="*/ 0 h 257442"/>
                <a:gd name="connsiteX0" fmla="*/ 2646778 w 2646778"/>
                <a:gd name="connsiteY0" fmla="*/ 0 h 257442"/>
                <a:gd name="connsiteX1" fmla="*/ 2592057 w 2646778"/>
                <a:gd name="connsiteY1" fmla="*/ 257442 h 257442"/>
                <a:gd name="connsiteX2" fmla="*/ 0 w 2646778"/>
                <a:gd name="connsiteY2" fmla="*/ 257442 h 257442"/>
                <a:gd name="connsiteX3" fmla="*/ 0 w 2646778"/>
                <a:gd name="connsiteY3" fmla="*/ 0 h 257442"/>
                <a:gd name="connsiteX0" fmla="*/ 2646779 w 2646779"/>
                <a:gd name="connsiteY0" fmla="*/ 0 h 257442"/>
                <a:gd name="connsiteX1" fmla="*/ 2592058 w 2646779"/>
                <a:gd name="connsiteY1" fmla="*/ 257442 h 257442"/>
                <a:gd name="connsiteX2" fmla="*/ 1 w 2646779"/>
                <a:gd name="connsiteY2" fmla="*/ 257442 h 257442"/>
                <a:gd name="connsiteX3" fmla="*/ 0 w 2646779"/>
                <a:gd name="connsiteY3" fmla="*/ 0 h 257442"/>
                <a:gd name="connsiteX0" fmla="*/ 2815094 w 2815094"/>
                <a:gd name="connsiteY0" fmla="*/ 0 h 257442"/>
                <a:gd name="connsiteX1" fmla="*/ 2592058 w 2815094"/>
                <a:gd name="connsiteY1" fmla="*/ 257442 h 257442"/>
                <a:gd name="connsiteX2" fmla="*/ 1 w 2815094"/>
                <a:gd name="connsiteY2" fmla="*/ 257442 h 257442"/>
                <a:gd name="connsiteX3" fmla="*/ 0 w 2815094"/>
                <a:gd name="connsiteY3" fmla="*/ 0 h 257442"/>
                <a:gd name="connsiteX0" fmla="*/ 2815094 w 2815094"/>
                <a:gd name="connsiteY0" fmla="*/ 0 h 257442"/>
                <a:gd name="connsiteX1" fmla="*/ 2760372 w 2815094"/>
                <a:gd name="connsiteY1" fmla="*/ 257442 h 257442"/>
                <a:gd name="connsiteX2" fmla="*/ 1 w 2815094"/>
                <a:gd name="connsiteY2" fmla="*/ 257442 h 257442"/>
                <a:gd name="connsiteX3" fmla="*/ 0 w 2815094"/>
                <a:gd name="connsiteY3" fmla="*/ 0 h 257442"/>
                <a:gd name="connsiteX0" fmla="*/ 2815094 w 2815094"/>
                <a:gd name="connsiteY0" fmla="*/ 0 h 257442"/>
                <a:gd name="connsiteX1" fmla="*/ 2760372 w 2815094"/>
                <a:gd name="connsiteY1" fmla="*/ 257442 h 257442"/>
                <a:gd name="connsiteX2" fmla="*/ 0 w 2815094"/>
                <a:gd name="connsiteY2" fmla="*/ 257442 h 257442"/>
                <a:gd name="connsiteX3" fmla="*/ 0 w 2815094"/>
                <a:gd name="connsiteY3" fmla="*/ 0 h 257442"/>
                <a:gd name="connsiteX0" fmla="*/ 2815094 w 2815094"/>
                <a:gd name="connsiteY0" fmla="*/ 0 h 257442"/>
                <a:gd name="connsiteX1" fmla="*/ 2760372 w 2815094"/>
                <a:gd name="connsiteY1" fmla="*/ 257442 h 257442"/>
                <a:gd name="connsiteX2" fmla="*/ 0 w 2815094"/>
                <a:gd name="connsiteY2" fmla="*/ 257442 h 257442"/>
                <a:gd name="connsiteX3" fmla="*/ 0 w 2815094"/>
                <a:gd name="connsiteY3" fmla="*/ 0 h 257442"/>
                <a:gd name="connsiteX0" fmla="*/ 3076383 w 3076383"/>
                <a:gd name="connsiteY0" fmla="*/ 0 h 257442"/>
                <a:gd name="connsiteX1" fmla="*/ 276037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076383 w 3076383"/>
                <a:gd name="connsiteY0" fmla="*/ 0 h 257442"/>
                <a:gd name="connsiteX1" fmla="*/ 302166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076383 w 3076383"/>
                <a:gd name="connsiteY0" fmla="*/ 0 h 257442"/>
                <a:gd name="connsiteX1" fmla="*/ 302166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076383 w 3076383"/>
                <a:gd name="connsiteY0" fmla="*/ 0 h 257442"/>
                <a:gd name="connsiteX1" fmla="*/ 302166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236683 w 3236683"/>
                <a:gd name="connsiteY0" fmla="*/ 0 h 257442"/>
                <a:gd name="connsiteX1" fmla="*/ 3021662 w 3236683"/>
                <a:gd name="connsiteY1" fmla="*/ 257442 h 257442"/>
                <a:gd name="connsiteX2" fmla="*/ 0 w 3236683"/>
                <a:gd name="connsiteY2" fmla="*/ 257442 h 257442"/>
                <a:gd name="connsiteX3" fmla="*/ 0 w 3236683"/>
                <a:gd name="connsiteY3" fmla="*/ 0 h 257442"/>
                <a:gd name="connsiteX0" fmla="*/ 3236683 w 3236683"/>
                <a:gd name="connsiteY0" fmla="*/ 0 h 257442"/>
                <a:gd name="connsiteX1" fmla="*/ 3181962 w 3236683"/>
                <a:gd name="connsiteY1" fmla="*/ 257442 h 257442"/>
                <a:gd name="connsiteX2" fmla="*/ 0 w 3236683"/>
                <a:gd name="connsiteY2" fmla="*/ 257442 h 257442"/>
                <a:gd name="connsiteX3" fmla="*/ 0 w 3236683"/>
                <a:gd name="connsiteY3" fmla="*/ 0 h 257442"/>
                <a:gd name="connsiteX0" fmla="*/ 3236683 w 3236683"/>
                <a:gd name="connsiteY0" fmla="*/ 0 h 257442"/>
                <a:gd name="connsiteX1" fmla="*/ 3181962 w 3236683"/>
                <a:gd name="connsiteY1" fmla="*/ 257442 h 257442"/>
                <a:gd name="connsiteX2" fmla="*/ 0 w 3236683"/>
                <a:gd name="connsiteY2" fmla="*/ 257442 h 257442"/>
                <a:gd name="connsiteX3" fmla="*/ 0 w 3236683"/>
                <a:gd name="connsiteY3" fmla="*/ 0 h 257442"/>
                <a:gd name="connsiteX0" fmla="*/ 3236683 w 3236683"/>
                <a:gd name="connsiteY0" fmla="*/ 0 h 257442"/>
                <a:gd name="connsiteX1" fmla="*/ 3181962 w 3236683"/>
                <a:gd name="connsiteY1" fmla="*/ 257442 h 257442"/>
                <a:gd name="connsiteX2" fmla="*/ 0 w 3236683"/>
                <a:gd name="connsiteY2" fmla="*/ 257442 h 257442"/>
                <a:gd name="connsiteX3" fmla="*/ 0 w 3236683"/>
                <a:gd name="connsiteY3" fmla="*/ 0 h 257442"/>
                <a:gd name="connsiteX0" fmla="*/ 3404998 w 3404998"/>
                <a:gd name="connsiteY0" fmla="*/ 0 h 257442"/>
                <a:gd name="connsiteX1" fmla="*/ 3181962 w 3404998"/>
                <a:gd name="connsiteY1" fmla="*/ 257442 h 257442"/>
                <a:gd name="connsiteX2" fmla="*/ 0 w 3404998"/>
                <a:gd name="connsiteY2" fmla="*/ 257442 h 257442"/>
                <a:gd name="connsiteX3" fmla="*/ 0 w 3404998"/>
                <a:gd name="connsiteY3" fmla="*/ 0 h 257442"/>
                <a:gd name="connsiteX0" fmla="*/ 3404998 w 3404998"/>
                <a:gd name="connsiteY0" fmla="*/ 0 h 257442"/>
                <a:gd name="connsiteX1" fmla="*/ 3350276 w 3404998"/>
                <a:gd name="connsiteY1" fmla="*/ 257442 h 257442"/>
                <a:gd name="connsiteX2" fmla="*/ 0 w 3404998"/>
                <a:gd name="connsiteY2" fmla="*/ 257442 h 257442"/>
                <a:gd name="connsiteX3" fmla="*/ 0 w 3404998"/>
                <a:gd name="connsiteY3" fmla="*/ 0 h 257442"/>
                <a:gd name="connsiteX0" fmla="*/ 3404999 w 3404999"/>
                <a:gd name="connsiteY0" fmla="*/ 0 h 257442"/>
                <a:gd name="connsiteX1" fmla="*/ 3350277 w 3404999"/>
                <a:gd name="connsiteY1" fmla="*/ 257442 h 257442"/>
                <a:gd name="connsiteX2" fmla="*/ 0 w 3404999"/>
                <a:gd name="connsiteY2" fmla="*/ 257442 h 257442"/>
                <a:gd name="connsiteX3" fmla="*/ 1 w 3404999"/>
                <a:gd name="connsiteY3" fmla="*/ 0 h 257442"/>
                <a:gd name="connsiteX0" fmla="*/ 3404999 w 3404999"/>
                <a:gd name="connsiteY0" fmla="*/ 0 h 257442"/>
                <a:gd name="connsiteX1" fmla="*/ 3350277 w 3404999"/>
                <a:gd name="connsiteY1" fmla="*/ 257442 h 257442"/>
                <a:gd name="connsiteX2" fmla="*/ 0 w 3404999"/>
                <a:gd name="connsiteY2" fmla="*/ 257442 h 257442"/>
                <a:gd name="connsiteX3" fmla="*/ 1 w 3404999"/>
                <a:gd name="connsiteY3" fmla="*/ 0 h 257442"/>
                <a:gd name="connsiteX0" fmla="*/ 3565299 w 3565299"/>
                <a:gd name="connsiteY0" fmla="*/ 0 h 257442"/>
                <a:gd name="connsiteX1" fmla="*/ 3350277 w 3565299"/>
                <a:gd name="connsiteY1" fmla="*/ 257442 h 257442"/>
                <a:gd name="connsiteX2" fmla="*/ 0 w 3565299"/>
                <a:gd name="connsiteY2" fmla="*/ 257442 h 257442"/>
                <a:gd name="connsiteX3" fmla="*/ 1 w 3565299"/>
                <a:gd name="connsiteY3" fmla="*/ 0 h 257442"/>
                <a:gd name="connsiteX0" fmla="*/ 3565299 w 3565299"/>
                <a:gd name="connsiteY0" fmla="*/ 0 h 257442"/>
                <a:gd name="connsiteX1" fmla="*/ 3510578 w 3565299"/>
                <a:gd name="connsiteY1" fmla="*/ 257442 h 257442"/>
                <a:gd name="connsiteX2" fmla="*/ 0 w 3565299"/>
                <a:gd name="connsiteY2" fmla="*/ 257442 h 257442"/>
                <a:gd name="connsiteX3" fmla="*/ 1 w 3565299"/>
                <a:gd name="connsiteY3" fmla="*/ 0 h 257442"/>
                <a:gd name="connsiteX0" fmla="*/ 3565298 w 3565298"/>
                <a:gd name="connsiteY0" fmla="*/ 0 h 257442"/>
                <a:gd name="connsiteX1" fmla="*/ 3510577 w 3565298"/>
                <a:gd name="connsiteY1" fmla="*/ 257442 h 257442"/>
                <a:gd name="connsiteX2" fmla="*/ 0 w 3565298"/>
                <a:gd name="connsiteY2" fmla="*/ 257442 h 257442"/>
                <a:gd name="connsiteX3" fmla="*/ 0 w 3565298"/>
                <a:gd name="connsiteY3" fmla="*/ 0 h 257442"/>
                <a:gd name="connsiteX0" fmla="*/ 3565299 w 3565299"/>
                <a:gd name="connsiteY0" fmla="*/ 0 h 257442"/>
                <a:gd name="connsiteX1" fmla="*/ 3510578 w 3565299"/>
                <a:gd name="connsiteY1" fmla="*/ 257442 h 257442"/>
                <a:gd name="connsiteX2" fmla="*/ 1 w 3565299"/>
                <a:gd name="connsiteY2" fmla="*/ 257442 h 257442"/>
                <a:gd name="connsiteX3" fmla="*/ 0 w 3565299"/>
                <a:gd name="connsiteY3" fmla="*/ 0 h 257442"/>
                <a:gd name="connsiteX0" fmla="*/ 968435 w 3510578"/>
                <a:gd name="connsiteY0" fmla="*/ 0 h 257442"/>
                <a:gd name="connsiteX1" fmla="*/ 3510578 w 3510578"/>
                <a:gd name="connsiteY1" fmla="*/ 257442 h 257442"/>
                <a:gd name="connsiteX2" fmla="*/ 1 w 3510578"/>
                <a:gd name="connsiteY2" fmla="*/ 257442 h 257442"/>
                <a:gd name="connsiteX3" fmla="*/ 0 w 3510578"/>
                <a:gd name="connsiteY3" fmla="*/ 0 h 257442"/>
                <a:gd name="connsiteX0" fmla="*/ 968435 w 968435"/>
                <a:gd name="connsiteY0" fmla="*/ 0 h 257442"/>
                <a:gd name="connsiteX1" fmla="*/ 913714 w 968435"/>
                <a:gd name="connsiteY1" fmla="*/ 257442 h 257442"/>
                <a:gd name="connsiteX2" fmla="*/ 1 w 968435"/>
                <a:gd name="connsiteY2" fmla="*/ 257442 h 257442"/>
                <a:gd name="connsiteX3" fmla="*/ 0 w 968435"/>
                <a:gd name="connsiteY3" fmla="*/ 0 h 257442"/>
                <a:gd name="connsiteX0" fmla="*/ 968435 w 968435"/>
                <a:gd name="connsiteY0" fmla="*/ 0 h 257442"/>
                <a:gd name="connsiteX1" fmla="*/ 913714 w 968435"/>
                <a:gd name="connsiteY1" fmla="*/ 257442 h 257442"/>
                <a:gd name="connsiteX2" fmla="*/ 2 w 968435"/>
                <a:gd name="connsiteY2" fmla="*/ 257442 h 257442"/>
                <a:gd name="connsiteX3" fmla="*/ 0 w 968435"/>
                <a:gd name="connsiteY3" fmla="*/ 0 h 257442"/>
                <a:gd name="connsiteX0" fmla="*/ 968433 w 968433"/>
                <a:gd name="connsiteY0" fmla="*/ 0 h 257442"/>
                <a:gd name="connsiteX1" fmla="*/ 913712 w 968433"/>
                <a:gd name="connsiteY1" fmla="*/ 257442 h 257442"/>
                <a:gd name="connsiteX2" fmla="*/ 0 w 968433"/>
                <a:gd name="connsiteY2" fmla="*/ 257442 h 257442"/>
                <a:gd name="connsiteX3" fmla="*/ 0 w 968433"/>
                <a:gd name="connsiteY3" fmla="*/ 0 h 257442"/>
                <a:gd name="connsiteX0" fmla="*/ 1136749 w 1136749"/>
                <a:gd name="connsiteY0" fmla="*/ 0 h 257442"/>
                <a:gd name="connsiteX1" fmla="*/ 913712 w 1136749"/>
                <a:gd name="connsiteY1" fmla="*/ 257442 h 257442"/>
                <a:gd name="connsiteX2" fmla="*/ 0 w 1136749"/>
                <a:gd name="connsiteY2" fmla="*/ 257442 h 257442"/>
                <a:gd name="connsiteX3" fmla="*/ 0 w 1136749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0 w 1136749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0 w 1136749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0 w 1136749"/>
                <a:gd name="connsiteY3" fmla="*/ 0 h 257442"/>
                <a:gd name="connsiteX0" fmla="*/ 1305064 w 1305064"/>
                <a:gd name="connsiteY0" fmla="*/ 0 h 257442"/>
                <a:gd name="connsiteX1" fmla="*/ 1082028 w 1305064"/>
                <a:gd name="connsiteY1" fmla="*/ 257442 h 257442"/>
                <a:gd name="connsiteX2" fmla="*/ 0 w 1305064"/>
                <a:gd name="connsiteY2" fmla="*/ 257442 h 257442"/>
                <a:gd name="connsiteX3" fmla="*/ 0 w 1305064"/>
                <a:gd name="connsiteY3" fmla="*/ 0 h 257442"/>
                <a:gd name="connsiteX0" fmla="*/ 1305064 w 1305064"/>
                <a:gd name="connsiteY0" fmla="*/ 0 h 257442"/>
                <a:gd name="connsiteX1" fmla="*/ 1250342 w 1305064"/>
                <a:gd name="connsiteY1" fmla="*/ 257442 h 257442"/>
                <a:gd name="connsiteX2" fmla="*/ 0 w 1305064"/>
                <a:gd name="connsiteY2" fmla="*/ 257442 h 257442"/>
                <a:gd name="connsiteX3" fmla="*/ 0 w 1305064"/>
                <a:gd name="connsiteY3" fmla="*/ 0 h 257442"/>
                <a:gd name="connsiteX0" fmla="*/ 1305065 w 1305065"/>
                <a:gd name="connsiteY0" fmla="*/ 0 h 257442"/>
                <a:gd name="connsiteX1" fmla="*/ 1250343 w 1305065"/>
                <a:gd name="connsiteY1" fmla="*/ 257442 h 257442"/>
                <a:gd name="connsiteX2" fmla="*/ 0 w 1305065"/>
                <a:gd name="connsiteY2" fmla="*/ 257442 h 257442"/>
                <a:gd name="connsiteX3" fmla="*/ 1 w 1305065"/>
                <a:gd name="connsiteY3" fmla="*/ 0 h 257442"/>
                <a:gd name="connsiteX0" fmla="*/ 1305065 w 1305065"/>
                <a:gd name="connsiteY0" fmla="*/ 0 h 257442"/>
                <a:gd name="connsiteX1" fmla="*/ 1250343 w 1305065"/>
                <a:gd name="connsiteY1" fmla="*/ 257442 h 257442"/>
                <a:gd name="connsiteX2" fmla="*/ 0 w 1305065"/>
                <a:gd name="connsiteY2" fmla="*/ 257442 h 257442"/>
                <a:gd name="connsiteX3" fmla="*/ 1 w 1305065"/>
                <a:gd name="connsiteY3" fmla="*/ 0 h 257442"/>
                <a:gd name="connsiteX0" fmla="*/ 1473381 w 1473381"/>
                <a:gd name="connsiteY0" fmla="*/ 0 h 257442"/>
                <a:gd name="connsiteX1" fmla="*/ 1250343 w 1473381"/>
                <a:gd name="connsiteY1" fmla="*/ 257442 h 257442"/>
                <a:gd name="connsiteX2" fmla="*/ 0 w 1473381"/>
                <a:gd name="connsiteY2" fmla="*/ 257442 h 257442"/>
                <a:gd name="connsiteX3" fmla="*/ 1 w 1473381"/>
                <a:gd name="connsiteY3" fmla="*/ 0 h 257442"/>
                <a:gd name="connsiteX0" fmla="*/ 1473381 w 1473381"/>
                <a:gd name="connsiteY0" fmla="*/ 0 h 257442"/>
                <a:gd name="connsiteX1" fmla="*/ 1418660 w 1473381"/>
                <a:gd name="connsiteY1" fmla="*/ 257442 h 257442"/>
                <a:gd name="connsiteX2" fmla="*/ 0 w 1473381"/>
                <a:gd name="connsiteY2" fmla="*/ 257442 h 257442"/>
                <a:gd name="connsiteX3" fmla="*/ 1 w 1473381"/>
                <a:gd name="connsiteY3" fmla="*/ 0 h 257442"/>
                <a:gd name="connsiteX0" fmla="*/ 1473380 w 1473380"/>
                <a:gd name="connsiteY0" fmla="*/ 0 h 257442"/>
                <a:gd name="connsiteX1" fmla="*/ 1418659 w 1473380"/>
                <a:gd name="connsiteY1" fmla="*/ 257442 h 257442"/>
                <a:gd name="connsiteX2" fmla="*/ 0 w 1473380"/>
                <a:gd name="connsiteY2" fmla="*/ 257442 h 257442"/>
                <a:gd name="connsiteX3" fmla="*/ 0 w 1473380"/>
                <a:gd name="connsiteY3" fmla="*/ 0 h 257442"/>
                <a:gd name="connsiteX0" fmla="*/ 1473381 w 1473381"/>
                <a:gd name="connsiteY0" fmla="*/ 0 h 257442"/>
                <a:gd name="connsiteX1" fmla="*/ 1418660 w 1473381"/>
                <a:gd name="connsiteY1" fmla="*/ 257442 h 257442"/>
                <a:gd name="connsiteX2" fmla="*/ 1 w 1473381"/>
                <a:gd name="connsiteY2" fmla="*/ 257442 h 257442"/>
                <a:gd name="connsiteX3" fmla="*/ 0 w 1473381"/>
                <a:gd name="connsiteY3" fmla="*/ 0 h 257442"/>
                <a:gd name="connsiteX0" fmla="*/ 1633681 w 1633681"/>
                <a:gd name="connsiteY0" fmla="*/ 0 h 257442"/>
                <a:gd name="connsiteX1" fmla="*/ 1418660 w 1633681"/>
                <a:gd name="connsiteY1" fmla="*/ 257442 h 257442"/>
                <a:gd name="connsiteX2" fmla="*/ 1 w 1633681"/>
                <a:gd name="connsiteY2" fmla="*/ 257442 h 257442"/>
                <a:gd name="connsiteX3" fmla="*/ 0 w 1633681"/>
                <a:gd name="connsiteY3" fmla="*/ 0 h 257442"/>
                <a:gd name="connsiteX0" fmla="*/ 1633681 w 1633681"/>
                <a:gd name="connsiteY0" fmla="*/ 0 h 257442"/>
                <a:gd name="connsiteX1" fmla="*/ 1578960 w 1633681"/>
                <a:gd name="connsiteY1" fmla="*/ 257442 h 257442"/>
                <a:gd name="connsiteX2" fmla="*/ 1 w 1633681"/>
                <a:gd name="connsiteY2" fmla="*/ 257442 h 257442"/>
                <a:gd name="connsiteX3" fmla="*/ 0 w 1633681"/>
                <a:gd name="connsiteY3" fmla="*/ 0 h 257442"/>
                <a:gd name="connsiteX0" fmla="*/ 1633681 w 1633681"/>
                <a:gd name="connsiteY0" fmla="*/ 0 h 257442"/>
                <a:gd name="connsiteX1" fmla="*/ 1578960 w 1633681"/>
                <a:gd name="connsiteY1" fmla="*/ 257442 h 257442"/>
                <a:gd name="connsiteX2" fmla="*/ 1 w 1633681"/>
                <a:gd name="connsiteY2" fmla="*/ 257442 h 257442"/>
                <a:gd name="connsiteX3" fmla="*/ 0 w 1633681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0 w 1633680"/>
                <a:gd name="connsiteY3" fmla="*/ 0 h 257442"/>
                <a:gd name="connsiteX0" fmla="*/ 1886954 w 1886954"/>
                <a:gd name="connsiteY0" fmla="*/ 0 h 257442"/>
                <a:gd name="connsiteX1" fmla="*/ 1578959 w 1886954"/>
                <a:gd name="connsiteY1" fmla="*/ 257442 h 257442"/>
                <a:gd name="connsiteX2" fmla="*/ 0 w 1886954"/>
                <a:gd name="connsiteY2" fmla="*/ 257442 h 257442"/>
                <a:gd name="connsiteX3" fmla="*/ 0 w 1886954"/>
                <a:gd name="connsiteY3" fmla="*/ 0 h 257442"/>
                <a:gd name="connsiteX0" fmla="*/ 1886954 w 1886954"/>
                <a:gd name="connsiteY0" fmla="*/ 0 h 257442"/>
                <a:gd name="connsiteX1" fmla="*/ 1832233 w 1886954"/>
                <a:gd name="connsiteY1" fmla="*/ 257442 h 257442"/>
                <a:gd name="connsiteX2" fmla="*/ 0 w 1886954"/>
                <a:gd name="connsiteY2" fmla="*/ 257442 h 257442"/>
                <a:gd name="connsiteX3" fmla="*/ 0 w 1886954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1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1 w 1886955"/>
                <a:gd name="connsiteY3" fmla="*/ 0 h 257442"/>
                <a:gd name="connsiteX0" fmla="*/ 2055271 w 2055271"/>
                <a:gd name="connsiteY0" fmla="*/ 0 h 257442"/>
                <a:gd name="connsiteX1" fmla="*/ 1832234 w 2055271"/>
                <a:gd name="connsiteY1" fmla="*/ 257442 h 257442"/>
                <a:gd name="connsiteX2" fmla="*/ 0 w 2055271"/>
                <a:gd name="connsiteY2" fmla="*/ 257442 h 257442"/>
                <a:gd name="connsiteX3" fmla="*/ 1 w 2055271"/>
                <a:gd name="connsiteY3" fmla="*/ 0 h 257442"/>
                <a:gd name="connsiteX0" fmla="*/ 2055271 w 2055271"/>
                <a:gd name="connsiteY0" fmla="*/ 0 h 257442"/>
                <a:gd name="connsiteX1" fmla="*/ 2000550 w 2055271"/>
                <a:gd name="connsiteY1" fmla="*/ 257442 h 257442"/>
                <a:gd name="connsiteX2" fmla="*/ 0 w 2055271"/>
                <a:gd name="connsiteY2" fmla="*/ 257442 h 257442"/>
                <a:gd name="connsiteX3" fmla="*/ 1 w 2055271"/>
                <a:gd name="connsiteY3" fmla="*/ 0 h 257442"/>
                <a:gd name="connsiteX0" fmla="*/ 2055270 w 2055270"/>
                <a:gd name="connsiteY0" fmla="*/ 0 h 257442"/>
                <a:gd name="connsiteX1" fmla="*/ 2000549 w 2055270"/>
                <a:gd name="connsiteY1" fmla="*/ 257442 h 257442"/>
                <a:gd name="connsiteX2" fmla="*/ 0 w 2055270"/>
                <a:gd name="connsiteY2" fmla="*/ 257442 h 257442"/>
                <a:gd name="connsiteX3" fmla="*/ 0 w 2055270"/>
                <a:gd name="connsiteY3" fmla="*/ 0 h 257442"/>
                <a:gd name="connsiteX0" fmla="*/ 2055271 w 2055271"/>
                <a:gd name="connsiteY0" fmla="*/ 0 h 257442"/>
                <a:gd name="connsiteX1" fmla="*/ 2000550 w 2055271"/>
                <a:gd name="connsiteY1" fmla="*/ 257442 h 257442"/>
                <a:gd name="connsiteX2" fmla="*/ 1 w 2055271"/>
                <a:gd name="connsiteY2" fmla="*/ 257442 h 257442"/>
                <a:gd name="connsiteX3" fmla="*/ 0 w 2055271"/>
                <a:gd name="connsiteY3" fmla="*/ 0 h 257442"/>
                <a:gd name="connsiteX0" fmla="*/ 2223586 w 2223586"/>
                <a:gd name="connsiteY0" fmla="*/ 0 h 257442"/>
                <a:gd name="connsiteX1" fmla="*/ 2000550 w 2223586"/>
                <a:gd name="connsiteY1" fmla="*/ 257442 h 257442"/>
                <a:gd name="connsiteX2" fmla="*/ 1 w 2223586"/>
                <a:gd name="connsiteY2" fmla="*/ 257442 h 257442"/>
                <a:gd name="connsiteX3" fmla="*/ 0 w 2223586"/>
                <a:gd name="connsiteY3" fmla="*/ 0 h 257442"/>
                <a:gd name="connsiteX0" fmla="*/ 2223586 w 2223586"/>
                <a:gd name="connsiteY0" fmla="*/ 0 h 257442"/>
                <a:gd name="connsiteX1" fmla="*/ 2168864 w 2223586"/>
                <a:gd name="connsiteY1" fmla="*/ 257442 h 257442"/>
                <a:gd name="connsiteX2" fmla="*/ 1 w 2223586"/>
                <a:gd name="connsiteY2" fmla="*/ 257442 h 257442"/>
                <a:gd name="connsiteX3" fmla="*/ 0 w 2223586"/>
                <a:gd name="connsiteY3" fmla="*/ 0 h 257442"/>
                <a:gd name="connsiteX0" fmla="*/ 2223586 w 2223586"/>
                <a:gd name="connsiteY0" fmla="*/ 0 h 257442"/>
                <a:gd name="connsiteX1" fmla="*/ 2168864 w 2223586"/>
                <a:gd name="connsiteY1" fmla="*/ 257442 h 257442"/>
                <a:gd name="connsiteX2" fmla="*/ 0 w 2223586"/>
                <a:gd name="connsiteY2" fmla="*/ 257442 h 257442"/>
                <a:gd name="connsiteX3" fmla="*/ 0 w 2223586"/>
                <a:gd name="connsiteY3" fmla="*/ 0 h 257442"/>
                <a:gd name="connsiteX0" fmla="*/ 2223586 w 2223586"/>
                <a:gd name="connsiteY0" fmla="*/ 0 h 257442"/>
                <a:gd name="connsiteX1" fmla="*/ 2168864 w 2223586"/>
                <a:gd name="connsiteY1" fmla="*/ 257442 h 257442"/>
                <a:gd name="connsiteX2" fmla="*/ 0 w 2223586"/>
                <a:gd name="connsiteY2" fmla="*/ 257442 h 257442"/>
                <a:gd name="connsiteX3" fmla="*/ 0 w 2223586"/>
                <a:gd name="connsiteY3" fmla="*/ 0 h 257442"/>
                <a:gd name="connsiteX0" fmla="*/ 2484874 w 2484874"/>
                <a:gd name="connsiteY0" fmla="*/ 0 h 257442"/>
                <a:gd name="connsiteX1" fmla="*/ 2168864 w 2484874"/>
                <a:gd name="connsiteY1" fmla="*/ 257442 h 257442"/>
                <a:gd name="connsiteX2" fmla="*/ 0 w 2484874"/>
                <a:gd name="connsiteY2" fmla="*/ 257442 h 257442"/>
                <a:gd name="connsiteX3" fmla="*/ 0 w 2484874"/>
                <a:gd name="connsiteY3" fmla="*/ 0 h 257442"/>
                <a:gd name="connsiteX0" fmla="*/ 2484874 w 2484874"/>
                <a:gd name="connsiteY0" fmla="*/ 0 h 257442"/>
                <a:gd name="connsiteX1" fmla="*/ 2430153 w 2484874"/>
                <a:gd name="connsiteY1" fmla="*/ 257442 h 257442"/>
                <a:gd name="connsiteX2" fmla="*/ 0 w 2484874"/>
                <a:gd name="connsiteY2" fmla="*/ 257442 h 257442"/>
                <a:gd name="connsiteX3" fmla="*/ 0 w 2484874"/>
                <a:gd name="connsiteY3" fmla="*/ 0 h 257442"/>
                <a:gd name="connsiteX0" fmla="*/ 2484874 w 2484874"/>
                <a:gd name="connsiteY0" fmla="*/ 0 h 257442"/>
                <a:gd name="connsiteX1" fmla="*/ 2430153 w 2484874"/>
                <a:gd name="connsiteY1" fmla="*/ 257442 h 257442"/>
                <a:gd name="connsiteX2" fmla="*/ 0 w 2484874"/>
                <a:gd name="connsiteY2" fmla="*/ 257442 h 257442"/>
                <a:gd name="connsiteX3" fmla="*/ 0 w 2484874"/>
                <a:gd name="connsiteY3" fmla="*/ 0 h 257442"/>
                <a:gd name="connsiteX0" fmla="*/ 2484874 w 2484874"/>
                <a:gd name="connsiteY0" fmla="*/ 0 h 257442"/>
                <a:gd name="connsiteX1" fmla="*/ 2430153 w 2484874"/>
                <a:gd name="connsiteY1" fmla="*/ 257442 h 257442"/>
                <a:gd name="connsiteX2" fmla="*/ 0 w 2484874"/>
                <a:gd name="connsiteY2" fmla="*/ 257442 h 257442"/>
                <a:gd name="connsiteX3" fmla="*/ 0 w 2484874"/>
                <a:gd name="connsiteY3" fmla="*/ 0 h 257442"/>
                <a:gd name="connsiteX0" fmla="*/ 2645175 w 2645175"/>
                <a:gd name="connsiteY0" fmla="*/ 0 h 257442"/>
                <a:gd name="connsiteX1" fmla="*/ 2430153 w 2645175"/>
                <a:gd name="connsiteY1" fmla="*/ 257442 h 257442"/>
                <a:gd name="connsiteX2" fmla="*/ 0 w 2645175"/>
                <a:gd name="connsiteY2" fmla="*/ 257442 h 257442"/>
                <a:gd name="connsiteX3" fmla="*/ 0 w 2645175"/>
                <a:gd name="connsiteY3" fmla="*/ 0 h 257442"/>
                <a:gd name="connsiteX0" fmla="*/ 2645175 w 2645175"/>
                <a:gd name="connsiteY0" fmla="*/ 0 h 257442"/>
                <a:gd name="connsiteX1" fmla="*/ 2590454 w 2645175"/>
                <a:gd name="connsiteY1" fmla="*/ 257442 h 257442"/>
                <a:gd name="connsiteX2" fmla="*/ 0 w 2645175"/>
                <a:gd name="connsiteY2" fmla="*/ 257442 h 257442"/>
                <a:gd name="connsiteX3" fmla="*/ 0 w 2645175"/>
                <a:gd name="connsiteY3" fmla="*/ 0 h 257442"/>
                <a:gd name="connsiteX0" fmla="*/ 2645175 w 2645175"/>
                <a:gd name="connsiteY0" fmla="*/ 0 h 257442"/>
                <a:gd name="connsiteX1" fmla="*/ 2590454 w 2645175"/>
                <a:gd name="connsiteY1" fmla="*/ 257442 h 257442"/>
                <a:gd name="connsiteX2" fmla="*/ 0 w 2645175"/>
                <a:gd name="connsiteY2" fmla="*/ 257442 h 257442"/>
                <a:gd name="connsiteX3" fmla="*/ 0 w 2645175"/>
                <a:gd name="connsiteY3" fmla="*/ 0 h 257442"/>
                <a:gd name="connsiteX0" fmla="*/ 2645175 w 2645175"/>
                <a:gd name="connsiteY0" fmla="*/ 0 h 257442"/>
                <a:gd name="connsiteX1" fmla="*/ 2590454 w 2645175"/>
                <a:gd name="connsiteY1" fmla="*/ 257442 h 257442"/>
                <a:gd name="connsiteX2" fmla="*/ 0 w 2645175"/>
                <a:gd name="connsiteY2" fmla="*/ 257442 h 257442"/>
                <a:gd name="connsiteX3" fmla="*/ 0 w 2645175"/>
                <a:gd name="connsiteY3" fmla="*/ 0 h 257442"/>
                <a:gd name="connsiteX0" fmla="*/ 2813491 w 2813491"/>
                <a:gd name="connsiteY0" fmla="*/ 0 h 257442"/>
                <a:gd name="connsiteX1" fmla="*/ 2590454 w 2813491"/>
                <a:gd name="connsiteY1" fmla="*/ 257442 h 257442"/>
                <a:gd name="connsiteX2" fmla="*/ 0 w 2813491"/>
                <a:gd name="connsiteY2" fmla="*/ 257442 h 257442"/>
                <a:gd name="connsiteX3" fmla="*/ 0 w 2813491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0 w 2813491"/>
                <a:gd name="connsiteY2" fmla="*/ 257442 h 257442"/>
                <a:gd name="connsiteX3" fmla="*/ 0 w 2813491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0 w 2813491"/>
                <a:gd name="connsiteY2" fmla="*/ 257442 h 257442"/>
                <a:gd name="connsiteX3" fmla="*/ 0 w 2813491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0 w 2813491"/>
                <a:gd name="connsiteY2" fmla="*/ 257442 h 257442"/>
                <a:gd name="connsiteX3" fmla="*/ 0 w 2813491"/>
                <a:gd name="connsiteY3" fmla="*/ 0 h 257442"/>
                <a:gd name="connsiteX0" fmla="*/ 2973791 w 2973791"/>
                <a:gd name="connsiteY0" fmla="*/ 0 h 257442"/>
                <a:gd name="connsiteX1" fmla="*/ 2758770 w 2973791"/>
                <a:gd name="connsiteY1" fmla="*/ 257442 h 257442"/>
                <a:gd name="connsiteX2" fmla="*/ 0 w 2973791"/>
                <a:gd name="connsiteY2" fmla="*/ 257442 h 257442"/>
                <a:gd name="connsiteX3" fmla="*/ 0 w 2973791"/>
                <a:gd name="connsiteY3" fmla="*/ 0 h 257442"/>
                <a:gd name="connsiteX0" fmla="*/ 2973791 w 2973791"/>
                <a:gd name="connsiteY0" fmla="*/ 0 h 257442"/>
                <a:gd name="connsiteX1" fmla="*/ 2919070 w 2973791"/>
                <a:gd name="connsiteY1" fmla="*/ 257442 h 257442"/>
                <a:gd name="connsiteX2" fmla="*/ 0 w 2973791"/>
                <a:gd name="connsiteY2" fmla="*/ 257442 h 257442"/>
                <a:gd name="connsiteX3" fmla="*/ 0 w 2973791"/>
                <a:gd name="connsiteY3" fmla="*/ 0 h 257442"/>
                <a:gd name="connsiteX0" fmla="*/ 2973791 w 2973791"/>
                <a:gd name="connsiteY0" fmla="*/ 0 h 257442"/>
                <a:gd name="connsiteX1" fmla="*/ 2919070 w 2973791"/>
                <a:gd name="connsiteY1" fmla="*/ 257442 h 257442"/>
                <a:gd name="connsiteX2" fmla="*/ 0 w 2973791"/>
                <a:gd name="connsiteY2" fmla="*/ 257442 h 257442"/>
                <a:gd name="connsiteX3" fmla="*/ 0 w 2973791"/>
                <a:gd name="connsiteY3" fmla="*/ 0 h 257442"/>
                <a:gd name="connsiteX0" fmla="*/ 2973791 w 2973791"/>
                <a:gd name="connsiteY0" fmla="*/ 0 h 257442"/>
                <a:gd name="connsiteX1" fmla="*/ 2919070 w 2973791"/>
                <a:gd name="connsiteY1" fmla="*/ 257442 h 257442"/>
                <a:gd name="connsiteX2" fmla="*/ 0 w 2973791"/>
                <a:gd name="connsiteY2" fmla="*/ 257442 h 257442"/>
                <a:gd name="connsiteX3" fmla="*/ 0 w 2973791"/>
                <a:gd name="connsiteY3" fmla="*/ 0 h 257442"/>
                <a:gd name="connsiteX0" fmla="*/ 942786 w 2919070"/>
                <a:gd name="connsiteY0" fmla="*/ 0 h 257442"/>
                <a:gd name="connsiteX1" fmla="*/ 2919070 w 2919070"/>
                <a:gd name="connsiteY1" fmla="*/ 257442 h 257442"/>
                <a:gd name="connsiteX2" fmla="*/ 0 w 2919070"/>
                <a:gd name="connsiteY2" fmla="*/ 257442 h 257442"/>
                <a:gd name="connsiteX3" fmla="*/ 0 w 2919070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1111101 w 1111101"/>
                <a:gd name="connsiteY0" fmla="*/ 0 h 257442"/>
                <a:gd name="connsiteX1" fmla="*/ 888065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89034 w 1289034"/>
                <a:gd name="connsiteY0" fmla="*/ 0 h 257442"/>
                <a:gd name="connsiteX1" fmla="*/ 1056380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289034 w 1289034"/>
                <a:gd name="connsiteY0" fmla="*/ 0 h 257442"/>
                <a:gd name="connsiteX1" fmla="*/ 1234312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1 w 1289035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1 w 1289035"/>
                <a:gd name="connsiteY3" fmla="*/ 0 h 257442"/>
                <a:gd name="connsiteX0" fmla="*/ 1457351 w 1457351"/>
                <a:gd name="connsiteY0" fmla="*/ 0 h 257442"/>
                <a:gd name="connsiteX1" fmla="*/ 1234313 w 1457351"/>
                <a:gd name="connsiteY1" fmla="*/ 257442 h 257442"/>
                <a:gd name="connsiteX2" fmla="*/ 0 w 1457351"/>
                <a:gd name="connsiteY2" fmla="*/ 257442 h 257442"/>
                <a:gd name="connsiteX3" fmla="*/ 1 w 1457351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0 w 1457351"/>
                <a:gd name="connsiteY2" fmla="*/ 257442 h 257442"/>
                <a:gd name="connsiteX3" fmla="*/ 1 w 1457351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1 w 1457351"/>
                <a:gd name="connsiteY2" fmla="*/ 257442 h 257442"/>
                <a:gd name="connsiteX3" fmla="*/ 0 w 1457351"/>
                <a:gd name="connsiteY3" fmla="*/ 0 h 257442"/>
                <a:gd name="connsiteX0" fmla="*/ 1710626 w 1710626"/>
                <a:gd name="connsiteY0" fmla="*/ 0 h 257442"/>
                <a:gd name="connsiteX1" fmla="*/ 1402630 w 1710626"/>
                <a:gd name="connsiteY1" fmla="*/ 257442 h 257442"/>
                <a:gd name="connsiteX2" fmla="*/ 1 w 1710626"/>
                <a:gd name="connsiteY2" fmla="*/ 257442 h 257442"/>
                <a:gd name="connsiteX3" fmla="*/ 0 w 1710626"/>
                <a:gd name="connsiteY3" fmla="*/ 0 h 257442"/>
                <a:gd name="connsiteX0" fmla="*/ 1710626 w 1710626"/>
                <a:gd name="connsiteY0" fmla="*/ 0 h 257442"/>
                <a:gd name="connsiteX1" fmla="*/ 1655904 w 1710626"/>
                <a:gd name="connsiteY1" fmla="*/ 257442 h 257442"/>
                <a:gd name="connsiteX2" fmla="*/ 1 w 1710626"/>
                <a:gd name="connsiteY2" fmla="*/ 257442 h 257442"/>
                <a:gd name="connsiteX3" fmla="*/ 0 w 1710626"/>
                <a:gd name="connsiteY3" fmla="*/ 0 h 257442"/>
                <a:gd name="connsiteX0" fmla="*/ 1710626 w 1710626"/>
                <a:gd name="connsiteY0" fmla="*/ 0 h 257442"/>
                <a:gd name="connsiteX1" fmla="*/ 1655904 w 1710626"/>
                <a:gd name="connsiteY1" fmla="*/ 257442 h 257442"/>
                <a:gd name="connsiteX2" fmla="*/ 0 w 1710626"/>
                <a:gd name="connsiteY2" fmla="*/ 257442 h 257442"/>
                <a:gd name="connsiteX3" fmla="*/ 0 w 1710626"/>
                <a:gd name="connsiteY3" fmla="*/ 0 h 257442"/>
                <a:gd name="connsiteX0" fmla="*/ 1710626 w 1710626"/>
                <a:gd name="connsiteY0" fmla="*/ 0 h 257442"/>
                <a:gd name="connsiteX1" fmla="*/ 1655904 w 1710626"/>
                <a:gd name="connsiteY1" fmla="*/ 257442 h 257442"/>
                <a:gd name="connsiteX2" fmla="*/ 0 w 1710626"/>
                <a:gd name="connsiteY2" fmla="*/ 257442 h 257442"/>
                <a:gd name="connsiteX3" fmla="*/ 0 w 1710626"/>
                <a:gd name="connsiteY3" fmla="*/ 0 h 257442"/>
                <a:gd name="connsiteX0" fmla="*/ 2023210 w 2023210"/>
                <a:gd name="connsiteY0" fmla="*/ 0 h 257442"/>
                <a:gd name="connsiteX1" fmla="*/ 1655904 w 2023210"/>
                <a:gd name="connsiteY1" fmla="*/ 257442 h 257442"/>
                <a:gd name="connsiteX2" fmla="*/ 0 w 2023210"/>
                <a:gd name="connsiteY2" fmla="*/ 257442 h 257442"/>
                <a:gd name="connsiteX3" fmla="*/ 0 w 2023210"/>
                <a:gd name="connsiteY3" fmla="*/ 0 h 257442"/>
                <a:gd name="connsiteX0" fmla="*/ 2023210 w 2023210"/>
                <a:gd name="connsiteY0" fmla="*/ 0 h 257442"/>
                <a:gd name="connsiteX1" fmla="*/ 1968489 w 2023210"/>
                <a:gd name="connsiteY1" fmla="*/ 257442 h 257442"/>
                <a:gd name="connsiteX2" fmla="*/ 0 w 2023210"/>
                <a:gd name="connsiteY2" fmla="*/ 257442 h 257442"/>
                <a:gd name="connsiteX3" fmla="*/ 0 w 2023210"/>
                <a:gd name="connsiteY3" fmla="*/ 0 h 257442"/>
                <a:gd name="connsiteX0" fmla="*/ 2023210 w 2023210"/>
                <a:gd name="connsiteY0" fmla="*/ 0 h 257442"/>
                <a:gd name="connsiteX1" fmla="*/ 1968489 w 2023210"/>
                <a:gd name="connsiteY1" fmla="*/ 257442 h 257442"/>
                <a:gd name="connsiteX2" fmla="*/ 0 w 2023210"/>
                <a:gd name="connsiteY2" fmla="*/ 257442 h 257442"/>
                <a:gd name="connsiteX3" fmla="*/ 0 w 2023210"/>
                <a:gd name="connsiteY3" fmla="*/ 0 h 257442"/>
                <a:gd name="connsiteX0" fmla="*/ 2023210 w 2023210"/>
                <a:gd name="connsiteY0" fmla="*/ 0 h 257442"/>
                <a:gd name="connsiteX1" fmla="*/ 1968489 w 2023210"/>
                <a:gd name="connsiteY1" fmla="*/ 257442 h 257442"/>
                <a:gd name="connsiteX2" fmla="*/ 0 w 2023210"/>
                <a:gd name="connsiteY2" fmla="*/ 257442 h 257442"/>
                <a:gd name="connsiteX3" fmla="*/ 0 w 2023210"/>
                <a:gd name="connsiteY3" fmla="*/ 0 h 257442"/>
                <a:gd name="connsiteX0" fmla="*/ 2191525 w 2191525"/>
                <a:gd name="connsiteY0" fmla="*/ 0 h 257442"/>
                <a:gd name="connsiteX1" fmla="*/ 1968489 w 2191525"/>
                <a:gd name="connsiteY1" fmla="*/ 257442 h 257442"/>
                <a:gd name="connsiteX2" fmla="*/ 0 w 2191525"/>
                <a:gd name="connsiteY2" fmla="*/ 257442 h 257442"/>
                <a:gd name="connsiteX3" fmla="*/ 0 w 2191525"/>
                <a:gd name="connsiteY3" fmla="*/ 0 h 257442"/>
                <a:gd name="connsiteX0" fmla="*/ 2191525 w 2191525"/>
                <a:gd name="connsiteY0" fmla="*/ 0 h 257442"/>
                <a:gd name="connsiteX1" fmla="*/ 2136804 w 2191525"/>
                <a:gd name="connsiteY1" fmla="*/ 257442 h 257442"/>
                <a:gd name="connsiteX2" fmla="*/ 0 w 2191525"/>
                <a:gd name="connsiteY2" fmla="*/ 257442 h 257442"/>
                <a:gd name="connsiteX3" fmla="*/ 0 w 2191525"/>
                <a:gd name="connsiteY3" fmla="*/ 0 h 257442"/>
                <a:gd name="connsiteX0" fmla="*/ 2191525 w 2191525"/>
                <a:gd name="connsiteY0" fmla="*/ 0 h 257442"/>
                <a:gd name="connsiteX1" fmla="*/ 2136804 w 2191525"/>
                <a:gd name="connsiteY1" fmla="*/ 257442 h 257442"/>
                <a:gd name="connsiteX2" fmla="*/ 0 w 2191525"/>
                <a:gd name="connsiteY2" fmla="*/ 257442 h 257442"/>
                <a:gd name="connsiteX3" fmla="*/ 0 w 2191525"/>
                <a:gd name="connsiteY3" fmla="*/ 0 h 257442"/>
                <a:gd name="connsiteX0" fmla="*/ 2191525 w 2191525"/>
                <a:gd name="connsiteY0" fmla="*/ 0 h 257442"/>
                <a:gd name="connsiteX1" fmla="*/ 2136804 w 2191525"/>
                <a:gd name="connsiteY1" fmla="*/ 257442 h 257442"/>
                <a:gd name="connsiteX2" fmla="*/ 0 w 2191525"/>
                <a:gd name="connsiteY2" fmla="*/ 257442 h 257442"/>
                <a:gd name="connsiteX3" fmla="*/ 0 w 2191525"/>
                <a:gd name="connsiteY3" fmla="*/ 0 h 257442"/>
                <a:gd name="connsiteX0" fmla="*/ 2377474 w 2377474"/>
                <a:gd name="connsiteY0" fmla="*/ 0 h 257442"/>
                <a:gd name="connsiteX1" fmla="*/ 2136804 w 2377474"/>
                <a:gd name="connsiteY1" fmla="*/ 257442 h 257442"/>
                <a:gd name="connsiteX2" fmla="*/ 0 w 2377474"/>
                <a:gd name="connsiteY2" fmla="*/ 257442 h 257442"/>
                <a:gd name="connsiteX3" fmla="*/ 0 w 2377474"/>
                <a:gd name="connsiteY3" fmla="*/ 0 h 257442"/>
                <a:gd name="connsiteX0" fmla="*/ 2377474 w 2377474"/>
                <a:gd name="connsiteY0" fmla="*/ 0 h 257442"/>
                <a:gd name="connsiteX1" fmla="*/ 2322752 w 2377474"/>
                <a:gd name="connsiteY1" fmla="*/ 257442 h 257442"/>
                <a:gd name="connsiteX2" fmla="*/ 0 w 2377474"/>
                <a:gd name="connsiteY2" fmla="*/ 257442 h 257442"/>
                <a:gd name="connsiteX3" fmla="*/ 0 w 2377474"/>
                <a:gd name="connsiteY3" fmla="*/ 0 h 257442"/>
                <a:gd name="connsiteX0" fmla="*/ 2377475 w 2377475"/>
                <a:gd name="connsiteY0" fmla="*/ 0 h 257442"/>
                <a:gd name="connsiteX1" fmla="*/ 2322753 w 2377475"/>
                <a:gd name="connsiteY1" fmla="*/ 257442 h 257442"/>
                <a:gd name="connsiteX2" fmla="*/ 0 w 2377475"/>
                <a:gd name="connsiteY2" fmla="*/ 257442 h 257442"/>
                <a:gd name="connsiteX3" fmla="*/ 1 w 2377475"/>
                <a:gd name="connsiteY3" fmla="*/ 0 h 257442"/>
                <a:gd name="connsiteX0" fmla="*/ 2377475 w 2377475"/>
                <a:gd name="connsiteY0" fmla="*/ 0 h 257442"/>
                <a:gd name="connsiteX1" fmla="*/ 2322753 w 2377475"/>
                <a:gd name="connsiteY1" fmla="*/ 257442 h 257442"/>
                <a:gd name="connsiteX2" fmla="*/ 0 w 2377475"/>
                <a:gd name="connsiteY2" fmla="*/ 257442 h 257442"/>
                <a:gd name="connsiteX3" fmla="*/ 1 w 2377475"/>
                <a:gd name="connsiteY3" fmla="*/ 0 h 257442"/>
                <a:gd name="connsiteX0" fmla="*/ 2646779 w 2646779"/>
                <a:gd name="connsiteY0" fmla="*/ 0 h 257442"/>
                <a:gd name="connsiteX1" fmla="*/ 2322753 w 2646779"/>
                <a:gd name="connsiteY1" fmla="*/ 257442 h 257442"/>
                <a:gd name="connsiteX2" fmla="*/ 0 w 2646779"/>
                <a:gd name="connsiteY2" fmla="*/ 257442 h 257442"/>
                <a:gd name="connsiteX3" fmla="*/ 1 w 2646779"/>
                <a:gd name="connsiteY3" fmla="*/ 0 h 257442"/>
                <a:gd name="connsiteX0" fmla="*/ 2646779 w 2646779"/>
                <a:gd name="connsiteY0" fmla="*/ 0 h 257442"/>
                <a:gd name="connsiteX1" fmla="*/ 2592058 w 2646779"/>
                <a:gd name="connsiteY1" fmla="*/ 257442 h 257442"/>
                <a:gd name="connsiteX2" fmla="*/ 0 w 2646779"/>
                <a:gd name="connsiteY2" fmla="*/ 257442 h 257442"/>
                <a:gd name="connsiteX3" fmla="*/ 1 w 2646779"/>
                <a:gd name="connsiteY3" fmla="*/ 0 h 257442"/>
                <a:gd name="connsiteX0" fmla="*/ 2646778 w 2646778"/>
                <a:gd name="connsiteY0" fmla="*/ 0 h 257442"/>
                <a:gd name="connsiteX1" fmla="*/ 2592057 w 2646778"/>
                <a:gd name="connsiteY1" fmla="*/ 257442 h 257442"/>
                <a:gd name="connsiteX2" fmla="*/ 0 w 2646778"/>
                <a:gd name="connsiteY2" fmla="*/ 257442 h 257442"/>
                <a:gd name="connsiteX3" fmla="*/ 0 w 2646778"/>
                <a:gd name="connsiteY3" fmla="*/ 0 h 257442"/>
                <a:gd name="connsiteX0" fmla="*/ 2646779 w 2646779"/>
                <a:gd name="connsiteY0" fmla="*/ 0 h 257442"/>
                <a:gd name="connsiteX1" fmla="*/ 2592058 w 2646779"/>
                <a:gd name="connsiteY1" fmla="*/ 257442 h 257442"/>
                <a:gd name="connsiteX2" fmla="*/ 1 w 2646779"/>
                <a:gd name="connsiteY2" fmla="*/ 257442 h 257442"/>
                <a:gd name="connsiteX3" fmla="*/ 0 w 2646779"/>
                <a:gd name="connsiteY3" fmla="*/ 0 h 257442"/>
                <a:gd name="connsiteX0" fmla="*/ 2815094 w 2815094"/>
                <a:gd name="connsiteY0" fmla="*/ 0 h 257442"/>
                <a:gd name="connsiteX1" fmla="*/ 2592058 w 2815094"/>
                <a:gd name="connsiteY1" fmla="*/ 257442 h 257442"/>
                <a:gd name="connsiteX2" fmla="*/ 1 w 2815094"/>
                <a:gd name="connsiteY2" fmla="*/ 257442 h 257442"/>
                <a:gd name="connsiteX3" fmla="*/ 0 w 2815094"/>
                <a:gd name="connsiteY3" fmla="*/ 0 h 257442"/>
                <a:gd name="connsiteX0" fmla="*/ 2815094 w 2815094"/>
                <a:gd name="connsiteY0" fmla="*/ 0 h 257442"/>
                <a:gd name="connsiteX1" fmla="*/ 2760372 w 2815094"/>
                <a:gd name="connsiteY1" fmla="*/ 257442 h 257442"/>
                <a:gd name="connsiteX2" fmla="*/ 1 w 2815094"/>
                <a:gd name="connsiteY2" fmla="*/ 257442 h 257442"/>
                <a:gd name="connsiteX3" fmla="*/ 0 w 2815094"/>
                <a:gd name="connsiteY3" fmla="*/ 0 h 257442"/>
                <a:gd name="connsiteX0" fmla="*/ 2815094 w 2815094"/>
                <a:gd name="connsiteY0" fmla="*/ 0 h 257442"/>
                <a:gd name="connsiteX1" fmla="*/ 2760372 w 2815094"/>
                <a:gd name="connsiteY1" fmla="*/ 257442 h 257442"/>
                <a:gd name="connsiteX2" fmla="*/ 0 w 2815094"/>
                <a:gd name="connsiteY2" fmla="*/ 257442 h 257442"/>
                <a:gd name="connsiteX3" fmla="*/ 0 w 2815094"/>
                <a:gd name="connsiteY3" fmla="*/ 0 h 257442"/>
                <a:gd name="connsiteX0" fmla="*/ 2815094 w 2815094"/>
                <a:gd name="connsiteY0" fmla="*/ 0 h 257442"/>
                <a:gd name="connsiteX1" fmla="*/ 2760372 w 2815094"/>
                <a:gd name="connsiteY1" fmla="*/ 257442 h 257442"/>
                <a:gd name="connsiteX2" fmla="*/ 0 w 2815094"/>
                <a:gd name="connsiteY2" fmla="*/ 257442 h 257442"/>
                <a:gd name="connsiteX3" fmla="*/ 0 w 2815094"/>
                <a:gd name="connsiteY3" fmla="*/ 0 h 257442"/>
                <a:gd name="connsiteX0" fmla="*/ 3076383 w 3076383"/>
                <a:gd name="connsiteY0" fmla="*/ 0 h 257442"/>
                <a:gd name="connsiteX1" fmla="*/ 276037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076383 w 3076383"/>
                <a:gd name="connsiteY0" fmla="*/ 0 h 257442"/>
                <a:gd name="connsiteX1" fmla="*/ 302166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076383 w 3076383"/>
                <a:gd name="connsiteY0" fmla="*/ 0 h 257442"/>
                <a:gd name="connsiteX1" fmla="*/ 302166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076383 w 3076383"/>
                <a:gd name="connsiteY0" fmla="*/ 0 h 257442"/>
                <a:gd name="connsiteX1" fmla="*/ 302166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236683 w 3236683"/>
                <a:gd name="connsiteY0" fmla="*/ 0 h 257442"/>
                <a:gd name="connsiteX1" fmla="*/ 3021662 w 3236683"/>
                <a:gd name="connsiteY1" fmla="*/ 257442 h 257442"/>
                <a:gd name="connsiteX2" fmla="*/ 0 w 3236683"/>
                <a:gd name="connsiteY2" fmla="*/ 257442 h 257442"/>
                <a:gd name="connsiteX3" fmla="*/ 0 w 3236683"/>
                <a:gd name="connsiteY3" fmla="*/ 0 h 257442"/>
                <a:gd name="connsiteX0" fmla="*/ 3236683 w 3236683"/>
                <a:gd name="connsiteY0" fmla="*/ 0 h 257442"/>
                <a:gd name="connsiteX1" fmla="*/ 3181962 w 3236683"/>
                <a:gd name="connsiteY1" fmla="*/ 257442 h 257442"/>
                <a:gd name="connsiteX2" fmla="*/ 0 w 3236683"/>
                <a:gd name="connsiteY2" fmla="*/ 257442 h 257442"/>
                <a:gd name="connsiteX3" fmla="*/ 0 w 3236683"/>
                <a:gd name="connsiteY3" fmla="*/ 0 h 257442"/>
                <a:gd name="connsiteX0" fmla="*/ 3236683 w 3236683"/>
                <a:gd name="connsiteY0" fmla="*/ 0 h 257442"/>
                <a:gd name="connsiteX1" fmla="*/ 3181962 w 3236683"/>
                <a:gd name="connsiteY1" fmla="*/ 257442 h 257442"/>
                <a:gd name="connsiteX2" fmla="*/ 0 w 3236683"/>
                <a:gd name="connsiteY2" fmla="*/ 257442 h 257442"/>
                <a:gd name="connsiteX3" fmla="*/ 0 w 3236683"/>
                <a:gd name="connsiteY3" fmla="*/ 0 h 257442"/>
                <a:gd name="connsiteX0" fmla="*/ 3236683 w 3236683"/>
                <a:gd name="connsiteY0" fmla="*/ 0 h 257442"/>
                <a:gd name="connsiteX1" fmla="*/ 3181962 w 3236683"/>
                <a:gd name="connsiteY1" fmla="*/ 257442 h 257442"/>
                <a:gd name="connsiteX2" fmla="*/ 0 w 3236683"/>
                <a:gd name="connsiteY2" fmla="*/ 257442 h 257442"/>
                <a:gd name="connsiteX3" fmla="*/ 0 w 3236683"/>
                <a:gd name="connsiteY3" fmla="*/ 0 h 257442"/>
                <a:gd name="connsiteX0" fmla="*/ 3404998 w 3404998"/>
                <a:gd name="connsiteY0" fmla="*/ 0 h 257442"/>
                <a:gd name="connsiteX1" fmla="*/ 3181962 w 3404998"/>
                <a:gd name="connsiteY1" fmla="*/ 257442 h 257442"/>
                <a:gd name="connsiteX2" fmla="*/ 0 w 3404998"/>
                <a:gd name="connsiteY2" fmla="*/ 257442 h 257442"/>
                <a:gd name="connsiteX3" fmla="*/ 0 w 3404998"/>
                <a:gd name="connsiteY3" fmla="*/ 0 h 257442"/>
                <a:gd name="connsiteX0" fmla="*/ 3404998 w 3404998"/>
                <a:gd name="connsiteY0" fmla="*/ 0 h 257442"/>
                <a:gd name="connsiteX1" fmla="*/ 3350276 w 3404998"/>
                <a:gd name="connsiteY1" fmla="*/ 257442 h 257442"/>
                <a:gd name="connsiteX2" fmla="*/ 0 w 3404998"/>
                <a:gd name="connsiteY2" fmla="*/ 257442 h 257442"/>
                <a:gd name="connsiteX3" fmla="*/ 0 w 3404998"/>
                <a:gd name="connsiteY3" fmla="*/ 0 h 257442"/>
                <a:gd name="connsiteX0" fmla="*/ 3404999 w 3404999"/>
                <a:gd name="connsiteY0" fmla="*/ 0 h 257442"/>
                <a:gd name="connsiteX1" fmla="*/ 3350277 w 3404999"/>
                <a:gd name="connsiteY1" fmla="*/ 257442 h 257442"/>
                <a:gd name="connsiteX2" fmla="*/ 0 w 3404999"/>
                <a:gd name="connsiteY2" fmla="*/ 257442 h 257442"/>
                <a:gd name="connsiteX3" fmla="*/ 1 w 3404999"/>
                <a:gd name="connsiteY3" fmla="*/ 0 h 257442"/>
                <a:gd name="connsiteX0" fmla="*/ 3404999 w 3404999"/>
                <a:gd name="connsiteY0" fmla="*/ 0 h 257442"/>
                <a:gd name="connsiteX1" fmla="*/ 3350277 w 3404999"/>
                <a:gd name="connsiteY1" fmla="*/ 257442 h 257442"/>
                <a:gd name="connsiteX2" fmla="*/ 0 w 3404999"/>
                <a:gd name="connsiteY2" fmla="*/ 257442 h 257442"/>
                <a:gd name="connsiteX3" fmla="*/ 1 w 3404999"/>
                <a:gd name="connsiteY3" fmla="*/ 0 h 257442"/>
                <a:gd name="connsiteX0" fmla="*/ 3565299 w 3565299"/>
                <a:gd name="connsiteY0" fmla="*/ 0 h 257442"/>
                <a:gd name="connsiteX1" fmla="*/ 3350277 w 3565299"/>
                <a:gd name="connsiteY1" fmla="*/ 257442 h 257442"/>
                <a:gd name="connsiteX2" fmla="*/ 0 w 3565299"/>
                <a:gd name="connsiteY2" fmla="*/ 257442 h 257442"/>
                <a:gd name="connsiteX3" fmla="*/ 1 w 3565299"/>
                <a:gd name="connsiteY3" fmla="*/ 0 h 257442"/>
                <a:gd name="connsiteX0" fmla="*/ 3565299 w 3565299"/>
                <a:gd name="connsiteY0" fmla="*/ 0 h 257442"/>
                <a:gd name="connsiteX1" fmla="*/ 3510578 w 3565299"/>
                <a:gd name="connsiteY1" fmla="*/ 257442 h 257442"/>
                <a:gd name="connsiteX2" fmla="*/ 0 w 3565299"/>
                <a:gd name="connsiteY2" fmla="*/ 257442 h 257442"/>
                <a:gd name="connsiteX3" fmla="*/ 1 w 3565299"/>
                <a:gd name="connsiteY3" fmla="*/ 0 h 257442"/>
                <a:gd name="connsiteX0" fmla="*/ 3565298 w 3565298"/>
                <a:gd name="connsiteY0" fmla="*/ 0 h 257442"/>
                <a:gd name="connsiteX1" fmla="*/ 3510577 w 3565298"/>
                <a:gd name="connsiteY1" fmla="*/ 257442 h 257442"/>
                <a:gd name="connsiteX2" fmla="*/ 0 w 3565298"/>
                <a:gd name="connsiteY2" fmla="*/ 257442 h 257442"/>
                <a:gd name="connsiteX3" fmla="*/ 0 w 3565298"/>
                <a:gd name="connsiteY3" fmla="*/ 0 h 257442"/>
                <a:gd name="connsiteX0" fmla="*/ 3565299 w 3565299"/>
                <a:gd name="connsiteY0" fmla="*/ 0 h 257442"/>
                <a:gd name="connsiteX1" fmla="*/ 3510578 w 3565299"/>
                <a:gd name="connsiteY1" fmla="*/ 257442 h 257442"/>
                <a:gd name="connsiteX2" fmla="*/ 1 w 3565299"/>
                <a:gd name="connsiteY2" fmla="*/ 257442 h 257442"/>
                <a:gd name="connsiteX3" fmla="*/ 0 w 3565299"/>
                <a:gd name="connsiteY3" fmla="*/ 0 h 257442"/>
                <a:gd name="connsiteX0" fmla="*/ 2887678 w 3510578"/>
                <a:gd name="connsiteY0" fmla="*/ 0 h 257442"/>
                <a:gd name="connsiteX1" fmla="*/ 3510578 w 3510578"/>
                <a:gd name="connsiteY1" fmla="*/ 257442 h 257442"/>
                <a:gd name="connsiteX2" fmla="*/ 1 w 3510578"/>
                <a:gd name="connsiteY2" fmla="*/ 257442 h 257442"/>
                <a:gd name="connsiteX3" fmla="*/ 0 w 3510578"/>
                <a:gd name="connsiteY3" fmla="*/ 0 h 257442"/>
                <a:gd name="connsiteX0" fmla="*/ 2887678 w 2887678"/>
                <a:gd name="connsiteY0" fmla="*/ 0 h 257442"/>
                <a:gd name="connsiteX1" fmla="*/ 2832957 w 2887678"/>
                <a:gd name="connsiteY1" fmla="*/ 257442 h 257442"/>
                <a:gd name="connsiteX2" fmla="*/ 1 w 2887678"/>
                <a:gd name="connsiteY2" fmla="*/ 257442 h 257442"/>
                <a:gd name="connsiteX3" fmla="*/ 0 w 2887678"/>
                <a:gd name="connsiteY3" fmla="*/ 0 h 257442"/>
                <a:gd name="connsiteX0" fmla="*/ 2887678 w 2887678"/>
                <a:gd name="connsiteY0" fmla="*/ 0 h 257442"/>
                <a:gd name="connsiteX1" fmla="*/ 2832957 w 2887678"/>
                <a:gd name="connsiteY1" fmla="*/ 257442 h 257442"/>
                <a:gd name="connsiteX2" fmla="*/ 1 w 2887678"/>
                <a:gd name="connsiteY2" fmla="*/ 257442 h 257442"/>
                <a:gd name="connsiteX3" fmla="*/ 0 w 2887678"/>
                <a:gd name="connsiteY3" fmla="*/ 0 h 257442"/>
                <a:gd name="connsiteX0" fmla="*/ 2887677 w 2887677"/>
                <a:gd name="connsiteY0" fmla="*/ 0 h 257442"/>
                <a:gd name="connsiteX1" fmla="*/ 2832956 w 2887677"/>
                <a:gd name="connsiteY1" fmla="*/ 257442 h 257442"/>
                <a:gd name="connsiteX2" fmla="*/ 0 w 2887677"/>
                <a:gd name="connsiteY2" fmla="*/ 257442 h 257442"/>
                <a:gd name="connsiteX3" fmla="*/ 0 w 2887677"/>
                <a:gd name="connsiteY3" fmla="*/ 0 h 257442"/>
                <a:gd name="connsiteX0" fmla="*/ 3068368 w 3068368"/>
                <a:gd name="connsiteY0" fmla="*/ 0 h 257442"/>
                <a:gd name="connsiteX1" fmla="*/ 2832956 w 3068368"/>
                <a:gd name="connsiteY1" fmla="*/ 257442 h 257442"/>
                <a:gd name="connsiteX2" fmla="*/ 0 w 3068368"/>
                <a:gd name="connsiteY2" fmla="*/ 257442 h 257442"/>
                <a:gd name="connsiteX3" fmla="*/ 0 w 3068368"/>
                <a:gd name="connsiteY3" fmla="*/ 0 h 257442"/>
                <a:gd name="connsiteX0" fmla="*/ 3068368 w 3068368"/>
                <a:gd name="connsiteY0" fmla="*/ 0 h 257442"/>
                <a:gd name="connsiteX1" fmla="*/ 3013646 w 3068368"/>
                <a:gd name="connsiteY1" fmla="*/ 257442 h 257442"/>
                <a:gd name="connsiteX2" fmla="*/ 0 w 3068368"/>
                <a:gd name="connsiteY2" fmla="*/ 257442 h 257442"/>
                <a:gd name="connsiteX3" fmla="*/ 0 w 3068368"/>
                <a:gd name="connsiteY3" fmla="*/ 0 h 257442"/>
                <a:gd name="connsiteX0" fmla="*/ 3068369 w 3068369"/>
                <a:gd name="connsiteY0" fmla="*/ 0 h 257442"/>
                <a:gd name="connsiteX1" fmla="*/ 3013647 w 3068369"/>
                <a:gd name="connsiteY1" fmla="*/ 257442 h 257442"/>
                <a:gd name="connsiteX2" fmla="*/ 0 w 3068369"/>
                <a:gd name="connsiteY2" fmla="*/ 257442 h 257442"/>
                <a:gd name="connsiteX3" fmla="*/ 1 w 3068369"/>
                <a:gd name="connsiteY3" fmla="*/ 0 h 257442"/>
                <a:gd name="connsiteX0" fmla="*/ 3068369 w 3068369"/>
                <a:gd name="connsiteY0" fmla="*/ 0 h 257442"/>
                <a:gd name="connsiteX1" fmla="*/ 3013647 w 3068369"/>
                <a:gd name="connsiteY1" fmla="*/ 257442 h 257442"/>
                <a:gd name="connsiteX2" fmla="*/ 0 w 3068369"/>
                <a:gd name="connsiteY2" fmla="*/ 257442 h 257442"/>
                <a:gd name="connsiteX3" fmla="*/ 1 w 3068369"/>
                <a:gd name="connsiteY3" fmla="*/ 0 h 257442"/>
                <a:gd name="connsiteX0" fmla="*/ 3236684 w 3236684"/>
                <a:gd name="connsiteY0" fmla="*/ 0 h 257442"/>
                <a:gd name="connsiteX1" fmla="*/ 3013647 w 3236684"/>
                <a:gd name="connsiteY1" fmla="*/ 257442 h 257442"/>
                <a:gd name="connsiteX2" fmla="*/ 0 w 3236684"/>
                <a:gd name="connsiteY2" fmla="*/ 257442 h 257442"/>
                <a:gd name="connsiteX3" fmla="*/ 1 w 3236684"/>
                <a:gd name="connsiteY3" fmla="*/ 0 h 257442"/>
                <a:gd name="connsiteX0" fmla="*/ 3236684 w 3236684"/>
                <a:gd name="connsiteY0" fmla="*/ 0 h 257442"/>
                <a:gd name="connsiteX1" fmla="*/ 3181962 w 3236684"/>
                <a:gd name="connsiteY1" fmla="*/ 257442 h 257442"/>
                <a:gd name="connsiteX2" fmla="*/ 0 w 3236684"/>
                <a:gd name="connsiteY2" fmla="*/ 257442 h 257442"/>
                <a:gd name="connsiteX3" fmla="*/ 1 w 3236684"/>
                <a:gd name="connsiteY3" fmla="*/ 0 h 257442"/>
                <a:gd name="connsiteX0" fmla="*/ 3236684 w 3236684"/>
                <a:gd name="connsiteY0" fmla="*/ 0 h 257442"/>
                <a:gd name="connsiteX1" fmla="*/ 3181962 w 3236684"/>
                <a:gd name="connsiteY1" fmla="*/ 257442 h 257442"/>
                <a:gd name="connsiteX2" fmla="*/ 0 w 3236684"/>
                <a:gd name="connsiteY2" fmla="*/ 257442 h 257442"/>
                <a:gd name="connsiteX3" fmla="*/ 1 w 3236684"/>
                <a:gd name="connsiteY3" fmla="*/ 0 h 257442"/>
                <a:gd name="connsiteX0" fmla="*/ 3236684 w 3236684"/>
                <a:gd name="connsiteY0" fmla="*/ 0 h 257442"/>
                <a:gd name="connsiteX1" fmla="*/ 3181962 w 3236684"/>
                <a:gd name="connsiteY1" fmla="*/ 257442 h 257442"/>
                <a:gd name="connsiteX2" fmla="*/ 0 w 3236684"/>
                <a:gd name="connsiteY2" fmla="*/ 257442 h 257442"/>
                <a:gd name="connsiteX3" fmla="*/ 0 w 3236684"/>
                <a:gd name="connsiteY3" fmla="*/ 0 h 257442"/>
                <a:gd name="connsiteX0" fmla="*/ 3414616 w 3414616"/>
                <a:gd name="connsiteY0" fmla="*/ 0 h 257442"/>
                <a:gd name="connsiteX1" fmla="*/ 3181962 w 3414616"/>
                <a:gd name="connsiteY1" fmla="*/ 257442 h 257442"/>
                <a:gd name="connsiteX2" fmla="*/ 0 w 3414616"/>
                <a:gd name="connsiteY2" fmla="*/ 257442 h 257442"/>
                <a:gd name="connsiteX3" fmla="*/ 0 w 3414616"/>
                <a:gd name="connsiteY3" fmla="*/ 0 h 257442"/>
                <a:gd name="connsiteX0" fmla="*/ 3414616 w 3414616"/>
                <a:gd name="connsiteY0" fmla="*/ 0 h 257442"/>
                <a:gd name="connsiteX1" fmla="*/ 3359895 w 3414616"/>
                <a:gd name="connsiteY1" fmla="*/ 257442 h 257442"/>
                <a:gd name="connsiteX2" fmla="*/ 0 w 3414616"/>
                <a:gd name="connsiteY2" fmla="*/ 257442 h 257442"/>
                <a:gd name="connsiteX3" fmla="*/ 0 w 3414616"/>
                <a:gd name="connsiteY3" fmla="*/ 0 h 257442"/>
                <a:gd name="connsiteX0" fmla="*/ 3414616 w 3414616"/>
                <a:gd name="connsiteY0" fmla="*/ 0 h 257442"/>
                <a:gd name="connsiteX1" fmla="*/ 3359895 w 3414616"/>
                <a:gd name="connsiteY1" fmla="*/ 257442 h 257442"/>
                <a:gd name="connsiteX2" fmla="*/ 0 w 3414616"/>
                <a:gd name="connsiteY2" fmla="*/ 257442 h 257442"/>
                <a:gd name="connsiteX3" fmla="*/ 0 w 3414616"/>
                <a:gd name="connsiteY3" fmla="*/ 0 h 257442"/>
                <a:gd name="connsiteX0" fmla="*/ 3414616 w 3414616"/>
                <a:gd name="connsiteY0" fmla="*/ 0 h 257442"/>
                <a:gd name="connsiteX1" fmla="*/ 3359895 w 3414616"/>
                <a:gd name="connsiteY1" fmla="*/ 257442 h 257442"/>
                <a:gd name="connsiteX2" fmla="*/ 0 w 3414616"/>
                <a:gd name="connsiteY2" fmla="*/ 257442 h 257442"/>
                <a:gd name="connsiteX3" fmla="*/ 0 w 3414616"/>
                <a:gd name="connsiteY3" fmla="*/ 0 h 257442"/>
                <a:gd name="connsiteX0" fmla="*/ 2480066 w 3359895"/>
                <a:gd name="connsiteY0" fmla="*/ 0 h 257442"/>
                <a:gd name="connsiteX1" fmla="*/ 3359895 w 3359895"/>
                <a:gd name="connsiteY1" fmla="*/ 257442 h 257442"/>
                <a:gd name="connsiteX2" fmla="*/ 0 w 3359895"/>
                <a:gd name="connsiteY2" fmla="*/ 257442 h 257442"/>
                <a:gd name="connsiteX3" fmla="*/ 0 w 3359895"/>
                <a:gd name="connsiteY3" fmla="*/ 0 h 257442"/>
                <a:gd name="connsiteX0" fmla="*/ 2480066 w 2480066"/>
                <a:gd name="connsiteY0" fmla="*/ 0 h 257442"/>
                <a:gd name="connsiteX1" fmla="*/ 2425346 w 2480066"/>
                <a:gd name="connsiteY1" fmla="*/ 257442 h 257442"/>
                <a:gd name="connsiteX2" fmla="*/ 0 w 2480066"/>
                <a:gd name="connsiteY2" fmla="*/ 257442 h 257442"/>
                <a:gd name="connsiteX3" fmla="*/ 0 w 2480066"/>
                <a:gd name="connsiteY3" fmla="*/ 0 h 257442"/>
                <a:gd name="connsiteX0" fmla="*/ 2480066 w 2480066"/>
                <a:gd name="connsiteY0" fmla="*/ 0 h 257442"/>
                <a:gd name="connsiteX1" fmla="*/ 2425346 w 2480066"/>
                <a:gd name="connsiteY1" fmla="*/ 257442 h 257442"/>
                <a:gd name="connsiteX2" fmla="*/ 1 w 2480066"/>
                <a:gd name="connsiteY2" fmla="*/ 257442 h 257442"/>
                <a:gd name="connsiteX3" fmla="*/ 0 w 2480066"/>
                <a:gd name="connsiteY3" fmla="*/ 0 h 257442"/>
                <a:gd name="connsiteX0" fmla="*/ 2480065 w 2480065"/>
                <a:gd name="connsiteY0" fmla="*/ 0 h 257442"/>
                <a:gd name="connsiteX1" fmla="*/ 2425345 w 2480065"/>
                <a:gd name="connsiteY1" fmla="*/ 257442 h 257442"/>
                <a:gd name="connsiteX2" fmla="*/ 0 w 2480065"/>
                <a:gd name="connsiteY2" fmla="*/ 257442 h 257442"/>
                <a:gd name="connsiteX3" fmla="*/ 0 w 2480065"/>
                <a:gd name="connsiteY3" fmla="*/ 0 h 257442"/>
                <a:gd name="connsiteX0" fmla="*/ 2648381 w 2648381"/>
                <a:gd name="connsiteY0" fmla="*/ 0 h 257442"/>
                <a:gd name="connsiteX1" fmla="*/ 2425345 w 2648381"/>
                <a:gd name="connsiteY1" fmla="*/ 257442 h 257442"/>
                <a:gd name="connsiteX2" fmla="*/ 0 w 2648381"/>
                <a:gd name="connsiteY2" fmla="*/ 257442 h 257442"/>
                <a:gd name="connsiteX3" fmla="*/ 0 w 2648381"/>
                <a:gd name="connsiteY3" fmla="*/ 0 h 257442"/>
                <a:gd name="connsiteX0" fmla="*/ 2648381 w 2648381"/>
                <a:gd name="connsiteY0" fmla="*/ 0 h 257442"/>
                <a:gd name="connsiteX1" fmla="*/ 2593660 w 2648381"/>
                <a:gd name="connsiteY1" fmla="*/ 257442 h 257442"/>
                <a:gd name="connsiteX2" fmla="*/ 0 w 2648381"/>
                <a:gd name="connsiteY2" fmla="*/ 257442 h 257442"/>
                <a:gd name="connsiteX3" fmla="*/ 0 w 2648381"/>
                <a:gd name="connsiteY3" fmla="*/ 0 h 257442"/>
                <a:gd name="connsiteX0" fmla="*/ 2648381 w 2648381"/>
                <a:gd name="connsiteY0" fmla="*/ 0 h 257442"/>
                <a:gd name="connsiteX1" fmla="*/ 2593660 w 2648381"/>
                <a:gd name="connsiteY1" fmla="*/ 257442 h 257442"/>
                <a:gd name="connsiteX2" fmla="*/ 0 w 2648381"/>
                <a:gd name="connsiteY2" fmla="*/ 257442 h 257442"/>
                <a:gd name="connsiteX3" fmla="*/ 0 w 2648381"/>
                <a:gd name="connsiteY3" fmla="*/ 0 h 257442"/>
                <a:gd name="connsiteX0" fmla="*/ 2648381 w 2648381"/>
                <a:gd name="connsiteY0" fmla="*/ 0 h 257442"/>
                <a:gd name="connsiteX1" fmla="*/ 2593660 w 2648381"/>
                <a:gd name="connsiteY1" fmla="*/ 257442 h 257442"/>
                <a:gd name="connsiteX2" fmla="*/ 0 w 2648381"/>
                <a:gd name="connsiteY2" fmla="*/ 257442 h 257442"/>
                <a:gd name="connsiteX3" fmla="*/ 0 w 2648381"/>
                <a:gd name="connsiteY3" fmla="*/ 0 h 257442"/>
                <a:gd name="connsiteX0" fmla="*/ 2808681 w 2808681"/>
                <a:gd name="connsiteY0" fmla="*/ 0 h 257442"/>
                <a:gd name="connsiteX1" fmla="*/ 2593660 w 2808681"/>
                <a:gd name="connsiteY1" fmla="*/ 257442 h 257442"/>
                <a:gd name="connsiteX2" fmla="*/ 0 w 2808681"/>
                <a:gd name="connsiteY2" fmla="*/ 257442 h 257442"/>
                <a:gd name="connsiteX3" fmla="*/ 0 w 2808681"/>
                <a:gd name="connsiteY3" fmla="*/ 0 h 257442"/>
                <a:gd name="connsiteX0" fmla="*/ 2808681 w 2808681"/>
                <a:gd name="connsiteY0" fmla="*/ 0 h 257442"/>
                <a:gd name="connsiteX1" fmla="*/ 2753960 w 2808681"/>
                <a:gd name="connsiteY1" fmla="*/ 257442 h 257442"/>
                <a:gd name="connsiteX2" fmla="*/ 0 w 2808681"/>
                <a:gd name="connsiteY2" fmla="*/ 257442 h 257442"/>
                <a:gd name="connsiteX3" fmla="*/ 0 w 2808681"/>
                <a:gd name="connsiteY3" fmla="*/ 0 h 257442"/>
                <a:gd name="connsiteX0" fmla="*/ 2808681 w 2808681"/>
                <a:gd name="connsiteY0" fmla="*/ 0 h 257442"/>
                <a:gd name="connsiteX1" fmla="*/ 2753960 w 2808681"/>
                <a:gd name="connsiteY1" fmla="*/ 257442 h 257442"/>
                <a:gd name="connsiteX2" fmla="*/ 0 w 2808681"/>
                <a:gd name="connsiteY2" fmla="*/ 257442 h 257442"/>
                <a:gd name="connsiteX3" fmla="*/ 0 w 2808681"/>
                <a:gd name="connsiteY3" fmla="*/ 0 h 257442"/>
                <a:gd name="connsiteX0" fmla="*/ 2808681 w 2808681"/>
                <a:gd name="connsiteY0" fmla="*/ 0 h 257442"/>
                <a:gd name="connsiteX1" fmla="*/ 2753960 w 2808681"/>
                <a:gd name="connsiteY1" fmla="*/ 257442 h 257442"/>
                <a:gd name="connsiteX2" fmla="*/ 0 w 2808681"/>
                <a:gd name="connsiteY2" fmla="*/ 257442 h 257442"/>
                <a:gd name="connsiteX3" fmla="*/ 0 w 2808681"/>
                <a:gd name="connsiteY3" fmla="*/ 0 h 257442"/>
                <a:gd name="connsiteX0" fmla="*/ 2976997 w 2976997"/>
                <a:gd name="connsiteY0" fmla="*/ 0 h 257442"/>
                <a:gd name="connsiteX1" fmla="*/ 2753960 w 2976997"/>
                <a:gd name="connsiteY1" fmla="*/ 257442 h 257442"/>
                <a:gd name="connsiteX2" fmla="*/ 0 w 2976997"/>
                <a:gd name="connsiteY2" fmla="*/ 257442 h 257442"/>
                <a:gd name="connsiteX3" fmla="*/ 0 w 2976997"/>
                <a:gd name="connsiteY3" fmla="*/ 0 h 257442"/>
                <a:gd name="connsiteX0" fmla="*/ 2976997 w 2976997"/>
                <a:gd name="connsiteY0" fmla="*/ 0 h 257442"/>
                <a:gd name="connsiteX1" fmla="*/ 2922276 w 2976997"/>
                <a:gd name="connsiteY1" fmla="*/ 257442 h 257442"/>
                <a:gd name="connsiteX2" fmla="*/ 0 w 2976997"/>
                <a:gd name="connsiteY2" fmla="*/ 257442 h 257442"/>
                <a:gd name="connsiteX3" fmla="*/ 0 w 2976997"/>
                <a:gd name="connsiteY3" fmla="*/ 0 h 257442"/>
                <a:gd name="connsiteX0" fmla="*/ 2976997 w 2976997"/>
                <a:gd name="connsiteY0" fmla="*/ 0 h 257442"/>
                <a:gd name="connsiteX1" fmla="*/ 2922276 w 2976997"/>
                <a:gd name="connsiteY1" fmla="*/ 257442 h 257442"/>
                <a:gd name="connsiteX2" fmla="*/ 0 w 2976997"/>
                <a:gd name="connsiteY2" fmla="*/ 257442 h 257442"/>
                <a:gd name="connsiteX3" fmla="*/ 0 w 2976997"/>
                <a:gd name="connsiteY3" fmla="*/ 0 h 257442"/>
                <a:gd name="connsiteX0" fmla="*/ 2976997 w 2976997"/>
                <a:gd name="connsiteY0" fmla="*/ 0 h 257442"/>
                <a:gd name="connsiteX1" fmla="*/ 2922276 w 2976997"/>
                <a:gd name="connsiteY1" fmla="*/ 257442 h 257442"/>
                <a:gd name="connsiteX2" fmla="*/ 0 w 2976997"/>
                <a:gd name="connsiteY2" fmla="*/ 257442 h 257442"/>
                <a:gd name="connsiteX3" fmla="*/ 0 w 2976997"/>
                <a:gd name="connsiteY3" fmla="*/ 0 h 257442"/>
                <a:gd name="connsiteX0" fmla="*/ 3145312 w 3145312"/>
                <a:gd name="connsiteY0" fmla="*/ 0 h 257442"/>
                <a:gd name="connsiteX1" fmla="*/ 2922276 w 3145312"/>
                <a:gd name="connsiteY1" fmla="*/ 257442 h 257442"/>
                <a:gd name="connsiteX2" fmla="*/ 0 w 3145312"/>
                <a:gd name="connsiteY2" fmla="*/ 257442 h 257442"/>
                <a:gd name="connsiteX3" fmla="*/ 0 w 3145312"/>
                <a:gd name="connsiteY3" fmla="*/ 0 h 257442"/>
                <a:gd name="connsiteX0" fmla="*/ 3145312 w 3145312"/>
                <a:gd name="connsiteY0" fmla="*/ 0 h 257442"/>
                <a:gd name="connsiteX1" fmla="*/ 3090590 w 3145312"/>
                <a:gd name="connsiteY1" fmla="*/ 257442 h 257442"/>
                <a:gd name="connsiteX2" fmla="*/ 0 w 3145312"/>
                <a:gd name="connsiteY2" fmla="*/ 257442 h 257442"/>
                <a:gd name="connsiteX3" fmla="*/ 0 w 3145312"/>
                <a:gd name="connsiteY3" fmla="*/ 0 h 257442"/>
                <a:gd name="connsiteX0" fmla="*/ 3145313 w 3145313"/>
                <a:gd name="connsiteY0" fmla="*/ 0 h 257442"/>
                <a:gd name="connsiteX1" fmla="*/ 3090591 w 3145313"/>
                <a:gd name="connsiteY1" fmla="*/ 257442 h 257442"/>
                <a:gd name="connsiteX2" fmla="*/ 0 w 3145313"/>
                <a:gd name="connsiteY2" fmla="*/ 257442 h 257442"/>
                <a:gd name="connsiteX3" fmla="*/ 1 w 3145313"/>
                <a:gd name="connsiteY3" fmla="*/ 0 h 257442"/>
                <a:gd name="connsiteX0" fmla="*/ 3145313 w 3145313"/>
                <a:gd name="connsiteY0" fmla="*/ 0 h 257442"/>
                <a:gd name="connsiteX1" fmla="*/ 3090591 w 3145313"/>
                <a:gd name="connsiteY1" fmla="*/ 257442 h 257442"/>
                <a:gd name="connsiteX2" fmla="*/ 0 w 3145313"/>
                <a:gd name="connsiteY2" fmla="*/ 257442 h 257442"/>
                <a:gd name="connsiteX3" fmla="*/ 1 w 3145313"/>
                <a:gd name="connsiteY3" fmla="*/ 0 h 257442"/>
                <a:gd name="connsiteX0" fmla="*/ 3305613 w 3305613"/>
                <a:gd name="connsiteY0" fmla="*/ 0 h 257442"/>
                <a:gd name="connsiteX1" fmla="*/ 3090591 w 3305613"/>
                <a:gd name="connsiteY1" fmla="*/ 257442 h 257442"/>
                <a:gd name="connsiteX2" fmla="*/ 0 w 3305613"/>
                <a:gd name="connsiteY2" fmla="*/ 257442 h 257442"/>
                <a:gd name="connsiteX3" fmla="*/ 1 w 3305613"/>
                <a:gd name="connsiteY3" fmla="*/ 0 h 257442"/>
                <a:gd name="connsiteX0" fmla="*/ 3305613 w 3305613"/>
                <a:gd name="connsiteY0" fmla="*/ 0 h 257442"/>
                <a:gd name="connsiteX1" fmla="*/ 3250892 w 3305613"/>
                <a:gd name="connsiteY1" fmla="*/ 257442 h 257442"/>
                <a:gd name="connsiteX2" fmla="*/ 0 w 3305613"/>
                <a:gd name="connsiteY2" fmla="*/ 257442 h 257442"/>
                <a:gd name="connsiteX3" fmla="*/ 1 w 3305613"/>
                <a:gd name="connsiteY3" fmla="*/ 0 h 257442"/>
                <a:gd name="connsiteX0" fmla="*/ 3305612 w 3305612"/>
                <a:gd name="connsiteY0" fmla="*/ 0 h 257442"/>
                <a:gd name="connsiteX1" fmla="*/ 3250891 w 3305612"/>
                <a:gd name="connsiteY1" fmla="*/ 257442 h 257442"/>
                <a:gd name="connsiteX2" fmla="*/ 0 w 3305612"/>
                <a:gd name="connsiteY2" fmla="*/ 257442 h 257442"/>
                <a:gd name="connsiteX3" fmla="*/ 0 w 3305612"/>
                <a:gd name="connsiteY3" fmla="*/ 0 h 257442"/>
                <a:gd name="connsiteX0" fmla="*/ 3305613 w 3305613"/>
                <a:gd name="connsiteY0" fmla="*/ 0 h 257442"/>
                <a:gd name="connsiteX1" fmla="*/ 3250892 w 3305613"/>
                <a:gd name="connsiteY1" fmla="*/ 257442 h 257442"/>
                <a:gd name="connsiteX2" fmla="*/ 1 w 3305613"/>
                <a:gd name="connsiteY2" fmla="*/ 257442 h 257442"/>
                <a:gd name="connsiteX3" fmla="*/ 0 w 3305613"/>
                <a:gd name="connsiteY3" fmla="*/ 0 h 257442"/>
                <a:gd name="connsiteX0" fmla="*/ 950802 w 3250892"/>
                <a:gd name="connsiteY0" fmla="*/ 0 h 257442"/>
                <a:gd name="connsiteX1" fmla="*/ 3250892 w 3250892"/>
                <a:gd name="connsiteY1" fmla="*/ 257442 h 257442"/>
                <a:gd name="connsiteX2" fmla="*/ 1 w 3250892"/>
                <a:gd name="connsiteY2" fmla="*/ 257442 h 257442"/>
                <a:gd name="connsiteX3" fmla="*/ 0 w 3250892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1 w 950802"/>
                <a:gd name="connsiteY2" fmla="*/ 257442 h 257442"/>
                <a:gd name="connsiteX3" fmla="*/ 0 w 950802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1 w 950802"/>
                <a:gd name="connsiteY2" fmla="*/ 257442 h 257442"/>
                <a:gd name="connsiteX3" fmla="*/ 0 w 95080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1119116 w 1119116"/>
                <a:gd name="connsiteY0" fmla="*/ 0 h 257442"/>
                <a:gd name="connsiteX1" fmla="*/ 896080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6 w 1119116"/>
                <a:gd name="connsiteY0" fmla="*/ 0 h 257442"/>
                <a:gd name="connsiteX1" fmla="*/ 1064394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7 w 1119117"/>
                <a:gd name="connsiteY0" fmla="*/ 0 h 257442"/>
                <a:gd name="connsiteX1" fmla="*/ 1064395 w 1119117"/>
                <a:gd name="connsiteY1" fmla="*/ 257442 h 257442"/>
                <a:gd name="connsiteX2" fmla="*/ 0 w 1119117"/>
                <a:gd name="connsiteY2" fmla="*/ 257442 h 257442"/>
                <a:gd name="connsiteX3" fmla="*/ 1 w 1119117"/>
                <a:gd name="connsiteY3" fmla="*/ 0 h 257442"/>
                <a:gd name="connsiteX0" fmla="*/ 1119117 w 1119117"/>
                <a:gd name="connsiteY0" fmla="*/ 0 h 257442"/>
                <a:gd name="connsiteX1" fmla="*/ 1064395 w 1119117"/>
                <a:gd name="connsiteY1" fmla="*/ 257442 h 257442"/>
                <a:gd name="connsiteX2" fmla="*/ 0 w 1119117"/>
                <a:gd name="connsiteY2" fmla="*/ 257442 h 257442"/>
                <a:gd name="connsiteX3" fmla="*/ 1 w 1119117"/>
                <a:gd name="connsiteY3" fmla="*/ 0 h 257442"/>
                <a:gd name="connsiteX0" fmla="*/ 1287433 w 1287433"/>
                <a:gd name="connsiteY0" fmla="*/ 0 h 257442"/>
                <a:gd name="connsiteX1" fmla="*/ 1064395 w 1287433"/>
                <a:gd name="connsiteY1" fmla="*/ 257442 h 257442"/>
                <a:gd name="connsiteX2" fmla="*/ 0 w 1287433"/>
                <a:gd name="connsiteY2" fmla="*/ 257442 h 257442"/>
                <a:gd name="connsiteX3" fmla="*/ 1 w 1287433"/>
                <a:gd name="connsiteY3" fmla="*/ 0 h 257442"/>
                <a:gd name="connsiteX0" fmla="*/ 1287433 w 1287433"/>
                <a:gd name="connsiteY0" fmla="*/ 0 h 257442"/>
                <a:gd name="connsiteX1" fmla="*/ 1232712 w 1287433"/>
                <a:gd name="connsiteY1" fmla="*/ 257442 h 257442"/>
                <a:gd name="connsiteX2" fmla="*/ 0 w 1287433"/>
                <a:gd name="connsiteY2" fmla="*/ 257442 h 257442"/>
                <a:gd name="connsiteX3" fmla="*/ 1 w 1287433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287433 w 1287433"/>
                <a:gd name="connsiteY0" fmla="*/ 0 h 257442"/>
                <a:gd name="connsiteX1" fmla="*/ 1232712 w 1287433"/>
                <a:gd name="connsiteY1" fmla="*/ 257442 h 257442"/>
                <a:gd name="connsiteX2" fmla="*/ 1 w 1287433"/>
                <a:gd name="connsiteY2" fmla="*/ 257442 h 257442"/>
                <a:gd name="connsiteX3" fmla="*/ 0 w 1287433"/>
                <a:gd name="connsiteY3" fmla="*/ 0 h 257442"/>
                <a:gd name="connsiteX0" fmla="*/ 1455748 w 1455748"/>
                <a:gd name="connsiteY0" fmla="*/ 0 h 257442"/>
                <a:gd name="connsiteX1" fmla="*/ 1232712 w 1455748"/>
                <a:gd name="connsiteY1" fmla="*/ 257442 h 257442"/>
                <a:gd name="connsiteX2" fmla="*/ 1 w 1455748"/>
                <a:gd name="connsiteY2" fmla="*/ 257442 h 257442"/>
                <a:gd name="connsiteX3" fmla="*/ 0 w 1455748"/>
                <a:gd name="connsiteY3" fmla="*/ 0 h 257442"/>
                <a:gd name="connsiteX0" fmla="*/ 1455748 w 1455748"/>
                <a:gd name="connsiteY0" fmla="*/ 0 h 257442"/>
                <a:gd name="connsiteX1" fmla="*/ 1401026 w 1455748"/>
                <a:gd name="connsiteY1" fmla="*/ 257442 h 257442"/>
                <a:gd name="connsiteX2" fmla="*/ 1 w 1455748"/>
                <a:gd name="connsiteY2" fmla="*/ 257442 h 257442"/>
                <a:gd name="connsiteX3" fmla="*/ 0 w 1455748"/>
                <a:gd name="connsiteY3" fmla="*/ 0 h 257442"/>
                <a:gd name="connsiteX0" fmla="*/ 1455748 w 1455748"/>
                <a:gd name="connsiteY0" fmla="*/ 0 h 257442"/>
                <a:gd name="connsiteX1" fmla="*/ 1401026 w 1455748"/>
                <a:gd name="connsiteY1" fmla="*/ 257442 h 257442"/>
                <a:gd name="connsiteX2" fmla="*/ 0 w 1455748"/>
                <a:gd name="connsiteY2" fmla="*/ 257442 h 257442"/>
                <a:gd name="connsiteX3" fmla="*/ 0 w 1455748"/>
                <a:gd name="connsiteY3" fmla="*/ 0 h 257442"/>
                <a:gd name="connsiteX0" fmla="*/ 1455748 w 1455748"/>
                <a:gd name="connsiteY0" fmla="*/ 0 h 257442"/>
                <a:gd name="connsiteX1" fmla="*/ 1401026 w 1455748"/>
                <a:gd name="connsiteY1" fmla="*/ 257442 h 257442"/>
                <a:gd name="connsiteX2" fmla="*/ 0 w 1455748"/>
                <a:gd name="connsiteY2" fmla="*/ 257442 h 257442"/>
                <a:gd name="connsiteX3" fmla="*/ 0 w 1455748"/>
                <a:gd name="connsiteY3" fmla="*/ 0 h 257442"/>
                <a:gd name="connsiteX0" fmla="*/ 1624062 w 1624062"/>
                <a:gd name="connsiteY0" fmla="*/ 0 h 257442"/>
                <a:gd name="connsiteX1" fmla="*/ 1401026 w 1624062"/>
                <a:gd name="connsiteY1" fmla="*/ 257442 h 257442"/>
                <a:gd name="connsiteX2" fmla="*/ 0 w 1624062"/>
                <a:gd name="connsiteY2" fmla="*/ 257442 h 257442"/>
                <a:gd name="connsiteX3" fmla="*/ 0 w 1624062"/>
                <a:gd name="connsiteY3" fmla="*/ 0 h 257442"/>
                <a:gd name="connsiteX0" fmla="*/ 1624062 w 1624062"/>
                <a:gd name="connsiteY0" fmla="*/ 0 h 257442"/>
                <a:gd name="connsiteX1" fmla="*/ 1569341 w 1624062"/>
                <a:gd name="connsiteY1" fmla="*/ 257442 h 257442"/>
                <a:gd name="connsiteX2" fmla="*/ 0 w 1624062"/>
                <a:gd name="connsiteY2" fmla="*/ 257442 h 257442"/>
                <a:gd name="connsiteX3" fmla="*/ 0 w 1624062"/>
                <a:gd name="connsiteY3" fmla="*/ 0 h 257442"/>
                <a:gd name="connsiteX0" fmla="*/ 1624062 w 1624062"/>
                <a:gd name="connsiteY0" fmla="*/ 0 h 257442"/>
                <a:gd name="connsiteX1" fmla="*/ 1569341 w 1624062"/>
                <a:gd name="connsiteY1" fmla="*/ 257442 h 257442"/>
                <a:gd name="connsiteX2" fmla="*/ 0 w 1624062"/>
                <a:gd name="connsiteY2" fmla="*/ 257442 h 257442"/>
                <a:gd name="connsiteX3" fmla="*/ 0 w 1624062"/>
                <a:gd name="connsiteY3" fmla="*/ 0 h 257442"/>
                <a:gd name="connsiteX0" fmla="*/ 1624062 w 1624062"/>
                <a:gd name="connsiteY0" fmla="*/ 0 h 257442"/>
                <a:gd name="connsiteX1" fmla="*/ 1569341 w 1624062"/>
                <a:gd name="connsiteY1" fmla="*/ 257442 h 257442"/>
                <a:gd name="connsiteX2" fmla="*/ 0 w 1624062"/>
                <a:gd name="connsiteY2" fmla="*/ 257442 h 257442"/>
                <a:gd name="connsiteX3" fmla="*/ 0 w 1624062"/>
                <a:gd name="connsiteY3" fmla="*/ 0 h 257442"/>
                <a:gd name="connsiteX0" fmla="*/ 1784363 w 1784363"/>
                <a:gd name="connsiteY0" fmla="*/ 0 h 257442"/>
                <a:gd name="connsiteX1" fmla="*/ 1569341 w 1784363"/>
                <a:gd name="connsiteY1" fmla="*/ 257442 h 257442"/>
                <a:gd name="connsiteX2" fmla="*/ 0 w 1784363"/>
                <a:gd name="connsiteY2" fmla="*/ 257442 h 257442"/>
                <a:gd name="connsiteX3" fmla="*/ 0 w 1784363"/>
                <a:gd name="connsiteY3" fmla="*/ 0 h 257442"/>
                <a:gd name="connsiteX0" fmla="*/ 1784363 w 1784363"/>
                <a:gd name="connsiteY0" fmla="*/ 0 h 257442"/>
                <a:gd name="connsiteX1" fmla="*/ 1729642 w 1784363"/>
                <a:gd name="connsiteY1" fmla="*/ 257442 h 257442"/>
                <a:gd name="connsiteX2" fmla="*/ 0 w 1784363"/>
                <a:gd name="connsiteY2" fmla="*/ 257442 h 257442"/>
                <a:gd name="connsiteX3" fmla="*/ 0 w 1784363"/>
                <a:gd name="connsiteY3" fmla="*/ 0 h 257442"/>
                <a:gd name="connsiteX0" fmla="*/ 1784363 w 1784363"/>
                <a:gd name="connsiteY0" fmla="*/ 0 h 257442"/>
                <a:gd name="connsiteX1" fmla="*/ 1729642 w 1784363"/>
                <a:gd name="connsiteY1" fmla="*/ 257442 h 257442"/>
                <a:gd name="connsiteX2" fmla="*/ 0 w 1784363"/>
                <a:gd name="connsiteY2" fmla="*/ 257442 h 257442"/>
                <a:gd name="connsiteX3" fmla="*/ 0 w 1784363"/>
                <a:gd name="connsiteY3" fmla="*/ 0 h 257442"/>
                <a:gd name="connsiteX0" fmla="*/ 1784363 w 1784363"/>
                <a:gd name="connsiteY0" fmla="*/ 0 h 257442"/>
                <a:gd name="connsiteX1" fmla="*/ 1729642 w 1784363"/>
                <a:gd name="connsiteY1" fmla="*/ 257442 h 257442"/>
                <a:gd name="connsiteX2" fmla="*/ 0 w 1784363"/>
                <a:gd name="connsiteY2" fmla="*/ 257442 h 257442"/>
                <a:gd name="connsiteX3" fmla="*/ 0 w 1784363"/>
                <a:gd name="connsiteY3" fmla="*/ 0 h 257442"/>
                <a:gd name="connsiteX0" fmla="*/ 2034879 w 2034879"/>
                <a:gd name="connsiteY0" fmla="*/ 0 h 257442"/>
                <a:gd name="connsiteX1" fmla="*/ 1729642 w 2034879"/>
                <a:gd name="connsiteY1" fmla="*/ 257442 h 257442"/>
                <a:gd name="connsiteX2" fmla="*/ 0 w 2034879"/>
                <a:gd name="connsiteY2" fmla="*/ 257442 h 257442"/>
                <a:gd name="connsiteX3" fmla="*/ 0 w 2034879"/>
                <a:gd name="connsiteY3" fmla="*/ 0 h 257442"/>
                <a:gd name="connsiteX0" fmla="*/ 2034879 w 2034879"/>
                <a:gd name="connsiteY0" fmla="*/ 0 h 257442"/>
                <a:gd name="connsiteX1" fmla="*/ 1980158 w 2034879"/>
                <a:gd name="connsiteY1" fmla="*/ 257442 h 257442"/>
                <a:gd name="connsiteX2" fmla="*/ 0 w 2034879"/>
                <a:gd name="connsiteY2" fmla="*/ 257442 h 257442"/>
                <a:gd name="connsiteX3" fmla="*/ 0 w 2034879"/>
                <a:gd name="connsiteY3" fmla="*/ 0 h 257442"/>
                <a:gd name="connsiteX0" fmla="*/ 2034879 w 2034879"/>
                <a:gd name="connsiteY0" fmla="*/ 0 h 257442"/>
                <a:gd name="connsiteX1" fmla="*/ 1980158 w 2034879"/>
                <a:gd name="connsiteY1" fmla="*/ 257442 h 257442"/>
                <a:gd name="connsiteX2" fmla="*/ 0 w 2034879"/>
                <a:gd name="connsiteY2" fmla="*/ 257442 h 257442"/>
                <a:gd name="connsiteX3" fmla="*/ 0 w 2034879"/>
                <a:gd name="connsiteY3" fmla="*/ 0 h 257442"/>
                <a:gd name="connsiteX0" fmla="*/ 2034879 w 2034879"/>
                <a:gd name="connsiteY0" fmla="*/ 0 h 257442"/>
                <a:gd name="connsiteX1" fmla="*/ 1980158 w 2034879"/>
                <a:gd name="connsiteY1" fmla="*/ 257442 h 257442"/>
                <a:gd name="connsiteX2" fmla="*/ 0 w 2034879"/>
                <a:gd name="connsiteY2" fmla="*/ 257442 h 257442"/>
                <a:gd name="connsiteX3" fmla="*/ 0 w 2034879"/>
                <a:gd name="connsiteY3" fmla="*/ 0 h 257442"/>
                <a:gd name="connsiteX0" fmla="*/ 2203195 w 2203195"/>
                <a:gd name="connsiteY0" fmla="*/ 0 h 257442"/>
                <a:gd name="connsiteX1" fmla="*/ 1980158 w 2203195"/>
                <a:gd name="connsiteY1" fmla="*/ 257442 h 257442"/>
                <a:gd name="connsiteX2" fmla="*/ 0 w 2203195"/>
                <a:gd name="connsiteY2" fmla="*/ 257442 h 257442"/>
                <a:gd name="connsiteX3" fmla="*/ 0 w 2203195"/>
                <a:gd name="connsiteY3" fmla="*/ 0 h 257442"/>
                <a:gd name="connsiteX0" fmla="*/ 2203195 w 2203195"/>
                <a:gd name="connsiteY0" fmla="*/ 0 h 257442"/>
                <a:gd name="connsiteX1" fmla="*/ 2148474 w 2203195"/>
                <a:gd name="connsiteY1" fmla="*/ 257442 h 257442"/>
                <a:gd name="connsiteX2" fmla="*/ 0 w 2203195"/>
                <a:gd name="connsiteY2" fmla="*/ 257442 h 257442"/>
                <a:gd name="connsiteX3" fmla="*/ 0 w 2203195"/>
                <a:gd name="connsiteY3" fmla="*/ 0 h 257442"/>
                <a:gd name="connsiteX0" fmla="*/ 2203195 w 2203195"/>
                <a:gd name="connsiteY0" fmla="*/ 0 h 257442"/>
                <a:gd name="connsiteX1" fmla="*/ 2148474 w 2203195"/>
                <a:gd name="connsiteY1" fmla="*/ 257442 h 257442"/>
                <a:gd name="connsiteX2" fmla="*/ 0 w 2203195"/>
                <a:gd name="connsiteY2" fmla="*/ 257442 h 257442"/>
                <a:gd name="connsiteX3" fmla="*/ 0 w 2203195"/>
                <a:gd name="connsiteY3" fmla="*/ 0 h 257442"/>
                <a:gd name="connsiteX0" fmla="*/ 2203195 w 2203195"/>
                <a:gd name="connsiteY0" fmla="*/ 0 h 257442"/>
                <a:gd name="connsiteX1" fmla="*/ 2148474 w 2203195"/>
                <a:gd name="connsiteY1" fmla="*/ 257442 h 257442"/>
                <a:gd name="connsiteX2" fmla="*/ 0 w 2203195"/>
                <a:gd name="connsiteY2" fmla="*/ 257442 h 257442"/>
                <a:gd name="connsiteX3" fmla="*/ 0 w 2203195"/>
                <a:gd name="connsiteY3" fmla="*/ 0 h 257442"/>
                <a:gd name="connsiteX0" fmla="*/ 2363496 w 2363496"/>
                <a:gd name="connsiteY0" fmla="*/ 0 h 257442"/>
                <a:gd name="connsiteX1" fmla="*/ 2148474 w 2363496"/>
                <a:gd name="connsiteY1" fmla="*/ 257442 h 257442"/>
                <a:gd name="connsiteX2" fmla="*/ 0 w 2363496"/>
                <a:gd name="connsiteY2" fmla="*/ 257442 h 257442"/>
                <a:gd name="connsiteX3" fmla="*/ 0 w 2363496"/>
                <a:gd name="connsiteY3" fmla="*/ 0 h 257442"/>
                <a:gd name="connsiteX0" fmla="*/ 2363496 w 2363496"/>
                <a:gd name="connsiteY0" fmla="*/ 0 h 257442"/>
                <a:gd name="connsiteX1" fmla="*/ 2308774 w 2363496"/>
                <a:gd name="connsiteY1" fmla="*/ 257442 h 257442"/>
                <a:gd name="connsiteX2" fmla="*/ 0 w 2363496"/>
                <a:gd name="connsiteY2" fmla="*/ 257442 h 257442"/>
                <a:gd name="connsiteX3" fmla="*/ 0 w 2363496"/>
                <a:gd name="connsiteY3" fmla="*/ 0 h 257442"/>
                <a:gd name="connsiteX0" fmla="*/ 2363497 w 2363497"/>
                <a:gd name="connsiteY0" fmla="*/ 0 h 257442"/>
                <a:gd name="connsiteX1" fmla="*/ 2308775 w 2363497"/>
                <a:gd name="connsiteY1" fmla="*/ 257442 h 257442"/>
                <a:gd name="connsiteX2" fmla="*/ 0 w 2363497"/>
                <a:gd name="connsiteY2" fmla="*/ 257442 h 257442"/>
                <a:gd name="connsiteX3" fmla="*/ 1 w 2363497"/>
                <a:gd name="connsiteY3" fmla="*/ 0 h 257442"/>
                <a:gd name="connsiteX0" fmla="*/ 2363497 w 2363497"/>
                <a:gd name="connsiteY0" fmla="*/ 0 h 257442"/>
                <a:gd name="connsiteX1" fmla="*/ 2308775 w 2363497"/>
                <a:gd name="connsiteY1" fmla="*/ 257442 h 257442"/>
                <a:gd name="connsiteX2" fmla="*/ 0 w 2363497"/>
                <a:gd name="connsiteY2" fmla="*/ 257442 h 257442"/>
                <a:gd name="connsiteX3" fmla="*/ 1 w 2363497"/>
                <a:gd name="connsiteY3" fmla="*/ 0 h 257442"/>
                <a:gd name="connsiteX0" fmla="*/ 2531811 w 2531811"/>
                <a:gd name="connsiteY0" fmla="*/ 0 h 257442"/>
                <a:gd name="connsiteX1" fmla="*/ 2308775 w 2531811"/>
                <a:gd name="connsiteY1" fmla="*/ 257442 h 257442"/>
                <a:gd name="connsiteX2" fmla="*/ 0 w 2531811"/>
                <a:gd name="connsiteY2" fmla="*/ 257442 h 257442"/>
                <a:gd name="connsiteX3" fmla="*/ 1 w 2531811"/>
                <a:gd name="connsiteY3" fmla="*/ 0 h 257442"/>
                <a:gd name="connsiteX0" fmla="*/ 2531811 w 2531811"/>
                <a:gd name="connsiteY0" fmla="*/ 0 h 257442"/>
                <a:gd name="connsiteX1" fmla="*/ 2477090 w 2531811"/>
                <a:gd name="connsiteY1" fmla="*/ 257442 h 257442"/>
                <a:gd name="connsiteX2" fmla="*/ 0 w 2531811"/>
                <a:gd name="connsiteY2" fmla="*/ 257442 h 257442"/>
                <a:gd name="connsiteX3" fmla="*/ 1 w 2531811"/>
                <a:gd name="connsiteY3" fmla="*/ 0 h 257442"/>
                <a:gd name="connsiteX0" fmla="*/ 2531810 w 2531810"/>
                <a:gd name="connsiteY0" fmla="*/ 0 h 257442"/>
                <a:gd name="connsiteX1" fmla="*/ 2477089 w 2531810"/>
                <a:gd name="connsiteY1" fmla="*/ 257442 h 257442"/>
                <a:gd name="connsiteX2" fmla="*/ 0 w 2531810"/>
                <a:gd name="connsiteY2" fmla="*/ 257442 h 257442"/>
                <a:gd name="connsiteX3" fmla="*/ 0 w 2531810"/>
                <a:gd name="connsiteY3" fmla="*/ 0 h 257442"/>
                <a:gd name="connsiteX0" fmla="*/ 2531811 w 2531811"/>
                <a:gd name="connsiteY0" fmla="*/ 0 h 257442"/>
                <a:gd name="connsiteX1" fmla="*/ 2477090 w 2531811"/>
                <a:gd name="connsiteY1" fmla="*/ 257442 h 257442"/>
                <a:gd name="connsiteX2" fmla="*/ 1 w 2531811"/>
                <a:gd name="connsiteY2" fmla="*/ 257442 h 257442"/>
                <a:gd name="connsiteX3" fmla="*/ 0 w 2531811"/>
                <a:gd name="connsiteY3" fmla="*/ 0 h 257442"/>
                <a:gd name="connsiteX0" fmla="*/ 2700127 w 2700127"/>
                <a:gd name="connsiteY0" fmla="*/ 0 h 257442"/>
                <a:gd name="connsiteX1" fmla="*/ 2477090 w 2700127"/>
                <a:gd name="connsiteY1" fmla="*/ 257442 h 257442"/>
                <a:gd name="connsiteX2" fmla="*/ 1 w 2700127"/>
                <a:gd name="connsiteY2" fmla="*/ 257442 h 257442"/>
                <a:gd name="connsiteX3" fmla="*/ 0 w 2700127"/>
                <a:gd name="connsiteY3" fmla="*/ 0 h 257442"/>
                <a:gd name="connsiteX0" fmla="*/ 2700127 w 2700127"/>
                <a:gd name="connsiteY0" fmla="*/ 0 h 257442"/>
                <a:gd name="connsiteX1" fmla="*/ 2645406 w 2700127"/>
                <a:gd name="connsiteY1" fmla="*/ 257442 h 257442"/>
                <a:gd name="connsiteX2" fmla="*/ 1 w 2700127"/>
                <a:gd name="connsiteY2" fmla="*/ 257442 h 257442"/>
                <a:gd name="connsiteX3" fmla="*/ 0 w 2700127"/>
                <a:gd name="connsiteY3" fmla="*/ 0 h 257442"/>
                <a:gd name="connsiteX0" fmla="*/ 2700127 w 2700127"/>
                <a:gd name="connsiteY0" fmla="*/ 0 h 257442"/>
                <a:gd name="connsiteX1" fmla="*/ 2645406 w 2700127"/>
                <a:gd name="connsiteY1" fmla="*/ 257442 h 257442"/>
                <a:gd name="connsiteX2" fmla="*/ 1 w 2700127"/>
                <a:gd name="connsiteY2" fmla="*/ 257442 h 257442"/>
                <a:gd name="connsiteX3" fmla="*/ 0 w 2700127"/>
                <a:gd name="connsiteY3" fmla="*/ 0 h 257442"/>
                <a:gd name="connsiteX0" fmla="*/ 2700126 w 2700126"/>
                <a:gd name="connsiteY0" fmla="*/ 0 h 257442"/>
                <a:gd name="connsiteX1" fmla="*/ 2645405 w 2700126"/>
                <a:gd name="connsiteY1" fmla="*/ 257442 h 257442"/>
                <a:gd name="connsiteX2" fmla="*/ 0 w 2700126"/>
                <a:gd name="connsiteY2" fmla="*/ 257442 h 257442"/>
                <a:gd name="connsiteX3" fmla="*/ 0 w 2700126"/>
                <a:gd name="connsiteY3" fmla="*/ 0 h 257442"/>
                <a:gd name="connsiteX0" fmla="*/ 2886074 w 2886074"/>
                <a:gd name="connsiteY0" fmla="*/ 0 h 257442"/>
                <a:gd name="connsiteX1" fmla="*/ 2645405 w 2886074"/>
                <a:gd name="connsiteY1" fmla="*/ 257442 h 257442"/>
                <a:gd name="connsiteX2" fmla="*/ 0 w 2886074"/>
                <a:gd name="connsiteY2" fmla="*/ 257442 h 257442"/>
                <a:gd name="connsiteX3" fmla="*/ 0 w 2886074"/>
                <a:gd name="connsiteY3" fmla="*/ 0 h 257442"/>
                <a:gd name="connsiteX0" fmla="*/ 2886074 w 2886074"/>
                <a:gd name="connsiteY0" fmla="*/ 0 h 257442"/>
                <a:gd name="connsiteX1" fmla="*/ 2831353 w 2886074"/>
                <a:gd name="connsiteY1" fmla="*/ 257442 h 257442"/>
                <a:gd name="connsiteX2" fmla="*/ 0 w 2886074"/>
                <a:gd name="connsiteY2" fmla="*/ 257442 h 257442"/>
                <a:gd name="connsiteX3" fmla="*/ 0 w 2886074"/>
                <a:gd name="connsiteY3" fmla="*/ 0 h 257442"/>
                <a:gd name="connsiteX0" fmla="*/ 2886075 w 2886075"/>
                <a:gd name="connsiteY0" fmla="*/ 0 h 257442"/>
                <a:gd name="connsiteX1" fmla="*/ 2831354 w 2886075"/>
                <a:gd name="connsiteY1" fmla="*/ 257442 h 257442"/>
                <a:gd name="connsiteX2" fmla="*/ 0 w 2886075"/>
                <a:gd name="connsiteY2" fmla="*/ 257442 h 257442"/>
                <a:gd name="connsiteX3" fmla="*/ 1 w 2886075"/>
                <a:gd name="connsiteY3" fmla="*/ 0 h 257442"/>
                <a:gd name="connsiteX0" fmla="*/ 2886075 w 2886075"/>
                <a:gd name="connsiteY0" fmla="*/ 0 h 257442"/>
                <a:gd name="connsiteX1" fmla="*/ 2831354 w 2886075"/>
                <a:gd name="connsiteY1" fmla="*/ 257442 h 257442"/>
                <a:gd name="connsiteX2" fmla="*/ 0 w 2886075"/>
                <a:gd name="connsiteY2" fmla="*/ 257442 h 257442"/>
                <a:gd name="connsiteX3" fmla="*/ 1 w 2886075"/>
                <a:gd name="connsiteY3" fmla="*/ 0 h 257442"/>
                <a:gd name="connsiteX0" fmla="*/ 3155380 w 3155380"/>
                <a:gd name="connsiteY0" fmla="*/ 0 h 257442"/>
                <a:gd name="connsiteX1" fmla="*/ 2831354 w 3155380"/>
                <a:gd name="connsiteY1" fmla="*/ 257442 h 257442"/>
                <a:gd name="connsiteX2" fmla="*/ 0 w 3155380"/>
                <a:gd name="connsiteY2" fmla="*/ 257442 h 257442"/>
                <a:gd name="connsiteX3" fmla="*/ 1 w 3155380"/>
                <a:gd name="connsiteY3" fmla="*/ 0 h 257442"/>
                <a:gd name="connsiteX0" fmla="*/ 3155380 w 3155380"/>
                <a:gd name="connsiteY0" fmla="*/ 0 h 257442"/>
                <a:gd name="connsiteX1" fmla="*/ 3100658 w 3155380"/>
                <a:gd name="connsiteY1" fmla="*/ 257442 h 257442"/>
                <a:gd name="connsiteX2" fmla="*/ 0 w 3155380"/>
                <a:gd name="connsiteY2" fmla="*/ 257442 h 257442"/>
                <a:gd name="connsiteX3" fmla="*/ 1 w 3155380"/>
                <a:gd name="connsiteY3" fmla="*/ 0 h 257442"/>
                <a:gd name="connsiteX0" fmla="*/ 3155380 w 3155380"/>
                <a:gd name="connsiteY0" fmla="*/ 0 h 257442"/>
                <a:gd name="connsiteX1" fmla="*/ 3100658 w 3155380"/>
                <a:gd name="connsiteY1" fmla="*/ 257442 h 257442"/>
                <a:gd name="connsiteX2" fmla="*/ 0 w 3155380"/>
                <a:gd name="connsiteY2" fmla="*/ 257442 h 257442"/>
                <a:gd name="connsiteX3" fmla="*/ 1 w 3155380"/>
                <a:gd name="connsiteY3" fmla="*/ 0 h 257442"/>
                <a:gd name="connsiteX0" fmla="*/ 3155380 w 3155380"/>
                <a:gd name="connsiteY0" fmla="*/ 0 h 257442"/>
                <a:gd name="connsiteX1" fmla="*/ 3100658 w 3155380"/>
                <a:gd name="connsiteY1" fmla="*/ 257442 h 257442"/>
                <a:gd name="connsiteX2" fmla="*/ 0 w 3155380"/>
                <a:gd name="connsiteY2" fmla="*/ 257442 h 257442"/>
                <a:gd name="connsiteX3" fmla="*/ 0 w 3155380"/>
                <a:gd name="connsiteY3" fmla="*/ 0 h 257442"/>
                <a:gd name="connsiteX0" fmla="*/ 3315679 w 3315679"/>
                <a:gd name="connsiteY0" fmla="*/ 0 h 257442"/>
                <a:gd name="connsiteX1" fmla="*/ 3100658 w 3315679"/>
                <a:gd name="connsiteY1" fmla="*/ 257442 h 257442"/>
                <a:gd name="connsiteX2" fmla="*/ 0 w 3315679"/>
                <a:gd name="connsiteY2" fmla="*/ 257442 h 257442"/>
                <a:gd name="connsiteX3" fmla="*/ 0 w 3315679"/>
                <a:gd name="connsiteY3" fmla="*/ 0 h 257442"/>
                <a:gd name="connsiteX0" fmla="*/ 3315679 w 3315679"/>
                <a:gd name="connsiteY0" fmla="*/ 0 h 257442"/>
                <a:gd name="connsiteX1" fmla="*/ 3260958 w 3315679"/>
                <a:gd name="connsiteY1" fmla="*/ 257442 h 257442"/>
                <a:gd name="connsiteX2" fmla="*/ 0 w 3315679"/>
                <a:gd name="connsiteY2" fmla="*/ 257442 h 257442"/>
                <a:gd name="connsiteX3" fmla="*/ 0 w 3315679"/>
                <a:gd name="connsiteY3" fmla="*/ 0 h 257442"/>
                <a:gd name="connsiteX0" fmla="*/ 3315679 w 3315679"/>
                <a:gd name="connsiteY0" fmla="*/ 0 h 257442"/>
                <a:gd name="connsiteX1" fmla="*/ 3260958 w 3315679"/>
                <a:gd name="connsiteY1" fmla="*/ 257442 h 257442"/>
                <a:gd name="connsiteX2" fmla="*/ 0 w 3315679"/>
                <a:gd name="connsiteY2" fmla="*/ 257442 h 257442"/>
                <a:gd name="connsiteX3" fmla="*/ 0 w 3315679"/>
                <a:gd name="connsiteY3" fmla="*/ 0 h 257442"/>
                <a:gd name="connsiteX0" fmla="*/ 3315679 w 3315679"/>
                <a:gd name="connsiteY0" fmla="*/ 0 h 257442"/>
                <a:gd name="connsiteX1" fmla="*/ 3260958 w 3315679"/>
                <a:gd name="connsiteY1" fmla="*/ 257442 h 257442"/>
                <a:gd name="connsiteX2" fmla="*/ 0 w 3315679"/>
                <a:gd name="connsiteY2" fmla="*/ 257442 h 257442"/>
                <a:gd name="connsiteX3" fmla="*/ 0 w 3315679"/>
                <a:gd name="connsiteY3" fmla="*/ 0 h 257442"/>
                <a:gd name="connsiteX0" fmla="*/ 942786 w 3260958"/>
                <a:gd name="connsiteY0" fmla="*/ 0 h 257442"/>
                <a:gd name="connsiteX1" fmla="*/ 3260958 w 3260958"/>
                <a:gd name="connsiteY1" fmla="*/ 257442 h 257442"/>
                <a:gd name="connsiteX2" fmla="*/ 0 w 3260958"/>
                <a:gd name="connsiteY2" fmla="*/ 257442 h 257442"/>
                <a:gd name="connsiteX3" fmla="*/ 0 w 3260958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1270248 w 1270248"/>
                <a:gd name="connsiteY0" fmla="*/ 0 h 257442"/>
                <a:gd name="connsiteX1" fmla="*/ 888065 w 1270248"/>
                <a:gd name="connsiteY1" fmla="*/ 257442 h 257442"/>
                <a:gd name="connsiteX2" fmla="*/ 0 w 1270248"/>
                <a:gd name="connsiteY2" fmla="*/ 257442 h 257442"/>
                <a:gd name="connsiteX3" fmla="*/ 0 w 1270248"/>
                <a:gd name="connsiteY3" fmla="*/ 0 h 257442"/>
                <a:gd name="connsiteX0" fmla="*/ 1270248 w 1270248"/>
                <a:gd name="connsiteY0" fmla="*/ 0 h 257442"/>
                <a:gd name="connsiteX1" fmla="*/ 1215527 w 1270248"/>
                <a:gd name="connsiteY1" fmla="*/ 257442 h 257442"/>
                <a:gd name="connsiteX2" fmla="*/ 0 w 1270248"/>
                <a:gd name="connsiteY2" fmla="*/ 257442 h 257442"/>
                <a:gd name="connsiteX3" fmla="*/ 0 w 1270248"/>
                <a:gd name="connsiteY3" fmla="*/ 0 h 257442"/>
                <a:gd name="connsiteX0" fmla="*/ 1270248 w 1270248"/>
                <a:gd name="connsiteY0" fmla="*/ 0 h 257442"/>
                <a:gd name="connsiteX1" fmla="*/ 1215527 w 1270248"/>
                <a:gd name="connsiteY1" fmla="*/ 257442 h 257442"/>
                <a:gd name="connsiteX2" fmla="*/ 0 w 1270248"/>
                <a:gd name="connsiteY2" fmla="*/ 257442 h 257442"/>
                <a:gd name="connsiteX3" fmla="*/ 0 w 1270248"/>
                <a:gd name="connsiteY3" fmla="*/ 0 h 257442"/>
                <a:gd name="connsiteX0" fmla="*/ 1270248 w 1270248"/>
                <a:gd name="connsiteY0" fmla="*/ 0 h 257442"/>
                <a:gd name="connsiteX1" fmla="*/ 1215527 w 1270248"/>
                <a:gd name="connsiteY1" fmla="*/ 257442 h 257442"/>
                <a:gd name="connsiteX2" fmla="*/ 0 w 1270248"/>
                <a:gd name="connsiteY2" fmla="*/ 257442 h 257442"/>
                <a:gd name="connsiteX3" fmla="*/ 0 w 1270248"/>
                <a:gd name="connsiteY3" fmla="*/ 0 h 257442"/>
                <a:gd name="connsiteX0" fmla="*/ 1438562 w 1438562"/>
                <a:gd name="connsiteY0" fmla="*/ 0 h 257442"/>
                <a:gd name="connsiteX1" fmla="*/ 1215527 w 1438562"/>
                <a:gd name="connsiteY1" fmla="*/ 257442 h 257442"/>
                <a:gd name="connsiteX2" fmla="*/ 0 w 1438562"/>
                <a:gd name="connsiteY2" fmla="*/ 257442 h 257442"/>
                <a:gd name="connsiteX3" fmla="*/ 0 w 1438562"/>
                <a:gd name="connsiteY3" fmla="*/ 0 h 257442"/>
                <a:gd name="connsiteX0" fmla="*/ 1438562 w 1438562"/>
                <a:gd name="connsiteY0" fmla="*/ 0 h 257442"/>
                <a:gd name="connsiteX1" fmla="*/ 1383841 w 1438562"/>
                <a:gd name="connsiteY1" fmla="*/ 257442 h 257442"/>
                <a:gd name="connsiteX2" fmla="*/ 0 w 1438562"/>
                <a:gd name="connsiteY2" fmla="*/ 257442 h 257442"/>
                <a:gd name="connsiteX3" fmla="*/ 0 w 1438562"/>
                <a:gd name="connsiteY3" fmla="*/ 0 h 257442"/>
                <a:gd name="connsiteX0" fmla="*/ 1438562 w 1438562"/>
                <a:gd name="connsiteY0" fmla="*/ 0 h 257442"/>
                <a:gd name="connsiteX1" fmla="*/ 1383841 w 1438562"/>
                <a:gd name="connsiteY1" fmla="*/ 257442 h 257442"/>
                <a:gd name="connsiteX2" fmla="*/ 0 w 1438562"/>
                <a:gd name="connsiteY2" fmla="*/ 257442 h 257442"/>
                <a:gd name="connsiteX3" fmla="*/ 0 w 1438562"/>
                <a:gd name="connsiteY3" fmla="*/ 0 h 257442"/>
                <a:gd name="connsiteX0" fmla="*/ 1438562 w 1438562"/>
                <a:gd name="connsiteY0" fmla="*/ 0 h 257442"/>
                <a:gd name="connsiteX1" fmla="*/ 1383841 w 1438562"/>
                <a:gd name="connsiteY1" fmla="*/ 257442 h 257442"/>
                <a:gd name="connsiteX2" fmla="*/ 0 w 1438562"/>
                <a:gd name="connsiteY2" fmla="*/ 257442 h 257442"/>
                <a:gd name="connsiteX3" fmla="*/ 0 w 1438562"/>
                <a:gd name="connsiteY3" fmla="*/ 0 h 257442"/>
                <a:gd name="connsiteX0" fmla="*/ 1707867 w 1707867"/>
                <a:gd name="connsiteY0" fmla="*/ 0 h 257442"/>
                <a:gd name="connsiteX1" fmla="*/ 1383841 w 1707867"/>
                <a:gd name="connsiteY1" fmla="*/ 257442 h 257442"/>
                <a:gd name="connsiteX2" fmla="*/ 0 w 1707867"/>
                <a:gd name="connsiteY2" fmla="*/ 257442 h 257442"/>
                <a:gd name="connsiteX3" fmla="*/ 0 w 1707867"/>
                <a:gd name="connsiteY3" fmla="*/ 0 h 257442"/>
                <a:gd name="connsiteX0" fmla="*/ 1707867 w 1707867"/>
                <a:gd name="connsiteY0" fmla="*/ 0 h 257442"/>
                <a:gd name="connsiteX1" fmla="*/ 1653146 w 1707867"/>
                <a:gd name="connsiteY1" fmla="*/ 257442 h 257442"/>
                <a:gd name="connsiteX2" fmla="*/ 0 w 1707867"/>
                <a:gd name="connsiteY2" fmla="*/ 257442 h 257442"/>
                <a:gd name="connsiteX3" fmla="*/ 0 w 1707867"/>
                <a:gd name="connsiteY3" fmla="*/ 0 h 257442"/>
                <a:gd name="connsiteX0" fmla="*/ 1707867 w 1707867"/>
                <a:gd name="connsiteY0" fmla="*/ 0 h 257442"/>
                <a:gd name="connsiteX1" fmla="*/ 1653146 w 1707867"/>
                <a:gd name="connsiteY1" fmla="*/ 257442 h 257442"/>
                <a:gd name="connsiteX2" fmla="*/ 0 w 1707867"/>
                <a:gd name="connsiteY2" fmla="*/ 257442 h 257442"/>
                <a:gd name="connsiteX3" fmla="*/ 0 w 1707867"/>
                <a:gd name="connsiteY3" fmla="*/ 0 h 257442"/>
                <a:gd name="connsiteX0" fmla="*/ 1707867 w 1707867"/>
                <a:gd name="connsiteY0" fmla="*/ 0 h 257442"/>
                <a:gd name="connsiteX1" fmla="*/ 1653146 w 1707867"/>
                <a:gd name="connsiteY1" fmla="*/ 257442 h 257442"/>
                <a:gd name="connsiteX2" fmla="*/ 0 w 1707867"/>
                <a:gd name="connsiteY2" fmla="*/ 257442 h 257442"/>
                <a:gd name="connsiteX3" fmla="*/ 0 w 1707867"/>
                <a:gd name="connsiteY3" fmla="*/ 0 h 257442"/>
                <a:gd name="connsiteX0" fmla="*/ 1876183 w 1876183"/>
                <a:gd name="connsiteY0" fmla="*/ 0 h 257442"/>
                <a:gd name="connsiteX1" fmla="*/ 1653146 w 1876183"/>
                <a:gd name="connsiteY1" fmla="*/ 257442 h 257442"/>
                <a:gd name="connsiteX2" fmla="*/ 0 w 1876183"/>
                <a:gd name="connsiteY2" fmla="*/ 257442 h 257442"/>
                <a:gd name="connsiteX3" fmla="*/ 0 w 1876183"/>
                <a:gd name="connsiteY3" fmla="*/ 0 h 257442"/>
                <a:gd name="connsiteX0" fmla="*/ 1876183 w 1876183"/>
                <a:gd name="connsiteY0" fmla="*/ 0 h 257442"/>
                <a:gd name="connsiteX1" fmla="*/ 1821462 w 1876183"/>
                <a:gd name="connsiteY1" fmla="*/ 257442 h 257442"/>
                <a:gd name="connsiteX2" fmla="*/ 0 w 1876183"/>
                <a:gd name="connsiteY2" fmla="*/ 257442 h 257442"/>
                <a:gd name="connsiteX3" fmla="*/ 0 w 1876183"/>
                <a:gd name="connsiteY3" fmla="*/ 0 h 257442"/>
                <a:gd name="connsiteX0" fmla="*/ 1876183 w 1876183"/>
                <a:gd name="connsiteY0" fmla="*/ 0 h 257442"/>
                <a:gd name="connsiteX1" fmla="*/ 1821462 w 1876183"/>
                <a:gd name="connsiteY1" fmla="*/ 257442 h 257442"/>
                <a:gd name="connsiteX2" fmla="*/ 0 w 1876183"/>
                <a:gd name="connsiteY2" fmla="*/ 257442 h 257442"/>
                <a:gd name="connsiteX3" fmla="*/ 0 w 1876183"/>
                <a:gd name="connsiteY3" fmla="*/ 0 h 257442"/>
                <a:gd name="connsiteX0" fmla="*/ 1876183 w 1876183"/>
                <a:gd name="connsiteY0" fmla="*/ 0 h 257442"/>
                <a:gd name="connsiteX1" fmla="*/ 1821462 w 1876183"/>
                <a:gd name="connsiteY1" fmla="*/ 257442 h 257442"/>
                <a:gd name="connsiteX2" fmla="*/ 0 w 1876183"/>
                <a:gd name="connsiteY2" fmla="*/ 257442 h 257442"/>
                <a:gd name="connsiteX3" fmla="*/ 0 w 1876183"/>
                <a:gd name="connsiteY3" fmla="*/ 0 h 257442"/>
                <a:gd name="connsiteX0" fmla="*/ 2044497 w 2044497"/>
                <a:gd name="connsiteY0" fmla="*/ 0 h 257442"/>
                <a:gd name="connsiteX1" fmla="*/ 1821462 w 2044497"/>
                <a:gd name="connsiteY1" fmla="*/ 257442 h 257442"/>
                <a:gd name="connsiteX2" fmla="*/ 0 w 2044497"/>
                <a:gd name="connsiteY2" fmla="*/ 257442 h 257442"/>
                <a:gd name="connsiteX3" fmla="*/ 0 w 2044497"/>
                <a:gd name="connsiteY3" fmla="*/ 0 h 257442"/>
                <a:gd name="connsiteX0" fmla="*/ 2044497 w 2044497"/>
                <a:gd name="connsiteY0" fmla="*/ 0 h 257442"/>
                <a:gd name="connsiteX1" fmla="*/ 1989776 w 2044497"/>
                <a:gd name="connsiteY1" fmla="*/ 257442 h 257442"/>
                <a:gd name="connsiteX2" fmla="*/ 0 w 2044497"/>
                <a:gd name="connsiteY2" fmla="*/ 257442 h 257442"/>
                <a:gd name="connsiteX3" fmla="*/ 0 w 2044497"/>
                <a:gd name="connsiteY3" fmla="*/ 0 h 257442"/>
                <a:gd name="connsiteX0" fmla="*/ 2044497 w 2044497"/>
                <a:gd name="connsiteY0" fmla="*/ 0 h 257442"/>
                <a:gd name="connsiteX1" fmla="*/ 1989776 w 2044497"/>
                <a:gd name="connsiteY1" fmla="*/ 257442 h 257442"/>
                <a:gd name="connsiteX2" fmla="*/ 0 w 2044497"/>
                <a:gd name="connsiteY2" fmla="*/ 257442 h 257442"/>
                <a:gd name="connsiteX3" fmla="*/ 0 w 2044497"/>
                <a:gd name="connsiteY3" fmla="*/ 0 h 257442"/>
                <a:gd name="connsiteX0" fmla="*/ 2044497 w 2044497"/>
                <a:gd name="connsiteY0" fmla="*/ 0 h 257442"/>
                <a:gd name="connsiteX1" fmla="*/ 1989776 w 2044497"/>
                <a:gd name="connsiteY1" fmla="*/ 257442 h 257442"/>
                <a:gd name="connsiteX2" fmla="*/ 0 w 2044497"/>
                <a:gd name="connsiteY2" fmla="*/ 257442 h 257442"/>
                <a:gd name="connsiteX3" fmla="*/ 0 w 2044497"/>
                <a:gd name="connsiteY3" fmla="*/ 0 h 257442"/>
                <a:gd name="connsiteX0" fmla="*/ 2212813 w 2212813"/>
                <a:gd name="connsiteY0" fmla="*/ 0 h 257442"/>
                <a:gd name="connsiteX1" fmla="*/ 1989776 w 2212813"/>
                <a:gd name="connsiteY1" fmla="*/ 257442 h 257442"/>
                <a:gd name="connsiteX2" fmla="*/ 0 w 2212813"/>
                <a:gd name="connsiteY2" fmla="*/ 257442 h 257442"/>
                <a:gd name="connsiteX3" fmla="*/ 0 w 2212813"/>
                <a:gd name="connsiteY3" fmla="*/ 0 h 257442"/>
                <a:gd name="connsiteX0" fmla="*/ 2212813 w 2212813"/>
                <a:gd name="connsiteY0" fmla="*/ 0 h 257442"/>
                <a:gd name="connsiteX1" fmla="*/ 2158092 w 2212813"/>
                <a:gd name="connsiteY1" fmla="*/ 257442 h 257442"/>
                <a:gd name="connsiteX2" fmla="*/ 0 w 2212813"/>
                <a:gd name="connsiteY2" fmla="*/ 257442 h 257442"/>
                <a:gd name="connsiteX3" fmla="*/ 0 w 2212813"/>
                <a:gd name="connsiteY3" fmla="*/ 0 h 257442"/>
                <a:gd name="connsiteX0" fmla="*/ 2212813 w 2212813"/>
                <a:gd name="connsiteY0" fmla="*/ 0 h 257442"/>
                <a:gd name="connsiteX1" fmla="*/ 2158092 w 2212813"/>
                <a:gd name="connsiteY1" fmla="*/ 257442 h 257442"/>
                <a:gd name="connsiteX2" fmla="*/ 0 w 2212813"/>
                <a:gd name="connsiteY2" fmla="*/ 257442 h 257442"/>
                <a:gd name="connsiteX3" fmla="*/ 0 w 2212813"/>
                <a:gd name="connsiteY3" fmla="*/ 0 h 257442"/>
                <a:gd name="connsiteX0" fmla="*/ 2212813 w 2212813"/>
                <a:gd name="connsiteY0" fmla="*/ 0 h 257442"/>
                <a:gd name="connsiteX1" fmla="*/ 2158092 w 2212813"/>
                <a:gd name="connsiteY1" fmla="*/ 257442 h 257442"/>
                <a:gd name="connsiteX2" fmla="*/ 0 w 2212813"/>
                <a:gd name="connsiteY2" fmla="*/ 257442 h 257442"/>
                <a:gd name="connsiteX3" fmla="*/ 0 w 2212813"/>
                <a:gd name="connsiteY3" fmla="*/ 0 h 257442"/>
                <a:gd name="connsiteX0" fmla="*/ 2381128 w 2381128"/>
                <a:gd name="connsiteY0" fmla="*/ 0 h 257442"/>
                <a:gd name="connsiteX1" fmla="*/ 2158092 w 2381128"/>
                <a:gd name="connsiteY1" fmla="*/ 257442 h 257442"/>
                <a:gd name="connsiteX2" fmla="*/ 0 w 2381128"/>
                <a:gd name="connsiteY2" fmla="*/ 257442 h 257442"/>
                <a:gd name="connsiteX3" fmla="*/ 0 w 2381128"/>
                <a:gd name="connsiteY3" fmla="*/ 0 h 257442"/>
                <a:gd name="connsiteX0" fmla="*/ 2381128 w 2381128"/>
                <a:gd name="connsiteY0" fmla="*/ 0 h 257442"/>
                <a:gd name="connsiteX1" fmla="*/ 2326406 w 2381128"/>
                <a:gd name="connsiteY1" fmla="*/ 257442 h 257442"/>
                <a:gd name="connsiteX2" fmla="*/ 0 w 2381128"/>
                <a:gd name="connsiteY2" fmla="*/ 257442 h 257442"/>
                <a:gd name="connsiteX3" fmla="*/ 0 w 2381128"/>
                <a:gd name="connsiteY3" fmla="*/ 0 h 257442"/>
                <a:gd name="connsiteX0" fmla="*/ 2381129 w 2381129"/>
                <a:gd name="connsiteY0" fmla="*/ 0 h 257442"/>
                <a:gd name="connsiteX1" fmla="*/ 2326407 w 2381129"/>
                <a:gd name="connsiteY1" fmla="*/ 257442 h 257442"/>
                <a:gd name="connsiteX2" fmla="*/ 0 w 2381129"/>
                <a:gd name="connsiteY2" fmla="*/ 257442 h 257442"/>
                <a:gd name="connsiteX3" fmla="*/ 1 w 2381129"/>
                <a:gd name="connsiteY3" fmla="*/ 0 h 257442"/>
                <a:gd name="connsiteX0" fmla="*/ 2381129 w 2381129"/>
                <a:gd name="connsiteY0" fmla="*/ 0 h 257442"/>
                <a:gd name="connsiteX1" fmla="*/ 2326407 w 2381129"/>
                <a:gd name="connsiteY1" fmla="*/ 257442 h 257442"/>
                <a:gd name="connsiteX2" fmla="*/ 0 w 2381129"/>
                <a:gd name="connsiteY2" fmla="*/ 257442 h 257442"/>
                <a:gd name="connsiteX3" fmla="*/ 1 w 2381129"/>
                <a:gd name="connsiteY3" fmla="*/ 0 h 257442"/>
                <a:gd name="connsiteX0" fmla="*/ 2541429 w 2541429"/>
                <a:gd name="connsiteY0" fmla="*/ 0 h 257442"/>
                <a:gd name="connsiteX1" fmla="*/ 2326407 w 2541429"/>
                <a:gd name="connsiteY1" fmla="*/ 257442 h 257442"/>
                <a:gd name="connsiteX2" fmla="*/ 0 w 2541429"/>
                <a:gd name="connsiteY2" fmla="*/ 257442 h 257442"/>
                <a:gd name="connsiteX3" fmla="*/ 1 w 2541429"/>
                <a:gd name="connsiteY3" fmla="*/ 0 h 257442"/>
                <a:gd name="connsiteX0" fmla="*/ 2541429 w 2541429"/>
                <a:gd name="connsiteY0" fmla="*/ 0 h 257442"/>
                <a:gd name="connsiteX1" fmla="*/ 2486708 w 2541429"/>
                <a:gd name="connsiteY1" fmla="*/ 257442 h 257442"/>
                <a:gd name="connsiteX2" fmla="*/ 0 w 2541429"/>
                <a:gd name="connsiteY2" fmla="*/ 257442 h 257442"/>
                <a:gd name="connsiteX3" fmla="*/ 1 w 2541429"/>
                <a:gd name="connsiteY3" fmla="*/ 0 h 257442"/>
                <a:gd name="connsiteX0" fmla="*/ 2541428 w 2541428"/>
                <a:gd name="connsiteY0" fmla="*/ 0 h 257442"/>
                <a:gd name="connsiteX1" fmla="*/ 2486707 w 2541428"/>
                <a:gd name="connsiteY1" fmla="*/ 257442 h 257442"/>
                <a:gd name="connsiteX2" fmla="*/ 0 w 2541428"/>
                <a:gd name="connsiteY2" fmla="*/ 257442 h 257442"/>
                <a:gd name="connsiteX3" fmla="*/ 0 w 2541428"/>
                <a:gd name="connsiteY3" fmla="*/ 0 h 257442"/>
                <a:gd name="connsiteX0" fmla="*/ 2541429 w 2541429"/>
                <a:gd name="connsiteY0" fmla="*/ 0 h 257442"/>
                <a:gd name="connsiteX1" fmla="*/ 2486708 w 2541429"/>
                <a:gd name="connsiteY1" fmla="*/ 257442 h 257442"/>
                <a:gd name="connsiteX2" fmla="*/ 1 w 2541429"/>
                <a:gd name="connsiteY2" fmla="*/ 257442 h 257442"/>
                <a:gd name="connsiteX3" fmla="*/ 0 w 2541429"/>
                <a:gd name="connsiteY3" fmla="*/ 0 h 257442"/>
                <a:gd name="connsiteX0" fmla="*/ 2862030 w 2862030"/>
                <a:gd name="connsiteY0" fmla="*/ 0 h 257442"/>
                <a:gd name="connsiteX1" fmla="*/ 2486708 w 2862030"/>
                <a:gd name="connsiteY1" fmla="*/ 257442 h 257442"/>
                <a:gd name="connsiteX2" fmla="*/ 1 w 2862030"/>
                <a:gd name="connsiteY2" fmla="*/ 257442 h 257442"/>
                <a:gd name="connsiteX3" fmla="*/ 0 w 2862030"/>
                <a:gd name="connsiteY3" fmla="*/ 0 h 257442"/>
                <a:gd name="connsiteX0" fmla="*/ 2862030 w 2862030"/>
                <a:gd name="connsiteY0" fmla="*/ 0 h 257442"/>
                <a:gd name="connsiteX1" fmla="*/ 2807308 w 2862030"/>
                <a:gd name="connsiteY1" fmla="*/ 257442 h 257442"/>
                <a:gd name="connsiteX2" fmla="*/ 1 w 2862030"/>
                <a:gd name="connsiteY2" fmla="*/ 257442 h 257442"/>
                <a:gd name="connsiteX3" fmla="*/ 0 w 2862030"/>
                <a:gd name="connsiteY3" fmla="*/ 0 h 257442"/>
                <a:gd name="connsiteX0" fmla="*/ 2862030 w 2862030"/>
                <a:gd name="connsiteY0" fmla="*/ 0 h 257442"/>
                <a:gd name="connsiteX1" fmla="*/ 2807308 w 2862030"/>
                <a:gd name="connsiteY1" fmla="*/ 257442 h 257442"/>
                <a:gd name="connsiteX2" fmla="*/ 0 w 2862030"/>
                <a:gd name="connsiteY2" fmla="*/ 257442 h 257442"/>
                <a:gd name="connsiteX3" fmla="*/ 0 w 2862030"/>
                <a:gd name="connsiteY3" fmla="*/ 0 h 257442"/>
                <a:gd name="connsiteX0" fmla="*/ 2862030 w 2862030"/>
                <a:gd name="connsiteY0" fmla="*/ 0 h 257442"/>
                <a:gd name="connsiteX1" fmla="*/ 2807308 w 2862030"/>
                <a:gd name="connsiteY1" fmla="*/ 257442 h 257442"/>
                <a:gd name="connsiteX2" fmla="*/ 0 w 2862030"/>
                <a:gd name="connsiteY2" fmla="*/ 257442 h 257442"/>
                <a:gd name="connsiteX3" fmla="*/ 0 w 2862030"/>
                <a:gd name="connsiteY3" fmla="*/ 0 h 257442"/>
                <a:gd name="connsiteX0" fmla="*/ 3022329 w 3022329"/>
                <a:gd name="connsiteY0" fmla="*/ 0 h 257442"/>
                <a:gd name="connsiteX1" fmla="*/ 2807308 w 3022329"/>
                <a:gd name="connsiteY1" fmla="*/ 257442 h 257442"/>
                <a:gd name="connsiteX2" fmla="*/ 0 w 3022329"/>
                <a:gd name="connsiteY2" fmla="*/ 257442 h 257442"/>
                <a:gd name="connsiteX3" fmla="*/ 0 w 3022329"/>
                <a:gd name="connsiteY3" fmla="*/ 0 h 257442"/>
                <a:gd name="connsiteX0" fmla="*/ 3022329 w 3022329"/>
                <a:gd name="connsiteY0" fmla="*/ 0 h 257442"/>
                <a:gd name="connsiteX1" fmla="*/ 2967608 w 3022329"/>
                <a:gd name="connsiteY1" fmla="*/ 257442 h 257442"/>
                <a:gd name="connsiteX2" fmla="*/ 0 w 3022329"/>
                <a:gd name="connsiteY2" fmla="*/ 257442 h 257442"/>
                <a:gd name="connsiteX3" fmla="*/ 0 w 3022329"/>
                <a:gd name="connsiteY3" fmla="*/ 0 h 257442"/>
                <a:gd name="connsiteX0" fmla="*/ 3022329 w 3022329"/>
                <a:gd name="connsiteY0" fmla="*/ 0 h 257442"/>
                <a:gd name="connsiteX1" fmla="*/ 2967608 w 3022329"/>
                <a:gd name="connsiteY1" fmla="*/ 257442 h 257442"/>
                <a:gd name="connsiteX2" fmla="*/ 0 w 3022329"/>
                <a:gd name="connsiteY2" fmla="*/ 257442 h 257442"/>
                <a:gd name="connsiteX3" fmla="*/ 0 w 3022329"/>
                <a:gd name="connsiteY3" fmla="*/ 0 h 257442"/>
                <a:gd name="connsiteX0" fmla="*/ 3022329 w 3022329"/>
                <a:gd name="connsiteY0" fmla="*/ 0 h 257442"/>
                <a:gd name="connsiteX1" fmla="*/ 2967608 w 3022329"/>
                <a:gd name="connsiteY1" fmla="*/ 257442 h 257442"/>
                <a:gd name="connsiteX2" fmla="*/ 0 w 3022329"/>
                <a:gd name="connsiteY2" fmla="*/ 257442 h 257442"/>
                <a:gd name="connsiteX3" fmla="*/ 0 w 3022329"/>
                <a:gd name="connsiteY3" fmla="*/ 0 h 257442"/>
                <a:gd name="connsiteX0" fmla="*/ 3182630 w 3182630"/>
                <a:gd name="connsiteY0" fmla="*/ 0 h 257442"/>
                <a:gd name="connsiteX1" fmla="*/ 2967608 w 3182630"/>
                <a:gd name="connsiteY1" fmla="*/ 257442 h 257442"/>
                <a:gd name="connsiteX2" fmla="*/ 0 w 3182630"/>
                <a:gd name="connsiteY2" fmla="*/ 257442 h 257442"/>
                <a:gd name="connsiteX3" fmla="*/ 0 w 3182630"/>
                <a:gd name="connsiteY3" fmla="*/ 0 h 257442"/>
                <a:gd name="connsiteX0" fmla="*/ 3182630 w 3182630"/>
                <a:gd name="connsiteY0" fmla="*/ 0 h 257442"/>
                <a:gd name="connsiteX1" fmla="*/ 3127908 w 3182630"/>
                <a:gd name="connsiteY1" fmla="*/ 257442 h 257442"/>
                <a:gd name="connsiteX2" fmla="*/ 0 w 3182630"/>
                <a:gd name="connsiteY2" fmla="*/ 257442 h 257442"/>
                <a:gd name="connsiteX3" fmla="*/ 0 w 3182630"/>
                <a:gd name="connsiteY3" fmla="*/ 0 h 257442"/>
                <a:gd name="connsiteX0" fmla="*/ 3182631 w 3182631"/>
                <a:gd name="connsiteY0" fmla="*/ 0 h 257442"/>
                <a:gd name="connsiteX1" fmla="*/ 3127909 w 3182631"/>
                <a:gd name="connsiteY1" fmla="*/ 257442 h 257442"/>
                <a:gd name="connsiteX2" fmla="*/ 0 w 3182631"/>
                <a:gd name="connsiteY2" fmla="*/ 257442 h 257442"/>
                <a:gd name="connsiteX3" fmla="*/ 1 w 3182631"/>
                <a:gd name="connsiteY3" fmla="*/ 0 h 257442"/>
                <a:gd name="connsiteX0" fmla="*/ 3182631 w 3182631"/>
                <a:gd name="connsiteY0" fmla="*/ 0 h 257442"/>
                <a:gd name="connsiteX1" fmla="*/ 3127909 w 3182631"/>
                <a:gd name="connsiteY1" fmla="*/ 257442 h 257442"/>
                <a:gd name="connsiteX2" fmla="*/ 0 w 3182631"/>
                <a:gd name="connsiteY2" fmla="*/ 257442 h 257442"/>
                <a:gd name="connsiteX3" fmla="*/ 1 w 3182631"/>
                <a:gd name="connsiteY3" fmla="*/ 0 h 257442"/>
                <a:gd name="connsiteX0" fmla="*/ 3342931 w 3342931"/>
                <a:gd name="connsiteY0" fmla="*/ 0 h 257442"/>
                <a:gd name="connsiteX1" fmla="*/ 3127909 w 3342931"/>
                <a:gd name="connsiteY1" fmla="*/ 257442 h 257442"/>
                <a:gd name="connsiteX2" fmla="*/ 0 w 3342931"/>
                <a:gd name="connsiteY2" fmla="*/ 257442 h 257442"/>
                <a:gd name="connsiteX3" fmla="*/ 1 w 3342931"/>
                <a:gd name="connsiteY3" fmla="*/ 0 h 257442"/>
                <a:gd name="connsiteX0" fmla="*/ 3342931 w 3342931"/>
                <a:gd name="connsiteY0" fmla="*/ 0 h 257442"/>
                <a:gd name="connsiteX1" fmla="*/ 3288210 w 3342931"/>
                <a:gd name="connsiteY1" fmla="*/ 257442 h 257442"/>
                <a:gd name="connsiteX2" fmla="*/ 0 w 3342931"/>
                <a:gd name="connsiteY2" fmla="*/ 257442 h 257442"/>
                <a:gd name="connsiteX3" fmla="*/ 1 w 3342931"/>
                <a:gd name="connsiteY3" fmla="*/ 0 h 257442"/>
                <a:gd name="connsiteX0" fmla="*/ 3342930 w 3342930"/>
                <a:gd name="connsiteY0" fmla="*/ 0 h 257442"/>
                <a:gd name="connsiteX1" fmla="*/ 3288209 w 3342930"/>
                <a:gd name="connsiteY1" fmla="*/ 257442 h 257442"/>
                <a:gd name="connsiteX2" fmla="*/ 0 w 3342930"/>
                <a:gd name="connsiteY2" fmla="*/ 257442 h 257442"/>
                <a:gd name="connsiteX3" fmla="*/ 0 w 3342930"/>
                <a:gd name="connsiteY3" fmla="*/ 0 h 257442"/>
                <a:gd name="connsiteX0" fmla="*/ 3342931 w 3342931"/>
                <a:gd name="connsiteY0" fmla="*/ 0 h 257442"/>
                <a:gd name="connsiteX1" fmla="*/ 3288210 w 3342931"/>
                <a:gd name="connsiteY1" fmla="*/ 257442 h 257442"/>
                <a:gd name="connsiteX2" fmla="*/ 1 w 3342931"/>
                <a:gd name="connsiteY2" fmla="*/ 257442 h 257442"/>
                <a:gd name="connsiteX3" fmla="*/ 0 w 3342931"/>
                <a:gd name="connsiteY3" fmla="*/ 0 h 257442"/>
                <a:gd name="connsiteX0" fmla="*/ 3673149 w 3673149"/>
                <a:gd name="connsiteY0" fmla="*/ 0 h 257442"/>
                <a:gd name="connsiteX1" fmla="*/ 3288210 w 3673149"/>
                <a:gd name="connsiteY1" fmla="*/ 257442 h 257442"/>
                <a:gd name="connsiteX2" fmla="*/ 1 w 3673149"/>
                <a:gd name="connsiteY2" fmla="*/ 257442 h 257442"/>
                <a:gd name="connsiteX3" fmla="*/ 0 w 3673149"/>
                <a:gd name="connsiteY3" fmla="*/ 0 h 257442"/>
                <a:gd name="connsiteX0" fmla="*/ 3673149 w 3673149"/>
                <a:gd name="connsiteY0" fmla="*/ 0 h 257442"/>
                <a:gd name="connsiteX1" fmla="*/ 3618428 w 3673149"/>
                <a:gd name="connsiteY1" fmla="*/ 257442 h 257442"/>
                <a:gd name="connsiteX2" fmla="*/ 1 w 3673149"/>
                <a:gd name="connsiteY2" fmla="*/ 257442 h 257442"/>
                <a:gd name="connsiteX3" fmla="*/ 0 w 3673149"/>
                <a:gd name="connsiteY3" fmla="*/ 0 h 257442"/>
                <a:gd name="connsiteX0" fmla="*/ 3673149 w 3673149"/>
                <a:gd name="connsiteY0" fmla="*/ 0 h 257442"/>
                <a:gd name="connsiteX1" fmla="*/ 3618428 w 3673149"/>
                <a:gd name="connsiteY1" fmla="*/ 257442 h 257442"/>
                <a:gd name="connsiteX2" fmla="*/ 1 w 3673149"/>
                <a:gd name="connsiteY2" fmla="*/ 257442 h 257442"/>
                <a:gd name="connsiteX3" fmla="*/ 0 w 3673149"/>
                <a:gd name="connsiteY3" fmla="*/ 0 h 257442"/>
                <a:gd name="connsiteX0" fmla="*/ 3673148 w 3673148"/>
                <a:gd name="connsiteY0" fmla="*/ 0 h 257442"/>
                <a:gd name="connsiteX1" fmla="*/ 3618427 w 3673148"/>
                <a:gd name="connsiteY1" fmla="*/ 257442 h 257442"/>
                <a:gd name="connsiteX2" fmla="*/ 0 w 3673148"/>
                <a:gd name="connsiteY2" fmla="*/ 257442 h 257442"/>
                <a:gd name="connsiteX3" fmla="*/ 0 w 3673148"/>
                <a:gd name="connsiteY3" fmla="*/ 0 h 257442"/>
                <a:gd name="connsiteX0" fmla="*/ 3833448 w 3833448"/>
                <a:gd name="connsiteY0" fmla="*/ 0 h 257442"/>
                <a:gd name="connsiteX1" fmla="*/ 3618427 w 3833448"/>
                <a:gd name="connsiteY1" fmla="*/ 257442 h 257442"/>
                <a:gd name="connsiteX2" fmla="*/ 0 w 3833448"/>
                <a:gd name="connsiteY2" fmla="*/ 257442 h 257442"/>
                <a:gd name="connsiteX3" fmla="*/ 0 w 3833448"/>
                <a:gd name="connsiteY3" fmla="*/ 0 h 257442"/>
                <a:gd name="connsiteX0" fmla="*/ 3833448 w 3833448"/>
                <a:gd name="connsiteY0" fmla="*/ 0 h 257442"/>
                <a:gd name="connsiteX1" fmla="*/ 3778727 w 3833448"/>
                <a:gd name="connsiteY1" fmla="*/ 257442 h 257442"/>
                <a:gd name="connsiteX2" fmla="*/ 0 w 3833448"/>
                <a:gd name="connsiteY2" fmla="*/ 257442 h 257442"/>
                <a:gd name="connsiteX3" fmla="*/ 0 w 3833448"/>
                <a:gd name="connsiteY3" fmla="*/ 0 h 257442"/>
                <a:gd name="connsiteX0" fmla="*/ 3833449 w 3833449"/>
                <a:gd name="connsiteY0" fmla="*/ 0 h 257442"/>
                <a:gd name="connsiteX1" fmla="*/ 3778728 w 3833449"/>
                <a:gd name="connsiteY1" fmla="*/ 257442 h 257442"/>
                <a:gd name="connsiteX2" fmla="*/ 0 w 3833449"/>
                <a:gd name="connsiteY2" fmla="*/ 257442 h 257442"/>
                <a:gd name="connsiteX3" fmla="*/ 1 w 3833449"/>
                <a:gd name="connsiteY3" fmla="*/ 0 h 257442"/>
                <a:gd name="connsiteX0" fmla="*/ 3833449 w 3833449"/>
                <a:gd name="connsiteY0" fmla="*/ 0 h 257442"/>
                <a:gd name="connsiteX1" fmla="*/ 3778728 w 3833449"/>
                <a:gd name="connsiteY1" fmla="*/ 257442 h 257442"/>
                <a:gd name="connsiteX2" fmla="*/ 0 w 3833449"/>
                <a:gd name="connsiteY2" fmla="*/ 257442 h 257442"/>
                <a:gd name="connsiteX3" fmla="*/ 1 w 3833449"/>
                <a:gd name="connsiteY3" fmla="*/ 0 h 257442"/>
                <a:gd name="connsiteX0" fmla="*/ 4019398 w 4019398"/>
                <a:gd name="connsiteY0" fmla="*/ 0 h 257442"/>
                <a:gd name="connsiteX1" fmla="*/ 3778728 w 4019398"/>
                <a:gd name="connsiteY1" fmla="*/ 257442 h 257442"/>
                <a:gd name="connsiteX2" fmla="*/ 0 w 4019398"/>
                <a:gd name="connsiteY2" fmla="*/ 257442 h 257442"/>
                <a:gd name="connsiteX3" fmla="*/ 1 w 4019398"/>
                <a:gd name="connsiteY3" fmla="*/ 0 h 257442"/>
                <a:gd name="connsiteX0" fmla="*/ 4019398 w 4019398"/>
                <a:gd name="connsiteY0" fmla="*/ 0 h 257442"/>
                <a:gd name="connsiteX1" fmla="*/ 3964676 w 4019398"/>
                <a:gd name="connsiteY1" fmla="*/ 257442 h 257442"/>
                <a:gd name="connsiteX2" fmla="*/ 0 w 4019398"/>
                <a:gd name="connsiteY2" fmla="*/ 257442 h 257442"/>
                <a:gd name="connsiteX3" fmla="*/ 1 w 4019398"/>
                <a:gd name="connsiteY3" fmla="*/ 0 h 257442"/>
                <a:gd name="connsiteX0" fmla="*/ 4019398 w 4019398"/>
                <a:gd name="connsiteY0" fmla="*/ 0 h 257442"/>
                <a:gd name="connsiteX1" fmla="*/ 3964676 w 4019398"/>
                <a:gd name="connsiteY1" fmla="*/ 257442 h 257442"/>
                <a:gd name="connsiteX2" fmla="*/ 0 w 4019398"/>
                <a:gd name="connsiteY2" fmla="*/ 257442 h 257442"/>
                <a:gd name="connsiteX3" fmla="*/ 1 w 4019398"/>
                <a:gd name="connsiteY3" fmla="*/ 0 h 257442"/>
                <a:gd name="connsiteX0" fmla="*/ 4019398 w 4019398"/>
                <a:gd name="connsiteY0" fmla="*/ 0 h 257442"/>
                <a:gd name="connsiteX1" fmla="*/ 3964676 w 4019398"/>
                <a:gd name="connsiteY1" fmla="*/ 257442 h 257442"/>
                <a:gd name="connsiteX2" fmla="*/ 0 w 4019398"/>
                <a:gd name="connsiteY2" fmla="*/ 257442 h 257442"/>
                <a:gd name="connsiteX3" fmla="*/ 0 w 4019398"/>
                <a:gd name="connsiteY3" fmla="*/ 0 h 257442"/>
                <a:gd name="connsiteX0" fmla="*/ 4179697 w 4179697"/>
                <a:gd name="connsiteY0" fmla="*/ 0 h 257442"/>
                <a:gd name="connsiteX1" fmla="*/ 3964676 w 4179697"/>
                <a:gd name="connsiteY1" fmla="*/ 257442 h 257442"/>
                <a:gd name="connsiteX2" fmla="*/ 0 w 4179697"/>
                <a:gd name="connsiteY2" fmla="*/ 257442 h 257442"/>
                <a:gd name="connsiteX3" fmla="*/ 0 w 4179697"/>
                <a:gd name="connsiteY3" fmla="*/ 0 h 257442"/>
                <a:gd name="connsiteX0" fmla="*/ 4179697 w 4179697"/>
                <a:gd name="connsiteY0" fmla="*/ 0 h 257442"/>
                <a:gd name="connsiteX1" fmla="*/ 4124976 w 4179697"/>
                <a:gd name="connsiteY1" fmla="*/ 257442 h 257442"/>
                <a:gd name="connsiteX2" fmla="*/ 0 w 4179697"/>
                <a:gd name="connsiteY2" fmla="*/ 257442 h 257442"/>
                <a:gd name="connsiteX3" fmla="*/ 0 w 4179697"/>
                <a:gd name="connsiteY3" fmla="*/ 0 h 257442"/>
                <a:gd name="connsiteX0" fmla="*/ 4179697 w 4179697"/>
                <a:gd name="connsiteY0" fmla="*/ 0 h 257442"/>
                <a:gd name="connsiteX1" fmla="*/ 4124976 w 4179697"/>
                <a:gd name="connsiteY1" fmla="*/ 257442 h 257442"/>
                <a:gd name="connsiteX2" fmla="*/ 0 w 4179697"/>
                <a:gd name="connsiteY2" fmla="*/ 257442 h 257442"/>
                <a:gd name="connsiteX3" fmla="*/ 0 w 4179697"/>
                <a:gd name="connsiteY3" fmla="*/ 0 h 257442"/>
                <a:gd name="connsiteX0" fmla="*/ 4179697 w 4179697"/>
                <a:gd name="connsiteY0" fmla="*/ 0 h 257442"/>
                <a:gd name="connsiteX1" fmla="*/ 4124976 w 4179697"/>
                <a:gd name="connsiteY1" fmla="*/ 257442 h 257442"/>
                <a:gd name="connsiteX2" fmla="*/ 0 w 4179697"/>
                <a:gd name="connsiteY2" fmla="*/ 257442 h 257442"/>
                <a:gd name="connsiteX3" fmla="*/ 0 w 4179697"/>
                <a:gd name="connsiteY3" fmla="*/ 0 h 257442"/>
                <a:gd name="connsiteX0" fmla="*/ 4348013 w 4348013"/>
                <a:gd name="connsiteY0" fmla="*/ 0 h 257442"/>
                <a:gd name="connsiteX1" fmla="*/ 4124976 w 4348013"/>
                <a:gd name="connsiteY1" fmla="*/ 257442 h 257442"/>
                <a:gd name="connsiteX2" fmla="*/ 0 w 4348013"/>
                <a:gd name="connsiteY2" fmla="*/ 257442 h 257442"/>
                <a:gd name="connsiteX3" fmla="*/ 0 w 4348013"/>
                <a:gd name="connsiteY3" fmla="*/ 0 h 257442"/>
                <a:gd name="connsiteX0" fmla="*/ 4348013 w 4348013"/>
                <a:gd name="connsiteY0" fmla="*/ 0 h 257442"/>
                <a:gd name="connsiteX1" fmla="*/ 4293292 w 4348013"/>
                <a:gd name="connsiteY1" fmla="*/ 257442 h 257442"/>
                <a:gd name="connsiteX2" fmla="*/ 0 w 4348013"/>
                <a:gd name="connsiteY2" fmla="*/ 257442 h 257442"/>
                <a:gd name="connsiteX3" fmla="*/ 0 w 4348013"/>
                <a:gd name="connsiteY3" fmla="*/ 0 h 257442"/>
                <a:gd name="connsiteX0" fmla="*/ 4348013 w 4348013"/>
                <a:gd name="connsiteY0" fmla="*/ 0 h 257442"/>
                <a:gd name="connsiteX1" fmla="*/ 4293292 w 4348013"/>
                <a:gd name="connsiteY1" fmla="*/ 257442 h 257442"/>
                <a:gd name="connsiteX2" fmla="*/ 0 w 4348013"/>
                <a:gd name="connsiteY2" fmla="*/ 257442 h 257442"/>
                <a:gd name="connsiteX3" fmla="*/ 0 w 4348013"/>
                <a:gd name="connsiteY3" fmla="*/ 0 h 257442"/>
                <a:gd name="connsiteX0" fmla="*/ 4348013 w 4348013"/>
                <a:gd name="connsiteY0" fmla="*/ 0 h 257442"/>
                <a:gd name="connsiteX1" fmla="*/ 4293292 w 4348013"/>
                <a:gd name="connsiteY1" fmla="*/ 257442 h 257442"/>
                <a:gd name="connsiteX2" fmla="*/ 0 w 4348013"/>
                <a:gd name="connsiteY2" fmla="*/ 257442 h 257442"/>
                <a:gd name="connsiteX3" fmla="*/ 0 w 4348013"/>
                <a:gd name="connsiteY3" fmla="*/ 0 h 257442"/>
                <a:gd name="connsiteX0" fmla="*/ 4598530 w 4598530"/>
                <a:gd name="connsiteY0" fmla="*/ 0 h 257442"/>
                <a:gd name="connsiteX1" fmla="*/ 4293292 w 4598530"/>
                <a:gd name="connsiteY1" fmla="*/ 257442 h 257442"/>
                <a:gd name="connsiteX2" fmla="*/ 0 w 4598530"/>
                <a:gd name="connsiteY2" fmla="*/ 257442 h 257442"/>
                <a:gd name="connsiteX3" fmla="*/ 0 w 4598530"/>
                <a:gd name="connsiteY3" fmla="*/ 0 h 257442"/>
                <a:gd name="connsiteX0" fmla="*/ 4598530 w 4598530"/>
                <a:gd name="connsiteY0" fmla="*/ 0 h 257442"/>
                <a:gd name="connsiteX1" fmla="*/ 4543808 w 4598530"/>
                <a:gd name="connsiteY1" fmla="*/ 257442 h 257442"/>
                <a:gd name="connsiteX2" fmla="*/ 0 w 4598530"/>
                <a:gd name="connsiteY2" fmla="*/ 257442 h 257442"/>
                <a:gd name="connsiteX3" fmla="*/ 0 w 4598530"/>
                <a:gd name="connsiteY3" fmla="*/ 0 h 257442"/>
                <a:gd name="connsiteX0" fmla="*/ 4598531 w 4598531"/>
                <a:gd name="connsiteY0" fmla="*/ 0 h 257442"/>
                <a:gd name="connsiteX1" fmla="*/ 4543809 w 4598531"/>
                <a:gd name="connsiteY1" fmla="*/ 257442 h 257442"/>
                <a:gd name="connsiteX2" fmla="*/ 0 w 4598531"/>
                <a:gd name="connsiteY2" fmla="*/ 257442 h 257442"/>
                <a:gd name="connsiteX3" fmla="*/ 1 w 4598531"/>
                <a:gd name="connsiteY3" fmla="*/ 0 h 257442"/>
                <a:gd name="connsiteX0" fmla="*/ 4598531 w 4598531"/>
                <a:gd name="connsiteY0" fmla="*/ 0 h 257442"/>
                <a:gd name="connsiteX1" fmla="*/ 4543809 w 4598531"/>
                <a:gd name="connsiteY1" fmla="*/ 257442 h 257442"/>
                <a:gd name="connsiteX2" fmla="*/ 0 w 4598531"/>
                <a:gd name="connsiteY2" fmla="*/ 257442 h 257442"/>
                <a:gd name="connsiteX3" fmla="*/ 1 w 4598531"/>
                <a:gd name="connsiteY3" fmla="*/ 0 h 257442"/>
                <a:gd name="connsiteX0" fmla="*/ 950802 w 4543809"/>
                <a:gd name="connsiteY0" fmla="*/ 0 h 257442"/>
                <a:gd name="connsiteX1" fmla="*/ 4543809 w 4543809"/>
                <a:gd name="connsiteY1" fmla="*/ 257442 h 257442"/>
                <a:gd name="connsiteX2" fmla="*/ 0 w 4543809"/>
                <a:gd name="connsiteY2" fmla="*/ 257442 h 257442"/>
                <a:gd name="connsiteX3" fmla="*/ 1 w 4543809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0 w 950802"/>
                <a:gd name="connsiteY2" fmla="*/ 257442 h 257442"/>
                <a:gd name="connsiteX3" fmla="*/ 1 w 95080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1128734 w 1128734"/>
                <a:gd name="connsiteY0" fmla="*/ 0 h 257442"/>
                <a:gd name="connsiteX1" fmla="*/ 896080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2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314683 w 1314683"/>
                <a:gd name="connsiteY0" fmla="*/ 0 h 257442"/>
                <a:gd name="connsiteX1" fmla="*/ 1074013 w 1314683"/>
                <a:gd name="connsiteY1" fmla="*/ 257442 h 257442"/>
                <a:gd name="connsiteX2" fmla="*/ 0 w 1314683"/>
                <a:gd name="connsiteY2" fmla="*/ 257442 h 257442"/>
                <a:gd name="connsiteX3" fmla="*/ 1 w 1314683"/>
                <a:gd name="connsiteY3" fmla="*/ 0 h 257442"/>
                <a:gd name="connsiteX0" fmla="*/ 1314683 w 1314683"/>
                <a:gd name="connsiteY0" fmla="*/ 0 h 257442"/>
                <a:gd name="connsiteX1" fmla="*/ 1259962 w 1314683"/>
                <a:gd name="connsiteY1" fmla="*/ 257442 h 257442"/>
                <a:gd name="connsiteX2" fmla="*/ 0 w 1314683"/>
                <a:gd name="connsiteY2" fmla="*/ 257442 h 257442"/>
                <a:gd name="connsiteX3" fmla="*/ 1 w 1314683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3 w 1314683"/>
                <a:gd name="connsiteY0" fmla="*/ 0 h 257442"/>
                <a:gd name="connsiteX1" fmla="*/ 1259962 w 1314683"/>
                <a:gd name="connsiteY1" fmla="*/ 257442 h 257442"/>
                <a:gd name="connsiteX2" fmla="*/ 1 w 1314683"/>
                <a:gd name="connsiteY2" fmla="*/ 257442 h 257442"/>
                <a:gd name="connsiteX3" fmla="*/ 0 w 1314683"/>
                <a:gd name="connsiteY3" fmla="*/ 0 h 257442"/>
                <a:gd name="connsiteX0" fmla="*/ 1474984 w 1474984"/>
                <a:gd name="connsiteY0" fmla="*/ 0 h 257442"/>
                <a:gd name="connsiteX1" fmla="*/ 1259962 w 1474984"/>
                <a:gd name="connsiteY1" fmla="*/ 257442 h 257442"/>
                <a:gd name="connsiteX2" fmla="*/ 1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1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635283 w 1635283"/>
                <a:gd name="connsiteY0" fmla="*/ 0 h 257442"/>
                <a:gd name="connsiteX1" fmla="*/ 14202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888557 w 1888557"/>
                <a:gd name="connsiteY0" fmla="*/ 0 h 257442"/>
                <a:gd name="connsiteX1" fmla="*/ 1580562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2141832 w 2141832"/>
                <a:gd name="connsiteY0" fmla="*/ 0 h 257442"/>
                <a:gd name="connsiteX1" fmla="*/ 1833836 w 2141832"/>
                <a:gd name="connsiteY1" fmla="*/ 257442 h 257442"/>
                <a:gd name="connsiteX2" fmla="*/ 0 w 2141832"/>
                <a:gd name="connsiteY2" fmla="*/ 257442 h 257442"/>
                <a:gd name="connsiteX3" fmla="*/ 0 w 2141832"/>
                <a:gd name="connsiteY3" fmla="*/ 0 h 257442"/>
                <a:gd name="connsiteX0" fmla="*/ 2141832 w 2141832"/>
                <a:gd name="connsiteY0" fmla="*/ 0 h 257442"/>
                <a:gd name="connsiteX1" fmla="*/ 2087110 w 2141832"/>
                <a:gd name="connsiteY1" fmla="*/ 257442 h 257442"/>
                <a:gd name="connsiteX2" fmla="*/ 0 w 2141832"/>
                <a:gd name="connsiteY2" fmla="*/ 257442 h 257442"/>
                <a:gd name="connsiteX3" fmla="*/ 0 w 2141832"/>
                <a:gd name="connsiteY3" fmla="*/ 0 h 257442"/>
                <a:gd name="connsiteX0" fmla="*/ 2141833 w 2141833"/>
                <a:gd name="connsiteY0" fmla="*/ 0 h 257442"/>
                <a:gd name="connsiteX1" fmla="*/ 2087111 w 2141833"/>
                <a:gd name="connsiteY1" fmla="*/ 257442 h 257442"/>
                <a:gd name="connsiteX2" fmla="*/ 0 w 2141833"/>
                <a:gd name="connsiteY2" fmla="*/ 257442 h 257442"/>
                <a:gd name="connsiteX3" fmla="*/ 1 w 2141833"/>
                <a:gd name="connsiteY3" fmla="*/ 0 h 257442"/>
                <a:gd name="connsiteX0" fmla="*/ 2141833 w 2141833"/>
                <a:gd name="connsiteY0" fmla="*/ 0 h 257442"/>
                <a:gd name="connsiteX1" fmla="*/ 2087111 w 2141833"/>
                <a:gd name="connsiteY1" fmla="*/ 257442 h 257442"/>
                <a:gd name="connsiteX2" fmla="*/ 0 w 2141833"/>
                <a:gd name="connsiteY2" fmla="*/ 257442 h 257442"/>
                <a:gd name="connsiteX3" fmla="*/ 1 w 2141833"/>
                <a:gd name="connsiteY3" fmla="*/ 0 h 257442"/>
                <a:gd name="connsiteX0" fmla="*/ 2302133 w 2302133"/>
                <a:gd name="connsiteY0" fmla="*/ 0 h 257442"/>
                <a:gd name="connsiteX1" fmla="*/ 2087111 w 2302133"/>
                <a:gd name="connsiteY1" fmla="*/ 257442 h 257442"/>
                <a:gd name="connsiteX2" fmla="*/ 0 w 2302133"/>
                <a:gd name="connsiteY2" fmla="*/ 257442 h 257442"/>
                <a:gd name="connsiteX3" fmla="*/ 1 w 2302133"/>
                <a:gd name="connsiteY3" fmla="*/ 0 h 257442"/>
                <a:gd name="connsiteX0" fmla="*/ 2302133 w 2302133"/>
                <a:gd name="connsiteY0" fmla="*/ 0 h 257442"/>
                <a:gd name="connsiteX1" fmla="*/ 2247412 w 2302133"/>
                <a:gd name="connsiteY1" fmla="*/ 257442 h 257442"/>
                <a:gd name="connsiteX2" fmla="*/ 0 w 2302133"/>
                <a:gd name="connsiteY2" fmla="*/ 257442 h 257442"/>
                <a:gd name="connsiteX3" fmla="*/ 1 w 2302133"/>
                <a:gd name="connsiteY3" fmla="*/ 0 h 257442"/>
                <a:gd name="connsiteX0" fmla="*/ 2302132 w 2302132"/>
                <a:gd name="connsiteY0" fmla="*/ 0 h 257442"/>
                <a:gd name="connsiteX1" fmla="*/ 2247411 w 2302132"/>
                <a:gd name="connsiteY1" fmla="*/ 257442 h 257442"/>
                <a:gd name="connsiteX2" fmla="*/ 0 w 2302132"/>
                <a:gd name="connsiteY2" fmla="*/ 257442 h 257442"/>
                <a:gd name="connsiteX3" fmla="*/ 0 w 2302132"/>
                <a:gd name="connsiteY3" fmla="*/ 0 h 257442"/>
                <a:gd name="connsiteX0" fmla="*/ 2302133 w 2302133"/>
                <a:gd name="connsiteY0" fmla="*/ 0 h 257442"/>
                <a:gd name="connsiteX1" fmla="*/ 2247412 w 2302133"/>
                <a:gd name="connsiteY1" fmla="*/ 257442 h 257442"/>
                <a:gd name="connsiteX2" fmla="*/ 1 w 2302133"/>
                <a:gd name="connsiteY2" fmla="*/ 257442 h 257442"/>
                <a:gd name="connsiteX3" fmla="*/ 0 w 2302133"/>
                <a:gd name="connsiteY3" fmla="*/ 0 h 257442"/>
                <a:gd name="connsiteX0" fmla="*/ 2462433 w 2462433"/>
                <a:gd name="connsiteY0" fmla="*/ 0 h 257442"/>
                <a:gd name="connsiteX1" fmla="*/ 22474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3 w 2462433"/>
                <a:gd name="connsiteY0" fmla="*/ 0 h 257442"/>
                <a:gd name="connsiteX1" fmla="*/ 24077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3 w 2462433"/>
                <a:gd name="connsiteY0" fmla="*/ 0 h 257442"/>
                <a:gd name="connsiteX1" fmla="*/ 24077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2 w 2462432"/>
                <a:gd name="connsiteY0" fmla="*/ 0 h 257442"/>
                <a:gd name="connsiteX1" fmla="*/ 2407711 w 2462432"/>
                <a:gd name="connsiteY1" fmla="*/ 257442 h 257442"/>
                <a:gd name="connsiteX2" fmla="*/ 0 w 2462432"/>
                <a:gd name="connsiteY2" fmla="*/ 257442 h 257442"/>
                <a:gd name="connsiteX3" fmla="*/ 0 w 2462432"/>
                <a:gd name="connsiteY3" fmla="*/ 0 h 257442"/>
                <a:gd name="connsiteX0" fmla="*/ 2715706 w 2715706"/>
                <a:gd name="connsiteY0" fmla="*/ 0 h 257442"/>
                <a:gd name="connsiteX1" fmla="*/ 2407711 w 2715706"/>
                <a:gd name="connsiteY1" fmla="*/ 257442 h 257442"/>
                <a:gd name="connsiteX2" fmla="*/ 0 w 2715706"/>
                <a:gd name="connsiteY2" fmla="*/ 257442 h 257442"/>
                <a:gd name="connsiteX3" fmla="*/ 0 w 2715706"/>
                <a:gd name="connsiteY3" fmla="*/ 0 h 257442"/>
                <a:gd name="connsiteX0" fmla="*/ 2715706 w 2715706"/>
                <a:gd name="connsiteY0" fmla="*/ 0 h 257442"/>
                <a:gd name="connsiteX1" fmla="*/ 2660985 w 2715706"/>
                <a:gd name="connsiteY1" fmla="*/ 257442 h 257442"/>
                <a:gd name="connsiteX2" fmla="*/ 0 w 2715706"/>
                <a:gd name="connsiteY2" fmla="*/ 257442 h 257442"/>
                <a:gd name="connsiteX3" fmla="*/ 0 w 2715706"/>
                <a:gd name="connsiteY3" fmla="*/ 0 h 257442"/>
                <a:gd name="connsiteX0" fmla="*/ 2715707 w 2715707"/>
                <a:gd name="connsiteY0" fmla="*/ 0 h 257442"/>
                <a:gd name="connsiteX1" fmla="*/ 2660986 w 2715707"/>
                <a:gd name="connsiteY1" fmla="*/ 257442 h 257442"/>
                <a:gd name="connsiteX2" fmla="*/ 0 w 2715707"/>
                <a:gd name="connsiteY2" fmla="*/ 257442 h 257442"/>
                <a:gd name="connsiteX3" fmla="*/ 1 w 2715707"/>
                <a:gd name="connsiteY3" fmla="*/ 0 h 257442"/>
                <a:gd name="connsiteX0" fmla="*/ 2715707 w 2715707"/>
                <a:gd name="connsiteY0" fmla="*/ 0 h 257442"/>
                <a:gd name="connsiteX1" fmla="*/ 2660986 w 2715707"/>
                <a:gd name="connsiteY1" fmla="*/ 257442 h 257442"/>
                <a:gd name="connsiteX2" fmla="*/ 0 w 2715707"/>
                <a:gd name="connsiteY2" fmla="*/ 257442 h 257442"/>
                <a:gd name="connsiteX3" fmla="*/ 1 w 2715707"/>
                <a:gd name="connsiteY3" fmla="*/ 0 h 257442"/>
                <a:gd name="connsiteX0" fmla="*/ 2884024 w 2884024"/>
                <a:gd name="connsiteY0" fmla="*/ 0 h 257442"/>
                <a:gd name="connsiteX1" fmla="*/ 2660986 w 2884024"/>
                <a:gd name="connsiteY1" fmla="*/ 257442 h 257442"/>
                <a:gd name="connsiteX2" fmla="*/ 0 w 2884024"/>
                <a:gd name="connsiteY2" fmla="*/ 257442 h 257442"/>
                <a:gd name="connsiteX3" fmla="*/ 1 w 2884024"/>
                <a:gd name="connsiteY3" fmla="*/ 0 h 257442"/>
                <a:gd name="connsiteX0" fmla="*/ 2884024 w 2884024"/>
                <a:gd name="connsiteY0" fmla="*/ 0 h 257442"/>
                <a:gd name="connsiteX1" fmla="*/ 2829302 w 2884024"/>
                <a:gd name="connsiteY1" fmla="*/ 257442 h 257442"/>
                <a:gd name="connsiteX2" fmla="*/ 0 w 2884024"/>
                <a:gd name="connsiteY2" fmla="*/ 257442 h 257442"/>
                <a:gd name="connsiteX3" fmla="*/ 1 w 2884024"/>
                <a:gd name="connsiteY3" fmla="*/ 0 h 257442"/>
                <a:gd name="connsiteX0" fmla="*/ 2884024 w 2884024"/>
                <a:gd name="connsiteY0" fmla="*/ 0 h 257442"/>
                <a:gd name="connsiteX1" fmla="*/ 2829302 w 2884024"/>
                <a:gd name="connsiteY1" fmla="*/ 257442 h 257442"/>
                <a:gd name="connsiteX2" fmla="*/ 0 w 2884024"/>
                <a:gd name="connsiteY2" fmla="*/ 257442 h 257442"/>
                <a:gd name="connsiteX3" fmla="*/ 1 w 2884024"/>
                <a:gd name="connsiteY3" fmla="*/ 0 h 257442"/>
                <a:gd name="connsiteX0" fmla="*/ 2884024 w 2884024"/>
                <a:gd name="connsiteY0" fmla="*/ 0 h 257442"/>
                <a:gd name="connsiteX1" fmla="*/ 2829302 w 2884024"/>
                <a:gd name="connsiteY1" fmla="*/ 257442 h 257442"/>
                <a:gd name="connsiteX2" fmla="*/ 0 w 2884024"/>
                <a:gd name="connsiteY2" fmla="*/ 257442 h 257442"/>
                <a:gd name="connsiteX3" fmla="*/ 0 w 2884024"/>
                <a:gd name="connsiteY3" fmla="*/ 0 h 257442"/>
                <a:gd name="connsiteX0" fmla="*/ 3052337 w 3052337"/>
                <a:gd name="connsiteY0" fmla="*/ 0 h 257442"/>
                <a:gd name="connsiteX1" fmla="*/ 2829302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220653 w 3220653"/>
                <a:gd name="connsiteY0" fmla="*/ 0 h 257442"/>
                <a:gd name="connsiteX1" fmla="*/ 2997616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220653 w 3220653"/>
                <a:gd name="connsiteY0" fmla="*/ 0 h 257442"/>
                <a:gd name="connsiteX1" fmla="*/ 3165932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220653 w 3220653"/>
                <a:gd name="connsiteY0" fmla="*/ 0 h 257442"/>
                <a:gd name="connsiteX1" fmla="*/ 3165932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220653 w 3220653"/>
                <a:gd name="connsiteY0" fmla="*/ 0 h 257442"/>
                <a:gd name="connsiteX1" fmla="*/ 3165932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380954 w 3380954"/>
                <a:gd name="connsiteY0" fmla="*/ 0 h 257442"/>
                <a:gd name="connsiteX1" fmla="*/ 3165932 w 3380954"/>
                <a:gd name="connsiteY1" fmla="*/ 257442 h 257442"/>
                <a:gd name="connsiteX2" fmla="*/ 0 w 3380954"/>
                <a:gd name="connsiteY2" fmla="*/ 257442 h 257442"/>
                <a:gd name="connsiteX3" fmla="*/ 0 w 3380954"/>
                <a:gd name="connsiteY3" fmla="*/ 0 h 257442"/>
                <a:gd name="connsiteX0" fmla="*/ 3380954 w 3380954"/>
                <a:gd name="connsiteY0" fmla="*/ 0 h 257442"/>
                <a:gd name="connsiteX1" fmla="*/ 3326232 w 3380954"/>
                <a:gd name="connsiteY1" fmla="*/ 257442 h 257442"/>
                <a:gd name="connsiteX2" fmla="*/ 0 w 3380954"/>
                <a:gd name="connsiteY2" fmla="*/ 257442 h 257442"/>
                <a:gd name="connsiteX3" fmla="*/ 0 w 3380954"/>
                <a:gd name="connsiteY3" fmla="*/ 0 h 257442"/>
                <a:gd name="connsiteX0" fmla="*/ 3380955 w 3380955"/>
                <a:gd name="connsiteY0" fmla="*/ 0 h 257442"/>
                <a:gd name="connsiteX1" fmla="*/ 3326233 w 3380955"/>
                <a:gd name="connsiteY1" fmla="*/ 257442 h 257442"/>
                <a:gd name="connsiteX2" fmla="*/ 0 w 3380955"/>
                <a:gd name="connsiteY2" fmla="*/ 257442 h 257442"/>
                <a:gd name="connsiteX3" fmla="*/ 1 w 3380955"/>
                <a:gd name="connsiteY3" fmla="*/ 0 h 257442"/>
                <a:gd name="connsiteX0" fmla="*/ 3380955 w 3380955"/>
                <a:gd name="connsiteY0" fmla="*/ 0 h 257442"/>
                <a:gd name="connsiteX1" fmla="*/ 3326233 w 3380955"/>
                <a:gd name="connsiteY1" fmla="*/ 257442 h 257442"/>
                <a:gd name="connsiteX2" fmla="*/ 0 w 3380955"/>
                <a:gd name="connsiteY2" fmla="*/ 257442 h 257442"/>
                <a:gd name="connsiteX3" fmla="*/ 1 w 3380955"/>
                <a:gd name="connsiteY3" fmla="*/ 0 h 257442"/>
                <a:gd name="connsiteX0" fmla="*/ 3549269 w 3549269"/>
                <a:gd name="connsiteY0" fmla="*/ 0 h 257442"/>
                <a:gd name="connsiteX1" fmla="*/ 3326233 w 3549269"/>
                <a:gd name="connsiteY1" fmla="*/ 257442 h 257442"/>
                <a:gd name="connsiteX2" fmla="*/ 0 w 3549269"/>
                <a:gd name="connsiteY2" fmla="*/ 257442 h 257442"/>
                <a:gd name="connsiteX3" fmla="*/ 1 w 3549269"/>
                <a:gd name="connsiteY3" fmla="*/ 0 h 257442"/>
                <a:gd name="connsiteX0" fmla="*/ 3549269 w 3549269"/>
                <a:gd name="connsiteY0" fmla="*/ 0 h 257442"/>
                <a:gd name="connsiteX1" fmla="*/ 3494548 w 3549269"/>
                <a:gd name="connsiteY1" fmla="*/ 257442 h 257442"/>
                <a:gd name="connsiteX2" fmla="*/ 0 w 3549269"/>
                <a:gd name="connsiteY2" fmla="*/ 257442 h 257442"/>
                <a:gd name="connsiteX3" fmla="*/ 1 w 3549269"/>
                <a:gd name="connsiteY3" fmla="*/ 0 h 257442"/>
                <a:gd name="connsiteX0" fmla="*/ 3549268 w 3549268"/>
                <a:gd name="connsiteY0" fmla="*/ 0 h 257442"/>
                <a:gd name="connsiteX1" fmla="*/ 3494547 w 3549268"/>
                <a:gd name="connsiteY1" fmla="*/ 257442 h 257442"/>
                <a:gd name="connsiteX2" fmla="*/ 0 w 3549268"/>
                <a:gd name="connsiteY2" fmla="*/ 257442 h 257442"/>
                <a:gd name="connsiteX3" fmla="*/ 0 w 3549268"/>
                <a:gd name="connsiteY3" fmla="*/ 0 h 257442"/>
                <a:gd name="connsiteX0" fmla="*/ 3549269 w 3549269"/>
                <a:gd name="connsiteY0" fmla="*/ 0 h 257442"/>
                <a:gd name="connsiteX1" fmla="*/ 3494548 w 3549269"/>
                <a:gd name="connsiteY1" fmla="*/ 257442 h 257442"/>
                <a:gd name="connsiteX2" fmla="*/ 1 w 3549269"/>
                <a:gd name="connsiteY2" fmla="*/ 257442 h 257442"/>
                <a:gd name="connsiteX3" fmla="*/ 0 w 3549269"/>
                <a:gd name="connsiteY3" fmla="*/ 0 h 257442"/>
                <a:gd name="connsiteX0" fmla="*/ 3717585 w 3717585"/>
                <a:gd name="connsiteY0" fmla="*/ 0 h 257442"/>
                <a:gd name="connsiteX1" fmla="*/ 3494548 w 3717585"/>
                <a:gd name="connsiteY1" fmla="*/ 257442 h 257442"/>
                <a:gd name="connsiteX2" fmla="*/ 1 w 3717585"/>
                <a:gd name="connsiteY2" fmla="*/ 257442 h 257442"/>
                <a:gd name="connsiteX3" fmla="*/ 0 w 3717585"/>
                <a:gd name="connsiteY3" fmla="*/ 0 h 257442"/>
                <a:gd name="connsiteX0" fmla="*/ 3717585 w 3717585"/>
                <a:gd name="connsiteY0" fmla="*/ 0 h 257442"/>
                <a:gd name="connsiteX1" fmla="*/ 3662864 w 3717585"/>
                <a:gd name="connsiteY1" fmla="*/ 257442 h 257442"/>
                <a:gd name="connsiteX2" fmla="*/ 1 w 3717585"/>
                <a:gd name="connsiteY2" fmla="*/ 257442 h 257442"/>
                <a:gd name="connsiteX3" fmla="*/ 0 w 3717585"/>
                <a:gd name="connsiteY3" fmla="*/ 0 h 257442"/>
                <a:gd name="connsiteX0" fmla="*/ 3717585 w 3717585"/>
                <a:gd name="connsiteY0" fmla="*/ 0 h 257442"/>
                <a:gd name="connsiteX1" fmla="*/ 3662864 w 3717585"/>
                <a:gd name="connsiteY1" fmla="*/ 257442 h 257442"/>
                <a:gd name="connsiteX2" fmla="*/ 1 w 3717585"/>
                <a:gd name="connsiteY2" fmla="*/ 257442 h 257442"/>
                <a:gd name="connsiteX3" fmla="*/ 0 w 3717585"/>
                <a:gd name="connsiteY3" fmla="*/ 0 h 257442"/>
                <a:gd name="connsiteX0" fmla="*/ 3717584 w 3717584"/>
                <a:gd name="connsiteY0" fmla="*/ 0 h 257442"/>
                <a:gd name="connsiteX1" fmla="*/ 3662863 w 3717584"/>
                <a:gd name="connsiteY1" fmla="*/ 257442 h 257442"/>
                <a:gd name="connsiteX2" fmla="*/ 0 w 3717584"/>
                <a:gd name="connsiteY2" fmla="*/ 257442 h 257442"/>
                <a:gd name="connsiteX3" fmla="*/ 0 w 3717584"/>
                <a:gd name="connsiteY3" fmla="*/ 0 h 257442"/>
                <a:gd name="connsiteX0" fmla="*/ 3877884 w 3877884"/>
                <a:gd name="connsiteY0" fmla="*/ 0 h 257442"/>
                <a:gd name="connsiteX1" fmla="*/ 3662863 w 3877884"/>
                <a:gd name="connsiteY1" fmla="*/ 257442 h 257442"/>
                <a:gd name="connsiteX2" fmla="*/ 0 w 3877884"/>
                <a:gd name="connsiteY2" fmla="*/ 257442 h 257442"/>
                <a:gd name="connsiteX3" fmla="*/ 0 w 3877884"/>
                <a:gd name="connsiteY3" fmla="*/ 0 h 257442"/>
                <a:gd name="connsiteX0" fmla="*/ 3877884 w 3877884"/>
                <a:gd name="connsiteY0" fmla="*/ 0 h 257442"/>
                <a:gd name="connsiteX1" fmla="*/ 3823163 w 3877884"/>
                <a:gd name="connsiteY1" fmla="*/ 257442 h 257442"/>
                <a:gd name="connsiteX2" fmla="*/ 0 w 3877884"/>
                <a:gd name="connsiteY2" fmla="*/ 257442 h 257442"/>
                <a:gd name="connsiteX3" fmla="*/ 0 w 3877884"/>
                <a:gd name="connsiteY3" fmla="*/ 0 h 257442"/>
                <a:gd name="connsiteX0" fmla="*/ 3877885 w 3877885"/>
                <a:gd name="connsiteY0" fmla="*/ 0 h 257442"/>
                <a:gd name="connsiteX1" fmla="*/ 3823164 w 3877885"/>
                <a:gd name="connsiteY1" fmla="*/ 257442 h 257442"/>
                <a:gd name="connsiteX2" fmla="*/ 0 w 3877885"/>
                <a:gd name="connsiteY2" fmla="*/ 257442 h 257442"/>
                <a:gd name="connsiteX3" fmla="*/ 1 w 3877885"/>
                <a:gd name="connsiteY3" fmla="*/ 0 h 257442"/>
                <a:gd name="connsiteX0" fmla="*/ 3877885 w 3877885"/>
                <a:gd name="connsiteY0" fmla="*/ 0 h 257442"/>
                <a:gd name="connsiteX1" fmla="*/ 3823164 w 3877885"/>
                <a:gd name="connsiteY1" fmla="*/ 257442 h 257442"/>
                <a:gd name="connsiteX2" fmla="*/ 0 w 3877885"/>
                <a:gd name="connsiteY2" fmla="*/ 257442 h 257442"/>
                <a:gd name="connsiteX3" fmla="*/ 1 w 3877885"/>
                <a:gd name="connsiteY3" fmla="*/ 0 h 257442"/>
                <a:gd name="connsiteX0" fmla="*/ 4038186 w 4038186"/>
                <a:gd name="connsiteY0" fmla="*/ 0 h 257442"/>
                <a:gd name="connsiteX1" fmla="*/ 3823164 w 4038186"/>
                <a:gd name="connsiteY1" fmla="*/ 257442 h 257442"/>
                <a:gd name="connsiteX2" fmla="*/ 0 w 4038186"/>
                <a:gd name="connsiteY2" fmla="*/ 257442 h 257442"/>
                <a:gd name="connsiteX3" fmla="*/ 1 w 4038186"/>
                <a:gd name="connsiteY3" fmla="*/ 0 h 257442"/>
                <a:gd name="connsiteX0" fmla="*/ 4038186 w 4038186"/>
                <a:gd name="connsiteY0" fmla="*/ 0 h 257442"/>
                <a:gd name="connsiteX1" fmla="*/ 3983464 w 4038186"/>
                <a:gd name="connsiteY1" fmla="*/ 257442 h 257442"/>
                <a:gd name="connsiteX2" fmla="*/ 0 w 4038186"/>
                <a:gd name="connsiteY2" fmla="*/ 257442 h 257442"/>
                <a:gd name="connsiteX3" fmla="*/ 1 w 4038186"/>
                <a:gd name="connsiteY3" fmla="*/ 0 h 257442"/>
                <a:gd name="connsiteX0" fmla="*/ 4038186 w 4038186"/>
                <a:gd name="connsiteY0" fmla="*/ 0 h 257442"/>
                <a:gd name="connsiteX1" fmla="*/ 3983464 w 4038186"/>
                <a:gd name="connsiteY1" fmla="*/ 257442 h 257442"/>
                <a:gd name="connsiteX2" fmla="*/ 0 w 4038186"/>
                <a:gd name="connsiteY2" fmla="*/ 257442 h 257442"/>
                <a:gd name="connsiteX3" fmla="*/ 1 w 4038186"/>
                <a:gd name="connsiteY3" fmla="*/ 0 h 257442"/>
                <a:gd name="connsiteX0" fmla="*/ 4038186 w 4038186"/>
                <a:gd name="connsiteY0" fmla="*/ 0 h 257442"/>
                <a:gd name="connsiteX1" fmla="*/ 3983464 w 4038186"/>
                <a:gd name="connsiteY1" fmla="*/ 257442 h 257442"/>
                <a:gd name="connsiteX2" fmla="*/ 0 w 4038186"/>
                <a:gd name="connsiteY2" fmla="*/ 257442 h 257442"/>
                <a:gd name="connsiteX3" fmla="*/ 0 w 4038186"/>
                <a:gd name="connsiteY3" fmla="*/ 0 h 257442"/>
                <a:gd name="connsiteX0" fmla="*/ 950801 w 3983464"/>
                <a:gd name="connsiteY0" fmla="*/ 0 h 257442"/>
                <a:gd name="connsiteX1" fmla="*/ 3983464 w 3983464"/>
                <a:gd name="connsiteY1" fmla="*/ 257442 h 257442"/>
                <a:gd name="connsiteX2" fmla="*/ 0 w 3983464"/>
                <a:gd name="connsiteY2" fmla="*/ 257442 h 257442"/>
                <a:gd name="connsiteX3" fmla="*/ 0 w 3983464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229723 w 1229723"/>
                <a:gd name="connsiteY0" fmla="*/ 0 h 257442"/>
                <a:gd name="connsiteX1" fmla="*/ 896079 w 1229723"/>
                <a:gd name="connsiteY1" fmla="*/ 257442 h 257442"/>
                <a:gd name="connsiteX2" fmla="*/ 0 w 1229723"/>
                <a:gd name="connsiteY2" fmla="*/ 257442 h 257442"/>
                <a:gd name="connsiteX3" fmla="*/ 0 w 1229723"/>
                <a:gd name="connsiteY3" fmla="*/ 0 h 257442"/>
                <a:gd name="connsiteX0" fmla="*/ 1229723 w 1229723"/>
                <a:gd name="connsiteY0" fmla="*/ 0 h 257442"/>
                <a:gd name="connsiteX1" fmla="*/ 1175002 w 1229723"/>
                <a:gd name="connsiteY1" fmla="*/ 257442 h 257442"/>
                <a:gd name="connsiteX2" fmla="*/ 0 w 1229723"/>
                <a:gd name="connsiteY2" fmla="*/ 257442 h 257442"/>
                <a:gd name="connsiteX3" fmla="*/ 0 w 1229723"/>
                <a:gd name="connsiteY3" fmla="*/ 0 h 257442"/>
                <a:gd name="connsiteX0" fmla="*/ 1229724 w 1229724"/>
                <a:gd name="connsiteY0" fmla="*/ 0 h 257442"/>
                <a:gd name="connsiteX1" fmla="*/ 1175003 w 1229724"/>
                <a:gd name="connsiteY1" fmla="*/ 257442 h 257442"/>
                <a:gd name="connsiteX2" fmla="*/ 0 w 1229724"/>
                <a:gd name="connsiteY2" fmla="*/ 257442 h 257442"/>
                <a:gd name="connsiteX3" fmla="*/ 1 w 1229724"/>
                <a:gd name="connsiteY3" fmla="*/ 0 h 257442"/>
                <a:gd name="connsiteX0" fmla="*/ 1229724 w 1229724"/>
                <a:gd name="connsiteY0" fmla="*/ 0 h 257442"/>
                <a:gd name="connsiteX1" fmla="*/ 1175003 w 1229724"/>
                <a:gd name="connsiteY1" fmla="*/ 257442 h 257442"/>
                <a:gd name="connsiteX2" fmla="*/ 0 w 1229724"/>
                <a:gd name="connsiteY2" fmla="*/ 257442 h 257442"/>
                <a:gd name="connsiteX3" fmla="*/ 0 w 1229724"/>
                <a:gd name="connsiteY3" fmla="*/ 0 h 257442"/>
                <a:gd name="connsiteX0" fmla="*/ 1482998 w 1482998"/>
                <a:gd name="connsiteY0" fmla="*/ 0 h 257442"/>
                <a:gd name="connsiteX1" fmla="*/ 1175003 w 1482998"/>
                <a:gd name="connsiteY1" fmla="*/ 257442 h 257442"/>
                <a:gd name="connsiteX2" fmla="*/ 0 w 1482998"/>
                <a:gd name="connsiteY2" fmla="*/ 257442 h 257442"/>
                <a:gd name="connsiteX3" fmla="*/ 0 w 1482998"/>
                <a:gd name="connsiteY3" fmla="*/ 0 h 257442"/>
                <a:gd name="connsiteX0" fmla="*/ 1482998 w 1482998"/>
                <a:gd name="connsiteY0" fmla="*/ 0 h 257442"/>
                <a:gd name="connsiteX1" fmla="*/ 1428277 w 1482998"/>
                <a:gd name="connsiteY1" fmla="*/ 257442 h 257442"/>
                <a:gd name="connsiteX2" fmla="*/ 0 w 1482998"/>
                <a:gd name="connsiteY2" fmla="*/ 257442 h 257442"/>
                <a:gd name="connsiteX3" fmla="*/ 0 w 1482998"/>
                <a:gd name="connsiteY3" fmla="*/ 0 h 257442"/>
                <a:gd name="connsiteX0" fmla="*/ 1482998 w 1482998"/>
                <a:gd name="connsiteY0" fmla="*/ 0 h 257442"/>
                <a:gd name="connsiteX1" fmla="*/ 1428277 w 1482998"/>
                <a:gd name="connsiteY1" fmla="*/ 257442 h 257442"/>
                <a:gd name="connsiteX2" fmla="*/ 0 w 1482998"/>
                <a:gd name="connsiteY2" fmla="*/ 257442 h 257442"/>
                <a:gd name="connsiteX3" fmla="*/ 0 w 1482998"/>
                <a:gd name="connsiteY3" fmla="*/ 0 h 257442"/>
                <a:gd name="connsiteX0" fmla="*/ 1482998 w 1482998"/>
                <a:gd name="connsiteY0" fmla="*/ 0 h 257442"/>
                <a:gd name="connsiteX1" fmla="*/ 1428277 w 1482998"/>
                <a:gd name="connsiteY1" fmla="*/ 257442 h 257442"/>
                <a:gd name="connsiteX2" fmla="*/ 0 w 1482998"/>
                <a:gd name="connsiteY2" fmla="*/ 257442 h 257442"/>
                <a:gd name="connsiteX3" fmla="*/ 0 w 1482998"/>
                <a:gd name="connsiteY3" fmla="*/ 0 h 257442"/>
                <a:gd name="connsiteX0" fmla="*/ 1792185 w 1792185"/>
                <a:gd name="connsiteY0" fmla="*/ 0 h 257442"/>
                <a:gd name="connsiteX1" fmla="*/ 1428277 w 1792185"/>
                <a:gd name="connsiteY1" fmla="*/ 257442 h 257442"/>
                <a:gd name="connsiteX2" fmla="*/ 0 w 1792185"/>
                <a:gd name="connsiteY2" fmla="*/ 257442 h 257442"/>
                <a:gd name="connsiteX3" fmla="*/ 0 w 1792185"/>
                <a:gd name="connsiteY3" fmla="*/ 0 h 257442"/>
                <a:gd name="connsiteX0" fmla="*/ 1792185 w 1792185"/>
                <a:gd name="connsiteY0" fmla="*/ 0 h 257442"/>
                <a:gd name="connsiteX1" fmla="*/ 1737464 w 1792185"/>
                <a:gd name="connsiteY1" fmla="*/ 257442 h 257442"/>
                <a:gd name="connsiteX2" fmla="*/ 0 w 1792185"/>
                <a:gd name="connsiteY2" fmla="*/ 257442 h 257442"/>
                <a:gd name="connsiteX3" fmla="*/ 0 w 1792185"/>
                <a:gd name="connsiteY3" fmla="*/ 0 h 257442"/>
                <a:gd name="connsiteX0" fmla="*/ 1792185 w 1792185"/>
                <a:gd name="connsiteY0" fmla="*/ 0 h 257442"/>
                <a:gd name="connsiteX1" fmla="*/ 1737464 w 1792185"/>
                <a:gd name="connsiteY1" fmla="*/ 257442 h 257442"/>
                <a:gd name="connsiteX2" fmla="*/ 0 w 1792185"/>
                <a:gd name="connsiteY2" fmla="*/ 257442 h 257442"/>
                <a:gd name="connsiteX3" fmla="*/ 0 w 1792185"/>
                <a:gd name="connsiteY3" fmla="*/ 0 h 257442"/>
                <a:gd name="connsiteX0" fmla="*/ 1792185 w 1792185"/>
                <a:gd name="connsiteY0" fmla="*/ 0 h 257442"/>
                <a:gd name="connsiteX1" fmla="*/ 1737464 w 1792185"/>
                <a:gd name="connsiteY1" fmla="*/ 257442 h 257442"/>
                <a:gd name="connsiteX2" fmla="*/ 0 w 1792185"/>
                <a:gd name="connsiteY2" fmla="*/ 257442 h 257442"/>
                <a:gd name="connsiteX3" fmla="*/ 0 w 1792185"/>
                <a:gd name="connsiteY3" fmla="*/ 0 h 257442"/>
                <a:gd name="connsiteX0" fmla="*/ 2050718 w 2050718"/>
                <a:gd name="connsiteY0" fmla="*/ 0 h 257442"/>
                <a:gd name="connsiteX1" fmla="*/ 1737464 w 2050718"/>
                <a:gd name="connsiteY1" fmla="*/ 257442 h 257442"/>
                <a:gd name="connsiteX2" fmla="*/ 0 w 2050718"/>
                <a:gd name="connsiteY2" fmla="*/ 257442 h 257442"/>
                <a:gd name="connsiteX3" fmla="*/ 0 w 2050718"/>
                <a:gd name="connsiteY3" fmla="*/ 0 h 257442"/>
                <a:gd name="connsiteX0" fmla="*/ 2050718 w 2050718"/>
                <a:gd name="connsiteY0" fmla="*/ 0 h 257442"/>
                <a:gd name="connsiteX1" fmla="*/ 1995996 w 2050718"/>
                <a:gd name="connsiteY1" fmla="*/ 257442 h 257442"/>
                <a:gd name="connsiteX2" fmla="*/ 0 w 2050718"/>
                <a:gd name="connsiteY2" fmla="*/ 257442 h 257442"/>
                <a:gd name="connsiteX3" fmla="*/ 0 w 2050718"/>
                <a:gd name="connsiteY3" fmla="*/ 0 h 257442"/>
                <a:gd name="connsiteX0" fmla="*/ 2050719 w 2050719"/>
                <a:gd name="connsiteY0" fmla="*/ 0 h 257442"/>
                <a:gd name="connsiteX1" fmla="*/ 1995997 w 2050719"/>
                <a:gd name="connsiteY1" fmla="*/ 257442 h 257442"/>
                <a:gd name="connsiteX2" fmla="*/ 0 w 2050719"/>
                <a:gd name="connsiteY2" fmla="*/ 257442 h 257442"/>
                <a:gd name="connsiteX3" fmla="*/ 1 w 2050719"/>
                <a:gd name="connsiteY3" fmla="*/ 0 h 257442"/>
                <a:gd name="connsiteX0" fmla="*/ 2050719 w 2050719"/>
                <a:gd name="connsiteY0" fmla="*/ 0 h 257442"/>
                <a:gd name="connsiteX1" fmla="*/ 1995997 w 2050719"/>
                <a:gd name="connsiteY1" fmla="*/ 257442 h 257442"/>
                <a:gd name="connsiteX2" fmla="*/ 0 w 2050719"/>
                <a:gd name="connsiteY2" fmla="*/ 257442 h 257442"/>
                <a:gd name="connsiteX3" fmla="*/ 1 w 2050719"/>
                <a:gd name="connsiteY3" fmla="*/ 0 h 257442"/>
                <a:gd name="connsiteX0" fmla="*/ 2211019 w 2211019"/>
                <a:gd name="connsiteY0" fmla="*/ 0 h 257442"/>
                <a:gd name="connsiteX1" fmla="*/ 1995997 w 2211019"/>
                <a:gd name="connsiteY1" fmla="*/ 257442 h 257442"/>
                <a:gd name="connsiteX2" fmla="*/ 0 w 2211019"/>
                <a:gd name="connsiteY2" fmla="*/ 257442 h 257442"/>
                <a:gd name="connsiteX3" fmla="*/ 1 w 2211019"/>
                <a:gd name="connsiteY3" fmla="*/ 0 h 257442"/>
                <a:gd name="connsiteX0" fmla="*/ 2211019 w 2211019"/>
                <a:gd name="connsiteY0" fmla="*/ 0 h 257442"/>
                <a:gd name="connsiteX1" fmla="*/ 2156298 w 2211019"/>
                <a:gd name="connsiteY1" fmla="*/ 257442 h 257442"/>
                <a:gd name="connsiteX2" fmla="*/ 0 w 2211019"/>
                <a:gd name="connsiteY2" fmla="*/ 257442 h 257442"/>
                <a:gd name="connsiteX3" fmla="*/ 1 w 2211019"/>
                <a:gd name="connsiteY3" fmla="*/ 0 h 257442"/>
                <a:gd name="connsiteX0" fmla="*/ 2211018 w 2211018"/>
                <a:gd name="connsiteY0" fmla="*/ 0 h 257442"/>
                <a:gd name="connsiteX1" fmla="*/ 2156297 w 2211018"/>
                <a:gd name="connsiteY1" fmla="*/ 257442 h 257442"/>
                <a:gd name="connsiteX2" fmla="*/ 0 w 2211018"/>
                <a:gd name="connsiteY2" fmla="*/ 257442 h 257442"/>
                <a:gd name="connsiteX3" fmla="*/ 0 w 2211018"/>
                <a:gd name="connsiteY3" fmla="*/ 0 h 257442"/>
                <a:gd name="connsiteX0" fmla="*/ 2211019 w 2211019"/>
                <a:gd name="connsiteY0" fmla="*/ 0 h 257442"/>
                <a:gd name="connsiteX1" fmla="*/ 2156298 w 2211019"/>
                <a:gd name="connsiteY1" fmla="*/ 257442 h 257442"/>
                <a:gd name="connsiteX2" fmla="*/ 1 w 2211019"/>
                <a:gd name="connsiteY2" fmla="*/ 257442 h 257442"/>
                <a:gd name="connsiteX3" fmla="*/ 0 w 2211019"/>
                <a:gd name="connsiteY3" fmla="*/ 0 h 257442"/>
                <a:gd name="connsiteX0" fmla="*/ 2379334 w 2379334"/>
                <a:gd name="connsiteY0" fmla="*/ 0 h 257442"/>
                <a:gd name="connsiteX1" fmla="*/ 2156298 w 2379334"/>
                <a:gd name="connsiteY1" fmla="*/ 257442 h 257442"/>
                <a:gd name="connsiteX2" fmla="*/ 1 w 2379334"/>
                <a:gd name="connsiteY2" fmla="*/ 257442 h 257442"/>
                <a:gd name="connsiteX3" fmla="*/ 0 w 2379334"/>
                <a:gd name="connsiteY3" fmla="*/ 0 h 257442"/>
                <a:gd name="connsiteX0" fmla="*/ 2379334 w 2379334"/>
                <a:gd name="connsiteY0" fmla="*/ 0 h 257442"/>
                <a:gd name="connsiteX1" fmla="*/ 2324612 w 2379334"/>
                <a:gd name="connsiteY1" fmla="*/ 257442 h 257442"/>
                <a:gd name="connsiteX2" fmla="*/ 1 w 2379334"/>
                <a:gd name="connsiteY2" fmla="*/ 257442 h 257442"/>
                <a:gd name="connsiteX3" fmla="*/ 0 w 2379334"/>
                <a:gd name="connsiteY3" fmla="*/ 0 h 257442"/>
                <a:gd name="connsiteX0" fmla="*/ 2379334 w 2379334"/>
                <a:gd name="connsiteY0" fmla="*/ 0 h 257442"/>
                <a:gd name="connsiteX1" fmla="*/ 2324612 w 2379334"/>
                <a:gd name="connsiteY1" fmla="*/ 257442 h 257442"/>
                <a:gd name="connsiteX2" fmla="*/ 0 w 2379334"/>
                <a:gd name="connsiteY2" fmla="*/ 257442 h 257442"/>
                <a:gd name="connsiteX3" fmla="*/ 0 w 2379334"/>
                <a:gd name="connsiteY3" fmla="*/ 0 h 257442"/>
                <a:gd name="connsiteX0" fmla="*/ 2379334 w 2379334"/>
                <a:gd name="connsiteY0" fmla="*/ 0 h 257442"/>
                <a:gd name="connsiteX1" fmla="*/ 2324612 w 2379334"/>
                <a:gd name="connsiteY1" fmla="*/ 257442 h 257442"/>
                <a:gd name="connsiteX2" fmla="*/ 0 w 2379334"/>
                <a:gd name="connsiteY2" fmla="*/ 257442 h 257442"/>
                <a:gd name="connsiteX3" fmla="*/ 0 w 2379334"/>
                <a:gd name="connsiteY3" fmla="*/ 0 h 257442"/>
                <a:gd name="connsiteX0" fmla="*/ 2709551 w 2709551"/>
                <a:gd name="connsiteY0" fmla="*/ 0 h 257442"/>
                <a:gd name="connsiteX1" fmla="*/ 2324612 w 2709551"/>
                <a:gd name="connsiteY1" fmla="*/ 257442 h 257442"/>
                <a:gd name="connsiteX2" fmla="*/ 0 w 2709551"/>
                <a:gd name="connsiteY2" fmla="*/ 257442 h 257442"/>
                <a:gd name="connsiteX3" fmla="*/ 0 w 2709551"/>
                <a:gd name="connsiteY3" fmla="*/ 0 h 257442"/>
                <a:gd name="connsiteX0" fmla="*/ 2709551 w 2709551"/>
                <a:gd name="connsiteY0" fmla="*/ 0 h 257442"/>
                <a:gd name="connsiteX1" fmla="*/ 2654830 w 2709551"/>
                <a:gd name="connsiteY1" fmla="*/ 257442 h 257442"/>
                <a:gd name="connsiteX2" fmla="*/ 0 w 2709551"/>
                <a:gd name="connsiteY2" fmla="*/ 257442 h 257442"/>
                <a:gd name="connsiteX3" fmla="*/ 0 w 2709551"/>
                <a:gd name="connsiteY3" fmla="*/ 0 h 257442"/>
                <a:gd name="connsiteX0" fmla="*/ 2709551 w 2709551"/>
                <a:gd name="connsiteY0" fmla="*/ 0 h 257442"/>
                <a:gd name="connsiteX1" fmla="*/ 2654830 w 2709551"/>
                <a:gd name="connsiteY1" fmla="*/ 257442 h 257442"/>
                <a:gd name="connsiteX2" fmla="*/ 0 w 2709551"/>
                <a:gd name="connsiteY2" fmla="*/ 257442 h 257442"/>
                <a:gd name="connsiteX3" fmla="*/ 0 w 2709551"/>
                <a:gd name="connsiteY3" fmla="*/ 0 h 257442"/>
                <a:gd name="connsiteX0" fmla="*/ 2709551 w 2709551"/>
                <a:gd name="connsiteY0" fmla="*/ 0 h 257442"/>
                <a:gd name="connsiteX1" fmla="*/ 2654830 w 2709551"/>
                <a:gd name="connsiteY1" fmla="*/ 257442 h 257442"/>
                <a:gd name="connsiteX2" fmla="*/ 0 w 2709551"/>
                <a:gd name="connsiteY2" fmla="*/ 257442 h 257442"/>
                <a:gd name="connsiteX3" fmla="*/ 0 w 2709551"/>
                <a:gd name="connsiteY3" fmla="*/ 0 h 257442"/>
                <a:gd name="connsiteX0" fmla="*/ 2877867 w 2877867"/>
                <a:gd name="connsiteY0" fmla="*/ 0 h 257442"/>
                <a:gd name="connsiteX1" fmla="*/ 2654830 w 2877867"/>
                <a:gd name="connsiteY1" fmla="*/ 257442 h 257442"/>
                <a:gd name="connsiteX2" fmla="*/ 0 w 2877867"/>
                <a:gd name="connsiteY2" fmla="*/ 257442 h 257442"/>
                <a:gd name="connsiteX3" fmla="*/ 0 w 2877867"/>
                <a:gd name="connsiteY3" fmla="*/ 0 h 257442"/>
                <a:gd name="connsiteX0" fmla="*/ 2877867 w 2877867"/>
                <a:gd name="connsiteY0" fmla="*/ 0 h 257442"/>
                <a:gd name="connsiteX1" fmla="*/ 2823146 w 2877867"/>
                <a:gd name="connsiteY1" fmla="*/ 257442 h 257442"/>
                <a:gd name="connsiteX2" fmla="*/ 0 w 2877867"/>
                <a:gd name="connsiteY2" fmla="*/ 257442 h 257442"/>
                <a:gd name="connsiteX3" fmla="*/ 0 w 2877867"/>
                <a:gd name="connsiteY3" fmla="*/ 0 h 257442"/>
                <a:gd name="connsiteX0" fmla="*/ 2877867 w 2877867"/>
                <a:gd name="connsiteY0" fmla="*/ 0 h 257442"/>
                <a:gd name="connsiteX1" fmla="*/ 2823146 w 2877867"/>
                <a:gd name="connsiteY1" fmla="*/ 257442 h 257442"/>
                <a:gd name="connsiteX2" fmla="*/ 0 w 2877867"/>
                <a:gd name="connsiteY2" fmla="*/ 257442 h 257442"/>
                <a:gd name="connsiteX3" fmla="*/ 0 w 2877867"/>
                <a:gd name="connsiteY3" fmla="*/ 0 h 257442"/>
                <a:gd name="connsiteX0" fmla="*/ 2877867 w 2877867"/>
                <a:gd name="connsiteY0" fmla="*/ 0 h 257442"/>
                <a:gd name="connsiteX1" fmla="*/ 2823146 w 2877867"/>
                <a:gd name="connsiteY1" fmla="*/ 257442 h 257442"/>
                <a:gd name="connsiteX2" fmla="*/ 0 w 2877867"/>
                <a:gd name="connsiteY2" fmla="*/ 257442 h 257442"/>
                <a:gd name="connsiteX3" fmla="*/ 0 w 2877867"/>
                <a:gd name="connsiteY3" fmla="*/ 0 h 257442"/>
                <a:gd name="connsiteX0" fmla="*/ 3063815 w 3063815"/>
                <a:gd name="connsiteY0" fmla="*/ 0 h 257442"/>
                <a:gd name="connsiteX1" fmla="*/ 2823146 w 3063815"/>
                <a:gd name="connsiteY1" fmla="*/ 257442 h 257442"/>
                <a:gd name="connsiteX2" fmla="*/ 0 w 3063815"/>
                <a:gd name="connsiteY2" fmla="*/ 257442 h 257442"/>
                <a:gd name="connsiteX3" fmla="*/ 0 w 3063815"/>
                <a:gd name="connsiteY3" fmla="*/ 0 h 257442"/>
                <a:gd name="connsiteX0" fmla="*/ 3063815 w 3063815"/>
                <a:gd name="connsiteY0" fmla="*/ 0 h 257442"/>
                <a:gd name="connsiteX1" fmla="*/ 3009094 w 3063815"/>
                <a:gd name="connsiteY1" fmla="*/ 257442 h 257442"/>
                <a:gd name="connsiteX2" fmla="*/ 0 w 3063815"/>
                <a:gd name="connsiteY2" fmla="*/ 257442 h 257442"/>
                <a:gd name="connsiteX3" fmla="*/ 0 w 3063815"/>
                <a:gd name="connsiteY3" fmla="*/ 0 h 257442"/>
                <a:gd name="connsiteX0" fmla="*/ 3063815 w 3063815"/>
                <a:gd name="connsiteY0" fmla="*/ 0 h 257442"/>
                <a:gd name="connsiteX1" fmla="*/ 3009094 w 3063815"/>
                <a:gd name="connsiteY1" fmla="*/ 257442 h 257442"/>
                <a:gd name="connsiteX2" fmla="*/ 0 w 3063815"/>
                <a:gd name="connsiteY2" fmla="*/ 257442 h 257442"/>
                <a:gd name="connsiteX3" fmla="*/ 0 w 3063815"/>
                <a:gd name="connsiteY3" fmla="*/ 0 h 257442"/>
                <a:gd name="connsiteX0" fmla="*/ 3063815 w 3063815"/>
                <a:gd name="connsiteY0" fmla="*/ 0 h 257442"/>
                <a:gd name="connsiteX1" fmla="*/ 3009094 w 3063815"/>
                <a:gd name="connsiteY1" fmla="*/ 257442 h 257442"/>
                <a:gd name="connsiteX2" fmla="*/ 0 w 3063815"/>
                <a:gd name="connsiteY2" fmla="*/ 257442 h 257442"/>
                <a:gd name="connsiteX3" fmla="*/ 0 w 3063815"/>
                <a:gd name="connsiteY3" fmla="*/ 0 h 257442"/>
                <a:gd name="connsiteX0" fmla="*/ 3232130 w 3232130"/>
                <a:gd name="connsiteY0" fmla="*/ 0 h 257442"/>
                <a:gd name="connsiteX1" fmla="*/ 3009094 w 3232130"/>
                <a:gd name="connsiteY1" fmla="*/ 257442 h 257442"/>
                <a:gd name="connsiteX2" fmla="*/ 0 w 3232130"/>
                <a:gd name="connsiteY2" fmla="*/ 257442 h 257442"/>
                <a:gd name="connsiteX3" fmla="*/ 0 w 3232130"/>
                <a:gd name="connsiteY3" fmla="*/ 0 h 257442"/>
                <a:gd name="connsiteX0" fmla="*/ 3232130 w 3232130"/>
                <a:gd name="connsiteY0" fmla="*/ 0 h 257442"/>
                <a:gd name="connsiteX1" fmla="*/ 3177408 w 3232130"/>
                <a:gd name="connsiteY1" fmla="*/ 257442 h 257442"/>
                <a:gd name="connsiteX2" fmla="*/ 0 w 3232130"/>
                <a:gd name="connsiteY2" fmla="*/ 257442 h 257442"/>
                <a:gd name="connsiteX3" fmla="*/ 0 w 3232130"/>
                <a:gd name="connsiteY3" fmla="*/ 0 h 257442"/>
                <a:gd name="connsiteX0" fmla="*/ 3232131 w 3232131"/>
                <a:gd name="connsiteY0" fmla="*/ 0 h 257442"/>
                <a:gd name="connsiteX1" fmla="*/ 3177409 w 3232131"/>
                <a:gd name="connsiteY1" fmla="*/ 257442 h 257442"/>
                <a:gd name="connsiteX2" fmla="*/ 0 w 3232131"/>
                <a:gd name="connsiteY2" fmla="*/ 257442 h 257442"/>
                <a:gd name="connsiteX3" fmla="*/ 1 w 3232131"/>
                <a:gd name="connsiteY3" fmla="*/ 0 h 257442"/>
                <a:gd name="connsiteX0" fmla="*/ 3232131 w 3232131"/>
                <a:gd name="connsiteY0" fmla="*/ 0 h 257442"/>
                <a:gd name="connsiteX1" fmla="*/ 3177409 w 3232131"/>
                <a:gd name="connsiteY1" fmla="*/ 257442 h 257442"/>
                <a:gd name="connsiteX2" fmla="*/ 0 w 3232131"/>
                <a:gd name="connsiteY2" fmla="*/ 257442 h 257442"/>
                <a:gd name="connsiteX3" fmla="*/ 1 w 3232131"/>
                <a:gd name="connsiteY3" fmla="*/ 0 h 257442"/>
                <a:gd name="connsiteX0" fmla="*/ 3400447 w 3400447"/>
                <a:gd name="connsiteY0" fmla="*/ 0 h 257442"/>
                <a:gd name="connsiteX1" fmla="*/ 3177409 w 3400447"/>
                <a:gd name="connsiteY1" fmla="*/ 257442 h 257442"/>
                <a:gd name="connsiteX2" fmla="*/ 0 w 3400447"/>
                <a:gd name="connsiteY2" fmla="*/ 257442 h 257442"/>
                <a:gd name="connsiteX3" fmla="*/ 1 w 3400447"/>
                <a:gd name="connsiteY3" fmla="*/ 0 h 257442"/>
                <a:gd name="connsiteX0" fmla="*/ 3400447 w 3400447"/>
                <a:gd name="connsiteY0" fmla="*/ 0 h 257442"/>
                <a:gd name="connsiteX1" fmla="*/ 3345726 w 3400447"/>
                <a:gd name="connsiteY1" fmla="*/ 257442 h 257442"/>
                <a:gd name="connsiteX2" fmla="*/ 0 w 3400447"/>
                <a:gd name="connsiteY2" fmla="*/ 257442 h 257442"/>
                <a:gd name="connsiteX3" fmla="*/ 1 w 3400447"/>
                <a:gd name="connsiteY3" fmla="*/ 0 h 257442"/>
                <a:gd name="connsiteX0" fmla="*/ 3400446 w 3400446"/>
                <a:gd name="connsiteY0" fmla="*/ 0 h 257442"/>
                <a:gd name="connsiteX1" fmla="*/ 3345725 w 3400446"/>
                <a:gd name="connsiteY1" fmla="*/ 257442 h 257442"/>
                <a:gd name="connsiteX2" fmla="*/ 0 w 3400446"/>
                <a:gd name="connsiteY2" fmla="*/ 257442 h 257442"/>
                <a:gd name="connsiteX3" fmla="*/ 0 w 3400446"/>
                <a:gd name="connsiteY3" fmla="*/ 0 h 257442"/>
                <a:gd name="connsiteX0" fmla="*/ 3400447 w 3400447"/>
                <a:gd name="connsiteY0" fmla="*/ 0 h 257442"/>
                <a:gd name="connsiteX1" fmla="*/ 3345726 w 3400447"/>
                <a:gd name="connsiteY1" fmla="*/ 257442 h 257442"/>
                <a:gd name="connsiteX2" fmla="*/ 1 w 3400447"/>
                <a:gd name="connsiteY2" fmla="*/ 257442 h 257442"/>
                <a:gd name="connsiteX3" fmla="*/ 0 w 3400447"/>
                <a:gd name="connsiteY3" fmla="*/ 0 h 257442"/>
                <a:gd name="connsiteX0" fmla="*/ 3568762 w 3568762"/>
                <a:gd name="connsiteY0" fmla="*/ 0 h 257442"/>
                <a:gd name="connsiteX1" fmla="*/ 3345726 w 3568762"/>
                <a:gd name="connsiteY1" fmla="*/ 257442 h 257442"/>
                <a:gd name="connsiteX2" fmla="*/ 1 w 3568762"/>
                <a:gd name="connsiteY2" fmla="*/ 257442 h 257442"/>
                <a:gd name="connsiteX3" fmla="*/ 0 w 3568762"/>
                <a:gd name="connsiteY3" fmla="*/ 0 h 257442"/>
                <a:gd name="connsiteX0" fmla="*/ 3568762 w 3568762"/>
                <a:gd name="connsiteY0" fmla="*/ 0 h 257442"/>
                <a:gd name="connsiteX1" fmla="*/ 3514040 w 3568762"/>
                <a:gd name="connsiteY1" fmla="*/ 257442 h 257442"/>
                <a:gd name="connsiteX2" fmla="*/ 1 w 3568762"/>
                <a:gd name="connsiteY2" fmla="*/ 257442 h 257442"/>
                <a:gd name="connsiteX3" fmla="*/ 0 w 3568762"/>
                <a:gd name="connsiteY3" fmla="*/ 0 h 257442"/>
                <a:gd name="connsiteX0" fmla="*/ 3568762 w 3568762"/>
                <a:gd name="connsiteY0" fmla="*/ 0 h 257442"/>
                <a:gd name="connsiteX1" fmla="*/ 3514040 w 3568762"/>
                <a:gd name="connsiteY1" fmla="*/ 257442 h 257442"/>
                <a:gd name="connsiteX2" fmla="*/ 0 w 3568762"/>
                <a:gd name="connsiteY2" fmla="*/ 257442 h 257442"/>
                <a:gd name="connsiteX3" fmla="*/ 0 w 3568762"/>
                <a:gd name="connsiteY3" fmla="*/ 0 h 257442"/>
                <a:gd name="connsiteX0" fmla="*/ 3568762 w 3568762"/>
                <a:gd name="connsiteY0" fmla="*/ 0 h 257442"/>
                <a:gd name="connsiteX1" fmla="*/ 3514040 w 3568762"/>
                <a:gd name="connsiteY1" fmla="*/ 257442 h 257442"/>
                <a:gd name="connsiteX2" fmla="*/ 0 w 3568762"/>
                <a:gd name="connsiteY2" fmla="*/ 257442 h 257442"/>
                <a:gd name="connsiteX3" fmla="*/ 0 w 3568762"/>
                <a:gd name="connsiteY3" fmla="*/ 0 h 257442"/>
                <a:gd name="connsiteX0" fmla="*/ 3729061 w 3729061"/>
                <a:gd name="connsiteY0" fmla="*/ 0 h 257442"/>
                <a:gd name="connsiteX1" fmla="*/ 3514040 w 3729061"/>
                <a:gd name="connsiteY1" fmla="*/ 257442 h 257442"/>
                <a:gd name="connsiteX2" fmla="*/ 0 w 3729061"/>
                <a:gd name="connsiteY2" fmla="*/ 257442 h 257442"/>
                <a:gd name="connsiteX3" fmla="*/ 0 w 3729061"/>
                <a:gd name="connsiteY3" fmla="*/ 0 h 257442"/>
                <a:gd name="connsiteX0" fmla="*/ 3729061 w 3729061"/>
                <a:gd name="connsiteY0" fmla="*/ 0 h 257442"/>
                <a:gd name="connsiteX1" fmla="*/ 3674340 w 3729061"/>
                <a:gd name="connsiteY1" fmla="*/ 257442 h 257442"/>
                <a:gd name="connsiteX2" fmla="*/ 0 w 3729061"/>
                <a:gd name="connsiteY2" fmla="*/ 257442 h 257442"/>
                <a:gd name="connsiteX3" fmla="*/ 0 w 3729061"/>
                <a:gd name="connsiteY3" fmla="*/ 0 h 257442"/>
                <a:gd name="connsiteX0" fmla="*/ 3729061 w 3729061"/>
                <a:gd name="connsiteY0" fmla="*/ 0 h 257442"/>
                <a:gd name="connsiteX1" fmla="*/ 3674340 w 3729061"/>
                <a:gd name="connsiteY1" fmla="*/ 257442 h 257442"/>
                <a:gd name="connsiteX2" fmla="*/ 0 w 3729061"/>
                <a:gd name="connsiteY2" fmla="*/ 257442 h 257442"/>
                <a:gd name="connsiteX3" fmla="*/ 0 w 3729061"/>
                <a:gd name="connsiteY3" fmla="*/ 0 h 257442"/>
                <a:gd name="connsiteX0" fmla="*/ 3729061 w 3729061"/>
                <a:gd name="connsiteY0" fmla="*/ 0 h 257442"/>
                <a:gd name="connsiteX1" fmla="*/ 3674340 w 3729061"/>
                <a:gd name="connsiteY1" fmla="*/ 257442 h 257442"/>
                <a:gd name="connsiteX2" fmla="*/ 0 w 3729061"/>
                <a:gd name="connsiteY2" fmla="*/ 257442 h 257442"/>
                <a:gd name="connsiteX3" fmla="*/ 0 w 3729061"/>
                <a:gd name="connsiteY3" fmla="*/ 0 h 257442"/>
                <a:gd name="connsiteX0" fmla="*/ 986067 w 3674340"/>
                <a:gd name="connsiteY0" fmla="*/ 0 h 257442"/>
                <a:gd name="connsiteX1" fmla="*/ 3674340 w 3674340"/>
                <a:gd name="connsiteY1" fmla="*/ 257442 h 257442"/>
                <a:gd name="connsiteX2" fmla="*/ 0 w 3674340"/>
                <a:gd name="connsiteY2" fmla="*/ 257442 h 257442"/>
                <a:gd name="connsiteX3" fmla="*/ 0 w 3674340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1 w 986067"/>
                <a:gd name="connsiteY2" fmla="*/ 257442 h 257442"/>
                <a:gd name="connsiteX3" fmla="*/ 0 w 986067"/>
                <a:gd name="connsiteY3" fmla="*/ 0 h 257442"/>
                <a:gd name="connsiteX0" fmla="*/ 986066 w 986066"/>
                <a:gd name="connsiteY0" fmla="*/ 0 h 257442"/>
                <a:gd name="connsiteX1" fmla="*/ 931345 w 986066"/>
                <a:gd name="connsiteY1" fmla="*/ 257442 h 257442"/>
                <a:gd name="connsiteX2" fmla="*/ 0 w 986066"/>
                <a:gd name="connsiteY2" fmla="*/ 257442 h 257442"/>
                <a:gd name="connsiteX3" fmla="*/ 0 w 986066"/>
                <a:gd name="connsiteY3" fmla="*/ 0 h 257442"/>
                <a:gd name="connsiteX0" fmla="*/ 1146367 w 1146367"/>
                <a:gd name="connsiteY0" fmla="*/ 0 h 257442"/>
                <a:gd name="connsiteX1" fmla="*/ 931345 w 1146367"/>
                <a:gd name="connsiteY1" fmla="*/ 257442 h 257442"/>
                <a:gd name="connsiteX2" fmla="*/ 0 w 1146367"/>
                <a:gd name="connsiteY2" fmla="*/ 257442 h 257442"/>
                <a:gd name="connsiteX3" fmla="*/ 0 w 1146367"/>
                <a:gd name="connsiteY3" fmla="*/ 0 h 257442"/>
                <a:gd name="connsiteX0" fmla="*/ 1146367 w 1146367"/>
                <a:gd name="connsiteY0" fmla="*/ 0 h 257442"/>
                <a:gd name="connsiteX1" fmla="*/ 1091646 w 1146367"/>
                <a:gd name="connsiteY1" fmla="*/ 257442 h 257442"/>
                <a:gd name="connsiteX2" fmla="*/ 0 w 1146367"/>
                <a:gd name="connsiteY2" fmla="*/ 257442 h 257442"/>
                <a:gd name="connsiteX3" fmla="*/ 0 w 1146367"/>
                <a:gd name="connsiteY3" fmla="*/ 0 h 257442"/>
                <a:gd name="connsiteX0" fmla="*/ 1146368 w 1146368"/>
                <a:gd name="connsiteY0" fmla="*/ 0 h 257442"/>
                <a:gd name="connsiteX1" fmla="*/ 1091647 w 1146368"/>
                <a:gd name="connsiteY1" fmla="*/ 257442 h 257442"/>
                <a:gd name="connsiteX2" fmla="*/ 0 w 1146368"/>
                <a:gd name="connsiteY2" fmla="*/ 257442 h 257442"/>
                <a:gd name="connsiteX3" fmla="*/ 1 w 1146368"/>
                <a:gd name="connsiteY3" fmla="*/ 0 h 257442"/>
                <a:gd name="connsiteX0" fmla="*/ 1146368 w 1146368"/>
                <a:gd name="connsiteY0" fmla="*/ 0 h 257442"/>
                <a:gd name="connsiteX1" fmla="*/ 1091647 w 1146368"/>
                <a:gd name="connsiteY1" fmla="*/ 257442 h 257442"/>
                <a:gd name="connsiteX2" fmla="*/ 0 w 1146368"/>
                <a:gd name="connsiteY2" fmla="*/ 257442 h 257442"/>
                <a:gd name="connsiteX3" fmla="*/ 0 w 1146368"/>
                <a:gd name="connsiteY3" fmla="*/ 0 h 257442"/>
                <a:gd name="connsiteX0" fmla="*/ 1314682 w 1314682"/>
                <a:gd name="connsiteY0" fmla="*/ 0 h 257442"/>
                <a:gd name="connsiteX1" fmla="*/ 1091647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567957 w 1567957"/>
                <a:gd name="connsiteY0" fmla="*/ 0 h 257442"/>
                <a:gd name="connsiteX1" fmla="*/ 1259961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567957 w 1567957"/>
                <a:gd name="connsiteY0" fmla="*/ 0 h 257442"/>
                <a:gd name="connsiteX1" fmla="*/ 1513236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567957 w 1567957"/>
                <a:gd name="connsiteY0" fmla="*/ 0 h 257442"/>
                <a:gd name="connsiteX1" fmla="*/ 1513236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567957 w 1567957"/>
                <a:gd name="connsiteY0" fmla="*/ 0 h 257442"/>
                <a:gd name="connsiteX1" fmla="*/ 1513236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736273 w 1736273"/>
                <a:gd name="connsiteY0" fmla="*/ 0 h 257442"/>
                <a:gd name="connsiteX1" fmla="*/ 1513236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736273 w 1736273"/>
                <a:gd name="connsiteY0" fmla="*/ 0 h 257442"/>
                <a:gd name="connsiteX1" fmla="*/ 1681552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736273 w 1736273"/>
                <a:gd name="connsiteY0" fmla="*/ 0 h 257442"/>
                <a:gd name="connsiteX1" fmla="*/ 1681552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736273 w 1736273"/>
                <a:gd name="connsiteY0" fmla="*/ 0 h 257442"/>
                <a:gd name="connsiteX1" fmla="*/ 1681552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904587 w 1904587"/>
                <a:gd name="connsiteY0" fmla="*/ 0 h 257442"/>
                <a:gd name="connsiteX1" fmla="*/ 1681552 w 1904587"/>
                <a:gd name="connsiteY1" fmla="*/ 257442 h 257442"/>
                <a:gd name="connsiteX2" fmla="*/ 0 w 1904587"/>
                <a:gd name="connsiteY2" fmla="*/ 257442 h 257442"/>
                <a:gd name="connsiteX3" fmla="*/ 0 w 1904587"/>
                <a:gd name="connsiteY3" fmla="*/ 0 h 257442"/>
                <a:gd name="connsiteX0" fmla="*/ 1904587 w 1904587"/>
                <a:gd name="connsiteY0" fmla="*/ 0 h 257442"/>
                <a:gd name="connsiteX1" fmla="*/ 1849866 w 1904587"/>
                <a:gd name="connsiteY1" fmla="*/ 257442 h 257442"/>
                <a:gd name="connsiteX2" fmla="*/ 0 w 1904587"/>
                <a:gd name="connsiteY2" fmla="*/ 257442 h 257442"/>
                <a:gd name="connsiteX3" fmla="*/ 0 w 1904587"/>
                <a:gd name="connsiteY3" fmla="*/ 0 h 257442"/>
                <a:gd name="connsiteX0" fmla="*/ 1904587 w 1904587"/>
                <a:gd name="connsiteY0" fmla="*/ 0 h 257442"/>
                <a:gd name="connsiteX1" fmla="*/ 1849866 w 1904587"/>
                <a:gd name="connsiteY1" fmla="*/ 257442 h 257442"/>
                <a:gd name="connsiteX2" fmla="*/ 0 w 1904587"/>
                <a:gd name="connsiteY2" fmla="*/ 257442 h 257442"/>
                <a:gd name="connsiteX3" fmla="*/ 0 w 1904587"/>
                <a:gd name="connsiteY3" fmla="*/ 0 h 257442"/>
                <a:gd name="connsiteX0" fmla="*/ 1904587 w 1904587"/>
                <a:gd name="connsiteY0" fmla="*/ 0 h 257442"/>
                <a:gd name="connsiteX1" fmla="*/ 1849866 w 1904587"/>
                <a:gd name="connsiteY1" fmla="*/ 257442 h 257442"/>
                <a:gd name="connsiteX2" fmla="*/ 0 w 1904587"/>
                <a:gd name="connsiteY2" fmla="*/ 257442 h 257442"/>
                <a:gd name="connsiteX3" fmla="*/ 0 w 1904587"/>
                <a:gd name="connsiteY3" fmla="*/ 0 h 257442"/>
                <a:gd name="connsiteX0" fmla="*/ 2209158 w 2209158"/>
                <a:gd name="connsiteY0" fmla="*/ 0 h 257442"/>
                <a:gd name="connsiteX1" fmla="*/ 1849866 w 2209158"/>
                <a:gd name="connsiteY1" fmla="*/ 257442 h 257442"/>
                <a:gd name="connsiteX2" fmla="*/ 0 w 2209158"/>
                <a:gd name="connsiteY2" fmla="*/ 257442 h 257442"/>
                <a:gd name="connsiteX3" fmla="*/ 0 w 2209158"/>
                <a:gd name="connsiteY3" fmla="*/ 0 h 257442"/>
                <a:gd name="connsiteX0" fmla="*/ 2209158 w 2209158"/>
                <a:gd name="connsiteY0" fmla="*/ 0 h 257442"/>
                <a:gd name="connsiteX1" fmla="*/ 2154436 w 2209158"/>
                <a:gd name="connsiteY1" fmla="*/ 257442 h 257442"/>
                <a:gd name="connsiteX2" fmla="*/ 0 w 2209158"/>
                <a:gd name="connsiteY2" fmla="*/ 257442 h 257442"/>
                <a:gd name="connsiteX3" fmla="*/ 0 w 2209158"/>
                <a:gd name="connsiteY3" fmla="*/ 0 h 257442"/>
                <a:gd name="connsiteX0" fmla="*/ 2209159 w 2209159"/>
                <a:gd name="connsiteY0" fmla="*/ 0 h 257442"/>
                <a:gd name="connsiteX1" fmla="*/ 2154437 w 2209159"/>
                <a:gd name="connsiteY1" fmla="*/ 257442 h 257442"/>
                <a:gd name="connsiteX2" fmla="*/ 0 w 2209159"/>
                <a:gd name="connsiteY2" fmla="*/ 257442 h 257442"/>
                <a:gd name="connsiteX3" fmla="*/ 1 w 2209159"/>
                <a:gd name="connsiteY3" fmla="*/ 0 h 257442"/>
                <a:gd name="connsiteX0" fmla="*/ 2209159 w 2209159"/>
                <a:gd name="connsiteY0" fmla="*/ 0 h 257442"/>
                <a:gd name="connsiteX1" fmla="*/ 2154437 w 2209159"/>
                <a:gd name="connsiteY1" fmla="*/ 257442 h 257442"/>
                <a:gd name="connsiteX2" fmla="*/ 0 w 2209159"/>
                <a:gd name="connsiteY2" fmla="*/ 257442 h 257442"/>
                <a:gd name="connsiteX3" fmla="*/ 1 w 2209159"/>
                <a:gd name="connsiteY3" fmla="*/ 0 h 257442"/>
                <a:gd name="connsiteX0" fmla="*/ 2478463 w 2478463"/>
                <a:gd name="connsiteY0" fmla="*/ 0 h 257442"/>
                <a:gd name="connsiteX1" fmla="*/ 2154437 w 2478463"/>
                <a:gd name="connsiteY1" fmla="*/ 257442 h 257442"/>
                <a:gd name="connsiteX2" fmla="*/ 0 w 2478463"/>
                <a:gd name="connsiteY2" fmla="*/ 257442 h 257442"/>
                <a:gd name="connsiteX3" fmla="*/ 1 w 2478463"/>
                <a:gd name="connsiteY3" fmla="*/ 0 h 257442"/>
                <a:gd name="connsiteX0" fmla="*/ 2478463 w 2478463"/>
                <a:gd name="connsiteY0" fmla="*/ 0 h 257442"/>
                <a:gd name="connsiteX1" fmla="*/ 2423742 w 2478463"/>
                <a:gd name="connsiteY1" fmla="*/ 257442 h 257442"/>
                <a:gd name="connsiteX2" fmla="*/ 0 w 2478463"/>
                <a:gd name="connsiteY2" fmla="*/ 257442 h 257442"/>
                <a:gd name="connsiteX3" fmla="*/ 1 w 2478463"/>
                <a:gd name="connsiteY3" fmla="*/ 0 h 257442"/>
                <a:gd name="connsiteX0" fmla="*/ 2478462 w 2478462"/>
                <a:gd name="connsiteY0" fmla="*/ 0 h 257442"/>
                <a:gd name="connsiteX1" fmla="*/ 2423741 w 2478462"/>
                <a:gd name="connsiteY1" fmla="*/ 257442 h 257442"/>
                <a:gd name="connsiteX2" fmla="*/ 0 w 2478462"/>
                <a:gd name="connsiteY2" fmla="*/ 257442 h 257442"/>
                <a:gd name="connsiteX3" fmla="*/ 0 w 2478462"/>
                <a:gd name="connsiteY3" fmla="*/ 0 h 257442"/>
                <a:gd name="connsiteX0" fmla="*/ 2478463 w 2478463"/>
                <a:gd name="connsiteY0" fmla="*/ 0 h 257442"/>
                <a:gd name="connsiteX1" fmla="*/ 2423742 w 2478463"/>
                <a:gd name="connsiteY1" fmla="*/ 257442 h 257442"/>
                <a:gd name="connsiteX2" fmla="*/ 1 w 2478463"/>
                <a:gd name="connsiteY2" fmla="*/ 257442 h 257442"/>
                <a:gd name="connsiteX3" fmla="*/ 0 w 2478463"/>
                <a:gd name="connsiteY3" fmla="*/ 0 h 257442"/>
                <a:gd name="connsiteX0" fmla="*/ 960420 w 2423742"/>
                <a:gd name="connsiteY0" fmla="*/ 0 h 257442"/>
                <a:gd name="connsiteX1" fmla="*/ 2423742 w 2423742"/>
                <a:gd name="connsiteY1" fmla="*/ 257442 h 257442"/>
                <a:gd name="connsiteX2" fmla="*/ 1 w 2423742"/>
                <a:gd name="connsiteY2" fmla="*/ 257442 h 257442"/>
                <a:gd name="connsiteX3" fmla="*/ 0 w 2423742"/>
                <a:gd name="connsiteY3" fmla="*/ 0 h 257442"/>
                <a:gd name="connsiteX0" fmla="*/ 960420 w 960420"/>
                <a:gd name="connsiteY0" fmla="*/ 0 h 257442"/>
                <a:gd name="connsiteX1" fmla="*/ 905699 w 960420"/>
                <a:gd name="connsiteY1" fmla="*/ 257442 h 257442"/>
                <a:gd name="connsiteX2" fmla="*/ 1 w 960420"/>
                <a:gd name="connsiteY2" fmla="*/ 257442 h 257442"/>
                <a:gd name="connsiteX3" fmla="*/ 0 w 960420"/>
                <a:gd name="connsiteY3" fmla="*/ 0 h 257442"/>
                <a:gd name="connsiteX0" fmla="*/ 960420 w 960420"/>
                <a:gd name="connsiteY0" fmla="*/ 0 h 257442"/>
                <a:gd name="connsiteX1" fmla="*/ 905699 w 960420"/>
                <a:gd name="connsiteY1" fmla="*/ 257442 h 257442"/>
                <a:gd name="connsiteX2" fmla="*/ 1 w 960420"/>
                <a:gd name="connsiteY2" fmla="*/ 257442 h 257442"/>
                <a:gd name="connsiteX3" fmla="*/ 0 w 960420"/>
                <a:gd name="connsiteY3" fmla="*/ 0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0 w 960419"/>
                <a:gd name="connsiteY2" fmla="*/ 257442 h 257442"/>
                <a:gd name="connsiteX3" fmla="*/ 0 w 960419"/>
                <a:gd name="connsiteY3" fmla="*/ 0 h 257442"/>
                <a:gd name="connsiteX0" fmla="*/ 782550 w 905698"/>
                <a:gd name="connsiteY0" fmla="*/ 0 h 257442"/>
                <a:gd name="connsiteX1" fmla="*/ 905698 w 905698"/>
                <a:gd name="connsiteY1" fmla="*/ 257442 h 257442"/>
                <a:gd name="connsiteX2" fmla="*/ 0 w 905698"/>
                <a:gd name="connsiteY2" fmla="*/ 257442 h 257442"/>
                <a:gd name="connsiteX3" fmla="*/ 0 w 905698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960419 w 960419"/>
                <a:gd name="connsiteY0" fmla="*/ 0 h 257442"/>
                <a:gd name="connsiteX1" fmla="*/ 727829 w 960419"/>
                <a:gd name="connsiteY1" fmla="*/ 257442 h 257442"/>
                <a:gd name="connsiteX2" fmla="*/ 0 w 960419"/>
                <a:gd name="connsiteY2" fmla="*/ 257442 h 257442"/>
                <a:gd name="connsiteX3" fmla="*/ 0 w 960419"/>
                <a:gd name="connsiteY3" fmla="*/ 0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0 w 960419"/>
                <a:gd name="connsiteY2" fmla="*/ 257442 h 257442"/>
                <a:gd name="connsiteX3" fmla="*/ 0 w 960419"/>
                <a:gd name="connsiteY3" fmla="*/ 0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0 w 960419"/>
                <a:gd name="connsiteY2" fmla="*/ 257442 h 257442"/>
                <a:gd name="connsiteX3" fmla="*/ 0 w 960419"/>
                <a:gd name="connsiteY3" fmla="*/ 0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0 w 960419"/>
                <a:gd name="connsiteY2" fmla="*/ 257442 h 257442"/>
                <a:gd name="connsiteX3" fmla="*/ 0 w 960419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2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306669 w 1306669"/>
                <a:gd name="connsiteY0" fmla="*/ 0 h 257442"/>
                <a:gd name="connsiteX1" fmla="*/ 1074013 w 1306669"/>
                <a:gd name="connsiteY1" fmla="*/ 257442 h 257442"/>
                <a:gd name="connsiteX2" fmla="*/ 0 w 1306669"/>
                <a:gd name="connsiteY2" fmla="*/ 257442 h 257442"/>
                <a:gd name="connsiteX3" fmla="*/ 1 w 1306669"/>
                <a:gd name="connsiteY3" fmla="*/ 0 h 257442"/>
                <a:gd name="connsiteX0" fmla="*/ 1306669 w 1306669"/>
                <a:gd name="connsiteY0" fmla="*/ 0 h 257442"/>
                <a:gd name="connsiteX1" fmla="*/ 1251948 w 1306669"/>
                <a:gd name="connsiteY1" fmla="*/ 257442 h 257442"/>
                <a:gd name="connsiteX2" fmla="*/ 0 w 1306669"/>
                <a:gd name="connsiteY2" fmla="*/ 257442 h 257442"/>
                <a:gd name="connsiteX3" fmla="*/ 1 w 1306669"/>
                <a:gd name="connsiteY3" fmla="*/ 0 h 257442"/>
                <a:gd name="connsiteX0" fmla="*/ 1306668 w 1306668"/>
                <a:gd name="connsiteY0" fmla="*/ 0 h 257442"/>
                <a:gd name="connsiteX1" fmla="*/ 1251947 w 1306668"/>
                <a:gd name="connsiteY1" fmla="*/ 257442 h 257442"/>
                <a:gd name="connsiteX2" fmla="*/ 0 w 1306668"/>
                <a:gd name="connsiteY2" fmla="*/ 257442 h 257442"/>
                <a:gd name="connsiteX3" fmla="*/ 0 w 1306668"/>
                <a:gd name="connsiteY3" fmla="*/ 0 h 257442"/>
                <a:gd name="connsiteX0" fmla="*/ 1306669 w 1306669"/>
                <a:gd name="connsiteY0" fmla="*/ 0 h 257442"/>
                <a:gd name="connsiteX1" fmla="*/ 1251948 w 1306669"/>
                <a:gd name="connsiteY1" fmla="*/ 257442 h 257442"/>
                <a:gd name="connsiteX2" fmla="*/ 1 w 1306669"/>
                <a:gd name="connsiteY2" fmla="*/ 257442 h 257442"/>
                <a:gd name="connsiteX3" fmla="*/ 0 w 1306669"/>
                <a:gd name="connsiteY3" fmla="*/ 0 h 257442"/>
                <a:gd name="connsiteX0" fmla="*/ 1474984 w 1474984"/>
                <a:gd name="connsiteY0" fmla="*/ 0 h 257442"/>
                <a:gd name="connsiteX1" fmla="*/ 1251948 w 1474984"/>
                <a:gd name="connsiteY1" fmla="*/ 257442 h 257442"/>
                <a:gd name="connsiteX2" fmla="*/ 1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1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643298 w 1643298"/>
                <a:gd name="connsiteY0" fmla="*/ 0 h 257442"/>
                <a:gd name="connsiteX1" fmla="*/ 1420262 w 1643298"/>
                <a:gd name="connsiteY1" fmla="*/ 257442 h 257442"/>
                <a:gd name="connsiteX2" fmla="*/ 0 w 1643298"/>
                <a:gd name="connsiteY2" fmla="*/ 257442 h 257442"/>
                <a:gd name="connsiteX3" fmla="*/ 0 w 1643298"/>
                <a:gd name="connsiteY3" fmla="*/ 0 h 257442"/>
                <a:gd name="connsiteX0" fmla="*/ 1643298 w 1643298"/>
                <a:gd name="connsiteY0" fmla="*/ 0 h 257442"/>
                <a:gd name="connsiteX1" fmla="*/ 1588577 w 1643298"/>
                <a:gd name="connsiteY1" fmla="*/ 257442 h 257442"/>
                <a:gd name="connsiteX2" fmla="*/ 0 w 1643298"/>
                <a:gd name="connsiteY2" fmla="*/ 257442 h 257442"/>
                <a:gd name="connsiteX3" fmla="*/ 0 w 1643298"/>
                <a:gd name="connsiteY3" fmla="*/ 0 h 257442"/>
                <a:gd name="connsiteX0" fmla="*/ 1643298 w 1643298"/>
                <a:gd name="connsiteY0" fmla="*/ 0 h 257442"/>
                <a:gd name="connsiteX1" fmla="*/ 1588577 w 1643298"/>
                <a:gd name="connsiteY1" fmla="*/ 257442 h 257442"/>
                <a:gd name="connsiteX2" fmla="*/ 0 w 1643298"/>
                <a:gd name="connsiteY2" fmla="*/ 257442 h 257442"/>
                <a:gd name="connsiteX3" fmla="*/ 0 w 1643298"/>
                <a:gd name="connsiteY3" fmla="*/ 0 h 257442"/>
                <a:gd name="connsiteX0" fmla="*/ 1643298 w 1643298"/>
                <a:gd name="connsiteY0" fmla="*/ 0 h 257442"/>
                <a:gd name="connsiteX1" fmla="*/ 1588577 w 1643298"/>
                <a:gd name="connsiteY1" fmla="*/ 257442 h 257442"/>
                <a:gd name="connsiteX2" fmla="*/ 0 w 1643298"/>
                <a:gd name="connsiteY2" fmla="*/ 257442 h 257442"/>
                <a:gd name="connsiteX3" fmla="*/ 0 w 1643298"/>
                <a:gd name="connsiteY3" fmla="*/ 0 h 257442"/>
                <a:gd name="connsiteX0" fmla="*/ 1912603 w 1912603"/>
                <a:gd name="connsiteY0" fmla="*/ 0 h 257442"/>
                <a:gd name="connsiteX1" fmla="*/ 1588577 w 1912603"/>
                <a:gd name="connsiteY1" fmla="*/ 257442 h 257442"/>
                <a:gd name="connsiteX2" fmla="*/ 0 w 1912603"/>
                <a:gd name="connsiteY2" fmla="*/ 257442 h 257442"/>
                <a:gd name="connsiteX3" fmla="*/ 0 w 1912603"/>
                <a:gd name="connsiteY3" fmla="*/ 0 h 257442"/>
                <a:gd name="connsiteX0" fmla="*/ 1912603 w 1912603"/>
                <a:gd name="connsiteY0" fmla="*/ 0 h 257442"/>
                <a:gd name="connsiteX1" fmla="*/ 1857882 w 1912603"/>
                <a:gd name="connsiteY1" fmla="*/ 257442 h 257442"/>
                <a:gd name="connsiteX2" fmla="*/ 0 w 1912603"/>
                <a:gd name="connsiteY2" fmla="*/ 257442 h 257442"/>
                <a:gd name="connsiteX3" fmla="*/ 0 w 1912603"/>
                <a:gd name="connsiteY3" fmla="*/ 0 h 257442"/>
                <a:gd name="connsiteX0" fmla="*/ 1912603 w 1912603"/>
                <a:gd name="connsiteY0" fmla="*/ 0 h 257442"/>
                <a:gd name="connsiteX1" fmla="*/ 1857882 w 1912603"/>
                <a:gd name="connsiteY1" fmla="*/ 257442 h 257442"/>
                <a:gd name="connsiteX2" fmla="*/ 0 w 1912603"/>
                <a:gd name="connsiteY2" fmla="*/ 257442 h 257442"/>
                <a:gd name="connsiteX3" fmla="*/ 0 w 1912603"/>
                <a:gd name="connsiteY3" fmla="*/ 0 h 257442"/>
                <a:gd name="connsiteX0" fmla="*/ 1912603 w 1912603"/>
                <a:gd name="connsiteY0" fmla="*/ 0 h 257442"/>
                <a:gd name="connsiteX1" fmla="*/ 1857882 w 1912603"/>
                <a:gd name="connsiteY1" fmla="*/ 257442 h 257442"/>
                <a:gd name="connsiteX2" fmla="*/ 0 w 1912603"/>
                <a:gd name="connsiteY2" fmla="*/ 257442 h 257442"/>
                <a:gd name="connsiteX3" fmla="*/ 0 w 1912603"/>
                <a:gd name="connsiteY3" fmla="*/ 0 h 257442"/>
                <a:gd name="connsiteX0" fmla="*/ 2173892 w 2173892"/>
                <a:gd name="connsiteY0" fmla="*/ 0 h 257442"/>
                <a:gd name="connsiteX1" fmla="*/ 1857882 w 2173892"/>
                <a:gd name="connsiteY1" fmla="*/ 257442 h 257442"/>
                <a:gd name="connsiteX2" fmla="*/ 0 w 2173892"/>
                <a:gd name="connsiteY2" fmla="*/ 257442 h 257442"/>
                <a:gd name="connsiteX3" fmla="*/ 0 w 2173892"/>
                <a:gd name="connsiteY3" fmla="*/ 0 h 257442"/>
                <a:gd name="connsiteX0" fmla="*/ 2173892 w 2173892"/>
                <a:gd name="connsiteY0" fmla="*/ 0 h 257442"/>
                <a:gd name="connsiteX1" fmla="*/ 2119170 w 2173892"/>
                <a:gd name="connsiteY1" fmla="*/ 257442 h 257442"/>
                <a:gd name="connsiteX2" fmla="*/ 0 w 2173892"/>
                <a:gd name="connsiteY2" fmla="*/ 257442 h 257442"/>
                <a:gd name="connsiteX3" fmla="*/ 0 w 2173892"/>
                <a:gd name="connsiteY3" fmla="*/ 0 h 257442"/>
                <a:gd name="connsiteX0" fmla="*/ 2173893 w 2173893"/>
                <a:gd name="connsiteY0" fmla="*/ 0 h 257442"/>
                <a:gd name="connsiteX1" fmla="*/ 2119171 w 2173893"/>
                <a:gd name="connsiteY1" fmla="*/ 257442 h 257442"/>
                <a:gd name="connsiteX2" fmla="*/ 0 w 2173893"/>
                <a:gd name="connsiteY2" fmla="*/ 257442 h 257442"/>
                <a:gd name="connsiteX3" fmla="*/ 1 w 2173893"/>
                <a:gd name="connsiteY3" fmla="*/ 0 h 257442"/>
                <a:gd name="connsiteX0" fmla="*/ 2173893 w 2173893"/>
                <a:gd name="connsiteY0" fmla="*/ 0 h 257442"/>
                <a:gd name="connsiteX1" fmla="*/ 2119171 w 2173893"/>
                <a:gd name="connsiteY1" fmla="*/ 257442 h 257442"/>
                <a:gd name="connsiteX2" fmla="*/ 0 w 2173893"/>
                <a:gd name="connsiteY2" fmla="*/ 257442 h 257442"/>
                <a:gd name="connsiteX3" fmla="*/ 1 w 2173893"/>
                <a:gd name="connsiteY3" fmla="*/ 0 h 257442"/>
                <a:gd name="connsiteX0" fmla="*/ 2334193 w 2334193"/>
                <a:gd name="connsiteY0" fmla="*/ 0 h 257442"/>
                <a:gd name="connsiteX1" fmla="*/ 2119171 w 2334193"/>
                <a:gd name="connsiteY1" fmla="*/ 257442 h 257442"/>
                <a:gd name="connsiteX2" fmla="*/ 0 w 2334193"/>
                <a:gd name="connsiteY2" fmla="*/ 257442 h 257442"/>
                <a:gd name="connsiteX3" fmla="*/ 1 w 2334193"/>
                <a:gd name="connsiteY3" fmla="*/ 0 h 257442"/>
                <a:gd name="connsiteX0" fmla="*/ 2334193 w 2334193"/>
                <a:gd name="connsiteY0" fmla="*/ 0 h 257442"/>
                <a:gd name="connsiteX1" fmla="*/ 2279472 w 2334193"/>
                <a:gd name="connsiteY1" fmla="*/ 257442 h 257442"/>
                <a:gd name="connsiteX2" fmla="*/ 0 w 2334193"/>
                <a:gd name="connsiteY2" fmla="*/ 257442 h 257442"/>
                <a:gd name="connsiteX3" fmla="*/ 1 w 2334193"/>
                <a:gd name="connsiteY3" fmla="*/ 0 h 257442"/>
                <a:gd name="connsiteX0" fmla="*/ 2334192 w 2334192"/>
                <a:gd name="connsiteY0" fmla="*/ 0 h 257442"/>
                <a:gd name="connsiteX1" fmla="*/ 2279471 w 2334192"/>
                <a:gd name="connsiteY1" fmla="*/ 257442 h 257442"/>
                <a:gd name="connsiteX2" fmla="*/ 0 w 2334192"/>
                <a:gd name="connsiteY2" fmla="*/ 257442 h 257442"/>
                <a:gd name="connsiteX3" fmla="*/ 0 w 2334192"/>
                <a:gd name="connsiteY3" fmla="*/ 0 h 257442"/>
                <a:gd name="connsiteX0" fmla="*/ 2334193 w 2334193"/>
                <a:gd name="connsiteY0" fmla="*/ 0 h 257442"/>
                <a:gd name="connsiteX1" fmla="*/ 2279472 w 2334193"/>
                <a:gd name="connsiteY1" fmla="*/ 257442 h 257442"/>
                <a:gd name="connsiteX2" fmla="*/ 1 w 2334193"/>
                <a:gd name="connsiteY2" fmla="*/ 257442 h 257442"/>
                <a:gd name="connsiteX3" fmla="*/ 0 w 2334193"/>
                <a:gd name="connsiteY3" fmla="*/ 0 h 257442"/>
                <a:gd name="connsiteX0" fmla="*/ 2502509 w 2502509"/>
                <a:gd name="connsiteY0" fmla="*/ 0 h 257442"/>
                <a:gd name="connsiteX1" fmla="*/ 2279472 w 2502509"/>
                <a:gd name="connsiteY1" fmla="*/ 257442 h 257442"/>
                <a:gd name="connsiteX2" fmla="*/ 1 w 2502509"/>
                <a:gd name="connsiteY2" fmla="*/ 257442 h 257442"/>
                <a:gd name="connsiteX3" fmla="*/ 0 w 2502509"/>
                <a:gd name="connsiteY3" fmla="*/ 0 h 257442"/>
                <a:gd name="connsiteX0" fmla="*/ 2502509 w 2502509"/>
                <a:gd name="connsiteY0" fmla="*/ 0 h 257442"/>
                <a:gd name="connsiteX1" fmla="*/ 2447788 w 2502509"/>
                <a:gd name="connsiteY1" fmla="*/ 257442 h 257442"/>
                <a:gd name="connsiteX2" fmla="*/ 1 w 2502509"/>
                <a:gd name="connsiteY2" fmla="*/ 257442 h 257442"/>
                <a:gd name="connsiteX3" fmla="*/ 0 w 2502509"/>
                <a:gd name="connsiteY3" fmla="*/ 0 h 257442"/>
                <a:gd name="connsiteX0" fmla="*/ 2502509 w 2502509"/>
                <a:gd name="connsiteY0" fmla="*/ 0 h 257442"/>
                <a:gd name="connsiteX1" fmla="*/ 2447788 w 2502509"/>
                <a:gd name="connsiteY1" fmla="*/ 257442 h 257442"/>
                <a:gd name="connsiteX2" fmla="*/ 1 w 2502509"/>
                <a:gd name="connsiteY2" fmla="*/ 257442 h 257442"/>
                <a:gd name="connsiteX3" fmla="*/ 0 w 2502509"/>
                <a:gd name="connsiteY3" fmla="*/ 0 h 257442"/>
                <a:gd name="connsiteX0" fmla="*/ 2502508 w 2502508"/>
                <a:gd name="connsiteY0" fmla="*/ 0 h 257442"/>
                <a:gd name="connsiteX1" fmla="*/ 2447787 w 2502508"/>
                <a:gd name="connsiteY1" fmla="*/ 257442 h 257442"/>
                <a:gd name="connsiteX2" fmla="*/ 0 w 2502508"/>
                <a:gd name="connsiteY2" fmla="*/ 257442 h 257442"/>
                <a:gd name="connsiteX3" fmla="*/ 0 w 2502508"/>
                <a:gd name="connsiteY3" fmla="*/ 0 h 257442"/>
                <a:gd name="connsiteX0" fmla="*/ 2670822 w 2670822"/>
                <a:gd name="connsiteY0" fmla="*/ 0 h 257442"/>
                <a:gd name="connsiteX1" fmla="*/ 2447787 w 2670822"/>
                <a:gd name="connsiteY1" fmla="*/ 257442 h 257442"/>
                <a:gd name="connsiteX2" fmla="*/ 0 w 2670822"/>
                <a:gd name="connsiteY2" fmla="*/ 257442 h 257442"/>
                <a:gd name="connsiteX3" fmla="*/ 0 w 2670822"/>
                <a:gd name="connsiteY3" fmla="*/ 0 h 257442"/>
                <a:gd name="connsiteX0" fmla="*/ 2670822 w 2670822"/>
                <a:gd name="connsiteY0" fmla="*/ 0 h 257442"/>
                <a:gd name="connsiteX1" fmla="*/ 2616101 w 2670822"/>
                <a:gd name="connsiteY1" fmla="*/ 257442 h 257442"/>
                <a:gd name="connsiteX2" fmla="*/ 0 w 2670822"/>
                <a:gd name="connsiteY2" fmla="*/ 257442 h 257442"/>
                <a:gd name="connsiteX3" fmla="*/ 0 w 2670822"/>
                <a:gd name="connsiteY3" fmla="*/ 0 h 257442"/>
                <a:gd name="connsiteX0" fmla="*/ 2670823 w 2670823"/>
                <a:gd name="connsiteY0" fmla="*/ 0 h 257442"/>
                <a:gd name="connsiteX1" fmla="*/ 2616102 w 2670823"/>
                <a:gd name="connsiteY1" fmla="*/ 257442 h 257442"/>
                <a:gd name="connsiteX2" fmla="*/ 0 w 2670823"/>
                <a:gd name="connsiteY2" fmla="*/ 257442 h 257442"/>
                <a:gd name="connsiteX3" fmla="*/ 1 w 2670823"/>
                <a:gd name="connsiteY3" fmla="*/ 0 h 257442"/>
                <a:gd name="connsiteX0" fmla="*/ 2670823 w 2670823"/>
                <a:gd name="connsiteY0" fmla="*/ 0 h 257442"/>
                <a:gd name="connsiteX1" fmla="*/ 2616102 w 2670823"/>
                <a:gd name="connsiteY1" fmla="*/ 257442 h 257442"/>
                <a:gd name="connsiteX2" fmla="*/ 0 w 2670823"/>
                <a:gd name="connsiteY2" fmla="*/ 257442 h 257442"/>
                <a:gd name="connsiteX3" fmla="*/ 1 w 2670823"/>
                <a:gd name="connsiteY3" fmla="*/ 0 h 257442"/>
                <a:gd name="connsiteX0" fmla="*/ 2839140 w 2839140"/>
                <a:gd name="connsiteY0" fmla="*/ 0 h 257442"/>
                <a:gd name="connsiteX1" fmla="*/ 2616102 w 2839140"/>
                <a:gd name="connsiteY1" fmla="*/ 257442 h 257442"/>
                <a:gd name="connsiteX2" fmla="*/ 0 w 2839140"/>
                <a:gd name="connsiteY2" fmla="*/ 257442 h 257442"/>
                <a:gd name="connsiteX3" fmla="*/ 1 w 2839140"/>
                <a:gd name="connsiteY3" fmla="*/ 0 h 257442"/>
                <a:gd name="connsiteX0" fmla="*/ 2839140 w 2839140"/>
                <a:gd name="connsiteY0" fmla="*/ 0 h 257442"/>
                <a:gd name="connsiteX1" fmla="*/ 2784418 w 2839140"/>
                <a:gd name="connsiteY1" fmla="*/ 257442 h 257442"/>
                <a:gd name="connsiteX2" fmla="*/ 0 w 2839140"/>
                <a:gd name="connsiteY2" fmla="*/ 257442 h 257442"/>
                <a:gd name="connsiteX3" fmla="*/ 1 w 2839140"/>
                <a:gd name="connsiteY3" fmla="*/ 0 h 257442"/>
                <a:gd name="connsiteX0" fmla="*/ 2839140 w 2839140"/>
                <a:gd name="connsiteY0" fmla="*/ 0 h 257442"/>
                <a:gd name="connsiteX1" fmla="*/ 2784418 w 2839140"/>
                <a:gd name="connsiteY1" fmla="*/ 257442 h 257442"/>
                <a:gd name="connsiteX2" fmla="*/ 0 w 2839140"/>
                <a:gd name="connsiteY2" fmla="*/ 257442 h 257442"/>
                <a:gd name="connsiteX3" fmla="*/ 1 w 2839140"/>
                <a:gd name="connsiteY3" fmla="*/ 0 h 257442"/>
                <a:gd name="connsiteX0" fmla="*/ 2839140 w 2839140"/>
                <a:gd name="connsiteY0" fmla="*/ 0 h 257442"/>
                <a:gd name="connsiteX1" fmla="*/ 2784418 w 2839140"/>
                <a:gd name="connsiteY1" fmla="*/ 257442 h 257442"/>
                <a:gd name="connsiteX2" fmla="*/ 0 w 2839140"/>
                <a:gd name="connsiteY2" fmla="*/ 257442 h 257442"/>
                <a:gd name="connsiteX3" fmla="*/ 0 w 2839140"/>
                <a:gd name="connsiteY3" fmla="*/ 0 h 257442"/>
                <a:gd name="connsiteX0" fmla="*/ 3017071 w 3017071"/>
                <a:gd name="connsiteY0" fmla="*/ 0 h 257442"/>
                <a:gd name="connsiteX1" fmla="*/ 2784418 w 3017071"/>
                <a:gd name="connsiteY1" fmla="*/ 257442 h 257442"/>
                <a:gd name="connsiteX2" fmla="*/ 0 w 3017071"/>
                <a:gd name="connsiteY2" fmla="*/ 257442 h 257442"/>
                <a:gd name="connsiteX3" fmla="*/ 0 w 3017071"/>
                <a:gd name="connsiteY3" fmla="*/ 0 h 257442"/>
                <a:gd name="connsiteX0" fmla="*/ 3017071 w 3017071"/>
                <a:gd name="connsiteY0" fmla="*/ 0 h 257442"/>
                <a:gd name="connsiteX1" fmla="*/ 2962350 w 3017071"/>
                <a:gd name="connsiteY1" fmla="*/ 257442 h 257442"/>
                <a:gd name="connsiteX2" fmla="*/ 0 w 3017071"/>
                <a:gd name="connsiteY2" fmla="*/ 257442 h 257442"/>
                <a:gd name="connsiteX3" fmla="*/ 0 w 3017071"/>
                <a:gd name="connsiteY3" fmla="*/ 0 h 257442"/>
                <a:gd name="connsiteX0" fmla="*/ 3017071 w 3017071"/>
                <a:gd name="connsiteY0" fmla="*/ 0 h 257442"/>
                <a:gd name="connsiteX1" fmla="*/ 2962350 w 3017071"/>
                <a:gd name="connsiteY1" fmla="*/ 257442 h 257442"/>
                <a:gd name="connsiteX2" fmla="*/ 0 w 3017071"/>
                <a:gd name="connsiteY2" fmla="*/ 257442 h 257442"/>
                <a:gd name="connsiteX3" fmla="*/ 0 w 3017071"/>
                <a:gd name="connsiteY3" fmla="*/ 0 h 257442"/>
                <a:gd name="connsiteX0" fmla="*/ 3017071 w 3017071"/>
                <a:gd name="connsiteY0" fmla="*/ 0 h 257442"/>
                <a:gd name="connsiteX1" fmla="*/ 2962350 w 3017071"/>
                <a:gd name="connsiteY1" fmla="*/ 257442 h 257442"/>
                <a:gd name="connsiteX2" fmla="*/ 0 w 3017071"/>
                <a:gd name="connsiteY2" fmla="*/ 257442 h 257442"/>
                <a:gd name="connsiteX3" fmla="*/ 0 w 3017071"/>
                <a:gd name="connsiteY3" fmla="*/ 0 h 257442"/>
                <a:gd name="connsiteX0" fmla="*/ 2839139 w 2962350"/>
                <a:gd name="connsiteY0" fmla="*/ 0 h 257442"/>
                <a:gd name="connsiteX1" fmla="*/ 2962350 w 2962350"/>
                <a:gd name="connsiteY1" fmla="*/ 257442 h 257442"/>
                <a:gd name="connsiteX2" fmla="*/ 0 w 2962350"/>
                <a:gd name="connsiteY2" fmla="*/ 257442 h 257442"/>
                <a:gd name="connsiteX3" fmla="*/ 0 w 2962350"/>
                <a:gd name="connsiteY3" fmla="*/ 0 h 257442"/>
                <a:gd name="connsiteX0" fmla="*/ 2839139 w 2839139"/>
                <a:gd name="connsiteY0" fmla="*/ 0 h 257442"/>
                <a:gd name="connsiteX1" fmla="*/ 2784418 w 2839139"/>
                <a:gd name="connsiteY1" fmla="*/ 257442 h 257442"/>
                <a:gd name="connsiteX2" fmla="*/ 0 w 2839139"/>
                <a:gd name="connsiteY2" fmla="*/ 257442 h 257442"/>
                <a:gd name="connsiteX3" fmla="*/ 0 w 2839139"/>
                <a:gd name="connsiteY3" fmla="*/ 0 h 257442"/>
                <a:gd name="connsiteX0" fmla="*/ 2839139 w 2839139"/>
                <a:gd name="connsiteY0" fmla="*/ 0 h 257442"/>
                <a:gd name="connsiteX1" fmla="*/ 2784418 w 2839139"/>
                <a:gd name="connsiteY1" fmla="*/ 257442 h 257442"/>
                <a:gd name="connsiteX2" fmla="*/ 1 w 2839139"/>
                <a:gd name="connsiteY2" fmla="*/ 257442 h 257442"/>
                <a:gd name="connsiteX3" fmla="*/ 0 w 2839139"/>
                <a:gd name="connsiteY3" fmla="*/ 0 h 257442"/>
                <a:gd name="connsiteX0" fmla="*/ 2839138 w 2839138"/>
                <a:gd name="connsiteY0" fmla="*/ 0 h 257442"/>
                <a:gd name="connsiteX1" fmla="*/ 2784417 w 2839138"/>
                <a:gd name="connsiteY1" fmla="*/ 257442 h 257442"/>
                <a:gd name="connsiteX2" fmla="*/ 0 w 2839138"/>
                <a:gd name="connsiteY2" fmla="*/ 257442 h 257442"/>
                <a:gd name="connsiteX3" fmla="*/ 0 w 2839138"/>
                <a:gd name="connsiteY3" fmla="*/ 0 h 257442"/>
                <a:gd name="connsiteX0" fmla="*/ 3007452 w 3007452"/>
                <a:gd name="connsiteY0" fmla="*/ 0 h 257442"/>
                <a:gd name="connsiteX1" fmla="*/ 2784417 w 3007452"/>
                <a:gd name="connsiteY1" fmla="*/ 257442 h 257442"/>
                <a:gd name="connsiteX2" fmla="*/ 0 w 3007452"/>
                <a:gd name="connsiteY2" fmla="*/ 257442 h 257442"/>
                <a:gd name="connsiteX3" fmla="*/ 0 w 3007452"/>
                <a:gd name="connsiteY3" fmla="*/ 0 h 257442"/>
                <a:gd name="connsiteX0" fmla="*/ 3007452 w 3007452"/>
                <a:gd name="connsiteY0" fmla="*/ 0 h 257442"/>
                <a:gd name="connsiteX1" fmla="*/ 2952731 w 3007452"/>
                <a:gd name="connsiteY1" fmla="*/ 257442 h 257442"/>
                <a:gd name="connsiteX2" fmla="*/ 0 w 3007452"/>
                <a:gd name="connsiteY2" fmla="*/ 257442 h 257442"/>
                <a:gd name="connsiteX3" fmla="*/ 0 w 3007452"/>
                <a:gd name="connsiteY3" fmla="*/ 0 h 257442"/>
                <a:gd name="connsiteX0" fmla="*/ 3007453 w 3007453"/>
                <a:gd name="connsiteY0" fmla="*/ 0 h 257442"/>
                <a:gd name="connsiteX1" fmla="*/ 2952732 w 3007453"/>
                <a:gd name="connsiteY1" fmla="*/ 257442 h 257442"/>
                <a:gd name="connsiteX2" fmla="*/ 0 w 3007453"/>
                <a:gd name="connsiteY2" fmla="*/ 257442 h 257442"/>
                <a:gd name="connsiteX3" fmla="*/ 1 w 3007453"/>
                <a:gd name="connsiteY3" fmla="*/ 0 h 257442"/>
                <a:gd name="connsiteX0" fmla="*/ 3007453 w 3007453"/>
                <a:gd name="connsiteY0" fmla="*/ 0 h 257442"/>
                <a:gd name="connsiteX1" fmla="*/ 2952732 w 3007453"/>
                <a:gd name="connsiteY1" fmla="*/ 257442 h 257442"/>
                <a:gd name="connsiteX2" fmla="*/ 0 w 3007453"/>
                <a:gd name="connsiteY2" fmla="*/ 257442 h 257442"/>
                <a:gd name="connsiteX3" fmla="*/ 1 w 3007453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07453" h="257442">
                  <a:moveTo>
                    <a:pt x="3007453" y="0"/>
                  </a:moveTo>
                  <a:lnTo>
                    <a:pt x="2952732" y="257442"/>
                  </a:lnTo>
                  <a:lnTo>
                    <a:pt x="0" y="257442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17" name="btfpRunningAgenda1LevelTextLeft385877">
              <a:extLst>
                <a:ext uri="{FF2B5EF4-FFF2-40B4-BE49-F238E27FC236}">
                  <a16:creationId xmlns:a16="http://schemas.microsoft.com/office/drawing/2014/main" id="{EFE6A2A6-BFCB-CFD3-289B-9A770B088D73}"/>
                </a:ext>
              </a:extLst>
            </p:cNvPr>
            <p:cNvSpPr txBox="1"/>
            <p:nvPr/>
          </p:nvSpPr>
          <p:spPr bwMode="gray">
            <a:xfrm>
              <a:off x="0" y="876300"/>
              <a:ext cx="2952732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cap="all" spc="450">
                  <a:solidFill>
                    <a:srgbClr val="FFFFFF"/>
                  </a:solidFill>
                </a:rPr>
                <a:t>ORGANIC SEARCH</a:t>
              </a:r>
            </a:p>
          </p:txBody>
        </p:sp>
      </p:grpSp>
      <p:sp>
        <p:nvSpPr>
          <p:cNvPr id="75" name="TextBox 74">
            <a:extLst>
              <a:ext uri="{FF2B5EF4-FFF2-40B4-BE49-F238E27FC236}">
                <a16:creationId xmlns:a16="http://schemas.microsoft.com/office/drawing/2014/main" id="{A5EEE93D-68B1-F6A4-D159-E4C96B71291D}"/>
              </a:ext>
            </a:extLst>
          </p:cNvPr>
          <p:cNvSpPr txBox="1"/>
          <p:nvPr/>
        </p:nvSpPr>
        <p:spPr bwMode="gray">
          <a:xfrm>
            <a:off x="7673354" y="6374760"/>
            <a:ext cx="632190" cy="195814"/>
          </a:xfrm>
          <a:prstGeom prst="rect">
            <a:avLst/>
          </a:prstGeom>
          <a:solidFill>
            <a:srgbClr val="FFFFFF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800" b="1" i="1">
                <a:solidFill>
                  <a:srgbClr val="000000"/>
                </a:solidFill>
              </a:rPr>
              <a:t>Legend</a:t>
            </a:r>
          </a:p>
        </p:txBody>
      </p:sp>
      <p:graphicFrame>
        <p:nvGraphicFramePr>
          <p:cNvPr id="76" name="Table 75">
            <a:extLst>
              <a:ext uri="{FF2B5EF4-FFF2-40B4-BE49-F238E27FC236}">
                <a16:creationId xmlns:a16="http://schemas.microsoft.com/office/drawing/2014/main" id="{842CB7FC-C50E-349D-6454-1B8842E52EF3}"/>
              </a:ext>
            </a:extLst>
          </p:cNvPr>
          <p:cNvGraphicFramePr>
            <a:graphicFrameLocks noGrp="1"/>
          </p:cNvGraphicFramePr>
          <p:nvPr/>
        </p:nvGraphicFramePr>
        <p:xfrm>
          <a:off x="8203475" y="6395648"/>
          <a:ext cx="3654528" cy="18777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09088">
                  <a:extLst>
                    <a:ext uri="{9D8B030D-6E8A-4147-A177-3AD203B41FA5}">
                      <a16:colId xmlns:a16="http://schemas.microsoft.com/office/drawing/2014/main" val="3933447932"/>
                    </a:ext>
                  </a:extLst>
                </a:gridCol>
                <a:gridCol w="609088">
                  <a:extLst>
                    <a:ext uri="{9D8B030D-6E8A-4147-A177-3AD203B41FA5}">
                      <a16:colId xmlns:a16="http://schemas.microsoft.com/office/drawing/2014/main" val="2817919543"/>
                    </a:ext>
                  </a:extLst>
                </a:gridCol>
                <a:gridCol w="609088">
                  <a:extLst>
                    <a:ext uri="{9D8B030D-6E8A-4147-A177-3AD203B41FA5}">
                      <a16:colId xmlns:a16="http://schemas.microsoft.com/office/drawing/2014/main" val="1360854354"/>
                    </a:ext>
                  </a:extLst>
                </a:gridCol>
                <a:gridCol w="609088">
                  <a:extLst>
                    <a:ext uri="{9D8B030D-6E8A-4147-A177-3AD203B41FA5}">
                      <a16:colId xmlns:a16="http://schemas.microsoft.com/office/drawing/2014/main" val="954812982"/>
                    </a:ext>
                  </a:extLst>
                </a:gridCol>
                <a:gridCol w="609088">
                  <a:extLst>
                    <a:ext uri="{9D8B030D-6E8A-4147-A177-3AD203B41FA5}">
                      <a16:colId xmlns:a16="http://schemas.microsoft.com/office/drawing/2014/main" val="3303214137"/>
                    </a:ext>
                  </a:extLst>
                </a:gridCol>
                <a:gridCol w="609088">
                  <a:extLst>
                    <a:ext uri="{9D8B030D-6E8A-4147-A177-3AD203B41FA5}">
                      <a16:colId xmlns:a16="http://schemas.microsoft.com/office/drawing/2014/main" val="89983032"/>
                    </a:ext>
                  </a:extLst>
                </a:gridCol>
              </a:tblGrid>
              <a:tr h="187779"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800" b="0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Rank</a:t>
                      </a:r>
                      <a:r>
                        <a:rPr lang="en-US" sz="800" b="0" i="0" u="none" strike="noStrike" baseline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80-100</a:t>
                      </a:r>
                      <a:endParaRPr lang="en-US" sz="800" b="0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ank</a:t>
                      </a:r>
                      <a:r>
                        <a:rPr lang="en-US" sz="8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51-8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DC9E9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ank</a:t>
                      </a:r>
                      <a:r>
                        <a:rPr lang="en-US" sz="8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21-5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ank</a:t>
                      </a:r>
                      <a:r>
                        <a:rPr lang="en-US" sz="800" b="0" i="0" u="none" strike="noStrike" baseline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1-2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BBCAB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8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Rank</a:t>
                      </a:r>
                      <a:r>
                        <a:rPr lang="en-US" sz="800" b="0" i="0" u="none" strike="noStrike" baseline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 4-10</a:t>
                      </a:r>
                      <a:endParaRPr lang="en-US" sz="8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Rank</a:t>
                      </a:r>
                      <a:r>
                        <a:rPr lang="en-US" sz="800" b="1" i="0" u="none" strike="noStrike" baseline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1-3</a:t>
                      </a:r>
                      <a:endParaRPr lang="en-US" sz="8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5078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8342306"/>
                  </a:ext>
                </a:extLst>
              </a:tr>
            </a:tbl>
          </a:graphicData>
        </a:graphic>
      </p:graphicFrame>
      <p:sp>
        <p:nvSpPr>
          <p:cNvPr id="14" name="btfpNotesBox142121">
            <a:extLst>
              <a:ext uri="{FF2B5EF4-FFF2-40B4-BE49-F238E27FC236}">
                <a16:creationId xmlns:a16="http://schemas.microsoft.com/office/drawing/2014/main" id="{08F90AFB-B84F-68CC-3B72-75C2795A34A2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199" y="646183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sz="800">
                <a:solidFill>
                  <a:srgbClr val="000000"/>
                </a:solidFill>
              </a:rPr>
              <a:t>Note: Avg. ranks over the last 30 days – therefore, same rank can be there for multiple brands | </a:t>
            </a:r>
            <a:r>
              <a:rPr lang="en-CA" sz="800"/>
              <a:t>Source: SEMrush, last 30 days ending 17</a:t>
            </a:r>
            <a:r>
              <a:rPr lang="en-CA" sz="800" baseline="30000"/>
              <a:t>th</a:t>
            </a:r>
            <a:r>
              <a:rPr lang="en-CA" sz="800"/>
              <a:t> April, 2025</a:t>
            </a:r>
          </a:p>
        </p:txBody>
      </p:sp>
      <p:grpSp>
        <p:nvGrpSpPr>
          <p:cNvPr id="59" name="btfpStatusSticker656061">
            <a:extLst>
              <a:ext uri="{FF2B5EF4-FFF2-40B4-BE49-F238E27FC236}">
                <a16:creationId xmlns:a16="http://schemas.microsoft.com/office/drawing/2014/main" id="{6282FEB1-500A-D92B-C235-C2A50F3981F5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0102664" y="955344"/>
            <a:ext cx="1759136" cy="235611"/>
            <a:chOff x="-2269853" y="876300"/>
            <a:chExt cx="1759136" cy="235611"/>
          </a:xfrm>
        </p:grpSpPr>
        <p:sp>
          <p:nvSpPr>
            <p:cNvPr id="57" name="btfpStatusStickerText656061">
              <a:extLst>
                <a:ext uri="{FF2B5EF4-FFF2-40B4-BE49-F238E27FC236}">
                  <a16:creationId xmlns:a16="http://schemas.microsoft.com/office/drawing/2014/main" id="{A658FABC-C9B3-B4C0-C2F3-91D30FBFBA7C}"/>
                </a:ext>
              </a:extLst>
            </p:cNvPr>
            <p:cNvSpPr txBox="1"/>
            <p:nvPr/>
          </p:nvSpPr>
          <p:spPr bwMode="gray">
            <a:xfrm>
              <a:off x="-2269853" y="876300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GB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58" name="btfpStatusStickerLine656061">
              <a:extLst>
                <a:ext uri="{FF2B5EF4-FFF2-40B4-BE49-F238E27FC236}">
                  <a16:creationId xmlns:a16="http://schemas.microsoft.com/office/drawing/2014/main" id="{BF10604F-8C5D-6C0E-A583-949EFFADB3F0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69853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16D8C1C1-BB82-8B0D-F6B7-F583CF7C9B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7375828"/>
              </p:ext>
            </p:extLst>
          </p:nvPr>
        </p:nvGraphicFramePr>
        <p:xfrm>
          <a:off x="330198" y="1383937"/>
          <a:ext cx="11531603" cy="4947548"/>
        </p:xfrm>
        <a:graphic>
          <a:graphicData uri="http://schemas.openxmlformats.org/drawingml/2006/table">
            <a:tbl>
              <a:tblPr/>
              <a:tblGrid>
                <a:gridCol w="2272003">
                  <a:extLst>
                    <a:ext uri="{9D8B030D-6E8A-4147-A177-3AD203B41FA5}">
                      <a16:colId xmlns:a16="http://schemas.microsoft.com/office/drawing/2014/main" val="438164104"/>
                    </a:ext>
                  </a:extLst>
                </a:gridCol>
                <a:gridCol w="781696">
                  <a:extLst>
                    <a:ext uri="{9D8B030D-6E8A-4147-A177-3AD203B41FA5}">
                      <a16:colId xmlns:a16="http://schemas.microsoft.com/office/drawing/2014/main" val="3749322985"/>
                    </a:ext>
                  </a:extLst>
                </a:gridCol>
                <a:gridCol w="706492">
                  <a:extLst>
                    <a:ext uri="{9D8B030D-6E8A-4147-A177-3AD203B41FA5}">
                      <a16:colId xmlns:a16="http://schemas.microsoft.com/office/drawing/2014/main" val="4287540168"/>
                    </a:ext>
                  </a:extLst>
                </a:gridCol>
                <a:gridCol w="706492">
                  <a:extLst>
                    <a:ext uri="{9D8B030D-6E8A-4147-A177-3AD203B41FA5}">
                      <a16:colId xmlns:a16="http://schemas.microsoft.com/office/drawing/2014/main" val="962766332"/>
                    </a:ext>
                  </a:extLst>
                </a:gridCol>
                <a:gridCol w="706492">
                  <a:extLst>
                    <a:ext uri="{9D8B030D-6E8A-4147-A177-3AD203B41FA5}">
                      <a16:colId xmlns:a16="http://schemas.microsoft.com/office/drawing/2014/main" val="1468939928"/>
                    </a:ext>
                  </a:extLst>
                </a:gridCol>
                <a:gridCol w="706492">
                  <a:extLst>
                    <a:ext uri="{9D8B030D-6E8A-4147-A177-3AD203B41FA5}">
                      <a16:colId xmlns:a16="http://schemas.microsoft.com/office/drawing/2014/main" val="1068822816"/>
                    </a:ext>
                  </a:extLst>
                </a:gridCol>
                <a:gridCol w="706492">
                  <a:extLst>
                    <a:ext uri="{9D8B030D-6E8A-4147-A177-3AD203B41FA5}">
                      <a16:colId xmlns:a16="http://schemas.microsoft.com/office/drawing/2014/main" val="4194978207"/>
                    </a:ext>
                  </a:extLst>
                </a:gridCol>
                <a:gridCol w="706492">
                  <a:extLst>
                    <a:ext uri="{9D8B030D-6E8A-4147-A177-3AD203B41FA5}">
                      <a16:colId xmlns:a16="http://schemas.microsoft.com/office/drawing/2014/main" val="639382534"/>
                    </a:ext>
                  </a:extLst>
                </a:gridCol>
                <a:gridCol w="706492">
                  <a:extLst>
                    <a:ext uri="{9D8B030D-6E8A-4147-A177-3AD203B41FA5}">
                      <a16:colId xmlns:a16="http://schemas.microsoft.com/office/drawing/2014/main" val="2798768486"/>
                    </a:ext>
                  </a:extLst>
                </a:gridCol>
                <a:gridCol w="706492">
                  <a:extLst>
                    <a:ext uri="{9D8B030D-6E8A-4147-A177-3AD203B41FA5}">
                      <a16:colId xmlns:a16="http://schemas.microsoft.com/office/drawing/2014/main" val="2218459743"/>
                    </a:ext>
                  </a:extLst>
                </a:gridCol>
                <a:gridCol w="706492">
                  <a:extLst>
                    <a:ext uri="{9D8B030D-6E8A-4147-A177-3AD203B41FA5}">
                      <a16:colId xmlns:a16="http://schemas.microsoft.com/office/drawing/2014/main" val="3989175975"/>
                    </a:ext>
                  </a:extLst>
                </a:gridCol>
                <a:gridCol w="706492">
                  <a:extLst>
                    <a:ext uri="{9D8B030D-6E8A-4147-A177-3AD203B41FA5}">
                      <a16:colId xmlns:a16="http://schemas.microsoft.com/office/drawing/2014/main" val="2839401629"/>
                    </a:ext>
                  </a:extLst>
                </a:gridCol>
                <a:gridCol w="706492">
                  <a:extLst>
                    <a:ext uri="{9D8B030D-6E8A-4147-A177-3AD203B41FA5}">
                      <a16:colId xmlns:a16="http://schemas.microsoft.com/office/drawing/2014/main" val="1629767304"/>
                    </a:ext>
                  </a:extLst>
                </a:gridCol>
                <a:gridCol w="706492">
                  <a:extLst>
                    <a:ext uri="{9D8B030D-6E8A-4147-A177-3AD203B41FA5}">
                      <a16:colId xmlns:a16="http://schemas.microsoft.com/office/drawing/2014/main" val="28969471"/>
                    </a:ext>
                  </a:extLst>
                </a:gridCol>
              </a:tblGrid>
              <a:tr h="254363">
                <a:tc>
                  <a:txBody>
                    <a:bodyPr/>
                    <a:lstStyle/>
                    <a:p>
                      <a:pPr marL="0" indent="0" algn="l" fontAlgn="ctr">
                        <a:buFontTx/>
                        <a:buNone/>
                      </a:pPr>
                      <a:r>
                        <a:rPr lang="en-US" sz="900" b="1" i="0" u="none" strike="noStrike">
                          <a:solidFill>
                            <a:srgbClr val="CC0000"/>
                          </a:solidFill>
                          <a:effectLst/>
                          <a:latin typeface="+mj-lt"/>
                        </a:rPr>
                        <a:t>Keyword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900" b="1" i="0" u="none" strike="noStrike">
                          <a:solidFill>
                            <a:srgbClr val="CC0000"/>
                          </a:solidFill>
                          <a:effectLst/>
                          <a:latin typeface="+mj-lt"/>
                        </a:rPr>
                        <a:t>Search Volume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6900222"/>
                  </a:ext>
                </a:extLst>
              </a:tr>
              <a:tr h="166901"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aving companies near me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8,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1" u="none" strike="noStrike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+mn-lt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1851791"/>
                  </a:ext>
                </a:extLst>
              </a:tr>
              <a:tr h="166901"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aving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4,8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8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9E9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86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2459774"/>
                  </a:ext>
                </a:extLst>
              </a:tr>
              <a:tr h="166901"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r>
                        <a:rPr lang="en-US" sz="900" b="1" i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sphalt paving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,9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4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9E9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6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5877815"/>
                  </a:ext>
                </a:extLst>
              </a:tr>
              <a:tr h="166901"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riveway sealcoating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,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CAB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5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9E9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0029414"/>
                  </a:ext>
                </a:extLst>
              </a:tr>
              <a:tr h="166901"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sphalt contractors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,6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1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9E9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9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9E9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2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9E9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0546443"/>
                  </a:ext>
                </a:extLst>
              </a:tr>
              <a:tr h="166901"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aving contractors near me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,6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121822"/>
                  </a:ext>
                </a:extLst>
              </a:tr>
              <a:tr h="166901"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sphalt contractors near me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,4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0103811"/>
                  </a:ext>
                </a:extLst>
              </a:tr>
              <a:tr h="166901"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aving contractor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,4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6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9E9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86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6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0016986"/>
                  </a:ext>
                </a:extLst>
              </a:tr>
              <a:tr h="166901"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aving contractors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,4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8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CAB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6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76299"/>
                  </a:ext>
                </a:extLst>
              </a:tr>
              <a:tr h="166901"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aving companies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,6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4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9E9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1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5363227"/>
                  </a:ext>
                </a:extLst>
              </a:tr>
              <a:tr h="166901"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aving company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,6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86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2667176"/>
                  </a:ext>
                </a:extLst>
              </a:tr>
              <a:tr h="166901"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da parking requirements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,9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3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4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1" u="none" strike="noStrike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+mn-lt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1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4857676"/>
                  </a:ext>
                </a:extLst>
              </a:tr>
              <a:tr h="166901"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sphalt companies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,9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9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7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66195163"/>
                  </a:ext>
                </a:extLst>
              </a:tr>
              <a:tr h="166901"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ealcoating driveway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,9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CAB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8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CAB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5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9E9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1" u="none" strike="noStrike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+mn-lt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3130534"/>
                  </a:ext>
                </a:extLst>
              </a:tr>
              <a:tr h="166901"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sphalt contractor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,4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6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3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9E9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1954386"/>
                  </a:ext>
                </a:extLst>
              </a:tr>
              <a:tr h="166901"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avement contractors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,9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8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9E9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3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1807871"/>
                  </a:ext>
                </a:extLst>
              </a:tr>
              <a:tr h="166901"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avement company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,6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4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86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7778257"/>
                  </a:ext>
                </a:extLst>
              </a:tr>
              <a:tr h="166901"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eal coating driveway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,6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3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4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9E9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3064727"/>
                  </a:ext>
                </a:extLst>
              </a:tr>
              <a:tr h="166901"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sphalt paving contractors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,3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1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3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CAB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2829198"/>
                  </a:ext>
                </a:extLst>
              </a:tr>
              <a:tr h="166901"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ontractor paving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,3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8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CAB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7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9E9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1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9E9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CAB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3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9E9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5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9E9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4444865"/>
                  </a:ext>
                </a:extLst>
              </a:tr>
              <a:tr h="166901"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thole repair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,3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1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9E9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2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4835723"/>
                  </a:ext>
                </a:extLst>
              </a:tr>
              <a:tr h="166901"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eal coat driveway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,3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9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CAB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2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8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9E9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3648221"/>
                  </a:ext>
                </a:extLst>
              </a:tr>
              <a:tr h="166901"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arking lot repair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,0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1" u="none" strike="noStrike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+mn-lt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3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9E9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CA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4799020"/>
                  </a:ext>
                </a:extLst>
              </a:tr>
              <a:tr h="166901"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arking lot sealcoating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8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7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9E9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8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CAB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2215664"/>
                  </a:ext>
                </a:extLst>
              </a:tr>
              <a:tr h="166901"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arking lot fix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9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1" u="none" strike="noStrike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+mn-lt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8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CAB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6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8058154"/>
                  </a:ext>
                </a:extLst>
              </a:tr>
              <a:tr h="166901"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sphalt crack sealing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8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5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7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9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CAB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1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1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9E9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3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296115"/>
                  </a:ext>
                </a:extLst>
              </a:tr>
              <a:tr h="166901"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sphalt repair companies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8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8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9E9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9E9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1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4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1623304"/>
                  </a:ext>
                </a:extLst>
              </a:tr>
              <a:tr h="166901">
                <a:tc>
                  <a:txBody>
                    <a:bodyPr/>
                    <a:lstStyle/>
                    <a:p>
                      <a:pPr marL="0" indent="0" algn="l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oncrete parking lot contractors near me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8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1" u="none" strike="noStrike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+mn-lt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3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9E9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1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8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1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6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86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&gt;100</a:t>
                      </a:r>
                    </a:p>
                  </a:txBody>
                  <a:tcPr marL="5144" marR="5144" marT="514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6322342"/>
                  </a:ext>
                </a:extLst>
              </a:tr>
            </a:tbl>
          </a:graphicData>
        </a:graphic>
      </p:graphicFrame>
      <p:sp>
        <p:nvSpPr>
          <p:cNvPr id="69" name="Rectangle 68">
            <a:extLst>
              <a:ext uri="{FF2B5EF4-FFF2-40B4-BE49-F238E27FC236}">
                <a16:creationId xmlns:a16="http://schemas.microsoft.com/office/drawing/2014/main" id="{42A3D3E4-DFF8-62D7-07F5-C0F0A0EBC837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 rot="16200000">
            <a:off x="3388980" y="1398133"/>
            <a:ext cx="4931229" cy="4943705"/>
          </a:xfrm>
          <a:prstGeom prst="rect">
            <a:avLst/>
          </a:prstGeom>
          <a:noFill/>
          <a:ln w="1905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107" name="Picture 106">
            <a:extLst>
              <a:ext uri="{FF2B5EF4-FFF2-40B4-BE49-F238E27FC236}">
                <a16:creationId xmlns:a16="http://schemas.microsoft.com/office/drawing/2014/main" id="{6C20C6DD-BF4A-000B-8E2A-C290FD8C6362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38" y="946635"/>
            <a:ext cx="252287" cy="251574"/>
          </a:xfrm>
          <a:prstGeom prst="rect">
            <a:avLst/>
          </a:prstGeom>
        </p:spPr>
      </p:pic>
      <p:sp>
        <p:nvSpPr>
          <p:cNvPr id="110" name="Rectangle 109">
            <a:extLst>
              <a:ext uri="{FF2B5EF4-FFF2-40B4-BE49-F238E27FC236}">
                <a16:creationId xmlns:a16="http://schemas.microsoft.com/office/drawing/2014/main" id="{A48FB59B-E1B9-569F-FAE9-1BF317185119}"/>
              </a:ext>
            </a:extLst>
          </p:cNvPr>
          <p:cNvSpPr/>
          <p:nvPr/>
        </p:nvSpPr>
        <p:spPr bwMode="gray">
          <a:xfrm rot="5400000">
            <a:off x="5767533" y="-1165926"/>
            <a:ext cx="164592" cy="4953231"/>
          </a:xfrm>
          <a:prstGeom prst="rect">
            <a:avLst/>
          </a:prstGeom>
          <a:solidFill>
            <a:srgbClr val="C00000"/>
          </a:solidFill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CA" sz="900" b="1" i="1" dirty="0">
                <a:solidFill>
                  <a:schemeClr val="bg1"/>
                </a:solidFill>
              </a:rPr>
              <a:t>Target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840A8A2D-D77F-FB1E-0D00-FF35BECC4B59}"/>
              </a:ext>
            </a:extLst>
          </p:cNvPr>
          <p:cNvSpPr/>
          <p:nvPr/>
        </p:nvSpPr>
        <p:spPr bwMode="gray">
          <a:xfrm rot="5400000">
            <a:off x="10351180" y="589861"/>
            <a:ext cx="164592" cy="1441658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CA" sz="800" b="1" i="1" dirty="0">
                <a:solidFill>
                  <a:schemeClr val="bg1"/>
                </a:solidFill>
              </a:rPr>
              <a:t>Peer 11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E20897A8-905A-18CC-0063-C0856797BD4F}"/>
              </a:ext>
            </a:extLst>
          </p:cNvPr>
          <p:cNvSpPr/>
          <p:nvPr/>
        </p:nvSpPr>
        <p:spPr bwMode="gray">
          <a:xfrm rot="5400000">
            <a:off x="11404266" y="935455"/>
            <a:ext cx="164592" cy="750469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CA" sz="800" b="1" i="1" dirty="0">
                <a:solidFill>
                  <a:schemeClr val="bg1"/>
                </a:solidFill>
              </a:rPr>
              <a:t>Peer 12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3C773AA7-5D92-DDCA-7FC1-CB1B641817C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4537644"/>
              </p:ext>
            </p:extLst>
          </p:nvPr>
        </p:nvGraphicFramePr>
        <p:xfrm>
          <a:off x="3382740" y="1418320"/>
          <a:ext cx="8474298" cy="228600"/>
        </p:xfrm>
        <a:graphic>
          <a:graphicData uri="http://schemas.openxmlformats.org/drawingml/2006/table">
            <a:tbl>
              <a:tblPr/>
              <a:tblGrid>
                <a:gridCol w="706190">
                  <a:extLst>
                    <a:ext uri="{9D8B030D-6E8A-4147-A177-3AD203B41FA5}">
                      <a16:colId xmlns:a16="http://schemas.microsoft.com/office/drawing/2014/main" val="99631817"/>
                    </a:ext>
                  </a:extLst>
                </a:gridCol>
                <a:gridCol w="706193">
                  <a:extLst>
                    <a:ext uri="{9D8B030D-6E8A-4147-A177-3AD203B41FA5}">
                      <a16:colId xmlns:a16="http://schemas.microsoft.com/office/drawing/2014/main" val="161954745"/>
                    </a:ext>
                  </a:extLst>
                </a:gridCol>
                <a:gridCol w="706190">
                  <a:extLst>
                    <a:ext uri="{9D8B030D-6E8A-4147-A177-3AD203B41FA5}">
                      <a16:colId xmlns:a16="http://schemas.microsoft.com/office/drawing/2014/main" val="922728448"/>
                    </a:ext>
                  </a:extLst>
                </a:gridCol>
                <a:gridCol w="706193">
                  <a:extLst>
                    <a:ext uri="{9D8B030D-6E8A-4147-A177-3AD203B41FA5}">
                      <a16:colId xmlns:a16="http://schemas.microsoft.com/office/drawing/2014/main" val="35396638"/>
                    </a:ext>
                  </a:extLst>
                </a:gridCol>
                <a:gridCol w="706190">
                  <a:extLst>
                    <a:ext uri="{9D8B030D-6E8A-4147-A177-3AD203B41FA5}">
                      <a16:colId xmlns:a16="http://schemas.microsoft.com/office/drawing/2014/main" val="1966293867"/>
                    </a:ext>
                  </a:extLst>
                </a:gridCol>
                <a:gridCol w="706193">
                  <a:extLst>
                    <a:ext uri="{9D8B030D-6E8A-4147-A177-3AD203B41FA5}">
                      <a16:colId xmlns:a16="http://schemas.microsoft.com/office/drawing/2014/main" val="869471868"/>
                    </a:ext>
                  </a:extLst>
                </a:gridCol>
                <a:gridCol w="706193">
                  <a:extLst>
                    <a:ext uri="{9D8B030D-6E8A-4147-A177-3AD203B41FA5}">
                      <a16:colId xmlns:a16="http://schemas.microsoft.com/office/drawing/2014/main" val="1257803649"/>
                    </a:ext>
                  </a:extLst>
                </a:gridCol>
                <a:gridCol w="706190">
                  <a:extLst>
                    <a:ext uri="{9D8B030D-6E8A-4147-A177-3AD203B41FA5}">
                      <a16:colId xmlns:a16="http://schemas.microsoft.com/office/drawing/2014/main" val="2688590524"/>
                    </a:ext>
                  </a:extLst>
                </a:gridCol>
                <a:gridCol w="706193">
                  <a:extLst>
                    <a:ext uri="{9D8B030D-6E8A-4147-A177-3AD203B41FA5}">
                      <a16:colId xmlns:a16="http://schemas.microsoft.com/office/drawing/2014/main" val="146733693"/>
                    </a:ext>
                  </a:extLst>
                </a:gridCol>
                <a:gridCol w="706190">
                  <a:extLst>
                    <a:ext uri="{9D8B030D-6E8A-4147-A177-3AD203B41FA5}">
                      <a16:colId xmlns:a16="http://schemas.microsoft.com/office/drawing/2014/main" val="640904270"/>
                    </a:ext>
                  </a:extLst>
                </a:gridCol>
                <a:gridCol w="706193">
                  <a:extLst>
                    <a:ext uri="{9D8B030D-6E8A-4147-A177-3AD203B41FA5}">
                      <a16:colId xmlns:a16="http://schemas.microsoft.com/office/drawing/2014/main" val="4037872660"/>
                    </a:ext>
                  </a:extLst>
                </a:gridCol>
                <a:gridCol w="706190">
                  <a:extLst>
                    <a:ext uri="{9D8B030D-6E8A-4147-A177-3AD203B41FA5}">
                      <a16:colId xmlns:a16="http://schemas.microsoft.com/office/drawing/2014/main" val="2146903175"/>
                    </a:ext>
                  </a:extLst>
                </a:gridCol>
              </a:tblGrid>
              <a:tr h="183413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CA" sz="900" b="1" dirty="0">
                          <a:solidFill>
                            <a:srgbClr val="C00000"/>
                          </a:solidFill>
                        </a:rPr>
                        <a:t>Peer 4</a:t>
                      </a:r>
                    </a:p>
                  </a:txBody>
                  <a:tcPr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mpd="sng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CA" sz="900" b="1" dirty="0">
                          <a:solidFill>
                            <a:srgbClr val="C00000"/>
                          </a:solidFill>
                        </a:rPr>
                        <a:t>Peer 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CA" sz="900" b="1" dirty="0">
                          <a:solidFill>
                            <a:srgbClr val="C00000"/>
                          </a:solidFill>
                        </a:rPr>
                        <a:t>Peer 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CA" sz="900" b="1" dirty="0">
                          <a:solidFill>
                            <a:srgbClr val="C00000"/>
                          </a:solidFill>
                        </a:rPr>
                        <a:t>Peer 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CA" sz="900" b="1" dirty="0">
                          <a:solidFill>
                            <a:srgbClr val="C00000"/>
                          </a:solidFill>
                        </a:rPr>
                        <a:t>Peer 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CA" sz="900" b="1" dirty="0">
                          <a:solidFill>
                            <a:srgbClr val="C00000"/>
                          </a:solidFill>
                        </a:rPr>
                        <a:t>Peer 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CA" sz="900" b="1" dirty="0">
                          <a:solidFill>
                            <a:srgbClr val="C00000"/>
                          </a:solidFill>
                        </a:rPr>
                        <a:t>Peer 6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CA" sz="900" b="1" dirty="0"/>
                        <a:t>Peer 9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CA" sz="900" b="1" dirty="0"/>
                        <a:t>Peer 8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CA" sz="900" b="1" dirty="0"/>
                        <a:t>Peer 1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CA" sz="900" b="1" dirty="0"/>
                        <a:t>Peer 1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CA" sz="900" b="1" dirty="0"/>
                        <a:t>Peer 1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6349751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0317740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6936923B-0189-B830-380B-7CF1C7BE392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14131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84" imgH="486" progId="TCLayout.ActiveDocument.1">
                  <p:embed/>
                </p:oleObj>
              </mc:Choice>
              <mc:Fallback>
                <p:oleObj name="think-cell Slide" r:id="rId16" imgW="484" imgH="486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36923B-0189-B830-380B-7CF1C7BE39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9" name="btfpRunningAgenda2Level596989">
            <a:extLst>
              <a:ext uri="{FF2B5EF4-FFF2-40B4-BE49-F238E27FC236}">
                <a16:creationId xmlns:a16="http://schemas.microsoft.com/office/drawing/2014/main" id="{7AE3E3E4-E7DD-4CBB-7C55-1CD928B30152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0" y="944429"/>
            <a:ext cx="2463844" cy="257443"/>
            <a:chOff x="0" y="876300"/>
            <a:chExt cx="2463844" cy="257443"/>
          </a:xfrm>
        </p:grpSpPr>
        <p:sp>
          <p:nvSpPr>
            <p:cNvPr id="36" name="btfpRunningAgenda2LevelBarLeft596989">
              <a:extLst>
                <a:ext uri="{FF2B5EF4-FFF2-40B4-BE49-F238E27FC236}">
                  <a16:creationId xmlns:a16="http://schemas.microsoft.com/office/drawing/2014/main" id="{E1BD611C-56F3-55AE-DDAB-92FDD1254D40}"/>
                </a:ext>
              </a:extLst>
            </p:cNvPr>
            <p:cNvSpPr/>
            <p:nvPr/>
          </p:nvSpPr>
          <p:spPr bwMode="gray">
            <a:xfrm>
              <a:off x="0" y="876300"/>
              <a:ext cx="2463844" cy="257443"/>
            </a:xfrm>
            <a:custGeom>
              <a:avLst/>
              <a:gdLst/>
              <a:ahLst/>
              <a:cxnLst/>
              <a:rect l="0" t="0" r="0" b="0"/>
              <a:pathLst>
                <a:path w="2463844" h="257443">
                  <a:moveTo>
                    <a:pt x="0" y="0"/>
                  </a:moveTo>
                  <a:lnTo>
                    <a:pt x="2463843" y="0"/>
                  </a:lnTo>
                  <a:lnTo>
                    <a:pt x="2409122" y="257442"/>
                  </a:lnTo>
                  <a:lnTo>
                    <a:pt x="0" y="257442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4" name="btfpRunningAgenda2LevelTextLeft596989">
              <a:extLst>
                <a:ext uri="{FF2B5EF4-FFF2-40B4-BE49-F238E27FC236}">
                  <a16:creationId xmlns:a16="http://schemas.microsoft.com/office/drawing/2014/main" id="{4AB50556-B685-6B84-F586-DC0DD10ABB1F}"/>
                </a:ext>
              </a:extLst>
            </p:cNvPr>
            <p:cNvSpPr txBox="1"/>
            <p:nvPr/>
          </p:nvSpPr>
          <p:spPr bwMode="gray">
            <a:xfrm>
              <a:off x="0" y="876300"/>
              <a:ext cx="2409122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paid SEARCH</a:t>
              </a:r>
            </a:p>
          </p:txBody>
        </p:sp>
      </p:grpSp>
      <p:grpSp>
        <p:nvGrpSpPr>
          <p:cNvPr id="88" name="btfpColumnIndicatorGroup2">
            <a:extLst>
              <a:ext uri="{FF2B5EF4-FFF2-40B4-BE49-F238E27FC236}">
                <a16:creationId xmlns:a16="http://schemas.microsoft.com/office/drawing/2014/main" id="{733D1444-10A5-5861-CC1F-B754585B82E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86" name="btfpColumnGapBlocker481278">
              <a:extLst>
                <a:ext uri="{FF2B5EF4-FFF2-40B4-BE49-F238E27FC236}">
                  <a16:creationId xmlns:a16="http://schemas.microsoft.com/office/drawing/2014/main" id="{3969B896-80FD-D2D0-D433-C4B6F5BE91CA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71" name="btfpColumnGapBlocker244197">
              <a:extLst>
                <a:ext uri="{FF2B5EF4-FFF2-40B4-BE49-F238E27FC236}">
                  <a16:creationId xmlns:a16="http://schemas.microsoft.com/office/drawing/2014/main" id="{C8F0EE3F-49C1-1239-6893-E94C63A43465}"/>
                </a:ext>
              </a:extLst>
            </p:cNvPr>
            <p:cNvSpPr/>
            <p:nvPr/>
          </p:nvSpPr>
          <p:spPr bwMode="gray">
            <a:xfrm>
              <a:off x="884376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9" name="btfpColumnIndicator837791">
              <a:extLst>
                <a:ext uri="{FF2B5EF4-FFF2-40B4-BE49-F238E27FC236}">
                  <a16:creationId xmlns:a16="http://schemas.microsoft.com/office/drawing/2014/main" id="{7DD8F246-B501-25DE-BD27-27D78E225D6C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btfpColumnIndicator750422">
              <a:extLst>
                <a:ext uri="{FF2B5EF4-FFF2-40B4-BE49-F238E27FC236}">
                  <a16:creationId xmlns:a16="http://schemas.microsoft.com/office/drawing/2014/main" id="{BE4CB316-D6AA-C7A3-D058-7F1BE26ED351}"/>
                </a:ext>
              </a:extLst>
            </p:cNvPr>
            <p:cNvCxnSpPr/>
            <p:nvPr/>
          </p:nvCxnSpPr>
          <p:spPr bwMode="gray">
            <a:xfrm flipV="1">
              <a:off x="938430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btfpColumnGapBlocker649020">
              <a:extLst>
                <a:ext uri="{FF2B5EF4-FFF2-40B4-BE49-F238E27FC236}">
                  <a16:creationId xmlns:a16="http://schemas.microsoft.com/office/drawing/2014/main" id="{AA51771C-A672-BB7C-1E98-037B283199E8}"/>
                </a:ext>
              </a:extLst>
            </p:cNvPr>
            <p:cNvSpPr/>
            <p:nvPr/>
          </p:nvSpPr>
          <p:spPr bwMode="gray">
            <a:xfrm>
              <a:off x="5825728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8" name="btfpColumnIndicator840388">
              <a:extLst>
                <a:ext uri="{FF2B5EF4-FFF2-40B4-BE49-F238E27FC236}">
                  <a16:creationId xmlns:a16="http://schemas.microsoft.com/office/drawing/2014/main" id="{D92D492D-C628-7D97-FF49-DA18B5A0E53F}"/>
                </a:ext>
              </a:extLst>
            </p:cNvPr>
            <p:cNvCxnSpPr/>
            <p:nvPr/>
          </p:nvCxnSpPr>
          <p:spPr bwMode="gray">
            <a:xfrm flipV="1">
              <a:off x="884376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btfpColumnIndicator745317">
              <a:extLst>
                <a:ext uri="{FF2B5EF4-FFF2-40B4-BE49-F238E27FC236}">
                  <a16:creationId xmlns:a16="http://schemas.microsoft.com/office/drawing/2014/main" id="{6BAB7141-2AC2-95B3-6CE2-ED50855DD80C}"/>
                </a:ext>
              </a:extLst>
            </p:cNvPr>
            <p:cNvCxnSpPr/>
            <p:nvPr/>
          </p:nvCxnSpPr>
          <p:spPr bwMode="gray">
            <a:xfrm flipV="1">
              <a:off x="636627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btfpColumnGapBlocker207904">
              <a:extLst>
                <a:ext uri="{FF2B5EF4-FFF2-40B4-BE49-F238E27FC236}">
                  <a16:creationId xmlns:a16="http://schemas.microsoft.com/office/drawing/2014/main" id="{2A9F94A6-3B70-4BD8-76A7-9C7E0031BA53}"/>
                </a:ext>
              </a:extLst>
            </p:cNvPr>
            <p:cNvSpPr/>
            <p:nvPr/>
          </p:nvSpPr>
          <p:spPr bwMode="gray">
            <a:xfrm>
              <a:off x="280769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1" name="btfpColumnIndicator731615">
              <a:extLst>
                <a:ext uri="{FF2B5EF4-FFF2-40B4-BE49-F238E27FC236}">
                  <a16:creationId xmlns:a16="http://schemas.microsoft.com/office/drawing/2014/main" id="{04DE4E9B-257A-6ED2-20DD-1F595197035A}"/>
                </a:ext>
              </a:extLst>
            </p:cNvPr>
            <p:cNvCxnSpPr/>
            <p:nvPr/>
          </p:nvCxnSpPr>
          <p:spPr bwMode="gray">
            <a:xfrm flipV="1">
              <a:off x="582572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btfpColumnIndicator756011">
              <a:extLst>
                <a:ext uri="{FF2B5EF4-FFF2-40B4-BE49-F238E27FC236}">
                  <a16:creationId xmlns:a16="http://schemas.microsoft.com/office/drawing/2014/main" id="{E8839694-9F2D-F488-C5C8-847F05C46161}"/>
                </a:ext>
              </a:extLst>
            </p:cNvPr>
            <p:cNvCxnSpPr/>
            <p:nvPr/>
          </p:nvCxnSpPr>
          <p:spPr bwMode="gray">
            <a:xfrm flipV="1">
              <a:off x="334823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btfpColumnGapBlocker397174">
              <a:extLst>
                <a:ext uri="{FF2B5EF4-FFF2-40B4-BE49-F238E27FC236}">
                  <a16:creationId xmlns:a16="http://schemas.microsoft.com/office/drawing/2014/main" id="{25BCBD32-141E-B10F-AF17-539B7F7DB482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6" name="btfpColumnIndicator314261">
              <a:extLst>
                <a:ext uri="{FF2B5EF4-FFF2-40B4-BE49-F238E27FC236}">
                  <a16:creationId xmlns:a16="http://schemas.microsoft.com/office/drawing/2014/main" id="{5FDF65FC-DA64-ACD9-ADE2-900EC3ED469E}"/>
                </a:ext>
              </a:extLst>
            </p:cNvPr>
            <p:cNvCxnSpPr/>
            <p:nvPr/>
          </p:nvCxnSpPr>
          <p:spPr bwMode="gray">
            <a:xfrm flipV="1">
              <a:off x="280769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140459">
              <a:extLst>
                <a:ext uri="{FF2B5EF4-FFF2-40B4-BE49-F238E27FC236}">
                  <a16:creationId xmlns:a16="http://schemas.microsoft.com/office/drawing/2014/main" id="{AB303C14-6B56-2EA6-3A6B-310FC031FC9E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7" name="btfpColumnIndicatorGroup1">
            <a:extLst>
              <a:ext uri="{FF2B5EF4-FFF2-40B4-BE49-F238E27FC236}">
                <a16:creationId xmlns:a16="http://schemas.microsoft.com/office/drawing/2014/main" id="{94C64681-8097-2983-6920-1E9485EE8BB2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85" name="btfpColumnGapBlocker105593">
              <a:extLst>
                <a:ext uri="{FF2B5EF4-FFF2-40B4-BE49-F238E27FC236}">
                  <a16:creationId xmlns:a16="http://schemas.microsoft.com/office/drawing/2014/main" id="{D4EC7831-BC5E-03A0-9E8C-68415118D478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70" name="btfpColumnGapBlocker512108">
              <a:extLst>
                <a:ext uri="{FF2B5EF4-FFF2-40B4-BE49-F238E27FC236}">
                  <a16:creationId xmlns:a16="http://schemas.microsoft.com/office/drawing/2014/main" id="{A58DCF85-43B2-0B7F-D5F5-47B8A70B20DA}"/>
                </a:ext>
              </a:extLst>
            </p:cNvPr>
            <p:cNvSpPr/>
            <p:nvPr/>
          </p:nvSpPr>
          <p:spPr bwMode="gray">
            <a:xfrm>
              <a:off x="884376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6" name="btfpColumnIndicator680299">
              <a:extLst>
                <a:ext uri="{FF2B5EF4-FFF2-40B4-BE49-F238E27FC236}">
                  <a16:creationId xmlns:a16="http://schemas.microsoft.com/office/drawing/2014/main" id="{0F467A7A-6EE9-0A23-3060-B3B7E8D73E71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btfpColumnIndicator662847">
              <a:extLst>
                <a:ext uri="{FF2B5EF4-FFF2-40B4-BE49-F238E27FC236}">
                  <a16:creationId xmlns:a16="http://schemas.microsoft.com/office/drawing/2014/main" id="{D9B27133-B823-6242-3CE3-5FF98A188A98}"/>
                </a:ext>
              </a:extLst>
            </p:cNvPr>
            <p:cNvCxnSpPr/>
            <p:nvPr/>
          </p:nvCxnSpPr>
          <p:spPr bwMode="gray">
            <a:xfrm flipV="1">
              <a:off x="938430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btfpColumnGapBlocker935617">
              <a:extLst>
                <a:ext uri="{FF2B5EF4-FFF2-40B4-BE49-F238E27FC236}">
                  <a16:creationId xmlns:a16="http://schemas.microsoft.com/office/drawing/2014/main" id="{325AF910-58EB-090F-DF9F-4270D3CB3294}"/>
                </a:ext>
              </a:extLst>
            </p:cNvPr>
            <p:cNvSpPr/>
            <p:nvPr/>
          </p:nvSpPr>
          <p:spPr bwMode="gray">
            <a:xfrm>
              <a:off x="5825728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7" name="btfpColumnIndicator743143">
              <a:extLst>
                <a:ext uri="{FF2B5EF4-FFF2-40B4-BE49-F238E27FC236}">
                  <a16:creationId xmlns:a16="http://schemas.microsoft.com/office/drawing/2014/main" id="{E200194A-4F0A-8729-EDB4-20720905BF13}"/>
                </a:ext>
              </a:extLst>
            </p:cNvPr>
            <p:cNvCxnSpPr/>
            <p:nvPr/>
          </p:nvCxnSpPr>
          <p:spPr bwMode="gray">
            <a:xfrm flipV="1">
              <a:off x="884376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btfpColumnIndicator735562">
              <a:extLst>
                <a:ext uri="{FF2B5EF4-FFF2-40B4-BE49-F238E27FC236}">
                  <a16:creationId xmlns:a16="http://schemas.microsoft.com/office/drawing/2014/main" id="{F1249834-6842-0726-0B83-84BB55AF5123}"/>
                </a:ext>
              </a:extLst>
            </p:cNvPr>
            <p:cNvCxnSpPr/>
            <p:nvPr/>
          </p:nvCxnSpPr>
          <p:spPr bwMode="gray">
            <a:xfrm flipV="1">
              <a:off x="636627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btfpColumnGapBlocker638570">
              <a:extLst>
                <a:ext uri="{FF2B5EF4-FFF2-40B4-BE49-F238E27FC236}">
                  <a16:creationId xmlns:a16="http://schemas.microsoft.com/office/drawing/2014/main" id="{54B87170-3204-6ADD-F234-F7E6C16BA8D0}"/>
                </a:ext>
              </a:extLst>
            </p:cNvPr>
            <p:cNvSpPr/>
            <p:nvPr/>
          </p:nvSpPr>
          <p:spPr bwMode="gray">
            <a:xfrm>
              <a:off x="280769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0" name="btfpColumnIndicator347931">
              <a:extLst>
                <a:ext uri="{FF2B5EF4-FFF2-40B4-BE49-F238E27FC236}">
                  <a16:creationId xmlns:a16="http://schemas.microsoft.com/office/drawing/2014/main" id="{6977FEB4-7B76-28A1-4FA4-BCC7F01D22A3}"/>
                </a:ext>
              </a:extLst>
            </p:cNvPr>
            <p:cNvCxnSpPr/>
            <p:nvPr/>
          </p:nvCxnSpPr>
          <p:spPr bwMode="gray">
            <a:xfrm flipV="1">
              <a:off x="582572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btfpColumnIndicator167028">
              <a:extLst>
                <a:ext uri="{FF2B5EF4-FFF2-40B4-BE49-F238E27FC236}">
                  <a16:creationId xmlns:a16="http://schemas.microsoft.com/office/drawing/2014/main" id="{A3ED558E-0B59-A5D7-CA66-5CF94B13B993}"/>
                </a:ext>
              </a:extLst>
            </p:cNvPr>
            <p:cNvCxnSpPr/>
            <p:nvPr/>
          </p:nvCxnSpPr>
          <p:spPr bwMode="gray">
            <a:xfrm flipV="1">
              <a:off x="334823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btfpColumnGapBlocker343825">
              <a:extLst>
                <a:ext uri="{FF2B5EF4-FFF2-40B4-BE49-F238E27FC236}">
                  <a16:creationId xmlns:a16="http://schemas.microsoft.com/office/drawing/2014/main" id="{C89B5A36-AAA1-51AE-D03F-5A6AB9F2E75C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9" name="btfpColumnIndicator210533">
              <a:extLst>
                <a:ext uri="{FF2B5EF4-FFF2-40B4-BE49-F238E27FC236}">
                  <a16:creationId xmlns:a16="http://schemas.microsoft.com/office/drawing/2014/main" id="{CF8DA727-4C8E-4B8A-3986-AEDB29A977F8}"/>
                </a:ext>
              </a:extLst>
            </p:cNvPr>
            <p:cNvCxnSpPr/>
            <p:nvPr/>
          </p:nvCxnSpPr>
          <p:spPr bwMode="gray">
            <a:xfrm flipV="1">
              <a:off x="280769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396828">
              <a:extLst>
                <a:ext uri="{FF2B5EF4-FFF2-40B4-BE49-F238E27FC236}">
                  <a16:creationId xmlns:a16="http://schemas.microsoft.com/office/drawing/2014/main" id="{33D89EB3-1B4A-E754-E3C3-49148D3A2DD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F6ADACD-6925-4DE8-A425-F595D8D8D9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4" y="1"/>
            <a:ext cx="11526836" cy="876687"/>
          </a:xfrm>
        </p:spPr>
        <p:txBody>
          <a:bodyPr vert="horz"/>
          <a:lstStyle/>
          <a:p>
            <a:r>
              <a:rPr lang="en-US" altLang="en-US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M: </a:t>
            </a:r>
            <a:r>
              <a:rPr lang="en-US" alt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er 9 invests heavily in paid search advertising; Only Peer 2 currently investing in paid search amongst Peer 1 brands</a:t>
            </a:r>
            <a:endParaRPr lang="en-US" dirty="0"/>
          </a:p>
        </p:txBody>
      </p:sp>
      <p:grpSp>
        <p:nvGrpSpPr>
          <p:cNvPr id="20" name="btfpColumnHeaderBox799102">
            <a:extLst>
              <a:ext uri="{FF2B5EF4-FFF2-40B4-BE49-F238E27FC236}">
                <a16:creationId xmlns:a16="http://schemas.microsoft.com/office/drawing/2014/main" id="{765A988B-4D3C-4949-A995-D4F4C1E2615B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6288775" y="1517574"/>
            <a:ext cx="2572326" cy="288219"/>
            <a:chOff x="6366272" y="857047"/>
            <a:chExt cx="2477492" cy="288219"/>
          </a:xfrm>
        </p:grpSpPr>
        <p:sp>
          <p:nvSpPr>
            <p:cNvPr id="6" name="btfpColumnHeaderBoxText799102">
              <a:extLst>
                <a:ext uri="{FF2B5EF4-FFF2-40B4-BE49-F238E27FC236}">
                  <a16:creationId xmlns:a16="http://schemas.microsoft.com/office/drawing/2014/main" id="{252DC390-41DB-4DCC-B25E-BF56A7790BEE}"/>
                </a:ext>
              </a:extLst>
            </p:cNvPr>
            <p:cNvSpPr txBox="1"/>
            <p:nvPr/>
          </p:nvSpPr>
          <p:spPr bwMode="gray">
            <a:xfrm>
              <a:off x="6366272" y="857047"/>
              <a:ext cx="2477492" cy="288219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>
                  <a:solidFill>
                    <a:srgbClr val="000000"/>
                  </a:solidFill>
                </a:rPr>
                <a:t>Paid search traffic</a:t>
              </a:r>
            </a:p>
          </p:txBody>
        </p:sp>
        <p:cxnSp>
          <p:nvCxnSpPr>
            <p:cNvPr id="7" name="btfpColumnHeaderBoxLine799102">
              <a:extLst>
                <a:ext uri="{FF2B5EF4-FFF2-40B4-BE49-F238E27FC236}">
                  <a16:creationId xmlns:a16="http://schemas.microsoft.com/office/drawing/2014/main" id="{ED6FD3E3-CC95-48B5-B1B3-45BD1C93EBEF}"/>
                </a:ext>
              </a:extLst>
            </p:cNvPr>
            <p:cNvCxnSpPr/>
            <p:nvPr/>
          </p:nvCxnSpPr>
          <p:spPr bwMode="gray">
            <a:xfrm>
              <a:off x="6366272" y="1145266"/>
              <a:ext cx="2477492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" name="btfpColumnHeaderBox187732">
            <a:extLst>
              <a:ext uri="{FF2B5EF4-FFF2-40B4-BE49-F238E27FC236}">
                <a16:creationId xmlns:a16="http://schemas.microsoft.com/office/drawing/2014/main" id="{EC744913-2726-4830-8029-67A4EF84F939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3309487" y="1518278"/>
            <a:ext cx="2572326" cy="288219"/>
            <a:chOff x="3348236" y="964653"/>
            <a:chExt cx="2477492" cy="288219"/>
          </a:xfrm>
        </p:grpSpPr>
        <p:sp>
          <p:nvSpPr>
            <p:cNvPr id="22" name="btfpColumnHeaderBoxText187732">
              <a:extLst>
                <a:ext uri="{FF2B5EF4-FFF2-40B4-BE49-F238E27FC236}">
                  <a16:creationId xmlns:a16="http://schemas.microsoft.com/office/drawing/2014/main" id="{7BC01BA2-0829-4030-AA16-A0FDB08DB146}"/>
                </a:ext>
              </a:extLst>
            </p:cNvPr>
            <p:cNvSpPr txBox="1"/>
            <p:nvPr/>
          </p:nvSpPr>
          <p:spPr bwMode="gray">
            <a:xfrm>
              <a:off x="3348236" y="964653"/>
              <a:ext cx="2477492" cy="288219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>
                  <a:solidFill>
                    <a:srgbClr val="000000"/>
                  </a:solidFill>
                </a:rPr>
                <a:t>Spend $K</a:t>
              </a:r>
            </a:p>
          </p:txBody>
        </p:sp>
        <p:cxnSp>
          <p:nvCxnSpPr>
            <p:cNvPr id="26" name="btfpColumnHeaderBoxLine187732">
              <a:extLst>
                <a:ext uri="{FF2B5EF4-FFF2-40B4-BE49-F238E27FC236}">
                  <a16:creationId xmlns:a16="http://schemas.microsoft.com/office/drawing/2014/main" id="{29DBA5C3-F9CB-4761-AE20-794C5E988431}"/>
                </a:ext>
              </a:extLst>
            </p:cNvPr>
            <p:cNvCxnSpPr/>
            <p:nvPr/>
          </p:nvCxnSpPr>
          <p:spPr bwMode="gray">
            <a:xfrm>
              <a:off x="3348236" y="1252872"/>
              <a:ext cx="2477492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7" name="btfpColumnHeaderBox793910">
            <a:extLst>
              <a:ext uri="{FF2B5EF4-FFF2-40B4-BE49-F238E27FC236}">
                <a16:creationId xmlns:a16="http://schemas.microsoft.com/office/drawing/2014/main" id="{97DD5DF4-7BD5-48AB-8590-F10BBE728633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330200" y="1500094"/>
            <a:ext cx="2572326" cy="294983"/>
            <a:chOff x="330200" y="1072850"/>
            <a:chExt cx="2477492" cy="294983"/>
          </a:xfrm>
        </p:grpSpPr>
        <p:sp>
          <p:nvSpPr>
            <p:cNvPr id="29" name="btfpColumnHeaderBoxText793910">
              <a:extLst>
                <a:ext uri="{FF2B5EF4-FFF2-40B4-BE49-F238E27FC236}">
                  <a16:creationId xmlns:a16="http://schemas.microsoft.com/office/drawing/2014/main" id="{547EE73F-FF62-4D08-89F8-7A248E8935E2}"/>
                </a:ext>
              </a:extLst>
            </p:cNvPr>
            <p:cNvSpPr txBox="1"/>
            <p:nvPr/>
          </p:nvSpPr>
          <p:spPr bwMode="gray">
            <a:xfrm>
              <a:off x="330200" y="1072850"/>
              <a:ext cx="2477492" cy="288219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>
                  <a:solidFill>
                    <a:srgbClr val="000000"/>
                  </a:solidFill>
                </a:rPr>
                <a:t>N of keywords</a:t>
              </a:r>
            </a:p>
          </p:txBody>
        </p:sp>
        <p:cxnSp>
          <p:nvCxnSpPr>
            <p:cNvPr id="42" name="btfpColumnHeaderBoxLine793910">
              <a:extLst>
                <a:ext uri="{FF2B5EF4-FFF2-40B4-BE49-F238E27FC236}">
                  <a16:creationId xmlns:a16="http://schemas.microsoft.com/office/drawing/2014/main" id="{165BC8FE-E1C3-4CED-A567-13E6CA0B0BD3}"/>
                </a:ext>
              </a:extLst>
            </p:cNvPr>
            <p:cNvCxnSpPr/>
            <p:nvPr/>
          </p:nvCxnSpPr>
          <p:spPr bwMode="gray">
            <a:xfrm>
              <a:off x="330200" y="1367833"/>
              <a:ext cx="2477492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3" name="btfpBulletedList109036">
            <a:extLst>
              <a:ext uri="{FF2B5EF4-FFF2-40B4-BE49-F238E27FC236}">
                <a16:creationId xmlns:a16="http://schemas.microsoft.com/office/drawing/2014/main" id="{298DA627-4034-4DD9-8F1C-94DABECBF0C2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>
            <a:off x="9248217" y="1875743"/>
            <a:ext cx="2619933" cy="2481055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>
              <a:spcBef>
                <a:spcPts val="900"/>
              </a:spcBef>
            </a:pPr>
            <a:r>
              <a:rPr lang="en-US" sz="1100" b="1" dirty="0"/>
              <a:t>Peer 9 invests more on paid search vs. Peer 2 </a:t>
            </a:r>
            <a:r>
              <a:rPr lang="en-US" sz="1100" dirty="0"/>
              <a:t>whereas rest of the peers do not invest in paid search traffic</a:t>
            </a:r>
          </a:p>
          <a:p>
            <a:pPr lvl="1">
              <a:spcBef>
                <a:spcPts val="300"/>
              </a:spcBef>
            </a:pPr>
            <a:r>
              <a:rPr lang="en-US" sz="900" dirty="0"/>
              <a:t>Opportunity for Peer 1 brands to invest on paid search</a:t>
            </a:r>
          </a:p>
          <a:p>
            <a:pPr>
              <a:spcBef>
                <a:spcPts val="900"/>
              </a:spcBef>
            </a:pPr>
            <a:r>
              <a:rPr lang="en-US" sz="1100" dirty="0">
                <a:solidFill>
                  <a:srgbClr val="000000"/>
                </a:solidFill>
                <a:latin typeface="+mj-lt"/>
              </a:rPr>
              <a:t>Both Peer 2 and Peer 9 operate with a high </a:t>
            </a:r>
            <a:r>
              <a:rPr lang="en-US" sz="1100" b="1" dirty="0">
                <a:solidFill>
                  <a:srgbClr val="000000"/>
                </a:solidFill>
                <a:latin typeface="+mj-lt"/>
              </a:rPr>
              <a:t>CPC </a:t>
            </a:r>
            <a:r>
              <a:rPr lang="en-US" sz="1100" dirty="0">
                <a:solidFill>
                  <a:srgbClr val="000000"/>
                </a:solidFill>
                <a:latin typeface="+mj-lt"/>
              </a:rPr>
              <a:t>(~$6.5+) and low </a:t>
            </a:r>
            <a:r>
              <a:rPr lang="en-US" sz="1100" b="1" dirty="0">
                <a:solidFill>
                  <a:srgbClr val="000000"/>
                </a:solidFill>
                <a:latin typeface="+mj-lt"/>
              </a:rPr>
              <a:t>CTR; </a:t>
            </a:r>
            <a:r>
              <a:rPr lang="en-US" sz="1100" dirty="0">
                <a:solidFill>
                  <a:srgbClr val="000000"/>
                </a:solidFill>
                <a:latin typeface="+mj-lt"/>
              </a:rPr>
              <a:t>opportunity to optimize SEM strategy to lower CPC and improve CTR</a:t>
            </a:r>
          </a:p>
          <a:p>
            <a:pPr>
              <a:spcBef>
                <a:spcPts val="900"/>
              </a:spcBef>
            </a:pPr>
            <a:r>
              <a:rPr lang="en-US" sz="1100" dirty="0">
                <a:solidFill>
                  <a:srgbClr val="000000"/>
                </a:solidFill>
                <a:latin typeface="+mj-lt"/>
              </a:rPr>
              <a:t>Opportunity for Peer 1 brands to start investing and </a:t>
            </a:r>
            <a:r>
              <a:rPr lang="en-US" sz="1100" b="1" dirty="0">
                <a:solidFill>
                  <a:srgbClr val="000000"/>
                </a:solidFill>
                <a:latin typeface="+mj-lt"/>
              </a:rPr>
              <a:t>bid on high-volume unbranded keywords </a:t>
            </a:r>
            <a:r>
              <a:rPr lang="en-US" sz="1100" dirty="0">
                <a:solidFill>
                  <a:srgbClr val="000000"/>
                </a:solidFill>
                <a:latin typeface="+mj-lt"/>
              </a:rPr>
              <a:t>to</a:t>
            </a:r>
            <a:r>
              <a:rPr lang="en-US" sz="1100" b="1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100" dirty="0">
                <a:solidFill>
                  <a:srgbClr val="000000"/>
                </a:solidFill>
                <a:latin typeface="+mj-lt"/>
              </a:rPr>
              <a:t>capture high intent target audience</a:t>
            </a:r>
            <a:endParaRPr lang="en-US" sz="900" dirty="0">
              <a:solidFill>
                <a:srgbClr val="000000"/>
              </a:solidFill>
              <a:latin typeface="+mj-lt"/>
            </a:endParaRPr>
          </a:p>
        </p:txBody>
      </p:sp>
      <p:grpSp>
        <p:nvGrpSpPr>
          <p:cNvPr id="62" name="btfpColumnHeaderBox279529">
            <a:extLst>
              <a:ext uri="{FF2B5EF4-FFF2-40B4-BE49-F238E27FC236}">
                <a16:creationId xmlns:a16="http://schemas.microsoft.com/office/drawing/2014/main" id="{9DABF459-BC4D-457F-A240-68F1CCCE32B4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241867" y="1534782"/>
            <a:ext cx="2619933" cy="291303"/>
            <a:chOff x="9384308" y="4861757"/>
            <a:chExt cx="2477492" cy="291303"/>
          </a:xfrm>
        </p:grpSpPr>
        <p:sp>
          <p:nvSpPr>
            <p:cNvPr id="63" name="btfpColumnHeaderBoxText279529">
              <a:extLst>
                <a:ext uri="{FF2B5EF4-FFF2-40B4-BE49-F238E27FC236}">
                  <a16:creationId xmlns:a16="http://schemas.microsoft.com/office/drawing/2014/main" id="{DD6785EB-E97C-4EDD-8A11-D77EE37D2337}"/>
                </a:ext>
              </a:extLst>
            </p:cNvPr>
            <p:cNvSpPr txBox="1"/>
            <p:nvPr/>
          </p:nvSpPr>
          <p:spPr bwMode="gray">
            <a:xfrm>
              <a:off x="9384308" y="4861757"/>
              <a:ext cx="2477492" cy="28543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>
                  <a:solidFill>
                    <a:srgbClr val="000000"/>
                  </a:solidFill>
                </a:rPr>
                <a:t>Commentary</a:t>
              </a:r>
            </a:p>
          </p:txBody>
        </p:sp>
        <p:cxnSp>
          <p:nvCxnSpPr>
            <p:cNvPr id="72" name="btfpColumnHeaderBoxLine279529">
              <a:extLst>
                <a:ext uri="{FF2B5EF4-FFF2-40B4-BE49-F238E27FC236}">
                  <a16:creationId xmlns:a16="http://schemas.microsoft.com/office/drawing/2014/main" id="{43808DE9-D727-45D6-B01B-FD0E8040B99A}"/>
                </a:ext>
              </a:extLst>
            </p:cNvPr>
            <p:cNvCxnSpPr/>
            <p:nvPr/>
          </p:nvCxnSpPr>
          <p:spPr bwMode="gray">
            <a:xfrm>
              <a:off x="9384308" y="5153060"/>
              <a:ext cx="2477492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Rectangle 18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z2dD7pS103gZfJ6l4USC3jqtWOPR/ue0umjYEY9KlLthURXCUyUuZbmGDPUXB2idlVQc+R1c0j6vNnMaKvr/AghcgjyTjoGcS2U6lyGcWZbvoYqQsrFJ5DN1RdHsB5gZU4BjQJ6xKwDUEsW8X/QQ4uIPkrhyjIfLLN7ZR3puqzBiN1rMnctBA0J594at1EN5QJYMsPufr2eabAYzIDriNpy1GurybA3KWqcTPRKYh436jQqOHiPaCJtAtzpRgB7Igk7tw7BcBhai66Lc0jpyzFEK/4NRoFF+cso+ThI1HNgDMZbpFoCsJQtilLqk9nQPGX6RXGboCTf8hOOcHaKoTUKF81dro10jOa8Xb8mBGZAZ+Iyl7KGHMy03+9hVypQ0ovb/3XGr3KsqmATEDZC67mDheqi/do26sdF0qwDt6bpIHEyYoaw+h0jkFG+lkb10uO1/hnN9P7xwyhiGHryPMEsf0lP8wusIq9m0hb2CSdKi1MLNxmaJ2mUTvgTra542amQ5YQlTgfEeZ4DNYNvP+7NJHSwKhP+W0oxDr5fgsyYkFN5uZmsq6kB+hmzQGifBpXDK3sbCpDjIT5X91MQtPyJU8LFgpQEDZU+w/Gm5+MklTpsMAJvfxvxz/glHIgT51wrROgc6i9HT3DSoJVudQB2GP9InXeS17S8Y95cxYpn1FPo87I7YHou4SATbfgatbQGH9w6TBaHQPK8O6M2AFzKGM/bzPPzNikSxGPH8+M78+W5oO/fmBgUD5Dyhxd7ywbovWelMGfJa15X7nr0tcp+7BzRnUo5y6jCNBZdRNC1NJwd7SUkHjPUwV8cUQHiQzWGQxolA/c1em0KmPtxW9x4B/wfWkm+A2k2KRNr1PuFN6t9zSDcl2P73QIQZJJbTL8nGLN96XlLgGK+Yl3Y1ChCzCkdpulZt/AqPFcD7BHfsameVnBCxyshYuG+hHE3E3YBnrQFnM/sSFwAZyfSuZZ0TxHPcg2K3uT6y2rS9EE/p8VA4Ye8716o5n9mo16lXAdjYAJnVkKJtntIkTz8xets8HpXnZ5kwAbO8ehz7xn91Ug3Ai8BeRS7ZEc23QefHE0IYuNw/pq2i40e4cLRYJS6Y8nbRF5TuuYojfR20/RADXpIlU6FsIfyO9yQLTso8rGlIKbh9Z7yrOsRoJCrzL1bTb3bA2a/Ym26zg3R15AF0kTQ86mrtylMRTdw8Zro0DJh0IYq/3pjlcbk6wxuJb7VofjqwPnVn88Q7vvnn59vAxC0D1GhFlLOyC+M6FUm4bafpISqh+R1Q8xFRCjV6x1KM4rA6P93KydYtLH3ajm5CmleFNTJm5Rc5IboBnSGisMKHtSavJeyO7CuWz91cwSUn4psp3UIG7zz2xvtoBBRJjszMwbWFwZmokFhXACJdRYxSEvD+zVhSVPqo1scrzDTQja/gHDYsp6F9Ny2qM6k8aXmqYDaVuZlDv93cb7ePYaQ0wuCqEcwB9Y+/+ccwSPyyz0iF6njOmZJOZ/YNP3/DGLk12weLfDow1qLAYqb21GX18HzI1HQ9h3CgI2wSD3RUldb6gCsJOjuXJF1LPkyDxfZ7lV3gE6ZQq4nyNOysWhSTQlRM60ToNxv0y0ncgtYY27B+PTldtPSjki4lsa34mu/j07aWSln1427OQTfr0Zf4jBvyjhI4m9G2e2QRMvzpE59DA4DFf2jF5ORL/YlqFiPO7AKyhkijTGm66t4N2sEXrNvk0WUw/ee/4ATCr6oQSYqo6m/xs4OpGV5IK1KdTL4NAoAkzIUoauXJ9S4pbdIQbNOAf7FOkc5zoNBLRLtO+dKOXJqr0xFSTbmDZnx3is6NBal6L1/Q2kr83wuYWm/7Ip2WV99thbu5bExT87QqbOpXUb7qnRNXTNRelfYWAT2OZj/hbo519///ahXp1rSnP90TQGr+q2xT64vZShefb419kH/Wvy7HmPqKteAcZXAgpFjyd1ZqVcGV7EFYd3peVF0ZiM6lomDFbUHscUtbNvtavN0YiouAXpnew+vFyBlSP2A97C+vjvVkW1sPEvkrkqQ01yCr3FJfNUkHik4aAoyYxBRN8pIMiIqipDHqA7FoblFHu7TSRb132fS+SxqDg1/1iM9EV6oIC6i//zjeDWz8Ggt7P55DbfKYVXSoxp18Io/9QQvObHx7W+nRNeQFzKjbNushz6R28fO0hhUm0lW8Ui2+MqRXUpAsauFC5AJVlQwgNyZB0B5qIYNwGFO88yNJtNfG1HWnbi8ERBLAK5tiGjiCBJmP8RpSRcvQ6fUCZU3dj36apDis1qzWs/JJp6G78Fc6qmffUZdZS6cZr0cVFOcoKD54sJU/COPfH+Jq4RwzLFfR5TDN7fzU2ez8n/I93zgsOrRG8a59Fx85RTOyFrq+c4HXPJflwoSV3PWvBUNwC2SG46y5J/bI0itCCXLxRcWG2nJIYiC95cn0Sp/xHKBVVALLsoEcFiVG1hEou0CU1Q7Mbi+ZuR0xvYzG1mW6+25L2Qhj+YA2tnrOprMtpPrxZoAvS3b0FM7sxMrUK0R3Io2WodSntBk+lzN6m9M9tkrOm/57z9Q7qBuaOYdTfzmtxQMPbclGv2PobqadXq78H0fEIOm3RrKZ0oG4fN1aW5AXjmXeXcO4djLeY+07phAwg7mE3EkwmSw1k9q2D6Fxz3rDXHqgcA9qN2ScdF3wk/3AZ6/rczEO6ppkZiK0cJ/6fSxyGsFQddVzqJDymTD09LztHTC9tcxi3OFzc3zn7WIh9y9a+xGRGwYcJcQ0JgpwjuyT3BF7HrCBORnUQHsDQE2yVd/Fv+VljmA9fVySMqD4PK5FaySdjsihGpcWVEeABT/F86JmV3RAo4A4l5EzbFQ/d4dJxhs2/hK7OkhRVoKE0MjcIzi7I52RAiT0iE1zW1n9oB0D3V638SkXlDXJSFnLAoQ4PrYjPu+gCgzdtX1DYu+87AOYjV0T232JZh48S+yt/YLLV4zJXizrSg51RbIKdO9xBg+8Erua6lHtkHrlsX9tAWmMqoopJy+dgXsCKGxmXSY2pP7HJZtfSKXhdvB4gyYtHRg15XWF/n+VE8X2DtjMGmKhOQpmPopAF9loSdl2CZHHodN4+qzH3omQQg/njxprDE2vC2Ga7YH0d1YtJPanYXNr2Aq65gMm8IlSfmdNmOJXy5t/1yl8AEF9AJoC5BMcdNubz2f6a3z0dDnJenMox3UuvaYqWZQmNHcNzKL0V3cd4Gxm6MCjpILwxXw+Z6Vr9gwshGLchT05aundlfJajCGTqm/oM81a3oWBVa7K84/ej+Qyd631zOFrh+Glrwg1oGVsoZvUmMvs6NsWqlnPHDWlsoTomaEU5lJICL1wt6+8jW/uBLbjbF321a4iA3xsAyh7Dl58y9+nmCiVej8nC0QB7tAH94DrJrwHIV6Twm15E9EyDF4Jy663geRLshjutJFpK8WVguoF1F6aCtme77DdzPG+JAlTwqiCXW8jJ84gGVOne1cxloJCT/A35qprdh6TdJT51tWcyO9qQP4hVIGBum8sGxUEGFCI/DHUYYLzbyvUHKxl2Ea918wN3MKs0dBHo/BTmwadi27yHPxw1GJP7qBAXJGQ81NhTfkHEoCaGJ6TJUiVUufWpnQkwquvseYoUHr+K9wQDH3jyGUb4sd9VVlPNMy4UDGRwwTaVEJZNnIdDt1esHA9VM6/QJbsMfDB7wZu9Qzp9A1Eqfis4QufaWuwMgccIwbu8gzZkaW8ICB9w4QfDZx570QbmMG+1OcQ0S+kn6jMGiwW4SlqkT7UKnEjkbKvXua4rgjQwCrVerXY7aS1c2PUm8c9fXclz9kR0E83EUsobVkimsPhM+NVyOMoVBAPdViGcVbEWuoPlmRje62tND/w9UCs1zQgDecgoPK9trA9kUXpr/AWlXBW3gsw5RDSwvwDzEA2c/dhhUXW7D4iwxY5o6zq5EenUngD3UZ0uyjYEcJVjdnceYYmgho7DOB9Mm78EWUQEoVCZleva++1gXMaMu/PzGXCvzdxHmkeBF7vNN4eFyC/Dte4hPkTbZjZBbab9VNgT7Xv95E7ukiGCeTWuOuQJwrpUJYN/cxrBg7dbZmPtLQN06xztIBtO59u3LiADX/fkIN9AgPdbNiJUtgEDWqvecCMffg1RmigOLbx8MkIpHYUZVO2EjzHbIv6dgS/pNh6Mc+JvMCdEXRVt6bqnbHpx4sjJTthlHfXV9dAZRshUSWvAvtATNq+tl5CCDQLKS08VAM1NxXiQs2mBzvaZZMMSIP5liLX2MrOczNuY6hzfMr+gZbeZD8Z3qBnrM+UsAEJYpXiq4mG3oRbx+S617zIPhcNlrNipB1rwdwn5oXJJrQUXSinWWkA9sqG2CrcA+x0SR8uisRBedzqQajmq2suMKeb4WfY3hK7yLx8ctkojoLnhyTeDl0O1qepsgpJNe0ESLGGb3s6E5Nnqus3s5vF7f7FNnJxtkv8hFU+KJE6L2eDQELiraolAOFRxbKQxnyHOayJCA+LUNDv4mv6Biy8cj+wMb8W15jiarvDgCvZp6Lok5TMDuYSH8DFzi/avpHe8opEiJy9K7j1cZTMF2snNVpmC+j/28F9Hfqb8Ld7BT7fyqo0FAnlzEGd1ik/f4gxMYTkpMvMvb4tYBg7TunlZIpoIY0Em8Oo74Fh8sW7G9PH3f++/5Q4DCmP+80RuI2Jlojp0TpzOfRmzcxZAYNw1ZogrwQRTTKPr40ha3F/aVS1aLk6ByGaj9TXcpb24hjgKK/1bx36ISBC7ZGfSZTutgNkwdRBbHcNTWMSMG4LITbr3lyIiD6PWZI/DIzH2WVEm1qTzdcVfDPi6P/eJkcJRUWxnEAH7EaYJVnUXTWpIm/7HDYaNtxROuBCZYUUHOaHVeJaW2jTGPEROmlssdXlSwxZWcP1x25WIYOywPQ/9iKUMpemP4gd3NUlv4pwidJAotRPqYMMw9Ad8BQRBquEEnlod6sKAGyOMhuZDfwYlrK0p4mJ/4RpHsspRt4JrteSxPeWjeVPIP4mAvZcXKxhqmISWHO2vqd2go7zEhPICmT+mN/iITjFCiISEHaPMeqDthXj+4kunnDhZnDYn7KcY3yPYkW8myI4GLhN464x/LrcXKIoXQRviOfv50PDLyRirWdXNfPyZPvphAlCt3Jj19nU6dyePSwJ8WK4IGFa+u5KreNstKYTDe+rLgtsfriEV4j4f+Qv0cIH9vWCXuMvt2j0UEu/qpDYyvKgsoUfgNrW4keE8xASjT/I/+LEjrnd8/kMwdJy/bFRBEcKLLmWlQKrvT58eQgNJy4OwIouI0Pgnlk+ixJGA7eJUZ6eZxm77KWqnlK3p6RfhDgLeWw8y3ZTCdIOHGJZ6zIYtRxgrGNv3XFaXoflUU9QzbphK0X6pYrpZEhLio8exSYOIVnZ/enbEpunlVOG31aTGRthYgzdlY8ISAvTpxY8Anywmv9SDRAZtbsW20RfQ5xdt2mUdyqPD3vMJ4mM7uOgPY4fwAO+2R2txIy+A3QztK7KkI7TfcEI6j8rOzdIMU2Fctgk1e93b4e3SLECdyQ4tWsPuXql0UNl95wVl8irioOooHrlpOc9gkiTXXt/RP9WyeoE/OHKyB7WhoiXVvrIHlfaZXrFPDF6dFVvCukDiTZvInEbCDKHm5dMzyMlIvq+3JOcKBbEsQI3/7RBqkO10DX8g/QMlpB/dDxxDIl6ld8c7fEd6lG2T7Y45avmQBqRg2w5spHfvO1VJ2raK0KRaYDH70kCB6idKo+XWzbey62fLjwJJQZAvSGLAxO/CY6rHnoqtTWWiNZesyXxA8ehvzL2vwvklBPyxRBl6/EO+sBt1mJB3sxxEq93c6/aMF1TcZiyP3oewaIkUQuWwjDA1ahxvwj6RoRYj+bz7jaB9TTG37C9MN13ChLmlePlNF+6DfAty6AwZc1XEzU/UGLkJ6zksaVgliYTJOPbyPrdbF0acKS/bAi2+ClzldFbXs97p5DfwSYLV/iYZwHwEA1vQP6rwuFV/PmypE1xvqZqwAl30hmoRr/ypXFT5f/fc7mU6R3SES0tcoUxwwxmzSjJcBBnc3ZHikMBx7YTkoQZNGwgIaALD717lmKddTAsgSuoylqGePVP4bdomw3SUj7dpxECLpKKP7+4kpmV2+V+kbQ3FSPpARhHVxJVXP8PnPFRM/ONhxbakInZe4jGDSX2TrScupWI2wu6E0us8VKA6WrNpAdMMEOm0MPHdd76mmIJ99gsUKfm7BNtCZPSmS9Ejh6ImeWN0CaxqaEiPwRGtiQu53IOuo/92913tvSW1zHZTzBjAcG1CKTRreOKI+3UJyKU4B+9tGr3op5YAXtdF2AnyEtmhMJFUrHkh/K0OXDhGGbRtu+YUcOZI9UBJ+uTa86YwLpv85+HFrqgG9GTbKfA1StNvf1NoajmBvf8RrLSDCTbV/2kFKDXpKDR/qBY5leLAQYN325xQPI7KF2DwLEMGKJfK4asvKpkvzCiKqI+uGvKCXeytCxXjI5svJ12YSXmw8xZ32cohEelkNnZDDLjXbmbm0D/2f/E9le0DsnBEtH8wTsuLa6TDbAySpRLs76BAk0BDsb86v9ojTB+v1q58dttpn53CyYvSr87WBo3V7De27U9Z/Bm9/KIvE+CBu7FV5NzUHAsDjA2AixtT+RDiKSS2z6ewkWaXkbEdu6PrYbh7eXvqsJ7xHf89GnfcT2NXMXmB3xmSwGoxiEdQWjfPOsZfs9Gg8OLfQISzUPawKy1aZ9sIGixBc+elZ69jpkDUrujYI2lVuYXWGtkdjxhowr5/5BWjtUZbON2ZH0zR//NbSt4FZtLRSLxMr9eTCFTan9GAJuNeK4XiVQhOx7DRoAj4AvQa28gABMX1yLmnQLeruPNe0fgo/qBlkE1929feWqa0epzZzPmv7CbP25RS1e07V7icDNq+Nxkc/00V5lp3NHTRVqUj1ykvvMM2MmITmlobfkE9LM68uTVgCTn5NhJ7FRlxJZmb9o8iB7Lha4PKcW5yfxmZ4VAba7fALzVMr1/dQWdgSw6uf+av5xCIOElynAJjpfqBbnOWO9f1p80zk8tfcKBsE2LlmsUwkkcM+eXj1Zu9WF9ZDVTELopCjJt0G6m+LfLsxzRy9vb/ga6Jko7MSc9c3ANJRsKN2OEmQUmzcq58wmRb1WFgLFPoXkCukfpverbBWe5wHznKlyKsE0OYijAB3/uMMGspJYGKcA1YxQ1fAcMDn3yizYmFwAtVm0uT8FWZHNd0nkbsL6oDa3WhvdyDMA+c3AG45R/3eCmm60GlX/f2J7jEmB/mc4T+Kd5ZWSkvkpHcsxi83KdvhcJra7a4alZKx9X5MWFcWiiZ5oZBwI5AUppPtL3OV5vvZVTxdOlVOOqbFDrZG1eVq5k6jqurMW+1UsvOGoJw54cyBeHEoMIWIqfZv6OqRRlaUXdRfCcTe1bHZc0m3yCiH9ELkGt0qe4vSIVqDRJZQFvkZtbE4pmVEbZ7ZlzwBnjl1EoipNkymdOQ/fYByzcvRkKEJYVVyhEkijQ9YGVXkdwm+GOaO3t8d5mq57UxqGQRboim6pVwkHeI4AZW/pC7x5tCBxALSBUVGApSdwLZUtIJEU/TJ9u0oPPhoKhCOtYDn+D7BOVP0OH7mfPlWWEuajvIVg4qfSIYH3y+dFQl1EOoW6rQmNuArca0yYSjNt8EoEfYBkbQv0L/1pxiEzf+hxvTOeMiNr5XRemlFAgnKe0kLlkEMDlpNImYyVNvoMajNdffIqvzefD7LjmQPfRxS1ZMfZ9nfWpDoMvLXa0HocUgvz8lHboX5EDzn4FVepEhzOKS4hlzUGfFribJGd/eODGCuPe1kbJMKKy4tgtg32BotTHAGzkp5eR/NGfhiO7kx+CoJjE3ZUkUvkA4UpPVcQU0txGMTanZFXO5Hoh0wuk9j4h4OqFkVT5EzkvAG1e997UsmY1JCI6Wvw/5UB0EqTh2uNjq3Bz1rSY2NPuMdeL/E/qy0oh645aNldr7g8pXOhtHgBeU0x3n2fTT0WHjT2N5j4u881fOAD3RgZ2SRIYB+iZjWWr+FTskYyee9LXgRVs83aRz5cYhnDV0EcTuDUHE5ysHtW+sWr7bTxOI8ZC8d9F3XyKNVexXA77QI4kJ3xEStdmAjM1wvf3DcsWeH39xFqGiYex3eYvOaVChsZe8JL2ardcWkItxo8HsAMRQtoH9AAYbs6Onmz1+oHaHmlKBC0s1D1Kc7dzbGF/L51a8iGn5YQMal6LBaSseUj+PmJ4pec/Ru2x1QW3OgyDaZz4TVjtHRzaqdITiaZ52547ZtEUFoDr7pw0fZ88FxBxwwhkPTfcvXOhZa2b4xNUnvbNbfh0byI/HMaZPzPABD+hMCEF3nxoYWjsf+uVf520YyzBNZ4/APqh2k1rwvQsCmGc2D1fl5TBEIPYGGqBYfY3Y8HF1FxXyxOl47Qlt5cEL1se0G2UrcDItyIQslaS21AYsRrlYcq51aNS2aJwhO1BVggitOwZ0YEbQ8Om8W99TbIrtkYfcBrZJaafqI1ygaLA6vHayx3K45ioKmuCFkFaqOBcgUNvtzrGFZtvQw/VLFnpJ8F1LE6hj8t/VPUqs53Qp1im8yHTXptrNL2Elu0vbkQDSk6Rg3G524Vm4hkH8KzYUEXheTOkxTeoJRJuZvkpjmSsiuo1G5Yi8mPSrKqSPYq3Y8XEikwnvQXoLDu/UnG8zgqOpk9mE9gQZpRdLL/oUsq3gXg12Osj7KhuN/4Rk/bZyn6DbRlXyuSQv4vM8Dpqqck7U5PLE8rFUe3Hq+LLk9X4qcIGfKzp2Fm1qaC7ceoEjAk0cULX2Dt+qKHUKxZQoYMyAfMN1b9qnHqBreZgG679S/k+YmHeTjG23QepEx7mDkf50uCL95tRWUXuxTCnEDcrOqcwntXzxAKyOIkTjJhSnPJt/XNLKYXN7jHNADEpsWXNg1IMQNQ+7Ti60pDzUJnQN/pJX4ofrKqdNJ/66mYn1mGxV/YSLtqAEp2E27qeqDvtKCBssAT9psG990bPJm1Aw/RJstc3R9yPhgBNl3cxrOO+kyxERVEn/8oSI22fhNbXcoch28RJxr2SEHHI4ptwxC3CA8Py7BLymxEbDkJ071lOJM2YUkLnB8NI0l53gm3CM5S7UROPN+9aR2iwjxtr71aZLOZDX4zhqnuwLoMqmFPaEPKhFrFUfnrccEsygClSc9zA5hczIuGONN5Tw6nnGd/xVjKuQiFwLOvpMQ4CxXMaJtvdxr5OEIUrsjsdED6ykGOXUsJ/Z++o6OpxhRkmvnAPar3HaerXJxNOZdhqyGiOcQLYXZETOg3BHOrezEZYLIH5Ii5LJMa0UY+SlEoJ3/GsnF6bF4oUsqej+bE77sFl7KUXLs3rNGEE3PIJ6/TduGPgAn+udTubFLdydmc5QvKOcZG+2g5vXm32hKr4NZVE1gag9PyRGggPxgYoRslI7nTQsjWFJK4e+Jm37V20ETbF7SKtEX9kHZYd4iHGAkbQULxhKWW2kg8kgHYoKbYLeP7CGMY0XGzgXqAHZaF2HFSPFsHbmtN0j/4HiLVlu5g4g9yQZLhSLbo1WIYEafjTDxo/jIwj8UzCZjgG4pN9ERpFaDuE3Hl6aCi6FRyKjL+JfYwBPSSq25bqbXSTQPy/gf6lsPjESJgJTCZ4yaM4mHsYkFMxD0y4bxW3e2NcK6YsMnnUqKGMaGZqTARcFAXVzPjTZwGZ/gDuaa5tpCnWQimnDO7uZzM6nKuGVXMhH+f8roLsVJUcynX7jxLJ4ZyrTb/nMzDJ31C0sNVlh+ErBvEeS2rB5HlndB1VzpmpCSJE4lI6G3Mdl9ihQb/fr7DunVC6A//9re7mvV0WuYgVdD5XJTeGxbTv2c0g5KKnOmoXlLU7ggid0I+kf3DiI+ufBZ85r56zL9vB9/rsTRg0r7FBrMfPlYS45Ort1gri3XAhyzszm9o7fPf4qrWLyQu6b0f+L0JPpbh8VTWDHwCMMT0IGKHRRM261Cu2zOPyQ7Oa0xjGR3YWHDWcAr/pEYeaOxMLFkTJOj7Z0S0tr8YQAhqOOVtIeaziYnPpQFG6Rz6njjmgML/y4FAFCZu+sjeTMyklBoZcJIyIbjNvSdfCfxiASJU0t3gNyHUPBLLfCzc5e/EbCPmoJVqt1Ja75UzRTJ0Q86u8YEelqqcxuENFOXuohe/mG7XDspf9YmhUJRW+spv1Oc3PoynwKnyMlVJ0KgTjvtWJQIT6qXpU5m6dC9m8qiOLZKY1nX0HUrh6msxWPyxZNhEc/4A7kGNksYZ5SwvLhjXNvV6+kpLgMpXFHPgTaEqNejzp++shFqRNZFrdDE1nxiQ4dgW++C5wOLCs5XlnoCuleK5AJ/J1MzDmLNx+jQSq4DmOR1q6Xfl32mulgTXab0FCK+0Z0w3PIwjSTCJhCeP0xqdMgme4eNarUkAVYnzDmBYg4ZqOIpp6CKdO76ScneEim8Kpc65XnL6PHWQ4Akz2sHG4N5cBPTqyHpQElD05iAW0UJpVxPGZ3f90dozZct8Q11iTMh7UgFHZkQOoh+MA6jZguDwPU+PU/4DbXBc2tIyF9fytoBA0HLKMpkRaZNryIsdVh9f5YJEgerX+tqWuNZMM4q2E1aOOvnCGbFYy9nTsAdSZHawJcQEUGGOOIWU+mmD+uoYzA/DrXmCfFcPb1x6pSMe/IKnkLsADHbkR15by2mKuDpZCT2121j6Cv7Py3CuA9NJsTUzSjw985VhNS6YshJKhY52nWXmJFoJw1KBWIppMIIJUAyM/XKhfZ2JPD0HUOhktNUOg6qCdHoAb9zELUjLugKgDAw2XKkh8ayq0QMrY6OugaQw+8dniPUn9IRQfSqJeHI5LnFSYXYnVldI3b+AXSws/wWE9u5Tf3wtUxceHS3H9xWARWtQfz4IjDn3bchhycmAbNUj5QrihW7Rg6PERnnLLjKvTqUp3e7GID7L3ouAE6FIaWjk4qOz1ldXK3WCfrDWxigMd1xWkKB4Duh9t74wdfbwrF8p71Yv6LsG3l5iCoXX82jOxrNior0zYyILMvxFAOwWoixhfKVb+g/qI1jMIXP+004ynkVbOe6SUadYfQ3TaHMF5huZNEYFodZ2SS0ofQpUqJ6rV7HUSRMUfjtHBOqAtV7jdQRZRS9cXiN5VIHpkm56T+dBYcubQWamQYb73WEfaOlfugxvjqVij9X+iR6REWMZJfVpgznt9vZTbTjKFU2O+dU2eCGSxzShbpsFoGqTj6Niz+QFSW+eSsrEZYsdj6mE7aRpAkjblLycZ6CguD+7JANJfHr4ohp6zJitD2DY4OAk0Bp0pGA7w/oUYjuAUNluCyBQ62y57Iigu/vGmZeUH3pcipw1nvpTUowV9baX2t43GebVElwyogh+euJoJ/xR5w56vZ2HVOXHvlIKQCo7dIhYsUyFYMOrOZEyVNzrukH11O4j2+Kg+St9eajNQ03OgK6m19FI7d+y0a7OX/53++g2il60lpPpN8pYDIeauXOoa/jaidp9H0OLXoqcsi/cBwNCYKSWbrBTwkZihCvMG2I9kuvMiZ/BBnpSChSoWLass95IP+momneSb1n785aOu9R+sS6o4gMkQ0KsyrPf1607yly1yGZQGjVRqtrAraynf8CnHeNfMGpyxrGFnn5n7ALbM2pqhHBmKZ5FkAKaBgarBFwxCc8BZcYkR6xitJdQ9siRrg1Ga1UCc4USCj0GynrFvvKcQJvmAIWXEjVbfJnsXUJ1Y5ihzOSvSuuDJim+mZC26GFiq1eXAhDUaqcNIJh+355YLUnSQafn+BljjfQtX5nmBQNKGwvKkQwPyKxcfWoqtK8jdFPrfIJ4jsZyuraE4LNUeNEEROWQZXO+sy9L9OJO8/nR2zu+npaQ/FR6rAe2VmqH/o5mHU2TAjkW6cnWk61/UxO4a1mqZETcRZTmWelQeaeg9hb8hqrGvR0JRV/C7AtFB6anDzlddCqO8V1LTHyJC1Wry5awXZY3icBMsLd2hW1hZsTEL0OMFkQdWTIEhQXM9c0BBmSoCnH+awKGFM0GHjIh003bgudMqG9tabac9V14X5dh8zs1VkdikRrG3xxf/Q3seiw2WIrbkYus/j++iQxPbzlTNyDHWnKDfXvSQBkt0V2ZO8dGHZEwhLdIFuGkOMwZ+lo1plSwKnuedPBFt9hnvDoawsHFzAfMqzQfxgKpsijIzd0npjTWbJSrSz5yO1CYuf7V2JxsdrlhnRMDLPeNfM5x103xdOfqdSPE2jScV8T5rYghQnFHhNpAvv/LVx9SUvQRwEK+CTxv8B//g6c9AY/0ku81myAhex2d9KDbMv/6QzEYYMghkSGjfno4/omJobPmTriBpETWO0pPa/mPBGnaysiC/pf6cMys+dxv9sfguNQGn/aPk5wpaZQlfdsbpa/PynkD5/8vRUjTkWHIQliTztJtow8vt0fQaVGZHtrYoKaEimtCQlQV12YYgpmiVG054BHHavfoTtxoKwXZ9woUgYvwJhirP8LlGDjz4zIV4XNI1oW/rT/+t2GS9467Tx2x/O8d8AFhnYZB2i7lqwx/FeQSMSLS2H6jaGPyiLgFp1VxHuriR0x1Q7Kb6jo+JA/Xx7OOR0lBJ2AjQQSVmE5nQf1Sxteei1pSZsLv96yMO+Juw7oMcFhBSYbAZDuJWX8ynvhlhJiH5TxiQEnAnkEQPRE+uScxxWh4OU192lXIoVD45Nl6bVh4XSxeInReWgevzYlGxjKZIHhuADCxhVa2ehe4BGlkc4hmUDKneyM9GUEMPAIap3R38WbEBC/1MPNBA+TjRZoIa9h3CMLR4mLKDwnOrlzKlpWV+LhWInEQiLurpwl9p+DbvObxJFpge3svSGKHw2SIWJ0ixt7xDnj/QQxpARrF+9cs4lgVj7JOY6ttZSO/AaHTeBTJbcd70Jw31ldzjUqkqIeTKyjhUPKEUOEaArBANohoRbP1uELwWp9wFPMM4iXAWEEC1sI143Fsio8m6/LuVZvCGsuWl0pEEBZp4QVMg458mhLQ4YBtslVCQdWIwxefKIvxmE/045n5Iex9oeS99pfUvMpP0R60AaGetRNXEh8Aq5WBgJVj8RrHtQSFDQgE5lCuo0HqKjrUjN9DwtStCPjPh5ebzLf/yo9nfZlFGhBxmeXdNR1LBgysmAeNs2vzcJQ4YCJinUJAYoXOYBuCRwzoQM381CbNFMho4DNaKET6xaGYoFwczKDogEznfTOXHmJpT4Ny/J/NCgpwBC5cizOqiMAuIC5J+rTnzfIwMWUXC62HHhLpoeZqjFq5i+Ujh8/PqzsRyyeBkwkMpILr0fkKr0AGRNNzbzYGAHYFnwGE1MyZ1voBjSJCv3LxnVutGUroeZrzGYdhik+eUNrkEDYDE7nBfwxdKxeBkYdE4tHpn3K+/SL2WNzs1fmjI3Sy1cLDCbYlGjlCpLaeVxE8by62OxImNh7lpYsSr7DA8MUWfTMRwaOroUx6WSjaqWL28JTSp2bnemCoWrWJ2Nk7dhRxNIebuw14lyQ4EwjN5b6FXRHm7wTF1A0BpIoXy5GJk05RV8/xwIpqLwczeZVBK3ER03J49NRS91nSNAU5KmgxUxs483NV1vhG8u9bH98Cxvv4K6n2z5UfXeTRRfnyE+hJfXh95mUkDV/fKinSKlR8TzwP80xN5wZ5Z6pcOuh5g6lbydvOsKvX4e9WWIefQfyYOfihTqcaq2yoKRT2IGNqxqo0eAQ3lSrUMX9V64JyX6HfVID0nwGqy7xX40RG8zliWzcyZ9lkohGYk/jzNi61AaVWMzYCAFcO7EvgZn/V2wT63IGGGGnzJqB1VoSgFABNiVCcFJifvMOq7DnqllfYJb+Et2Jh1JNPunOGh/L+G8HCAxVV0d8JPfA2yG+9Symm1BFgNAJnSquGN7SsrXC4gYIJpBGUMJKkWw4Z/4nDNBdyghOqF+J8OtM5IjFNcY5whKJCFoJjp8wyJLVA5va1nwUnCsQ7Dn6k+qRO2gFWy2YUC5WSuVd5BV0GKWhNhPucLkcbZtwIUVaPR9z2iAgmDSe2F6NycBkyGpeSe1+0NPt7mTBkNhvrBskUCsldeaxO07Da/ZCn/OcYOCZh0vum5OVRfb8XJqOi9Wm637lbb6ql/Eey8aQi84xrIWt2VbR6Cn1NpfTigh0m7uZTnAHgRgEXmMk4yVBY3iLnOTlmGseBdnx2Y2QlbPZi4u8U3JgmQ9LyfhbSzwVQB3Y5z1sndz5DqMuCU3wCH+vpKDU9sYxX5g27QbDdjr/4eGswEbV+xskQSTf9DR7fgZtwUU2kyh0aA8og0ZVEWFilYq1WsxO75GB6yQDPDLC8bmxqaGbHqttW7bWueUZQmCtoBCa/WjNmMS6VJPtkPJafeNG2ZopvAJtzUnlOY8ma+7vP4mi1UBc1r6MvLMJVtuLs2J9bNVuWr9BDR0456eXeCb0uVv2jgSm5PfiuGH+DrHKpmgGtj7bkBL79SQxdjM9dDLhT4urHDbAsGOhv1ctdwPqwzPA+L8oRsIYAKsMzEGVEUok6HcRMHZDY56TQm3bfq92kxGGww1TcCjUQIS3xxS+sCuPJuGOvKavNDEzqUP03Do1+YKPR8tKyHhpQfDDqEIeUyInk0PU8eZlQBVwQl0KeegqrWndfM3FJDcv1XlGV2qge5oPs2fUU0s2A9yB411tIbMHiacNij9fqLeGxM1O54HyGVpxj9H2dmCW7c44ecV9ZE7tAGlyRqmqiG1dX+NGbdDK6iRB6d3onQljvTIRoUAoXlSgYgYfZ/s2uL0zkd4zQsnf28qmsO7xk2lZpBz0OW9745twHS/fnAcdjjrZIWa0Vg1/voyCWYVXD55shD06ssZLUCv4M2p3Oh6MR+zavpaV1Cx3uXZkbHMY1tE3H687IQ1WWhhVOX2knV+OssfGu7LAsmuQqSrJYzLi2kEYyxxMBTvFubgGbp7L4FcHhfgbUXtfgmbedPlXcup7i25OU6fU19hCj1pAJRjmzoe2Wi94lonWuUN6CmnglbD34NrypWoFfiTRyxBueg74EKMOPFgk+/JXk0NCaFGafqGRyedwKfdtGR6XXog3oWCBON2/e/5R2IcvTTqmtSb+c4i8Mw0HWMzolHou/8qSjwCk6Ymhhf622Dn6ZQDXDGLSAjGtCutX9jb5F+DPPyWFK9AHWw+xOUtFVsxcwedUvZDH8sZJxSkFFgDwTLDD9SfaslVwYqXH8WdJIrbwr81GtU+CgY8CKZC7XqFGN7cvWqZhze/eTlHf2tpeHntLa97vTZCB+UtvO5GmdbthRr0h22gwkInIoQi0X/bWdNc236fWe6lPOIlsKtRzLMkPaP7trS7XrgpnX0lvivr1XfFfb7yisxGTG83z+sHdePmK/9QDzWnXpEvJq9Ox+cCjmsSlU5fp0OLOPzUQAQvZTTwO3sur2M7py9WduohNFu8ouo+GkTEnLkFcKFCTdTE7dQ6uqboRhdA+UpU8o0llckSBvwacGxgQFhaNIEv1lHXs7bFIOaeakSr8pyixXCqhW8KOnDKLQlhoRLrLOVZJqxM/q8nhhS5yckUwbz+f3JlMl1uU8tGRF0x6Vn5mCEw377McM2ly9j2J4wev7eXYiEFr2HXjXxfaQdUddR8J+ZjVrMoHaL3UqG22m9RH0WPcqUNKssALa8qJOJMhyNnEkskhUjLRTwJZxi0nVTgZ8sSIoaWoF7K2UFwkxdztauPtFiKJumY1Zpv9xjaPFxLnDFkRx7bN6PqIz8oaiAgG0Ec/aQbt2qh2SqpY2KZaCNhSJFdytdazuZlqbi5EduOaC4vc3WA+TQevsZ48ylwb1FQsFjXaQhLA+eLnLounyJCLlZQLx+qKjIMr3A1jBffEUnlEcPkXW34m+BbbUaiaks3Jgodhx08Ve9VxVHHLzopjP/IG5ATaGXh+n7a/wHVFMunpxCWRKOXNdQqnHdBmNrTNYohXQDgCpMmxkHklwkimf3TkjVL4SgaSvOpBGlZMnoTsPTwUAZd7eCTxB0Gnx/S1FZSyYgxkoqaRKZHZdIvMMhy6FxEH904s0YpYIBCzgZpeM4nuW/W37NaCwmYH6HCfyXHM6+iGltDmrlBPJb1+SL16Biv/4y7JPbATyzbsIr+QoWjghImxPJxP4G8ZxFXDICIKWR60HO5mZzEU5Gp9cAFCZEEeqrdiA9T/FxfYx5CCs3NeunW3ZHbKEIcgYSUCXyLAaC2ZRX+Zn92TmEb5gY+fZugcx+olnk2VIhnv0SJ94utCdY61WsT381sgmegE9GbYkFRySmm3R5ktySh8C7bxU2VSWDgp5lQYXPjKMSKhkRF5b/GWROQRKznJQFHIv96iqogbgh6CDBFZJLBkzVuiSiWJCSFJ2TpRNR59kULRbC01uSGlJDqhkpKKY6ZCoeNxPUORnA5dzAiXB2z9MpiEb6LMeuvmA2t6nFvAJHhbcn/khvz9faVnNbLrrUfZ7Jg4/Veer5jAC2ObUzdi4gmAJ1uCI8XQ9K0cjfX6euECqrfukbIxisT8YK0kvRMNz5gvaFaiWnoYlAgfar7VblUfKh1zZI9ZQZJz5SjVDj7YSjtac9h5+SpTPrf1/tX97I6LZF9Szzlh/NK9oQbLsETrgcSw1yEHjA7ZGhXu14N0w/p6thmC+Jg7KRc2N8iRGU0eJ0asOVnDv2Xbq3gel3f3sjCrJTt4xZj7Vht1ss4xnA0/2O92JqxMZkrAZzJS7OcwYgXudw+a8oLQC+tdAuhvf1UEpId0sx/sDH9b0qU387PyW8r2qty0R9yc75v21q8v6rGOEsusD8n0z/ZM4TXPuj3jXa39f2MNGfs3Ff5n7aVypUb9XXgxOp89gXAB0lwdAqc0/H3VShshu1XnY72RbWDHjtMs4IXr3P+1oCXu1MVwZArfWQanrrynmfchF9/+5GFEsiBON4dEBPyvUlIuD0NS4toYCHEDdXY5hYlmYKSGs4f5kcTqeniMK+WK9M5FnxAYcAAwrOECoOMTS66jmKw2/zlzkjyff5NDysuyAIsJ78W5fH0Zmu5XaRQLX6HgY7p+IPMQeXcRT7QnbWWNegSbawS49MEHwKubQnwXkB1xflmj+qvmO0txjs9Na03bDg7ovEzV45DDWqzfxC3K/oeuC2UbXe0x8FGWxybSJggcobZ8buQSXZLzjF5UyrPbwQPJZIK02WRA4873fsGjAXi8ajg+0Foe7rWk52dLyHXbddCidOkORBKy8AcHHzj5EuESHN3ttw0jaEYf70tJJIVkRrK+k/UAQCXejlJGm9QoJ2FHUjJ8WsL+WuU/TuqfeKNczrjZn8Xf4KP4/1UGTUq2OjHBcIKMUqq71pe/5At7ov6v/EAPkGbIzLpfuCEikQ5dIv9rJLDU+XPfek4cc9HpmugBFlfgCkrl7i6c7w32m7cIRBFp/zd6Winjt5IoXdHBlxynI6+dLXPYNWOj+2wFon9Z1FdyZwzHWPdilyV3T2tj+UHwVmmg7YJsn7LXBYZu6pDw0QDQXqmWOqURilcYx90Gx/e6aRlir4juQir5dhbJh04XgP9ohpW+GPaEyYSxETBOpLYx+8RaW1DVGb1R9KMb/vpw0C7MLk0GnVbrLaGo37YnjG/ba1Kcjg5ERWzjq4GhxvwzgZn0nvE2j0g6prCJsmbgQlhbgirENEVZiFY/OdIYhJ+AziWFD+xVFIeKuXykkFpzIo20/0N046C+EqVccwEPhYJ1OzVoDmDthxh1S5YoF35LUqVYjlPP/Mx7jvr06hzvYC6egEOOgXQNfpzszVW0rfNrUH8GtLR2BQ5+/vRXW0jLDBL75oGwVtpEuYT4dZBzcdoAD2Qkw2pE1rt9gjDt91yhXQq0wBTkgFwHFfrNjwE4yH2M9mzNfd4nno8ibeYssIzup12tRChSfKacOsIPPGfSxX473VidfwoZWfOH0QoP2/K9/WRUieqwL2gB8i7WtsliqJmRXJ7qECBW3khlPyQFOudsrY78b0pMpDQIJ4YdYWOM24JPYGv+0Oi4NoPIPcfjq9WG5I4+PTyhxucSehPnVoexCUMARAkxBwhhkUlEGn4axe9E3E5vQ9HH236hHWqL52Jzo8XHK3h6/aJGqpdcDEAnJkyXereyrrtF49hFHKjoufKjvC//dCTPxqpm+0/wxbxEA7geO0aRuzr/HBUqK5eF14KQOyImegK1+RhU2f11gysysACawOijs1Nqny6yVFMU3r0eTXIBm0X7IH8E9AcFkkeWJM1HX7Hx0cRbx2ZN3MQCamg+S54FUxbNL8Wa67gzGtZnDuT+peVYvjK5LyvH1XxQrUCyu8aG9NMQl2dkviILqCBRj2U83Ose01LAZctNHmYnqDeA4YJRpEFz+bpDQmamNrbm2s3LTVkOcoXDlFsoWTx8I0yNO+AAZcvZR78yCDPCLV80TQfg7F0gVkqpGzWR6zvclbSH7i6SwnmXyO1nFWHXUg1ueNDwxLuKGi1D37ssaSBxaxCjxA8/eJuhYc0QuyTLcHEwAzjTOFTCw8hGF6lE6xGktFlv7K32BLIEHKAjmhVdPO7eud2AEBgFtyEmocplxESmDbgnwec5Fm69giq2olJvBlb7Z33+f8HYVPYNFYA027LlMy+42F7QFT3vLYEFJBwP7QUpkCECoPh3PJkE8YhzHEVYqmANhu93It2yE1JIt63AeuUTM8heO22AgB4zzIxNahEZ+fAXXDE4Rf9X9FgoFKIMlEr2sQN5yt4cQua4HEJ6yCivgd6xxjbu02zjLZa771jIGkpjCgIK8dlB1tlbRE/kL5TvxQTgmy1DIex24xqNIxCoEo8ZicE9DxzPwZU2TpDR9KTKYlGf1/L1q+Do5gHz+9rcmzxNaGeh+jq5fNgZZbl+rt6ggCro1R87rL6MrMLRqxvySocUTKfkyoy09tVQZ21IaDFE6mdkwce3TDB2WfePDzWtKDGmWK5CsEW22vtuniirWz/0+8+5uD0KW9nBeHhcLUQij7JJAm1EWFhXtfaWZ2fFEAIY+cjNUwLtg5uLs16HA06cbxssZIj8ysO94HvHPHlUEB0HuBp6+43Ox0cOuk0zts0DcDnKfoLRS0UWUqOJZHDJNw2pHlTUgyR0+VTH9mzghK5hVcktHDTmgKjYxmQfd7sO27XA72QswySEzi8qkvsDCZ73OGVrCxHo0l6IBcD3EK7+J/KmEhxQ0TmSoLiyRfczk9Dwo6IubSj+PdJrBscBOgGfUgP1XDP2rl23BnN1j3u/DcMw0O0AbioF5ddArR/4YpQecCR0aQtYfk70bNdSDO8JC4KjTw9robemAp3tNQYbN2RZFYAmmXaH8FNvhTnmaM9u+Lf6RucBKlUsEIhGCOZq3cnYr0UpOvNO3yhmE3ro0mU+j7NkF7OXBJRlDFKJqfBnm/1QmGz5jTc034gxqh1cYb3Ssk9+lYSPSSQMiVzXUSbUc1be/hSGl6AcZNL2iackr9Mxf73UutDUh4ucVE1fC2J9VOWheA+/M+VI/Ro+S2herseoEvUf0+lQBOSY/Ukip44+lyJ4FHLCFhDx4O+y4kFGk4PGVZO4p5IN8xylqQdL1vz2OAX1qys8oRBASnTSh+KBlzEpmp2Bk/ofmLZ5cEpS2tcTFI9Bq6umFXWDQVCcf0ACU6+FFVLH3Gly+gVFXw+TI9n2b/2heAIDYfhoyuQym05dTvgk3mX9QPRGlx/4WYB+dCd+G6quvAXxhu354GI3WgVlX+dvr/HQ1lNVhzVUKQMP0E9+4LX/0BsEUJvUbhJDhuF1r+1XBo3C3OzbrUb5Rm/f2DyvDvRBmfJW4PmtxF6zkSs0ElZUS6kEGcSinWNtJbctjqHcT01DmtuRRO09ZWRm2iEKvgVeC33w1riaIqTMybT/aUah5OoMLyRoahG4PeMl0Wuz2pJzhhWoxI7U9LpEi/6uLkhjbuBR7yuM27Yn0mZ8KPPJkOfni0IbbFcgAmutQyAY9MqaSZQPB6Abu6VfptfNuZVf0bvIXxUWuMV490MOdBNDEVIU7bLxQ/mSTccteBlv3jE6IDmLQ4L+1tliFhbXUihwNUFhppXGpWVssAHpLKiwcuScCfqizqjhwkr00eu8HJnvHb51YPqI/YTnbrKubaMIzGAQd1OyMRAgoTM9oArYFamRDvM+KXE5bMLWqT3i568gS/A9iEt0u61sFZeUFfSXQptWP0nnyGpWuvFwslC7S2N0e7xN8kLTx/gk67IEPZ5j/od7KMQSMOoq3SI3YbCEi5q532n0eaopiwcr0lu3Cor5PYkPPUZb3ZhbjksGVq0jdZs7J1lU5mWXU8BtgpYlzuq0wO2oxEKWHNn2kqDGXLPrzALP7cPgymdmXVFjvaZHkLooUeviEBXVcJil6kmgvpiFB/NUjANr55Hy+Te4O53ADlSYFw6RqvnmUznvaoXgxOy10hmnFynf0g/LyfF96bWY6jSWkc8RhPWTg3wWGF1ICfMqj9Rehf0vGaSsKIFrsah9Z0nAdq/kCfBXODB5X6nIxGMcfP89venTLI/6wUNuQMhyB/AqqxPqCLXbGMA1+b6jFx1XLy3rn7Eh7KCtHSE55f3wqhAqGrm8g7HXbDYFx8Ukhf2NYuE9Z6AHijbHQVJG4Vp1kxVVWXV+zjw5NuOyUNtcfBOMHvLpjTLw8s4ShwfxDWZ9slj+ccMKK6w0d4+Kom5B61F96R3vQ/EZBhUuFFQqRTGGyzgmNbLIJZ/S3BXtNVkqCDLPjutCLZJy06B+xk7M0lD6J0L43lqkMRsCJ41ipLWc0+JosLTmKMyAqOX9O0dAV4ISeRkmNAxsa8/2v98Lw6clgsXPrsuc+PgbLNRGsWU1m8JtcsDJhNPwf4o5Z6nU5SwEnrEYWQeBBzf6nOtDacGpgoGYdhGe/tYIFGjLwChqhEUvTrdvyUIEbRjrmelSYNeO1DfcsBo60Tj3af+1COkyvZGX2RUum/TbWm2sBtGs+rVVGUiB4jnQhfItfQrIWirrgEoks0RrjKwfDwus1MKKT7eaJSL5Ow7POHBstkX7B6goz3oi6//MOHb4PRuP8QJmH0HOZXKfeX/u46Rt4BTjBGKeg7TyQV5izfuth9VjezICB6Vel8ZRCjZvN1tayKJfsfp3KtwAAD+osaCguPpF6GdIeOqMMNK7C5uPZ2jvK5gkDrKsoFdKGu4fvXUK6akmnVZJ0LfiQ4EYQk2JFLblieUIW0KJVxWPh00xmH+lLI+KACGiKZgKzVEcphYt1PVkp0TheOdVKrV9XVTepUes3a8/mhbo1zSJMyAX69RX6bQf5H5BqcZi1/6dalisU1HKdD/aMu8/xYjxdtW+HEKwtJgG7wZO5RB21jJbLdrljZbMmHXQHSGRsoX1YBUQaOSzaz0gi2FdP3EL/vNyWxEKNzFX6oMUDT0vEnlJdQBUSkpw89eaR0lucFb13fS+tuqMtQJFk0X1WImGwxtwF1DppHPS/CktwGjFCqpKRu8mwM6T5D9vBni1xP+clR+6zD2cUxnFRGlvnF/eW2w3WMApu5OqjZjOpyWhuOnj8ND3hs3wtmYG8i2jkdf0uBMpvoaD4noeRVLNKKfy7y6edTglhO1QpAmtT2xn3VZM1p5XDrEqudNZJPura2qMqvW7jAUYzuRALCgRgbnTehaaH2qMnum3UO9IeQQ6qbwoC7mD7g0Tn5w/fu1Pt0EQy6L6PK0tuPdPJmSsHEfiLGJksQiKycrPdiCDkykRhKo6yx/xCH0VV6SH0c0ADyJ4LmeCK6OfDuAmGcwPkCGsy48uUJKv3iZtJPZVBt2OIHyszqPvTzzyT7+kzCstXgEwbzLmPn7STBSIUJ3NH5bfx4g6PS+sqwcr2b/CDisgtQXdzwHybLU2EGxiHB7Amy3zc/66o4slAy+l5IzOJOOAiy0+8PgQBke7RcPquybSG6xPKvqpGtY3sGY+34czeuqlWnpWscZSX/xm+G0tYnHwNXFijvR+3JpKb4xA2B+aTC7pBXgJbMnCxoFpjnZ22bUb8ZoO7fLWRzGZQCUgNl9T6bV1YX+iyo7Gt+1aEcKgutqubYdFb5FNEwh6H9pqZUzPMd3RRZOHMv6itYGvSdai5YPIFdny82x5fFysG6APn4UgOa0DJiAGsZDI5vv3qVjbf8JysWSGbSpCwQcTghCZh2HoJW3EmudVnJjM4ubT/0bNBuDefv05XLB1IEA+v6epzpENzyRe+u2UXzjrbIT7xmi5PB4qiHACA8bp6VyyzF96jEpqjyvlgHGTIcKX557dRo/s++qQ6QZp5FO9kbcTIGK1tPErZykk9PUdTC4idua0qAV4WKv9lRR+Z9zGeazWBHHwA61VwQcFkxE9k56tvX17FrlmdZ/N46LTsDewxtKYjNFq0k8/f1MlIlOZp91K07k2fD2o8VrZnADYCHsX+6nCDluDRoDLG4fXeVNrX5w68ItexKm2nCWaJ43iKElDeDRHL8E6SarDsb7G5uAot4BG8rsiWLtH0k4I0xrA+bRbypwWCxal1CdxJerbyNXn6tbJD59zjQfQckGqhq5SzC26HHwuHx23/Ik1rfHHt2zp+T3vG5freVA1RRLgir4qBdCevUbWOxpKFgiacI+j55GPLU/3nXG7dn05pyjoRzTIwBRaE9jp7OPxe86mMDOyO+slxdkoPMm/vSyTGgb+8lMBpFFXE/eBdd2w5WTP2kV2a9T37sv+RPTRsM89B4cALMUiFI6jXX3pR5HXCoX1JEpgzgMBCHf6HS81JDXqhHgbgfkITPEptSYKWl4MqGJy49NPGV+3Pe6kqj8QVhbWJwIwEsTImpGo0CU0ziQps1OTlkOf5FG7PFBb7B4fn6sCHCYrjx76GS+QNjLTUxJrFDcPamokvT4gm9O7h6yA4AgnE/AGc3q/Sz1EZ0LytnwcK/VVeEVVUpdaV2mDFXUVkns8rCx262xEJvGOElpFKvPlIFqmOqWCMPa/FSFYYkwZYhYef1YlIxFHG6IOFB2MWjbsWYTO+kw1DV9BOESY4Fw39YbHnjpZwxgYjtNZLxAvA79KRwAvJ4fEPhePXS0mk9p16Q6tMaFEx04MkkclmhRkZNIovZEE9Yq0UEO804OF9+Spw60+j+LO1U2tTGxaG2/70fl2W2Z080tIRhSmCO3HVJ6zrceFJjAb54osl2mbsolcMs43JCcRdBZWj7uzQbnE4mZJv4hT6u1jBYqiE/F4QeItQc8GhLJhvVK/JlOZ/BcUQ/mLAc+pph5hKdT7cbH8VOmXkLDOVwxRKCQw/sv36hXKuf/KX9aqngCMKbxe9rnkTYyl/FZ52WU/YCoth8TgIUbRuY7Fv8lcxfXUnYnJiClX712bcczvfhOINUp1Am3zc/+JSDQ/rpVDu2o8e+1I5uyielf2VGxbqPX5dzEKXbM0evGlk3UpqBZOmecGLsAWYtzssDNrS17Xt5xHuelV6ltIbmnCZCYgkP19igdRgiItu1p+xFd0CEjg5goPB41tjncvxUi+2XxBgmcS4n7iXfIySprj27jxu1lhEbF7ln0FmQqRcmMWLUQRzu1WvD4jLV6dNTXF46OOWPX8nEZz92emzkWyd+t38gm/XAzzu8zZm6cAC4qrlT/YQ3F7bG+8jZd9+wYW5BXuCmrApCAJ3cJgBmyE/wslm5LOC/NEiRyYJzduAZOLgyua6+op/Ji+uZTJkYqBgYCTRoCjr8P3AUBMgPKWKzXqIUJsJBsSu+MR1gwQeLCTv/Jo+or6QossTL+EmeTKXAwDdVCP+S+jybmNo6V43yIl+0fw3CgMI/lOF7szBy6hZ1rlirKIOzTcflSVJheLU5EcCHnHti/5vaeL230ZmMwoknKJ/ZZwUAW+FPu6tbPQ5YTI6/PM6LGOjLjow1mTpVWZagOvu3Gyt0DcasQcaVmoWa4Q1kYfGGkVJaJnja9D7Fd3ZJouVdZOAV7SCwbP8KrXEznHr+4EzvdYI70wa/vzFuj+xShKOxIs11K2WtOXNlgBaDnqX8LNKDz4PJsdhyHePba3dc5To3E6r54prPwUr8ndzaRk/QR4J+g375Y75kyEUo7iM14cZamGfWEmUWMaJUgMVvUmAyHjYJVGg9RdiVa7gKcqJgamXsNPt6AKGKB3o0XZitG1Md99ccsZhlghPtF+U60/jjAKb82Rxt7DXlanQRdDjkdhOFPmtxVf/106MGYFfLPWCbHKS8LmVU9b2rsbISZfB8DWAUIUa15vk3jBIUipfId9WKS0FhUNoleVEr5gDZx/S66NRKnVbVaW4f6cNkUZlFGChGGlJcYYNrFEtanrv3nHgbG7lAqfj/FyyZlX19+6q8HMoCyf3qM9+moq+J75Gu9szjvA9yvHKFNRNFq5Itn7yJI3J/9vCZsg+TXYMJn6vHYg+LSVTxlbV7Z4Izo4vvLlxArCEuwxd7J3i9kIzDLJgHkNWdakpESVuBM2FDeEhWk/7n3kiz19f6Y3kQgenyndwBgwFoIalyGmfykEECArol2IPaw8NnsCGnFAJKKDLM0KJ2jshsE6YUCMJzkvEsHM0/0zHwG79y4Pe12iq4tmy4AGVZ4i293jQ/ecKJDsQ8vtOKD6+Sk/Z4gymdy6LbW2ziC3B7u1+xMTHhq0MFKOumkREdIzazaRqap4H8oppvyzA5j4teNwp3gCzOyIz7SgT0cwguUj/8SUAqC0vYf/ugrwAmtcSppOCyLKwbdebKBsDRq3SwWZbYamVWFFMB9MQhtFTySM9c4zDylOVPsOfzwP/qtFb4Ax/V8Mv8XmzC3ZM3kEVdztmoAaFeLmglPIqNDFRMBHVnfahTp+iCJGCP2f15BV9d9QVxFyDvI24QHlqb3uQXWK293p1wjvdZ3V2lKtvBgIDp+0yIiwNyM81ljfeddEJAj0SKxbAUCYDSbdZc3/zD6hcZQb1DxApbnaHi+Kx93RUAce2+GXnlj477wMzXxM1nkbKr1VxNEXQGdnHAVKB8U32TXNk/eSs4KMGIPq8iEPsUyohFOhJXaQ+UG9sSfV9jegh1VAagpKsDI5X4dDAqFIprok84dkqQlg27XBI11AENn4+r2X+Lt5CLoti3QnzcParPdtXznlBTzkWp3SaYX4PvVpJqM6nKmJxHwHuDH7nHjH8INbVMB7vkUM+T1karxKUvwG7HpvB4msJmPGwZMMyeCdsq6YyqLOkR01m/zhJhd8f3LCeE4KOAlGBrQBmQmWIH6g8dpdcmkSJptgVNaVAdRPLNj5JSBYjlvhzT86C7msqXIQlGsReIAOawjWnQoRjDeF5Zx2Qg+DCUon5AWRrzdY4iNCTYQcufh4JJPdpflgzYamzIULbcWBscMlRXEAKHVwuYZTlqZE/xRKOBqyrKIgcdLg4XdjRMsE3C1N41eRAFw7tCqUkq+VN2SrlQSou798e0Anib+y8nk4nvF76d9BWhO4Lyct1OfhU/1+bnc0SMYHslnwjAumOPvKGn0Ht9IcGSrTjFH1Ypfgdr8yudb0h55IQbo8JpizODUJMlmAgbkOs74zqH7Aur8fkdq8SKle7rUXX2Noo4LTDQqsCOVyDzdyZgwZhIhzx6NsrJtnbEWLdWaMBgAqHjj9i0aTN4b1ndddCJ40upJ4dC297vJLoQrJWjqfbVUx/dbxNcouWXQnxkW+/iyHG1iI+gGPh7YnAPB2TjqRUiWMm0f2EkOwGxgsszRA141DqH0PdPzbluLulDg2SpUF+sfTn8n/sQYHo9MGLFcnVAD9rqEv+uZm7KXvDYxR1SvoQzMs2MC6E5zua0RizH+tSwr2Z2Zra15cIm9bMpjHJIOtK9KntXiV8i7hx+JOaToP1fNUBkqTOJKChZzAhHUXD5Fsqm/2rCOo5gD/W3prlXYGSUotTfXnUB2Iy9tC38UyfdB8ZCfAGZmhNM4JAJWPXqjP6ny43YFEfnQUJ8872apRfz+Sq7rDgTWabK/5WMoD162tRIOa1gUFeSjXUl3f1CHVM1yTgfy0/mWExFhD1OxsUegX/u8qXF54h9QqnLjnvUjBtPodmFkyld9BcE/rjBCBHb6nb6ClfxHE8rjAOx1h4kY9At9pw9Lrnua9SHTd4THeF1nRQIvbYtXG5TOoIHrAedX8LN40i5vIlbFiLOrxCWSUsnFEFb3G3jDK09qI+ILh19hM/bsitvlyn9k4/x7ZnWGK+1MjbOWWQURb5ajxawM9JEu5nXaETQRUUPM7nRPYRzCvHLEGn4Z08Vm8yBJyFNNaY+LeGYFZ3aB1vdmLof/cISx5nDftEx4Deanlg2BoNGQfYcOj0UDekb8BHQ3dzyGvHg4aOHqfBf+LPWumEeoEXgktJvogC57KKj2dNzHGXNgIRNbF1+cb1UIbdlfcM0IWnporg0LpjfqZF2cwacyF+3VpFfF/lPFY2pXxIG2uCXCq5rDbN0LQ790F8PNQinHRAfP+VR9U1joSdDwpe0ly2a84uxouxO2I0R+yA4ZghysLrwQtrz58ZO5p9Y3PIDmKRzw3ZzEbIJosPMd53f8x2JdARDDWmNPdtZWzBPyuty4PbaGqPbaX9cfZMAHenwrQPaTzH6iUil8SeSWdtHE1a1JT4LzKf/TXhPjKJlHFenIx4LqagJX1Cdu8+6vQvOzybzaPni9uOfMF/usPLoZJDimZm9Dg/WYMJ+E4gCHXzXButD82CyBcHtn3qVi8Wg0P4geqpGzAohrjmDUDuFtArqPHIrNWGJn1aMbKX3Tz0fvYKKO+L1Si8BoXrJ+4TRI7VBOgEexfUH/GOun11w16vLvQVxhXcnbByKjD7M2f+AtiI3t71mZmSJSd045bVezgdTyMaj0rSUK23IxXVDYMUnF/SySvgVMEiwS9cHMhuO5y51mj3WByFFaTNUI9GFvJvQIQXDOrG8Myy4mRoQjN4kQPsZe37Ec2H4ULqyOI5df9yUDfGalvf9mGfviowfAkeCp2mFnz/oj0HPJ8bua8lkYTq5Qw5I9pEvpHi1ni3H+XiLpjNlD/wMGiY7mtN1XDvncqSW1m8JAVGXZcTWTtp8Vtchyy2kF0pc/t4f4gJhjgGoaM/ail995AFRUvVV5aoFnKPl/wawTat/TsvZEq5FQOahLH80PiRY3wTmJMal3Hpx0OOYuMG6wMcaLxFC0kL/tmkdbOftgY94muRidFozvg64iyir0aFIqH0E9dneyRSQsbGmggSa3CZ2vE+YLxjGuTASaSOuIPp3n09E5tfObjqBjjngOweNPImc8BfTrnVuivUzULUPpQlUQvsezZMFdvmoRSxOt14k/9JvyQuJ4tOPKTOpN3DDiQR2fh/jJeWX5+cVCszkZnmcUzhFYggIYh5Dme/T/72COlEI91xzYUdGbyKFbiewtj/bmwGjGQ+UdObL9onszWU6w/lJYw9iWq9bzHGhIpj+7RJHJOsA4r24mAxpA8FXfdqajttSg3G5LO7vAlto1a7DrNrRpqRD83BJ/hUgqdqrgowGxTADolkuU59jtxZ5xn6FK81JgFvx+10sPuBvAOn2DKvwCl7kqitvrfTAMM46B7yyEhJ8en2iGFqGPBQOgGAKFy/dCc0txqxl4gv42ovS7vnFcrp7e8nz1rPE8A/6PxZBpQyxkcluFZQj2Ui2ZsCv41ejFWn8CC26kRhksGcXdY2hihqJadc9XT2Fo6xt+gJmZ6fvgqHCxyrEbSL6SXcdep0Rj7IHqVfmm3t40M554GtGbZkQBbVKUHDujCVmbEPd2zmBY5TnOPwUoXrW5B/Z7IosXfX01ZApfC4aZ0m1Us5rZK5yNOpe10IHnyEu6ATfneLvekvCAQHb1htK/LDbnMfY23th13sDoLQ9bqtrv4SHDMPDnrHJuaxFY4OmJu1xB5fOTT+octTvVJXHNj4T91GErRpWy5xeLvuWXGcuROId5kk2oBFZtWwZ9yyUgoylEyK9tI6P625BYtRTty3EYcsAskTfqFLosfiFocJhhynUTY1CLlfOijAofVVkmnrdvS05Pr22AbRerPKQzz4WyhWjhAjMxO0ERmc89oZCYtsJ6GNE9XK1huaVhz716IUp1RtDKTO2igvWXjCjLUldvRsli2D4vaRaR79Xlzz2+Cx6a7mAylNXTRCAR2eToWIsmSvWbMK8bGi/gfUMh0K+rCYpzS+BzC86tX8qrsz+bmfG65KHoq0rs9iEXnseeu1dpWe/10nPDmVAF6oGg+5SvvYsINhmsd7y0/tP2tNnOGdgrDlMlGy0yRUWGnfi2PZvGG/omXhze0/t3t0Cg+bV5h4b5qXH0xe6X2DUVYUSruOT0r9dbYBgHUEHdvQNymhP+zEZKHSrL1xD3IdGQt3VONR2MMf7SfgrCNXvuLjXcD7m7LYVOwS6l61LbA2ymemH2KEpGkxsUqrBPrkMwqTGYxH4NaLO4UAMYKqQlAVmjClRZbgwkTKIcTHVgXli9dZx12dmUaYoTQT8YU6Q5/f2RaQAx5/R/wlm0DO6zr0resVSKmCisMN7YnV7MQsR0mqNd8MPuwKLikwZsM1ZKARFUisadZWGsW1qJQwF05tYVQCsD7XFSRNNaDCWBDt3Zf878siWXlaN5MSZ9P4BzSSvClDehGztqzC6yH3p/C3hOQPqYGdD4kyrv1AAw3VOfmrtQ7Ch1T+gnFAYluRnOiRJuhAZhpMJKH85EjmgM9a3xpuLz9lY1DIs2V0U5W4qrwFS2rkZKCpaH6GBa8iKnfDh6Nx+b+d2Zz/z3c8YBL0PDYR8BZ4BFs+UehzVgXnDMuwkYnq8YN/ycGFsidWt7MtPuV29wEJ53ZLG9HAbm3EMZbBd39ol/ToCg7PaXyyue15Dg1PpJpo3GAQUX3CeR4ge9VIWYGrPSj59q1Npk1H4tIQGi+xmM0yMbEYy6wYFJIu//wZFm98kRkYxt/D25PtfiTnkXf+wDagm/WGS5W2FJGXtTdoxicgZ0KsHP1HQiyF5zCTRWs8WARD5tPgzYBJWLIdxHBvGoj4FTVrJZYqJ98blI2mI3dKxU5tTs/G5fkCDgyh2Dru9LqX9Jeooxxpyg66HwTJW0c9+2r5Kn1+O9K0RGSXI/KAd4E/KeughgF3aQZgIXPoBsjJdEfdNiGV1QdWUSYkyDNyedIwQFDEd5FuYIZhVYiKWNL1Jkqf6ECKRmFcv+OWzp//IjAAScvvhmVPVgWlU40xICBw+q5GSxT6wjW/oeMtLcAQphXOg13IR3/8LPmdEejdZ4AuOyyV1lLay+fgch0cOQtVqUXugCektvaZ/95EBlR0SgkTmLyvMDQw/bnL0DWL/C+IV0hOvOSp7oRS/eVlibXGcW8awQBXE+trhOiWtCc5eqQjP2f0TjzBABVqWwJlmxeZn7zdfgmy/BqtLm5ENBAJy0twcob8GJHh3JUSzw3NDJ0/UF3kQjer3+sa3Zgszm37UX2VajgjOMe5uyl5Muu/+BI6fyog44NNaRoMpm1ZFm6H8496EFdoGYvQ+WmgRDKrqMoFLliVrKueoubGZ2gO8srZTF2FrSUmCbb9ayaOgdDTl3ZZNITPDfaOtcKJhN0c92MCizi42s5gbHzPPvYZyOkUf/pVoEFoJ3eAUcl++ZXJZKMNRyG5uhIexpxCOiOBfen3F1IoW8x6yDheEiaHtUdy7B024ttFqKeN2nvh4lCBBF2Vpy5a1roeEuywpT+KP6ua/VBILHjltakqHA6f/AVefGYSpscp9x2Az93uE/JDk0vqouGS3/qfm5UPvl+FP+gxkT8gP2P0RATi8Lp5TmY82O+5yXSkOeaAlSIiS8ADZcVudQ39fY6vYa51IHuMl+2r2cGB191uDHefIN5mZZj8NgGgsjyFU9N18sKD2jhnrJAy5FZzh2sZpsgsHnPsYw2ca7/sebxtH5indgcqYlFEiCg9rSkkgGFTbggYj/MXawaT1WIOdAtGeepIEWfDN0NSq1ESAxm8heRdjmd7EP5GizfqhAU75UBJcPL8rNPQZHZ7nuiSiqVNmF8cVGWAza99ooHde/31UMjgX5zBUXlqhBstDbf0CD29xLYJI20vVCVJaG9xLvVu3/d1rtwAiLd+l9vMcajrJ5Ap81Eg0wg0ITPgxrfgFBZ1H/F2LCrc5fGCSXiY8DZUR2WND2s+Jhn/ib9Efe+gh1eZndlIc5LE8ZfQqMzdVhw+bYns8QzPKh5OU3d3hqOaZE/XuD+j7KaalgQg1dkLRxoyhLDWWQOiymK3PE38QkJRcXWWqDMrdpTBdCTv7Y6fwQUVacTkPbNRiTKlCYj+XL2+xVADGRkoVOZ4FulMyttUMDCr1WMcubuXHTIgLYPCRRunEceRboWFk/3qjq+NacRmjZtNSFnD4Pk7OEtnPx4Zu/gRp9hPDAaJkv4U4e1+eUP0lmOZQfePhY4QmTUqLj77sag1e2mraTmzst+MUZm6tpVhYIL0aWXkBxoIuumCCkhAgqun+PRqCGt15ZQeoNxWOLtPDWMwI8LIvX3gvdVJ9nWlNfbOA7qdfMFY6BceMnyxar91QjHfzQs3snip6cRScQTAFdBU2byrYEc0/25SssOz4mBEZUwiirZyVcTqBj3+a0DPR7w9IQK+dqIIzl7+yAM94rn6iNTHvIUpyC4paHCB1itDNXtBnrCRYJBKuhGBeD9smdb+gT2NKWEwqfWubcR2BqghSOJ2IdqvrY91+eGD+yxFEzyM2iROpSw5MzLCAIKm/LFexttknJOPzj8gauxyP9e2alXbzqxriIi2U1i/7heOq+3qMcm9cOpjtccK83HvHoTbtEkIZdkNGCba0C9owbv8FlqJHK3jrPj41nWKs3mRW3VvNgTz6HuOnEh5zCyCMcYq0MlifvGTj8hI4T/1XjOsxTPfC2lpgYFxkghgNGMmzV1fCOfDui827NihVhfmjr+guOxiyS3UjoMKJeaJ+HD5oLC9Kab8snbUtWRk+q4jjr6oTRlAZcwI58uq/yQEP5Ty6RpSt1nnufQfZhQSbfD+S4QByPj5dFbB/c6dp3eUQktaWe+r5RkPgap0AmqHQ/h436sqve10ogi2rFW/kYBOkGtwSANTDA4dC+XihpJ3G44WCS5s+QF0xMo2krdWjO2K9C/jnwORysfkZugJWDWihm5Q1s44yvmpfOQybHTODp+bpnySMYqbJCHMza9sQcoqoCJMUE09GmN9Zv4JYh1vtA84YJk7Ld799GP1UsjJZ+PCEM6hgXVxSKBGCiqw++EWUOTOcgkU9k1eViNBG1QvjR/v/imhFXJhYXfHk68igDtbqdQpnydaIsUIQaH0y2LV/IZHTzMTvRDNRcu2z8V9+s2DRWskCERSmVjxIbCMCCMTD+U2BYE0TeeHqhs5VYuGyPwh3qkaZCYzVSUnoZWx2CLUQ6w8XWvGbTwFANg1CTbYvbDQ8UkbFuol+7Acb8qkF/r00CQ1m4Cr6aBR/wI7f5faJOSRB+S4gPVaXf00PYZPsYFoi5+uDfrKjyfgVZVYn005bbRNc/d1y9MBWqDicY6fuhuXEsFyk+couD8PhR/T+vrzM4RdLibKDV+Py8CNqpfGFq9T8h0n4ydk7kagQMqe9ctVv2LSPUdoxFtcgaLhR+++wifftKb2mzaj+OTzFep2h396izRZva9kM3+Z4MI/mzsxfAsQgZXz5OpX+9b1PERvqiL02BJgmPw+axPNrZfsd9U+8QOHk/hFFxqiqYTNOMLAUFoKZ169+Xq17QTzt3yAAAYLyIwyRkBDcGA2MoSdhfBwmldkEmP3lya7AHcJ6pFuUI9VgOXeVuBaaltd4ddoy4ob/wTpia4BW5x1NLps3bVCK3szv+XxqhA7BLAbfwKY6P0jNWgNv4/KOWrYpOVsp3UFxB0KL5HVXvBegMSr9K30xU75q1mDRbORNerly2l5dfCPXmgk7hM/fIWxkfoDpSTs6acxroRZePXGvzOj2WduzM/DySGxmLmUWNiYVfS/9IwNbZIF6ThxxCAcxiwQ4Gk6YC9LJcMMTsjyGbvKbdO4b0q8tGv09hGl0aJ+Tfzz54nOj590pPA6fo4IHNR1iCwwf38szaJLvXh109RqT51Q1N8PeN5soa/OPNHD+qOWTvHo8DlmJCVyQ3rr4gXycxaTQRDS51qy/qWA3XFOotheNrQ2+9DiFYCBhJJXhdu6JWf7JBcumf5Llt6j+DytwOjHOrE+Mg35yYaOP+CBP6UE+LT7ZTwjQVtkf279kgn1F9Ovs+bBFLzaxLw+LOp5agH+r6LTXD4AFWUVBlr7MXBgCwcYsAW/UKbD1P3tMj97Pz5hFZmrg9qtD5zSlh9Sc4R0WDaVk8TX8RbNl7w/yaextZv/sKHZjG1JZE7AYfAzU6fFhz7EioTeUB1gcCWmmfA9tOjKgpyycaXeZpaHwEo9651AymjZrhRbGNcMqffqLMECmJGvSjCsoD/PqScxT6KJ4tf+iCqojKiZj9Q3Mz+kJfHP9bAlpHkBK3f+D5oob8RxqiJzEmvKcbcS7Rf9VnnuhHX9U/o/8Dv4jpF3mWp93Asz9Y6jlefKCucqSgavku62PaKwgkfqWCne7ECIXshjTlv1WX4fDENKm9dNxDb+n0Ba4EcXRozZKs2FRXjeRHNOhVfDPeJYI8SFifVu0/iGsUxVsZq9DazMJ87FFeM+04tD4qsmHFhOY07lwc7oPOi4cQ+a8eIZD7cNBfVAsFjbHz7kkIqCJUJFPSdmgZ2KtO7/nsuVMNZLv6omeu90FPkJRTPoEec+vB6LZ2mFV3EtxIbCMaO+UJqD2+BQf4WYNbltg3I7k5w08ph8rEWdGmxZAZPCelVWilNIc1ZcIKiZt5r8VwSQhxEWf8KXUNtO8OkO7dhahw3/YFQMQZ0Qt4hF7uImMOh9v6/L3UWsY+Ftbv64SHGOaMaMQylANGTwvC1XDMN+fann84bKmPBG/hT7cYfgDexNaZtd+qW2wUy9rqIIQmM9kIeLVEsnvfKjoFGjwQB08Wf24ojI1h4un4jG1NkeFodM37N80BMbzrQPU886gm8MYPYpW77znohW/hOobeCHoz9hzWdNcmJHXt0vQsYpvpkltqO798PDXWVJEtjZHWxAqajdHV/Jx8/jwGz2vlrrGAQ8zkZ0n5gqkvaGo6TTek9qPfqqg++b34WqposnMUvKx7Gj+W9Bfc7s3YgIJ9QzFemonpojcGK/S2/VWEfRGddWlfBXm7KhWGVqwgbXfpOkKFxR4rUWfJYFV/GKPMyjtVFyxiieeZhZFFDuOUI38daFsgiZBjngl6cvsSuNd5vGXdpHtbvIFZLIyIqAh0JWhg/v/cNzuSsN9Ie43riR1mgfP4pDg6zM2ERqh83nDHfHfBoIiR152oSlFg0snojHo+GVaGNFEWr4EDYoQy6SKW3RTDDlQVtzzfIEb7vtv07p1UjKHAmqjwiC2VF33U0oRTn8svqEt/22XTkxpIZnOuku9umRcunr4FF2qyFsU+qKdmn4KQ+GXpcCO2cJnAlmouWDF5o3Ma5nnWTUOgcV0w7uye68zQhAtdO0Gq1UZWpOKpvmStD1qOdoxzlWZWwnI6vvyr03fC4cZlt203Yyso4Q5YDJ5NpKPCJD0kUdBWDXlwYjipTy+WP22zfwDKb1jbuC/gkPnO3GXE7xDyRdRag5XQApUmtbi3NOatg7tjBgu9sTk7O5LJYM7A8SCKAxbIkMvYoe/oMDTclAsWLHYS8nRvr0kBFFJTznVnxuhmUK19cBSdWt6rCl62eZSrdvOup7vOEEfQkEUq7FUl5iwDnDZN9y94Ez0AiNXR1CFudUkIoq+jCxA74i3fVNjSiRRhM8IDbZ2wrCHX1OyLSL7UKyEjpUv0HwMnbGBrGSxajkD89vxOXK0SR3e1NPKUmYmx4ROQDJaMz/DCiwKcLsTmOfdZU8+qZhfHPa0/e2S0Ywmm6wa8I26Lzu2hTm0oFjQtHmMxzYySBDLXFHsS0ztoV2B5mNGA5Jd5vW16OKnbPSubThl0joYvHKYdmZ171oZczwtg2LT+W+mlboTZT/c832gQPNGv2yRQIMkqc+u1xYMKtFB2gleTnVVEwIqA1WIX5u8/Z7vu83qikNqszkRluK7VE76bwhD6oOdjRzo3hda3/+3tzGqTHqQ9hp/fsLFVnVTcHrCVWeV8qw0K/Q2Hf8BrUJeusfbq80Yj0PGz4TSN8UsQSa8Pda/b0n+3tXxLDMWfzVjvwnRhSuGg4dBWR9YGrCXIXexfFRcYDOPjlWuNu5aojHuwDPFA8E0HtdMDsWUis6XMU5NH3CXw7fjCF/AyrBZPssoY63MYK9C2SOWqrKNfjq6u+wIFf7COAUkSRF+1UhSGdjlTmmvojZuGTjG77uRJMsZoNpeNblT1zqjmHWHcSsyRY87Hw01qMAFG0V+I77AZRHNPIZ297q0U/nz4ZIAReQvj8zE+Y0abJIHAOGSf/HtoeovLS23DtMoXEvdahPE00WL4pWwo0VN5hjMTED6dQiETD0VSw8wRQNArVEZuZ/g4hkqH0ZuH7V39WuXdup0z5MDeZfnFbhyDY52g5DjgG0Tc8d/G+K7kGeZNKmE+nUoz1NL2LxIhSChQoJNehxrbGx71quVqDT6Yn/UAcUD7GoDEm6fgev9N+vSlMfp5ISs7T9r+q+kOTzG+AmtFq5mWgddLHfSjD95IcVqZ9V+KLRV1vIAkbXLKTMR4gq0vuRrIueCXVv/WPXqoL7ltHzB1EoW40gF6iqeyoSyVh7S2DtuEg6TQKvXXN0B9iV8SqpMq32li0lqnZXAsHzZwWNWT3Y1JtiSXlkRxpzAogr1kaKwQrHZ0BgyBQkkaVXaAD6BCZG6AzCjDPZucOrEfA+OW019xvOO02v1U8dvRTUzB6oey2oxma+R4WkJaB24GwysJ0q4vyzXSvRuz1Nia2WwGmNFArFHtWOYo29HvgpmfX2P3C9wzG4qj87PZ8o7/4ysksB2NWqj7CLUy9IpTdlBTF1dh6/osb5/nNm5AV5E4UQqsrz2f7JIRNgljbh3z7lcgQq0FiNiy9zvZQ00xkdA54fe77SEdFnhZMtgaUh0pDjclZMDv6ANYf/J9RVTJ/oKLv5GFiPpKhbVeszpGatZmmGTvStc33O1bNHO8/Gju0s4KwmeRtctGp4DmjiPWFsEN/uXOBVE0XKCx1SoeCuk5UM2IF6+kalsSwYkEC6YY5lvc5In8Rc56M3xs65zEHB+j2Au1Eyi4TDOayEno1nTLaLAedN+dyQK1iSdkdh/TiBXRDMxeA/7KEI9jXbmhafdF6chDt29J4SjIjaCDLsRiHiED4oJFVRlH+2X58hs0YmfKU+PZrBOUYGXkfNibNqBbbDz+CO/DvOXGaqPVk0ACYWQTTAAFxVrve2WYQ7akz9rJP7r1gGVLYwI+0jQ4mlzj7ejrLFx3kl2EyCWlm5BDuCbUd3TLzPWEI1eI8KBO45WpspUyDrKU14IlcqfSAWZE9AlZRnl0/RIz1TXrDPjXho9zCju1UFXMULJD0/wfzoI1r6kmZAdGoKoNd09fCzntcIWoiwtKMWrt8o01tfENoIEXtN7cjje5VBBkd9FukhBXoDBQt+G5u0xCX608pU0V+jPg+O6buT6Z600k8/dpHmRnWgbY2qKWD/px641eG9aLeddXkJTHcaPv+hHunzsmREpZ2MQ4fRUAdrTRN+CZUkE7wsz5FkU9jfRdEKUoxgQ2rLAuwaB9kGasEH0BTGh8UGEx9Iw9IYU8Zf0Mr9gjnrN64iW+N5bpH/jrhMLG2/d71YgRkCPA9BrYfcnr1rTTLYLzbCVoZjUU4fi6KwpILmTiajPy8teLW+a63gjSVQ9PUV6GE9+LqqRNzroyFvjHZzJFrcfv9s5bULV951o5Kl/NysRwUnLl8dJzQ9Zpic/P7Zd/BnY7oVxn0poci2ksRfHlgOPaf30tXQf3MaxVy2oNAJ0CjrEmWfBpn2q2ThXhUhO9mrUL8zlWVOtIfTjd0xYH4eEO2DI0jtMRBSyWuscNwyGqBZTtwAmd/1waFa+qeGUBvAs9xhRvptTDyxFgj0xO23Zy2CKfluWI72Pe6WYNpa1ShGyA8LZUUNSG5nKteg+6n0n9Ou4UkibkiXM2zX7hvXjxSZL8CwLwuzOS8+iThFt8PsPuV5pDBT8TZyF+z3DUXSYhRTx6ebwAWItBopgzcYN+Ep9yyn/HXOUxTdDmUGUFc10PAQhlxCe0/ezlhMQpX4DwOuORvH4x/4TXnadqE95MLRcAE2SGGSeVGUqyskdjFp6crHkydHl0kldW7Fmv3rIre9+i/SjDOZIW9Y1gK8XFHRad+mxMoyPiy2vQLmtLJZXYGMCFWDr7c/be8nCRIPiV6aE+dbWIIBce6OIHTkQDQXR/7uF6uy2DC97ishf9z/GOo+j+mciRRG5iLS5+uC/nYWTHjjs2lxxwJG9o54bm4I5CATHTv1sD4Haj0EKslwYHzJfNLivNhJpQgjChe+3kwuC6nuw4VgV4+bwDtOsQtDmeLIpLlfwiQuVc0EesAzW5dWNHJ4eN9RRqwIEIkysSAaBLuXogU8udcl/cpE5Z5yjAbYzt/kSDVgGwBfAvD2uf1tCN0btwCPsz7GE89GIs4FVKBywgOVQeJeL8/zkZJHcFUTPUenq3UjYGlLFqyEXYH+r0snM0q3eKJIsIuSbD4MIyq+0Ul87yZ+mtMhkfwMWlqVnXIklwFEDLy8eJJlOHkqIV0VzviyQwyYuDckTonj6EtzUSUzCbktKbXOyCg3aOdhLrD572wpnIp82Kc61U4USyHfedkzfgDVZV0sFvlSi3QsNTXBN456xjv+EuNQxYrTM42KJqJinWkYB77o/3Z6ceehz5uSAglkpSRv98g5QYKMkP21LX8gSSCAoPeg99FgGDHX+0pJrmwmXsrrdAvZR+F6chStUslVgio+AGZDQ957JnBU2y6M7zYJtf8OHxzajBqpfapNlc1eRNZ+O82Vi1LLbRb4TNL2PxSguyG4YA+H02Idh8yTAtrrMxjMesorg8AC1B84ET7UUYQofHLo4tRe99Ibla+HUhUEeZyToHQPVhzZoMAA+E5NMOKTnLYdJgCTlBHDde+wC/xhosY5EGPfqRxiKt6vnzqw8ajLHY1YBV5kLcSoUzJHncUkeNWCf7wYAN+P6kFjae7i3XZ553ezG+3P8QGLqC8t1lV7v2xIj5PgugMV6cw9KEZ/99pjN0dkpqxVMCwlRUYuudmJwtcO+GmdYwykXlW9LT50BXGsii0I0vSJFNcjfRPa52UIllVufH0l7FeAm/8dOjK7VBzxj4cvf/211KY4YDM/bsQYFvDqlJAytC1IPptm9DPSyaMq2GIElpRbxgrFNrGBBfraK7Zx+H9QrVUsXntnHbR4fb9GEWDUDMHFA67ZbeUAV0CMLgAXlgxf6gKql6aRpHr3B8/oCiVZFeC7p1U7Nwrnn8xW46pxHM/to6RHriBMcE0yuwtXX0huA9Y+n5QdMFevKaFW5xwMdUCrDX2bqUykHLxJJQs1Xh2KLUXtaHXWQRqlVfwH7Jz9p/9HWrIZIzLrzE2DayxqMgXlp7ePlFTzAfhkjnL7UfecpQTQwAIzIzNUWyWRBgkzuNwlUEYsRv6IzfJrjpfYpJQwNKzHOO7kREh9/tQz96RwMYrfCm2PLMI8dX0STJAeidPb7pnQH2XJEvQYElwoD" title="Mekko Graphics Chart">
            <a:extLst>
              <a:ext uri="{FF2B5EF4-FFF2-40B4-BE49-F238E27FC236}">
                <a16:creationId xmlns:a16="http://schemas.microsoft.com/office/drawing/2014/main" id="{E24AED42-6D0D-A5EC-AA1B-C0D170A3554D}"/>
              </a:ext>
            </a:extLst>
          </p:cNvPr>
          <p:cNvSpPr>
            <a:spLocks noChangeAspect="1"/>
          </p:cNvSpPr>
          <p:nvPr>
            <p:custDataLst>
              <p:tags r:id="rId9"/>
            </p:custDataLst>
          </p:nvPr>
        </p:nvSpPr>
        <p:spPr bwMode="gray">
          <a:xfrm>
            <a:off x="6288777" y="1736399"/>
            <a:ext cx="2619933" cy="4301795"/>
          </a:xfrm>
          <a:prstGeom prst="rect">
            <a:avLst/>
          </a:prstGeom>
          <a:blipFill>
            <a:blip r:embed="rId18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>
              <a:solidFill>
                <a:schemeClr val="tx1"/>
              </a:solidFill>
            </a:endParaRPr>
          </a:p>
        </p:txBody>
      </p:sp>
      <p:sp>
        <p:nvSpPr>
          <p:cNvPr id="28" name="Rectangle 27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z2dD7pS103gZfJ6l4USC3jqtWOPR/ue0umjYEY9KlLthURXCUyUuZbmGDPUXB2idlVQc+R1c0j6vNnMaKvr/AghcgjyTjoGcS2U6lyGcWZbvoYqQsrFJ5DN1RdHsB5gZU4BjQJ6xKwDUEsW8X/QQ4uIPkrhyjIfLLN7ZR3puqzBiN1rMnctBA0J594at1EN5QJYMsPufr2eabAYzIDriNpy1GurybA3KWqcTPRKYh436jQqOHiPaCJtAtzpRgB7Igk7tw7BcBhai66Lc0jpyzFEK/4NRoFF+cso+ThI1HNgDMZbpFoCsJQtilLqk9nQPGX6RXGboCTf8hOOcHaKoTUKF81dro10jOa8Xb8mBGZAZ+Iyl7KGHMy03+9hVypQ0CSOko49FQs3yJAsapV1kKqVztniKxFQgMPMboUsobVlCvoalg0PVXAHvj7N7dxVjxQEO9XaqFNgABMlNtgsOuBwXeWna7LPO8xdEUDydGmCU0ryIm0Jo5oYOTJu/Dd2XM15kOO89gWGrH68gaY2H2NymzOLaQJzq2/CanMqcDKgTC1DDsu57jgdLQwmRqFIgy1JPa9kqB4+sXtg+wCHgxGeXU1qQ2HK+fddvKba8reigAk5z2o3asmCzmKVzooQvdDXPMBusp+xHKPlckUk+cKbp9cEFZ1ceydLS6aCtG858/lj0L0eAyvoO4+HpnjqQQlWak7miBOKM8ZLb/0KKtJ7kcZPqhWCfmn47CBJ/t9WP8uTXzD9JAOZTek1DMIZF8iysbL9b1k66SXQV7IzHwEcCPqWRV/uxp9vElMhQ9cTxdAkxGPeEE94sX9FDSLOkkUVSTYr/N86OvURcjcd1d90YntPlaaMfN2g27trtjrCZozFbSsQbBK0hvJmV78LJzotsPxgFQo//oWOvP/uLd44A9OxiDjmAKC49982m3KC6FMc31zvuzmxdMTGCes+7pCJBSPxHuuOkwOkVG+z2CpIdtyjtfqfd+003mfdB7MXjFMpIcOrJcgUIxcwf0ocWKZNT1af5V5Ha2LYXx17ZpzpfOH5rFTs5Ic6rsjPhp2LqPSrS6rVp41lx5k/8oWBNg2D0z3On+3Sv0p1r77dF+ns5Gc+rN73bO7rMTx0E0QU6yXIf6QdgjyZIUy4Edpw+/FyNhO13uMq+2OjV/Tzh1JwBv8bK8zuBy5y4RGhAiWeHZzpqQabpBle4YjPUecHE1rCBYLcwdImWdoCMj6BdoMIybEpkoobToMpIFrQ/6oyzkpJqaOFPci+0zur9n8yFYSRZM+7Qwyjni6GTwrUlu95AYTepCj8oiNul5NHvGfR10wqoUhz4W3n33m5LCzABPptdS4ROCr060b/NoDg+8nfpt3vVfmRra43mmwosf4nzRNgM1syp73zTo5vgVcIyWzJAyqmaANSd4i4rtYPaIWirTdz79f8yW070wE2zCOYpCZJNZPnKLnMRLXM8AObafs0ktyrCWbj49JHHnnlfLb3QzghCp/uzFvTYOMi0dU37ZtlKWNG/yIWKTmc75BNZ7WdtShNwzBnREGiocmWGnAsjUjO8EQ3yArjfIqmp1fuYBaVXs7ePuo27OQJKJ9U3Yz9IpKxz9CyXMNEt0KPnA7hBU+PmsbmvkCYHU5sXCglu2+lvYkw/yKiQKMPVyQgJB1tPL5J1KjDxbkbv96blZ2+a79u9dinDNkfGZlLxTS9K5RMnZBtcejZqE838ARsZbDwy/o3TgYmmJlDDyBbonkX+ED4hjq5I1z/8Fa0x0yOGwClHO+DjkBCipGj583fWn29Byg3tGnc3LqzRdUkQY0blivw++AZm7OkYVqcVkNkV84ec/9oF5Nf1nsuURIUbmBSgibFuwJdG9/lxhGnEgDrUQr4DzZ/GsvDMRnx2sAP9g5xo6Dz0WIlRB9UMwmC9241khwlvoJgqqIgsQ4IpzpD/YZKWI4ZGX20oKJmGr0MDf+DwW04jgghb+EKuVvZmCVcVmVgJZVIxWMS6BwWkypBYhv22bfHij9MKZo76Z+47esfO4CRkRi59zwkyLznj7ZaPw6nVirINGqHuikAb4ekDskSKv6XdEH6Tgn0TSHA5XCfzMxB2ToGTvYTuIm91NS42Rh+7uy8kWbRLOzNgOPYMyn3acCKou8Qu7Ys+Fi+6MBHS1FV7e/Mj9dpgwfbbDz4q1Vxk/K7zYOUk/Bd+7t6yPm5ZNH/a5r/cEbn3eNvCD0HfqweLkAeEXi4+CvtkPKE89DIO+LTbNpTztdCCJAZOL83iBAqoPNL7FtYXA/tLTphpWuz/YuUIyTFT4JuC6TA5sXyepGXFWPZn2MYY4ip7PqhEsDrEMJNwgEfVVf4UqCLwXaVp69nej//Ee+UFsJdZq2G+KPXBYk4cVtUMJs1eXon9rAqaGAqei/pX8YtaWZfGckIsb4trmr50P/YuWWBDso9nvwmKpqT1laVi9YW307nEKvMD+phiREnlNPG14Cp3E1ttfhKEQFmrn7EcAvbzN7qKfhTInLGaGOU6gd4okVSNkNmL9ECGJatxA/Q8g+0UEuXPoa1epNRzbrmgKZqiaPtvqkmMjh/rkXUxfMn0BpC45B1K9KLeiCm5LKRf2DyPxCPNvUKJ2PxvqmwMbtJ0QJV3FA0mSdUlPWR9eKTkIVWOQ7Kv+4Jy0h+dL8neov9HWXhPF36LAtuh5j8zdmGDqMzsBFEG8Yo+dDygDweGKLuSVN/I/OJtZ0Xbo34VR1nZo+kBN5XQwh5vAeWiuJMDmZ99fsRjoJEvZDJyCafn9INKK21wvHHzT0QEceOo4S4EoeuHOV5YnT1kZeNE/G/7OAS+7kBBNFtFlVGxOWK+TpfNqBQvG93FRUgcznXuJHfqiQqE3jFaIlCFj3fGUQ5yRbMG6FFzLfFFl4C8hAaMgDB8vFPbFU+0tyANFEqkEFe+gpstoo73LVIAFZsxOdCh6MzLfx1n9WL0+Ky1itJjfhlr8yEEpSROYvzeA7IKOCKXn6Q2Jwy0ZVHBoV1wemkKR0aCcVH8WhFz4AsKnbZ+pQjKjEUwwdqySx0PF+a/N62yBtEEjbfifFuHLrBAjcKbZaWaBPchaUJDikSIKSq9hASSd+c8MJQs3ycRWH/Ku+lcYQpfceW/CCsE9J1Ia1/BZ/kydA4wUhYHNuhDL2tp5LeZ3OlRIlHv+APgPauRGmKWX0ByHBVCisYhZFbV2xVZtGuTUo+15YIxQrKOjH5xofMTglGjwtp5rGkCOr9C97+hWQFcMtpAeOkUdDq2boFaLRy/MA9MG7zkfpRcrBSf4U/iobSN08B1W7r/PXlfEiK9lEqmP05u/ij/QRiRgrD20VsqimN1+47rhumT8FoS2VkGEnBOsGF2Fxht4Kynw5YaZzzb9/94+7gM1A7k4zYgv3i8BVBCupDc1O8XpGvTvycV/GOUiSw/WdRAXvJmDYtgRFoGcaChKW35zcGFSCi/mAFBYrbqqXvQFwCVMsgtnSZ4lrmI8AlnjUC5q70j2zncBo/JBTclSVxADr60du8eoylqOHKrkmFps/gTfZ+GJU+DhzsRWQ1dkgCn1UprjXuhrKbJKqegGofm2SxCrLETma9229YYqyYIqSmD96M7+6E8I2VJegITOUWAHHpJ8qaWpi20/gZCXph9N2hGPGj7xD9N85T/2ILAAEU/rGrbXkmGpkCYxOFk75WdgPOqM+L53XWznGM48tdgxdwThVKW3s36a/UUlZCeC2wMLTINtH9DGwCK6qfaMRGg1IHDBvsuF/uDJzaPeqkHrZgYDDIaci3mChRyvEWfib/v6vXUwfFkmtniplVEU4KrQKXNv6OGCjSe5b8fOIZvUuE5mFmcmq6a9IG3TBH3PwvzMmWmTY2DzojCMOJTbwggsHwGWMGlJ0AlfjFAO6ZU71AAYIwsnjGyf7lGTPdKIOZYV7B+wfrHx5Lm7nhUTpKQp5XnyN7emeoSs3d8xj5LGv3cqJPlZPnFFD1iRIJF+9IpZUsVxkktMoH//HY1ONad2T3YRL4INImnPA0cwPXo/AzKZwxzykM0aGp86prOT8FTfd4YZVavmUY/y44PmCVtcvf6tGX4Oex2N+ruiMvJZDrcJsJxyAV4aTRLnDwtcxu6lSKOnHIHTJbSYznSTo3qzf5/ICPVmPSh+tMOabHwzBzZMZJfaQlFkOgYUYau3sTq+MFAVxFUXYmCvU2VMiiXNS2TakpDM3ZhMJgRxPKSSd6akvEhxYeM1vlHtSSPMUub1Kx18C+yASDYejO9FeTWmu/esETPzmHWKcvaesq0YRV4C8IArnSDKimuQcLQkNkmfetKt7sRx4zvVnVNwyASem3ks7Pn0TwCfgLc+UAR0zfsuZmyfL6fcPdDa47mNWpq5fuSuk+rin1AJihEuxlqUg4Ks7XeXVd+Z7tXuVmLhpTJXCvuTRLwo1dMQ1e/PTYEL315Y8NHzATn4NzqmpWtHu7vDk1/GbTvndLCMhPrqjohz029neQqb6vr7TIZSB1Sd4Xqdaild8PBI/vDBKLEZXgrAhMXAApiDPh9ViQ8uGr++nMiDsII5QhHS+ubsCo+eqPCcI6lgI+GehiDAh3aQdmc8qDwYqdidwJNc+lixxccdNCU+ybxBEGPgBkpPc35WA3vdeQId624B7MXqcr8aEXqBKphZFygDGayj7PjIlZOrXAKHcSIkH9pw9gmaGu3dH7V82xg8QMIiVqdeHktCi35P+9yLgUV8fxjGkjgDSZ73R37IQZ4jkOzFupKq0MyAiYrL+zlLKaISxeVD/V5TWfReS2+yDNVZv60oZPuakC52LQXvmM4S9IgcIBd7Ws3WPCvigsr7Dlr5visXpiZISmn6xwjCt7p1ezeK+gYzAbOf6MY6qsjtCBGv9/mP/FuAnqKgZqxS1v+EtjYWRY1hC7AJLAwGr+kHTG8Sbolhnon22m+DRfVDpJnAKB9IlBJbCt3X/UfDfIKp1NZcQS4dr/1nFlfx9Sh74b8pTDrOG7swfpP+i7nLJSS217kiRXinusNahL1iZFdSgO0zX+Xd1B03KaJSJfkkYg6CBSO7Vnl7IuI4/UAimmNjc5OA7l3JystXO6vcIj2ZWJ+HVKkHfR0rcnqa37Eg4fuVbEmbM41KjCP/9gllVQjOy35YxerxZbXb6Lgu9EHfVZFNTqn7OqUH8MuGsQ51BHCNoRBbH35Txxlx0nbHBWAlogA9VjMzcKlgEpPJJIsuhwMd5crTQLHzrtOaBv2v600Ssu4M61jC4E2+W1Y7QdP22NkfF9I6eHiEVdEecqquTXwL6Xr/i3j2uDi+fdZ4xHkaL6sGG9T3dcbcrnlxICgKYaNIM48w+ug9ue8ql6Os9pmzxpwWLirZBU9X8x07cFcVXvwZIcNdoHBJrnlKWD2Bn/PLvBA/GZlLWUa1CbU0MripsKEAdKIr7lV42BUWv0VZzrw6BSzrxyhYk8IAz9YKguQY34/0IbD08PhRcBnAYcWVrCuow58B4ctZ4MDMAQCZwu+z141xlQMhYYDv3uNLYqDWvBm3/u4arGOs9z2dhQpkaq3K3NlLYm4Se44GXh1tDPbTUjkoAnNKp4/1+9u007B5QrYEb5JBP+DxM0FYqkAYyCMzQMZVKLzL+vrWMMccbn33fSYOQSk7JH67VWiRscsiIJaqT29ffuohRCtEEkV8+JgYZud+ovuuKz85Eq2z7WH3xD4oRLc7cafzSGypm0nYnczYV+BAmBKoA77jwbkt9dxw5c+T0iV9R8r4oqwDmQsxsy1gdTW3qP4GW9Npo+v6oFlJiBTqdjoSiVSC16riJlbBrdUBv6rs/RXI4jDABtlPAPOUVF6ooUJmix2a434wagGMlqRSvhXX3WzXyxLNtimDlPOV7ciIWWbyFatG8k0b+Fn5DGdcHBOn79w8uWObYGKZV9ECjiNeGliwuXIs/JWVljeD6rKLsHjm581v8hA2g/vGA1fYjc8E6YOkm8fyTxTATvygB0bLvrihFnnuMosSSRBpnRnKz6OOLHPuotA3otoYRK8jAXuHylvFvoobsxLdGbaQM++L9Ehl6prYbAcjsrwq4yozXOn4PxnBhpAe8yzhxhYmnQB9mi56p6yZM2HLmdr7OtHEdFBcgcNxHMmFxovBScn/D+Un5I8Q+LuxIo9FVDyv31Fwyh7btgjeCrtWcooSdMF7fjNdmFH33nztGayuH1VBF36MAdpY8aQ5F33hwguVHyQ9CgybuyToLqScrGDWc2Sc0mpTmXZrROKskJPw857VK6L0ZP3ak11fCdlLh6KpM5uk9FhogoOG342I+Vu+P4pniZSd8Dd+kpUntc+/e24CU1QkgzC9UmCAxWJ/xTNA0BAOw4mmFLtaHARy52gVuxZF774yYl558J0cPLswEOn8wsoz5JpDoYG1mz0ePcWiTIIaHdsyblL09VQ0zWnu26etUZk2gjpcAEmI6JhV8VUc6oJmtpatB5echF9dy6vOOz7JwHNs3LMnBkyfw+cmazFd4i7MsNWfcSuUgbzsb2PbZ1NTXEvrv0WUF19aHDMLR6gKoNOEqEHbL9ZTMMRlG4eelQCbUqiqymDP1rBkJLrnwBr5m5fyuvGHwa9bG/gAIpfcutcaHjn2M/KfFz3IOozNCOML3sOB6sLiagRbIkmwNXln3PJV/mBbO7jUp+2ZY+N316ZbTQivuRYr9oFDcV1WvxRIaD1h5uqlsNIgL0xAkBgYSabPvfOWqNQold5iECwGaDiD0rwdLd9YGnes4WQIN+wZ6FOrKrLxW6AtW0DUyCQ3N+xMtBFA+stYPsA0q2Uayf2vbn55eP1oSr5cSItazRLJF1T1zSFFaRl+v2owcLJgOncSjnQpVPXeL/m5UlSedvYjZYIbQi93g2HDYzfdYVAkT5+tThDRVGrpW+mwx8kc21/XiMJAD2o+jy6bRSpbPf58YsSsB4NkpKfSyFIIVNqgaDQGyQoK2Nad35aO9HIKklfC5J5dQhP3XIQDIDtdfRsAYfRht7x6z5YjjI/pdiPaBqq+N6SCqaDNpYWue6XZCV507Gwu7tblzTOZQUX4+t7BKfmyPYzzuKHiOdIDoOiMfgG+haCz+K0B3tHbwXDba1KiFv7lq15JmPFr+1Vxt7L+n6UZ1E0a9n1HzLAndbJXEdcaTIpF/HXTmDb7QVirN6pB7gE5ly4FaSiopajSCo8L6WVajVR9FTGK6CsldQRwTvr0ETulZYkIUNf11L/0hDo3PzRZEeXMZoN3x1PWqlTuNIElizUDl2FxZkzsYG737/OwyfZYOGE39/qKPNpd2+AwBwQvROo4BB8bbwBCn7WuLBuAKF9SiiZPBEodecZm5KVIaOBhbCTVnZHWl+bkBGgfTGpcDt+iy6kkOYWGcEpTPsKzkw9tWehu7KsnIHZbCQ/VtCzVKniE0Ef4QgSX+04jdUFZ+xQWMc6UOyUsZQHkKTzboQ591k3Jeg+rxconEvORBuUmCURTLQW00yFUnys1inaedYcFESQJJOwGXsqtmmnRoy0BW9D4UOH4wayLOdCyeP+Hc+UenCVAu/hur61Yy96W2zJmBy1BNz3kcZ9KW+SQz4ORFN1+CVO6RUZvIDGvHzmzbP2CgQCfY3FXbNTZS8fnV6L2Ll1RFdT996utwrRPJvRFjp+jD1p405PC8as3MnjYe6TrNACfAGc+WmI4bvXgU7uUTFWVIA3ATbb3fmWiPSlET29bbHzgNImFFuFay4b0XVz61AYJ9ma/4DEwvNHhKAcS+ocXDh7MivtMRuBSLLrtDqjqLz4uzt7XZWpsbY4ew6wZawcOSySikXNqtfcuSF27/vY51hQzkEQPdVSeMN1FcQkQpyLmrlsChc6JN5o/eI338nLYSFfRsJ3R3yFecitQPy45sxYg+Q3H5KXfSqvGYq9kyTTl7TGjh95wsLtVvSNz1WfjfKt5M71xMjUwrkmK7S8AEGfHvqYbQG1rzrzCKCBjzWMtknmmtgW3mzetU6bx8+HVG4ZW++W7uOtub9QdPOeSGYsrTQCQv/SZ90hT4yZ28r+X3o6aIPETH/42e8xipNk5/fi1SILWXtIBYZYw0j5m49F2nlZmE/s/NGahzXI9BuXIsCNelzNgM9XL4Zv+k2w6pR2+V2aw4UYFA3IENzgmQDbr805m2DEjPIry4w5nHSBKeZNAwZor9RROG/fpZ3IEF8D4l+2l8ogSvAGUuupCsD9Ms+7FsapIs+v3qkOZIoVzgK2TLHRIH5dz9UVR4KtRDoD0U/gmn2qLLI2YKXI61RdsHXlU0Vm+6jgqRDkTyU7fwnYNiWbg1V+ioZ8GbiAFSNfE3jO4NSRGHgSw6JcLXB3sL5Qk4wXZ1dVEK86ZswLETJWYgFxePfggGIljPQ7pNP2ui4jn9EggyqtZHg3fji9zkh1e7iQabIQ0pKAcHNqsGSC9WaAbpv8iG5nIyIwtVVD7yNPPVj+2a0i/JxJQhE4DvcLEcE1kTW//iu/B814ydNr8Y8E55gSPEA07/51lCN3RXHi5aHWwyBM+cj6Fp5DJHfsRS/yTk0JxTfW8yhEwzdR92jFimgT6pJl/P19ZPl1KskD2u6PNhmLzH6+DuYEjirpaxyWlkp9dZIMR5tKViD/2vST2iPgVGD0FwTkA9ehlNNkT1gjH2TeAfsUHHoWCoFKMYKbEJUbBFcJJWnrHG9uVKAa1dv/4WhXqWmA6UirLU+vXvmbO0SubflfEOS5XMb1+/zt2EG7cvaQlrI6VU9zwvbcsS1PMIFfx0+3qkhV4u4NrfjLd+JQYxvB0+iiTK7r1VNoRVktzAU51MwUWJHKX4bXjtvqAuJbPgyx5LuEOKUe/w0+twCObgfPSWPHUN1iKa45y0KTZdrDIPrUSdVa+tIatXlQBWw0t/PPDI1TyUKiWbZDnrrwR3ZcH2AE/s5dv2uAvQorPNM0/GPokyj+BzewvkUVwxn5vBo6CCGQQZOT3Za2kly8UX2S1tqqJzZyya+D4srQvwoV1gAOkiQiASdAIrhLJoyGHigt2p7Jrw37jNDOkRM4FEqdP1BJ2gsLA1VWnqORpVUorVkl5Q1scnYzDsauHMyK7ST/yDHauNJihBOdQrEGPXbEDlDlNkG599x4/IbOYi5ZW7qYLi8m9PvKXqFFyMRCSuwwRW8eAMdmqSlNsfR97T3OlIHDE+jv5HrbmHrlzT/yHprRrfBTd3RFFj6Sv7U6Mxa1ooFKnyvPC6egRfoJ8zWwe+NnJpopspjTHYgkz1SWyrKUapiZhILA0wMVuoF/4aB+BjiZ+n9KVAxhKoF+1JimBs1CmRe1JgeAaczAMk6pfM2cTx1RZ/d++3tfvl2VAEsLom4/wtBZJyokHQmeWH7VePXiw/uhbfR/Q4BlPxqP7ZK/bFE+i8VzM4gj+9noYoh6RlrtpzfXyC4OAubhOteUKC5X3hjkS1T0xeF6vz9jys23JKjukpCCT+nlqCVGMQ447vHJYJZaJddqT/5K3Jea96CkmGQ7st6b+gFahx7FXVHXBsCF1KbHdl2pe4RUnZ75s3cOHPYGqhXyUcTNnaycK9d7lcgXmhHqobOVuE0zOaTRGMj8fGgmDdxWHmkzB5NkmT3ew2JhcJFs638qJf7t3ffW6DuPLKzCyuwOc3r9aV9jiQuyUOw4hSyEslytR8NA0VdLyAheUB6MCxWlttj1HGlG28r5UB4lRLIxHThI8cVOfxtF0G7Mfv8gYrH4SS+XfCrU8n+OmonfvX7IQ4SszROSLc0tOkx5bOJbh+EZPMs4MzYOyemvO1q27/GXmZE27jEBP3JYRZPqLOzLmmZa+z4dlcOFfdsm/tZgZQJ2Gxk6aAyESZYGQpH21aSDKudK4jMl11nSQQO495htNe68rxnjuOJhkf4QP/BGExoUh/m4b2xQBcEQV6zjeND+M2l86zF2zIWIoHeFLfsB/mPwbD6ecy/JUOb5GO2QKDBPTcpQVYAlfD+HfE0m7uMMH40s3yhe8r0QQBE1yyQ7We+e5zPtIp6ZV+hfP3EOgDt0gkwf3hKsGDTfQ3euPdMmlfwrbxp2jFwqsxpJGKUIy0+amtGvazC2Q2l7eF2HCFOFKiiypw+clDKSnmAhVwVIhqsktzCW6GjMaqXc0/VctjzNEAk1HjFHUh8IxBd/vmIWg8bKgsbLOtJsULZujIKtobxx3Kw6P2X80g/xKdzSG43jcA07Bd2tBYd8in0B1KJG8n3tGao1LsT/Dhx3S7ilePqJ7Nw9avTaBt5Pj38QQG9lLja7x3tF4RZSBg0zRlCVKnHqb68YaYldmQagdEXRYMX/D9JewJEW/vfvnu1zqx7k826Paxl1WCgnEnrx6N6nJiV87CirWckTqKHnGJs9TKNPbgrDFYTATBeyWA68m2DS0yxrlxodvgtn1/c/q05w0ig1n/xKHNFhT4kQ6SpkjustlHdXT9GdWQaxDeTg209YjjU4kKtaD0c268aU+yGHs7X4VveFoU/2rNLk8zKP9Af507HktJsyPDbmkjmTWBvCgb99jssjVKgS6NHqZd0pVMGpG11VyL4tfIRE8fAbV0bVqOSGkIY+HbKPn3Cj2zdnVzYX9SUF/T327mMuA8Rx/T4LtEc6FX4HmqimA7cHqANKCCQ70sSDya943qlvUuXcG13Ez4qk01jy4nNxUWFeVa6q71P7L+yGfZxJbWljvh9VfMaW7FAtU0toqTPjSzrPVQH+ag6ejQtSlsooarNxNpXyIZ0gWhq7P0d+MdhfhIuxRtDm+0JHPJA1JnZ8VLStAr+X7n9Rhs3ilDgmhXG3efdfZ4Atuck1ZHT9rWDRPU9TkFfpGI6ejypXrJoH480oqwznOqK9Zs5UFO8nCmA6P3D46O47xUoQy2WuWA52oGqfgOdJePUBsG/BaoliTcd/CtTgLi8O8SXAtq1E9+FGopwqnBwz5j8ErrREWmoDEWlRUw/C0irYim0V03hrLJWjpdMrd0cGwV9vCJlOi6qhXGqhyRZDcWHOOvlsK0ILzJz8rIkjOnyxvnNXXSYyTrbjWNN/DdeAADskGqN1lHjralL1p2AKmWAcuIbvitFvQfByWIgQaoaHgH/XYviJJ41yaf3tklLE1oSqNc/O2auFb7HpztFAs5hNLtABlXDH6+uiB9zDkXv8XA872qkHtWjg9HuBxUtSoNGZqvBBBusOd823CydHguen6c2yxE1GzvGsFjW35kKpgl3OW1PgjPx7iYVeH+kfpDj4Aqw/PAPzfAqFyTD3MeSF5h9fWnqaabf4QwZh0WFcN96J5spBTlnTQ7WzRwusimR63BkppJs8Qmzsxl9T8hDgu2h4UvcvZfKAWywJJCs0uxToXKbzXzed22VXoN/oKQPxfX841W7HzrKU9pYY9W1lYlv5FyOJFtMYBgkJe3koPtP1d2Hdk5rvN29djGPzsZzNPFCeFlJPq8Sa9dM978rdA3KqDBuoCjBYtMySYihISJebkfOm8Pm7yJSJd5w2Ulamnf00TZkOenLeqsKr1xbtViStLIFx1J9wfnDuTaifAsGtAsJx4CvreaKDmACSIq3be/WzpgW9NUPblIGVQPkDdLs0B8McahmXKDM0eiLjUmLWy/gO6+886KhztcZ/57vwp0D8J5BTtw8VUlXogbs/ElCfcd74YGA2Tj/cErdhVXaXIZqisFlCe6h8doxNA3SRyNnBukZTCf4PPzDaPgf78zhLhoo+JhWhwxFQiTPI6N0n7pD5UYT+scjW42UjC8uCsirJsvrGKcKRlaVa13Si3CKul1DLTvaIPtOhNNhip43DRwWMRxJwN+ehICeWQu7wRsicX5p2ov95pP9wY2AqxcRNjKPFCeobSG1C8HqfozoMvsTk0Aa4KSltnWEC0/r4e/oaQYad5o7Smtu1l3DUwxmgBTLCqyk6jyRAP1GMZ6+e+yll/oAaEsvQjzqE5zisipjtyMz8JFg227a8ntO5mTvUremxNoIa1w3XJJMz/csObmelbahQyroxdsF9GAKdrIf5OqJk8EEewglmeO6AcgK+dHP1GdrYwvZfScmsTdBWBhqtA/texGI4kYAx3YplhBo3KbxbPgm/qdJDS/1QfqZ2CRw7EcthfpOLT6B2P+EBk/FFCE+0w5t10y6pQY9mkG16Q1tEARxvq+r2tY2rOBiGg56DPQI5uxRHq/arhezHSFtanOEjMQwbUCrzwcoCe/eLAqn/ffBCDsXM8YSQkdPjkRE2cAR/zipvmTLRStze5iJh3yK6OxHq/ZuqyKa3kH6S0m7Gm3X03ZyNExEpqTplEgG8rBdy8olrG2iPoC0TeGJS2sxDX7ZS4qiUAi/ZQBZY6qNfPUZcbyjPdk3VE2K01HPMnSXVqqt6ExEvKAtRYSvVLWt/FaVFjbVu2aYQZ5jvysM3F4Q5XfKmNbRtJfdqrK5ruyNlRo2h/va2RBynnSIV/QIB7/Bso4s+LlJDGmVvl5yPQ4w/Lk2LUQM6MFjIl8tbnLOUTF8MZ/8NwSDbRxb+pIQWkXJFmHlgprfdrezfH/SXKkTyrgL8mg0TkRje9fIThssdk3dOXZNvBewXzh71LJi4tMA//fQDNUcZGbqqZkch3q1MJvACTF5EPcuQ7oKPRlb/Ank5fDJGbgCkvBqkOkLpRNxfTH8H1pJmWdrJckip+/QINQC4RGzEfI5WJUblb4S7qTaywhywa8JVmLKH5kHgkXsyxpFQO9S7HjsFl0XNwwwpc+2pTE3ftNXqJe0yaWZ3yd581IXod1Sc/vfMhJfjIbPCih35D0fKGzhauskwUx+1IR48Xe6BnB907aA4vfP+EXy1PXB62qxq2qiu6sHLIMn+jr3oP4Nrlx6DEPq0Rwdqsqoqz9e6VWbPkkrYe0rG30FVonvmnFBWoK8jpatdFvk0i80wkU6NBgVbYSycoX/1HVr9tyuh2wopE401RQb1dlkK7dJSGeEBnTKKwrjaEOkHH5gDvjuAxAdUlVW2sMp9JPlojarJS9lpnwsMVEjHLGYtYtPERehCRuTedOnXF5OCjUsb02/uxMLvntHwZw64vhvX0AVwmNZn+vCL60Nz/OEVckCbiedjSHfni8esbNH9vZlNZhGyJ6bMlfA24JXy+fw9+LbgIA6UHf1ci0z6G76MYZe+wZevGgUWZt+j+U0ModOAv0PU8GTAyxezCIxO/5Ht46CzEjmcpgBPcMrjmazgTmVhfyf/HXhyygxjvjZmzVrNoR/F7xbXYY+GatXSc9IzPn4A2YEfdCHihoHwPAZt9R98q+qQLN82Zy/LtjGdcbZM85nBAQ86VHPacOthkfzMbJEog4jsV4/I1m41r3EyZoNOK2xz/ggePPbvNnjG5m9BCn65L/eUmtOnP/mqpe8k025ubjNDt3n1iqxxYRoGXEfE2dcNe6eF4roH0DikeVTMuA225a1h80T8Sfu8jthskWB+jVC34yr+SaX1oveRLYlshqvLJcvZkozeR3P8emmEGfQoLoIIEDCuVThnO1QDZG7CM5PkR+HIWauAtADgLSbHFRSyWsMnj+73v5RB2Q/oimEs7EaS71YnTYGtm32G9n+LLLZS5B3fGCGoV+36hLX69u5Dp1Cs2e/gGSnf4ocggIJT+p5EOavQbMBX/tIKqi65HmyA4sKzQy1o+OeKsNOy4Qux7aG4SRa16ABtwMOMzyI3EvDCSzTROKul5VDrEzDZEk0yG9IqCY1FotvWFEFaLlv+6u2ZyeeCxvY07JYzC21gaFhMbKJZ+RIPiT1xyT8LlU9oYaGWCE0TUp7gpk3oUSWWwIwB7/mp7qcbhHR9nQk9aKW4OPzjZ89LHOcRKO9DmiGgY2CWcj+8c7jb2Tp5VXh/lLTg1Q+1VytRzrxlw+ypnHoxjMWU5Xogs9VX6oFDiot7xI7ZoSiYh57jRqVtsZ5eT5IeULeBiewCX9UWstKiKIbRDB8GHW6xMjGMeTDr+mAwgPsnvtMYiry07ujzAeDnoKZFVm7FCB/l4Fd5oLh3ArO7JozCTb4DLqNK8YdgWiDRR/YrENfSDECArqildn6g8/sSey1fng2vqI+vw91CxIpQTlrUD909Now8vcfwKGZ1OvpBbVP6hGJ3U39HEZmCKXcYy1EENyRCLW0muBxy31UpERfOX1wFYnezLbzrySupBUKqkq+b6X9h78M8KhgMYsTZI0kOcSwiLootJxZ4UWXm5kANn0DOkxjf3gpy29uxqDVILlvFOl+H1Ml4H8FW9w0m7VNJoQRZCA7z/ss8VMasKTIBC5Ucyb9NyHIF7WxQ4Jc4DrmRyb60JBj1Cn4mokIIUaUctbY9imIiM/O5r3qyR835dqkzcyjl1MyOTH7+feWdjAU/wA1Minx3ES3I28Bk3KL+kqFJQmEqYqWd6HbzW5FmeZSwj+C5VxCmhUJTyTbVILshH6qNTxMcCOeTs8Layjf0DbSmEYEpWn38qzYlRrWlXLnZTbHLpSuFBXlO1+XitERrFZCJhRS+x0EDqGdcImgOdqYk39rcwLhUsaNewQfylm5baQm2xbm1ZGWPHU/o1j5lFS8wJIgXeC/l4Z04QXnLwBNMzddbg4eGGDICVYXLf+g9/i2vMb+2iGzHF9M/0e1YZLWIbvjA7yIH49wMbhPQrUg1Reriw2By4xvoBbScnTICQyOSXRcv9waHNgZkNMSnZfkiun4vWN5M4i/RzGaqI3hqEMRbc+GlyONDKTTHQOPeYyBPxFShf3rf/+yu6E6juR1n11F1QgNWTiFHAAEvDLSUIk8+/+zC6/AQw7M9HHMkRLzXGJIO6tCbPVSjc1e3H2pVzDGxAe5Kba2U5yL8MISBnf8gL9jLWtitmUgNnEip6WhYm2tvcyliNiQcMKdSzCmY6k9VlanH5AyML/m7yZmtm3TLJ48ny6GvtXB+N5WeXI7GQlPCzIgCspb5Ujwla0VQBuCv7wz/w92Mee5RXZjDACenSE+R36sEdXvSpcWNbHZRHk3MhbjnyG4/TzrbeMU4Ap8DqE68TMzWPfesfw6IFoIecuICeKx3CPq7cdguUtc+36hFAjebelryZosuGbBjB+w3EIt0nbIRlrqf6LQhwjzjSewEG86VNvhMP8mklElqxK840YejkNCshPQDcH3KK1i0xyk5Z9r4i85GomtwgZ3PEt8eV31XLqEUSQ4jxhdrSH8uwUbmwyhDBy6IUKtPAo/53bOdcIXgc/Jm4CUQVpldacHV2P5oXhAMpbYObr6CDwxnXwrY/SLP7aYghqEeiQsTRWwyE0n2BKWISOJJ0Q34BJtxeqn2RS622rX4Hh5Wf5o2EHqqGjQDobpNjGve6Smlqv1WdOEEEqtNGC++nqmvTEAFlZQlX9bEke7h2E6VQ+tAe57GJOR6fqa/kyZwL/vL1MIWphFIHb2WegYhnOgnXKC/ui8oVEGeFaCrqMuOC3mgZOFdigWsz1R3uLJ/y/1lj8TU5WDAGuOAAEGima47zuyCgHuv3lxcyurJZEfSi+uF798oEz3srKR2RSr2n10rE2syIBWP/redKr2gAK6nZp4L90QbWfLQVWHcoUQ8eMHYpRgMBXaTRfNnB6pmlbS6nl2IQUOnlnSJMC/+I8Tmfia9UGIbVpd2o0VXddWssBoaei1dMcugQi6tnTF4ZgG0aXWFzbSlVn6ykhMxJBR1+/q+Kkh7XCtrGXFAei46H50X8vuCWPl9QADoMtFhzOZ4GB9J4wm8FJcBvfdru1RDklkDzavAph8kVv6omagvvS4TpMxLTA+yrxwxHI2zOxG4SKZNjUnT1qmBn/Tf514VJ0ZMwhT3kq1ij+5n3soaIZ8kgkpZGRTSXojDCeeEyurSV8lMcQXh82+2QY0ksB21lpfb7Td3Sz2ftKPlDZAUNni2w7Eb7huxyjHznh2pZTDyHK6xh92GjxBhfCvMWG1UnONe0BKUkMikU+Cqk+RJkj/64eJjJ+kFcABXZt/G+iNHgByunz/ppNT6n1N+CEYcgC9B1mDoRl+jyl/GgHMWnjF2+Vbm5XHNdSxN2MDO7C9CLe8vDfvPoahVUD1jpLZXWj1cQdkumnk+2q6tap1FlzXibYWm1yA0pRkc7e++veQErT4iDLbvSF+m+e43JpnXW4Mag0H9yioNC13g0cJS3bT7uPTPAkdJux4xC3FegLfXTUP24fdfbiOZklNAUCh5rcVUJJsapGrgIiU9/rqvCE2iwqnbv5yBNmg53rVABZOAklSEiFdU9qmWqkWwZ5W+5DHKOeM0cltn2oFfcl92ZxKza4/4hUetum1/snlPVVgAZrEnCthMblD6VPmq8I36Ianv3fth+n0gErkABJHX+IixxT0z8HxORE5NlAxh/Z3htEdZQRxjZa2ugxywGE0/s7xg/Of4XF+XJi7YihHnjrtuao6SxBcDMnyamFmrPVTND8YFFR+mT2/0b7ytYYfF/qoKevibCKQ2mg8kuhlHt2PQStmKSNk6ikugwgx/OZypzi2v24dcAmM2P0nWkgJwlZceUGpUJtCieY91NVLWlJXVKM4icwrZ6PmUnzu4RZIfxoypOqdpbLJJ1WmhMgs7goJ7k8JPrYL+xJOLzZejh6f2BUROP5oGdNRLly76BacZI8RILohc44j9kSigLfWGkamiwoU9biFYy9LN9bDYV1kF/YzGp8C6GRnTrSfsUolB+hIqoFm7DTMf4UxLs2n7ptaeDYM3lvSmdpYLFGVS/IggSyPrLlhBRfWuSvfTUcm5JTxyjhPHvxsk9I195d3m8bZT4CYIINsfSOXXHOqcqdXLGGhrmKQU5Hs7Fk6gzAyZ/AZOSuSoZG9EvJiXK/rPYTPaSSTOhnYT9l8LbPyq7t+lzWleGQ4k4zreWJFAYTJLDRKVeHy2QzBX/Vr7dq+YPxElDfdPXISkmu9D86nfSwu2ytqO90OuoyXMPh3jQsc+LUDdLz8Cy98Q0qhqnd+C3P3iOJCDYWpl8MsM+EXA5TZ1AyTBgFXeMIZQGCJKbS5tG8HvM/5XyGsIKJ1EMIHa4UlnwZ5ky6B3YX+o9ku3wOyQ5CUPx+T8WJFKJ14aXu/+/J+Yyt1+/C3xyhw4M6UdgRDjQCzt2tY5QwWZGX9DttYTYi8nCVOWE3Iq4/oNBkg5VbCuuBbXpMqgyE+9A4PuebYVN4n2XBRIv4wgv65kD6KJd0jog27tFlFd/WsirvNoN4gsNdkwrcvblUoJgD3EHgMlbII0spweiEtwfWJelJSJ3IQlEaWV5fhCL1/fW303JbEqOrwh/gd3IKHFsKtMq/E0zygxWgU8eFsDycvuEwJ0rI8Px/UiZ5tThsT7WgLTbCoZlAF0jw4eBE5X08g+q46SJqydOtvV4HFMzI47A7YEADusbn8EqNDnr4iTHDD/0XH61yoqO/QxFr1ASwprXmB+lDGbr8QDyTZBqzzvlMc0tBipgKzRlp8dEIgqZ2QtqyjoyCVI0ThdDtOmCaBDeGuN0BGQ6nsWYwPUYuHRXmRTCxyBV6NFwPT6PDd0I07sVLGshHjl5yr30lJ2nb2yZtefkto63mcytnNmEXsF8uXVrKQxtGks0F2opi1fA9Vw5MD/j5FI72mbzXXs3tfIIelK7eblrCFlFR5721VACm7tUdJ1xP9vq1tr7Sx7anwvuUkFmfgONmwT4Y+QbKWWgbjXqUFOapopIvKfezVcqYe6T4x4h9/xva9FT6e4wKeIw/r0cWi4QHLMusRndAKBtSvw5cAcT/nkyioOL0od9sXIOyxZpz1nB8wc4x/EP3n15WA87blqDVPUuQVaiHQ2XuDAgD7ssesecnspeNG8ib79YLFc0K2Ozlf+k8YYkMpyjauQun7cpMDU7PdBB5izNMVxHwa/z+3/KKeWwDLKzoH0eCYGlQsl4OxZBZLBIyHK/RogzUNTJLj4Fo3wEYS6GHhPjOcsh1rrNiik+fv/Kg8bNCGq5m5d6vY1RPbOopAhAWXi8Ekn487zpyAhVHEtTLNaiijYqwso1gdFRM9FYhLvclN3Ds+juotz6wfWKb72WgtmbH88TT08tgFSUh+5XZDZ7UecXnaTKxvQmrVqt73V2VDDOvtx9Q8QHLJyNwcFFw3ivvIprZc33USQfm2sMqGg1oNfK0vk+6zBVvKlMN4Vzx+c2Wue7Vym+Y/gjgs2J/6AkRX7LoPY78oEadUshGtd5xdOxG2rpZUblHV9xsZIpTo/ZIdJUFDcglFx4dUWHBmN7oLtcSTBB+jTXjGma7MCDIDe6Xg/wslwYozuvut9EMuWu5IsL22S5Y96NZ43OAPa39W5ghKUFlSeZbyH8oUngKC/ivDcRkrVqOHYPkeFUD4Se/YZh20MGTdPfxGYDaoltQuO0VcnVYGIHzflKDGYO5WeERlqnj5+w+wY3FY7ME6vNz7DtZzzNTwfyZ5c95fkPLmkGz8IUYQvcIYr5C7UbARm6qh3ZM+NIovdYWw9qLFEbSr8lbQeMV1PYFaXlWuXTxfR0UX8XQtEiWUYeZ8ZUGWJX4B9eh/Di2+/GnCzKe4pzFdJPmd05ZNl6LhG0WRSSHMPScf8Fhd2JfAAiRo8QQkPSGWX7jgBLEo8MM5XPgz9J7V0wZYEmlAq63w5C61dfMrEx0CdbmtBEdIaRK9hV+eRHoi8jKZpKWF1TKW7+L6RqSvgP3B/Y0FgjOUYahcjVatJ1zAT25PW4kAP84uFZ0OtEwpV5d0K3WQau/ZOc2XMcSDt/vDLnjPf0CtbxmRZXJMHMPPOJikb8E83o2tkH46SiyOWHquu+Ot39UgyhXSFlt/JUKe0baex+mou44oHHdauPOHo+TsuIfTqaPyQ8rUY8zwQnIHzVgWPCAxoGu/tjlSHHQnngpx+aG82xlN+0yidfuExU+1sjisylTImkKCwh4A46RBLs1EHygTc9d7JhlqfSq619581S8Z6R0D1nh+Kv9gEqifPFWpaTFyEqZ/qPblyhhZD3rPAOq2at5TgOR6THeD/0jutlw6uuVjEUqDz/sN8lxovTv7RrLO5AjssVW+e5SjnRGQqbObVDfK7dQpqsxOD69t4hbbwkZS/dKJisSzpVo83vKW/2Egc6u3o04DH4ECch74fjn+fWQo8iA2cVYbcPNxsWo2lJaetzNipquCJEYtbSay8d3nzdeiniixG77P2PqVC/8qnTXC/IwHP6EoAlhOMbm27h1uOidFxZvD/fZAQb9VWHtae/9GwcL0TO9Zg/5Ro6V3gKrxivMSHJWcB1Q+wpvE7KuK5cP3z4GcRr4kw5N5BrimHkF1MFcyLHdbk9j89lUC7lemIegcQNFQmnsHK44dWQa3PJQUABuweE13PzRrtJ6EMhsZAp66U497ILtTQNSKJSiUnAV5t3xZm/ODig/bS8l5YbbEfcJo6G+iuAq6w7obV00a0yJ+eZrF6d7lFDzhiaURfCxawliKRK4jlsJGukkUtu1HSgPksyjIddbZSv8sA1ZGKpEuQYqSrvPmE2Xzyy7Oe4rCiTdlMeg8DnCI4GTL63tDn8pRunaSMrL6j4gw8Zo+ZoPboDdysErRZWPVnjwF1ibhspNdYSMimG319C9Op8oO7Q9wzRO8bgMeUKXfFQf4jvRuJ4LIacyvEhY6TSiHEbwuu9BcVKldIQMttcPVKoP8H3kX69HRHga/Z/7JqGUtwkxlXONHUr26XmPRYPeVfLN55C1qTPV0A10AF0k8lP11loEeII5MmkpzIw7/Y6ycnYLmk4HADg6n+fBsvrDvNyke6BkowHl55lnw7NxGKlpYzjk+M6flCSMcAVk7Vt9lXOs+PdfXbeGv7Apoo9+NGzGeTOOnTDnSiTVhwDRi/OVhjlvlbY2h+GmaNggySRWUZTp7FyR5BtGL1RWRZAx4lIFVmQNkZubPH4MkMARfW3b7y9jZ0QvyFeefqMRyASKEsvFV4QkT6uyge7EA5vQRhLnTarLco6wy1fbHtS981T+oxZxiT7+m5tjeSl7kUCZ4EHdK2zotvhPl3t9IiWbGOE0B2tGJIOFBN/rBlSLigEn8LRSLCUeueIHxQXQnp+PHLHexFPu/QM2N+ESRykIzXAmCdwMNnyYyVC2FWqSdnA5VGqKAVIg5VTImYwHWIZmKmlje6uCiRmJ30d46xyfSf0B/mXkjmJR59dJ3EZmunB9kImFiawetGS5T4Aoqcv8Ae0d4bxH99j9fPWyOJWisC3H8NSn4ySj8+rOOn14lH3GRP+DJnK50YD3x14KoB2kilL1TXZEcuJm8d/2whMEMggzZkI9SDH/V/nTN6aomrtK0Sd+FY/hLvLH9hLeDy5utIuvJr4CKMZbfcmTgAH2MdlJtkpLaD5rxX4efGiewt46Sa1xGaQ8cW1mic+KaVqKDPJ/PBAzHd2F0pkYFzx7usrYnrG09zWA9e+PIkys3ytL+ZTis7VeHew9eyOC3bbbkHqIWtRSGfN3hbCp9gMx2crgQNxFtERlWRkSYx+zHbiVBmJtD8fc5QeF4qyIc4ztcKEyAVNkiW77AakJUgnLaWdseM5NibFq7Lbf6GXSn7njGz9o84fdMUjb4bAlR4/VlEYpHA5UEoKthimRfiXOdOK8V/FBZ0lxdk48IB6aVe9e+F6uOpcg2NckEkD4wvuN1LIYfv0dA7RKaDFdzzzsDqpzPSy5Kf34lw5ZE2m1FbSdqv9MRHIZYHBcItlTfz0a3zaLrVArOYDjx/LLmyt9puCELHsjYvBN2GudU3NxtWLiGwUTDtISHc7+wTukn4cdiYPwNj6fH4WuaD5giqzC1tQx7BwhJeqoASvrQxF1fpNJdeJh0MwOy7wyMkjwi+Fcr/UJojV6SFPjT8fIlC6PidTD4qyUSvCy9AN+VJ8+OcHkpIrfdLySC30C079fqay9SdtVuTDtVek8Refe+R46NQ5sQye57WzkJtzQitOe/fPrDXz3TjN3NXorgs/kIOGO0AxySwZREjHWeXvhe9KNwMFzNPjDFUwscLm4qNx2+/HweFDz7F+POl8EZ9Wx7mloZWfvRbrEDkGRcS9K69DnI/WuqUekpHQrH0X1oOGb5gSfbVGfSmXUZROykHGXG/8MJmabe1DDi3wGXT8wkEvc3QK3sApkirWT91x3z1/tsV7oRu0I7bxM2oMpOWBKUZ8vuQr6xHFo6bzy2MJq6JOHCcWTaySvbmvqUKHyoZdOuiTsOAdAh0IX3+eNG1BvQHNMPtyyRBT+CqEGyCrccAs8yRZsHe0oklOY2mZdu3+AHLB7oEKx20tU1k18RR35Ir/WVZABBbumENxIKfaN2e5vl+PvxB0lVtXkOQdajJJrXfc9YB2un4qNNz7qjCafhtDUgXNB/cv/AIbYm5GcYG0jl+zKBo7M8g3SKQ6s8Te2w39+pRqYJ7RqA2XctEyhy9G5hmN4s34vDjX6BJRKa5whjqy+ZFaei/kRE1e0bqLO0+jReitk473SYup5uE/4SHrrnrktQGRyVyGUV8NfYFbchqg0M02TmBXDXa3a5+8zAx1//5dL9wOzDSyjYXAnjaS28jL/2kMIspd9eFrNhr/6zv66sOtzUy+F1dkxr0qrJ9Nh6YNaf9ZhyeCjdHRceKlvnexn0g/CyBtWOtImBodUwEJftgEQh1BQryQjOvYef0E8b8uGejDd8dyYJbo9pggWGM56IUcRF1NWUs/tHKNKKk5ogW4BUMIXly5+znlpFxbyVLjYqzKcdLpcKBMLWIu7qsNovKYaxIJo6SI62qZa/hLHw90q7f9yBEZECu93j7E5pBtN1txTJQ9s/WDp9kmp+L8xLjbuwc1sO/FoG2GjXOUK11Z2jfQHILC1IJyhgPIjYiasJQbOQNvLrAHyB2jhy55J6f8l4nfCOWK2kF9bkTkZYXNUxDvk3aMJ7oxKzUFcl3PrA68QL2eWM9X5PkMJMOT5hrULk/L4i9enMXWUYNSweu7no2f7ifqh22APsqjDcWx6/avIuQj8PehXZ8gPy0udGbI4POyv87Svmjyf/0R0Hu5YCnmEB6kjHpcKPqnRYaIt3Z7/F0dPnbJKTjv3LbO3FLP89EeAriIgeRWH0zcVplNnxJkBZ4JzidAvAq9TT7f1boPNBcQfmTOMI+Vinc8PmyMWyr1QMiEf2dWcMRIvkxdjk5Cm2RGi/cctbECoQmhXj08x20HrC14w1AnFwkmOE/6AhFUNh6F8cxjVJ5x1ojlVeJV5KkNGCKHefX+eajZaC6+4T9iAzuOVXWkDkaXpUlhl8gm5zRgsbNtapK4tYs2IcE20fUvkJSVopLcvsZGsa9fmD1hOHHfHQ6PfQ01MFfGzbwkgkqsUjWPdaVKYP5kzjTdQV12xTX8eUVpYRieVd1vRHdhyb0q0kby4+JoHC13/eDc6SqpPp7+5ZvoCBnH5sg/xwFZdSTEyk+P6navBtys0t9erWsuQ4Wr9teTQnhJNrGO5pQHmmVbETv06WU4oiGRwELUe0sJ0VYylURblNqu07H15uLVDEDtpUBJrJGqth3HuK8//YC35h32TT7Gn+fbV7M76/BWQCwMOSID7GuSRgHABKztkRJhOVMoZygkDr/j1QHA2WdBcDngrAdGamgiGZt77tKRtfOejM/zh0Lu6qA7O2jfwms632y9+41TV2e2d3VJqdqwZ2DGULAsnMvVE/mMiNs+pD5lcZlkjqRmsJK1m9Y0Ik3v4lsHU+akl2GcJQDNTCBVkXvKBdxhmtcpLhTwFUbH3Owj72sFgWvBkfEJG3Yg9V107gqblfel9/A6MLILlJuw0sm5GUxoWkVPnqGgEfPz5a+qvC0Oa+xhp1/shYRf0yGV/8j3xBs9+qvAWyZejIt1/r7+TRUbOAcnS6Uc0Cw3/yc7dJD0CJcghsbQCg/Th5kFnqH0rAz+vq9Y/Gap6mRdjnvGQJN2XVBOFrbhKTzIHHb6JnfdEa9KztICO21mb4/bxKWPdeab7To5MDT+lqUa6YJToM8m26j+7Av1eUMCFusey7ChEMH5B3ogbTDi4PSipqGbiCNbyd3LJnItHdCZ0fwWf6KBUxH7qrPgH4jOosCi8lt592Ko93L3pLlTQWVT72+J/ZI3rCXPnq2D09cUKhm5HrfwFu87238MkhC3Vd13ujUzRhE9+OQaqPIeY5+UGA6dBarkthLJwXWixP3cEWesVrG+7Pu03GVuD28ltv4jZsEKh5TGKw/7JG20pYpJTPgW9YgsQV4UR1AQwiKDW1phiRernCy3eC/ZUpyKx4zitTZgv6JPHYhlYIxdGWodjvlJIccEKcB4nDmkhC/gGOLvDeh5RDuzJzhKwvWEDYQ2Ik0mJKR1jFRlp8hxz410fv3Rs9xYM1ZVAwhmQRrc+n439isBhV4wPbE1Abjbi5EU3EewllZIxuOQEhmIeGwFlMQxlmiLeT1GK2sYERM01XoOpMZRcxjgpIJSrcE/TJ9TnQ8HFBmlucC/QY5F1vkP+oNeiNE/ghDUImWHlcjd/2nsMZSs3JKUtow+fbwkGt0thEBX4WkuJePZ+Cl6Ucvjs9Xy5AT17hATKv8XiX2POlh+9ujoMlsAdtsI1tfh1EyUdtAD5r0HdteyoaBooorLIGDOY6gvO2oFTFY/etnDAHzNSHYoDmiQca36q+L91dQBTwwdxnej5sprRAbJkfjzAYeQnproP11gB0oQWZc5OlXYQKfsgWQ8PQGS258PNs0eMe+7rcCv+62xhuyGv4L/wTszrJ17aokdQjv4NfZmBwek7gYZcBDrnJxGub9AUNi3/3J8cix1md84iada2f0llyENibe0HP5b3Z+BtVpnCyxrDXLGwpMSUOL9l9QMdM3cJnAQ/iAyENC9jVcv/rRsN9lUiBsY62JLvzGc4Ae+LptUNdNn+6ODBs6MEphDmDyV6Ksmg011ouv0mFjMejdOyapvvexD3cANPwhaszMNOVcIccycBAjzSpV9jfauer5SQUHwvnuFuTNZBa+PN+VhD7TEZU0KeGvscpb4BrJEyRT3epYInJbldJXGOntIzVb3ZMHFFAnLjVu1RPp4BaIBD4GnZxyHfTWmxvkEDTe5lXeli3ysZHIVSSh4nclyQDsLR9njS2zHppxob/6KoNoWppmxVTiyaTyrFvG8BcAZdPP2NDbWlr9+3GRLwizd2sAhAPeLapVGv0eweC1+FoH8ezphcY4AEo0Vrukd/vhVZ6LJtd4kv/qav49FYBSSr/ZhFIAYrghBp8PF+Zct6BoxBDYzUULj0knNclAuep3LUW+6Mb29Dc6wF9WznTj21N3nTg4CYIXomTCVvZ/1A7r9OgaZoNaFWIGmfeNkxpXFS7yLl+audbxfKnLKDPsajMBB3OuirVNetjONbLGGrYaIzp0vypScZhqLl1jyrpTVbCVO9sVh4Thgz/9vnhScWmgu4sjGmAiDw3Vy/r/kumMpd7Xs34H94PfXbbjbnzWSV5btJUFq5HYeybbbVDg9Pgg1YKZLPLzGkD1lYGcrgradcpu+Z9bGtLW/mnCSMiCC6r1v2YV4L0nWJMcB12d7e9Pp1OlB/9PmMW+M9930rnCT8VU2kMvRbAuO2tx1or7ujTs3O8efvG9OK4EkXnFipRYVw2ftkqG7/RNKbYqjJ4qyPHPlOxmcvHxaZQ+edOwXtMeQ60tXZU0rquM1kzoUkePdjCeokBbN5kZvXj7O97nUPrZJ4INbOiXGO6QOJ5ynlBsl/0pyOzTvPmKKUNjwGKxxN3xqTI5MRe1RT0hf5km08YUxJuoJJhbmUV1GB8Kv5mRWafnBH6OjY+/f9vkr+EEE+CAgbMhXXuWzI8dcoZXK5191dIPgq98b31A5ABc6oqc72nhN0cjnup/OUjvXZ/TUIv2Z0mV4EEw/Ne3QxQpHg0PkTVqV5VqHQX3jm3Wyyy7+y1b54lprzbEcXfobf9Mi2XN1p4YAIkekzeO/TBgdry+ywnU0jY6Tl9AFepD8+a35oppswRts75Xw49liybYd5joMBgPDLOwwfXZU8d9EZzt87fFA09kqRdLiO0oaWhGJbV9NapPvLo4g06Ck+Ccz66Vs1jnB8pRqOjf5o4xnU1rihBNtzMH1OOq6lfsWUbLSux6gLH3vFYYvLxu0JL1D6uAILB0OfFGQMIzLaiLvDQrHZP/0BF5DRpkfeRIqrABuYX7i1oCMQHJN3qFuHe3XNd4J6zjdFoqEgvmpyIsIifN+sldUnveOLdU2VHszccrc9bvKSiVEjfaPJnGGOSfViuswFA8jU3r4Ol6lMioWEWIsynfK/UHQFk1kiHH4UrGADJquMp0iooPzxoLM3f1BrVcMflxnKBfcy72p6gLfZw63bGSlSUoo/irFiGaMpqcyq4AzbNuIHAgPJuhx6x3oVsQYs6Y4jeLpdJZOtofQacBsdr1ez8A1KGxTOOPCOru2Z8uTnRoW5l3QpuB+Iv1YQJ0yfnvSXKVX7bpuo/oQ+fHjSYYRHHDsbfxqTY4zJOu0O5iOxK6ERDoMAWw3sI5tTAR0Qm52BIsQ9MT8oQDj0O3P+IScGdh32NKeqqweCXDQG+k7i/Z5xQylM0MS9pdRO2wCtjJYmctg06kpMdV3Fmv47kHXo0gGMJp6xodW6nvggDNQDTtkDrJpRVgRT4SgScSOS0IO/KO8y8zIJtvFz9ycbGT40ccEuBMeFkVtqoFEn3AZvD41RERxIQQKMPNuNJOoDzWpQ4sNe6k5WgHqQ47MezuYP+F7jNbM69Hmp7lr5riAhlavkJnWrSU0EA4PYW65wI538I8/DRN8fgGDJ7cbAmJpNqh+SCv7CvMTl4QGiZswEEIAzTf8ilbOCiyNmRabOkX0jo1Ho6XxssODdeK6c/cJEqOBiAJA6rBHvEX4SNj3p1YFHCSqax70p9HhLvCQgR35Of4r00ZWQGV+qB37IWLOLWrBKI3nkmEpsYcsaTSqkLRys+h1lK+5IM+Ur3cU+uMYe0NGmKgkE6gLE+KVk0cNHgxb0TgEj9xDliF24Ynnd5ZLGCYFo8f99deSQovlRUid7IyR256bYoq4rNvfWe8pTalSzPIgUaFL9pENxcMupVuLnBxgQMdCq1pvZYhgXlFcoxDIdiJoGGpHX+qY8x7Tf42+YShxmee+EK4t/6ssAqIGzid0BJ1A7P2IoGf/jmMcERgMA7dqLQ8x3lK0q2vE53H7n8xC082C/8mZ11YuX6ztBYypPVGH0b0eY6ksFE+PsaV76zXKUK8HVI6BCBfTOS3npL5F3qF6nx0YBCuB8+474AG2iNr7+KSfvfrs1RNBclOvYelRcu5woIuKZNn6DpnbkG0LsUuyVqV/79ss2F5S5qEA0ewjImo8frU8nlqgRSeZPMfQ1IFJNu5teS8Ro/7kIBmzh45oHSqPI70x+FXAURn+Y00hlO0uGFfejduBgnmJnh9yBjGfwixoV2M0kCg7dDkRzMXAwlulkidqWR5wsto1l0Ew8BgFjie2d7mx5mmb3Du0Z62qLMu4phai+juUVAqqL3fc3OGXVvS2kCrQ8Uu3Ih7+EzbSoH+ec/yslbZmlxRIxtnUVcNjD88eaPbuliCuERdIQsghbP9afjgji4gCUXcBVXUEvOAHOAh6vTIY3rZXtPcfPUWu0Yf9yf2c/25QCTJi9xLgyt/HgMM92V5Jpz5/V90usP2EuDxXwumynG6zMztXEOeS1/dADk4DkGRrn9UzxvcsfxmK4nqWFNoEcai2S5aQXvq4iXhbJaHcMz0duX3FaQGjuTNhYDJWsip1LmfTN0+VTuDVQxeACR9f6FHhETvNQyvkBVODBVruYMqKMkzJ5cTQ8NgR3+KcpokZvkEICsgGqksPS0IZ8iAGjBvuYOcHUW8BxJuBwv3NQf1BTtWPidJ4bMASDEyvvP+IE3s1r5MXPhFPBGLtCxdRvfRwhBTYxdfjp6kUR+fWPRxfsfD33ybfivHRPANo/Hnj03W2XV1EK/JD/y90Ircns2+QanpIR4lgVfCbMyW+aaVspNfgGd8IImP2ySXecVXGlSveK+AwUGD0lKSPhB67u4Ixfa4RmtUceqlzbKy5KVCvYcpc9kwNV48whKrXdgtHUDMbG9P6TOiEUfm+Uh2gxdcnJ1AqUiAxYOh1yz6PJGuUn7SD2myVXKBZDq0yVVyvaoQk+PFfcmLLE8NjOwJj7iuzfmwflsMdESPjYx9ekWce5xk7JwMtDwmJvrZaRfslld/pUftMgb1F+CUcrK8FDrhOoUBFi8LZUykpWOW36C40nttoyyEFcwFuzj1gDgRJLQbWZlj8aavEmmPPFsSil0KaxTYLAtSNsmK9bD/8OwvmakZH0JcRFVbvUshiabPRgYPi3h+3eDeNe6RFglxW1yoNRxH01sFixjtV8b56uPmN3avIs6UmCXgRpZPUWGdyDpnHWST0JjcnDowMmwqzONX0Fdl6DlJ4IsC+QZ1x06iGNbZ+0R2FPs2E/SjNDBrn3DrislOKCVUJxGKHLRA9m8AKaFp/WnneSNzizMscEgHX4NqrNJn7XCFXyW9CP0fNm1zUk60of9DLObEBr5BwehruUnuB30jTcs184N0Ejcg4QEVL+gKtOEhY+nML6KdUhI9oFNp/8JgzD9leowjblPveMxzqrw8e1k9CkZbrxfL3v6ux5TFaI+6oYeiSV4jC7KpqSIoP0qFsYn6SXUhPHqkqEKF1LxrhTUVjrOS6uIBbShljvRi2Cq9cD59wAFVWGAPTa6EjSQBaeDORc6uR0sNE9PWMg7TSd0D+upRJCTEUYhGdvYmx49+1vUTVZ2QMUxqJwhEi5nhQxZpxw8Byh4TvBoOk7lUqR6vN1ElFIA/KXHJepo2Lr14N9sXGeHVySLMCWBXKKnqCVhA4YrLt3A6J3pzvf6xRG483o2IwL6pPVDSUESObAGNuutSbSGU0k1cPtL8yPvUm1qDsb4KtTquCuRbpVmEdKRbvx3GW83b1drXpbUQugvgJdfnnecPNodFbg65xrJaW3IXvGcmsZ67QED3YMkWjCogiN7K4XPXmT6aCNz5wPjGBDUu3XJo8uykPL/ymOJBn4aAh7MLHaRBpvWu+vFpBCIAb8YDGOAQio4Bc2zzqYCbMbC4rck5cq6xD0vv3Mk2DSv8qvKzEuSt382VTqARb3NYqX1AtTauBB1/S5S904v5UOqWPhOy1VdvYlNoRUslzWbF9f2gIBe3iWj70ANB5uEorN+0zbXYPf2YTK3+XryslhybTxQd88gk+U6dPzbNW2c5Eul2pTQwusJXHTwnEX7GWRleywDRa/541fO1Iot4cGjDa4aL5LrXjRNCbeNqDzeFNFKCrRwyp1IGfjuS5p30S9/7vOvHHWAfAQlnACdJYUJbW8hgTVdTQAj7yQDc1jAGWFYxxSOC02pFhfkezjKrIQez/u2zmq7W+Vo56NikqIN2yLB1yMOPsbP/CxywtRfzEYdu6NjQGNcxrIi5oDd2X4FafoTBIRoPyK0Ns2G7WNatOHHQvpcsURzK8Nrv+EiJW9PLznPzxVICN4r7qT8ekncy+9BVaVAzV/hzWcTmTnOQyf8mRPMkM+14pff3fHtM/NrTyNmx+m8d2w4MNv/G52h8S6frzGJQ41KHElfCsOn5mpLOgIt+h8lxncHfyL4R2GEEvCt2IQwFmFOWExucWpPcZNQ89Ha2vR8k+IOQvqDR+Z9scxrnvdoB2kwSzdi5xeORWHaPFKd+ERhyPdc3weAaP9ngeNb10p4Qu9Fmuy+7/V7oOQo3PlpYHlEhRW/OvZCtohsJPs3UWBRXy4ku3m1XAPric62V5ELV4fO8Gid4V+CRN9RzQDehNseR9mTPVWw1iErgk2F2cH9hmX6EX2J1rWM0rFdl7BnfS8NL5KrSl1+lavC59e8Nd49rdHXVJFyVOrYzMkIslV45hoFk2Y9OL2GqP99CKxZcVZG5dBHq6xLhQ+4U9R2JOTF67W4J010z2E5TJofjw9DsUrAj68O5wpYrtXMfUPbKzP2HE2dgblP4FfYL8xeOnFj1wnYkXWJC9tcF9dtxWFlVD2f36ZfOQu5MB0egN3Nh4rA/YehR6ZmVWe3zeAzJunHrJE0RcDB8vWGjB8PsJbzqPe8DkD2V/XjrPZNyHghkVbd+3YVc242qYyDn6nJGqmRRqjCOIvKJxbbTvM7yR0QEf9l2hY7vCRYazLjnJyGbQGahT21GP2bMoSbVFpAEtydrYoRCR4mnmOfJDuslxqu0WFSp/TjtF83P32h/PK4ycaIJp3Tegsqm9i6ms6hT+kSOK/XVChf5RFYJR0PPqxHEr9N6lBX6EPghH84nhV7pDgQB1efZrIhOCqyndLkbnUJ+l8F4q4VumNRsZrIMhV1rg6VzrkXAw1H0Gp5CDgCG/F8FJ9Oc0sNkeNxcmOAomfMtS2QZ7QUbLgf6Gc8qkdoLYCtzSCtkssh2gpiQ5eYv+iaHwvrDGbm92uwq/0MlnTHWmfaYNhULs51Vl95oxZ6TxLGffeQiu7Nl3yDXKadFqSnhS3oxfdH6ZjY1OLwmiT8ekOwEYSh/FGbgAuB2dv7IYSzyT8T0yZIG17f+owuMqloWIPDjsrunGg8pqUqp6F3c7h1bxQOFpnl+BGVVAd3WmUemYCdw9hKMGXs/wF8RUTVco+OFgl3rtJKbgtOPAo9gVwRv67+qjheYpBD5J/Dbi3qRJRTbunkPOLjEVuB3I9GC2k1OirzprXWWFvRvaaju0OGnDe/WiECHMohgrCEj9pFxSBdSa0gY8V0VRA84u+sP9qRx3xJem87q4i0BUSJLtVdv4rOZcakE+k9Dh3zx+B4wMXEjZall+lB3ki5m/puay2vmlyw+LHhplc7msLCV/7MJf/UopW365IOzNRCX8S514pFbJuYgUP/YVbkrHGA2ISkmumgqW0u7Ev/U6jF23NUTwGVEsuX7GQPxERV5m+3lny9N2g8qjLfcKeUuv85cKaHstkZn/zvzRxYHtg7iqo6Em7E39t+9OTcduNuOjIT9X9Wudz9IMLi48TwCI20wt7y3C4I6dXd1fwQUU0zQBYFc6hOpkJL2bOcemSohI6fI/Kjth7EY6xV1AEr+8OEvHDBjeqH4GwQ1yccR9KfZ+pW6oIZG7pIk1UD5k+cxavKVtCHQOCYBsA/xxLrGeifeOFgMmHP+Awnu5xzU//YVTbxwWsnu3kJ72RBlNp0hhcPTTCZUF4OVelzz3ptAguCJTvP5l7/gRKGI7fnvSIP579eYY+5F928ilbArpKGXVEGYzFaSEZPLIA3JxHk1HKEKY5M3Nwy++lJKoPBF8UCrCeTiUmPquFtw0taYAHW4J5vUBms47zytICIjVylb0yTCdjzgiKt3L8QIAZSYn4tmT2kidlhQektkBqOxO7+ugyzMuU2tuo5Fhv8l4wcsDZmS77DV1tCs/0IJ96YSTXW9KWF7H5gSs3snKmD6oHFgdK9F8Xa4TGhvHDmN/nGoOcRc1yPqw7zifEziqzoKZbNoTRyYWwaj8a5bfTj5KJzhBsSw8MfyrrXWc2cmqzM6SIF7JNQoO5TNLfBlrW5HwusR4hZ/Fw9ywkFNtHnBpCTALD+UJyzbOey8sW7mO1A8p/MTBG8gzLfIq/lSmwBL+i2v234ezzeoHkdn3Iqb4L+ergMdrbGIhLbCZuvodlVzT2CxXE3bU8iX0qw2HsCsEUIPk/ifTgexVXtVXddkuoScrrLRhsnOV6SoYCVldi2LMGmXxxLCIzhfbVE+7eEKcnMIrFUU8Qf8/iw0UfClOjBxROG34QQ++XTyN2Rikc//2q9DbfN2HhqxYdBD4BNhgSDN7mDIv1kuvzb9rRGVV6fAVHDBtbRBkBAyA6x4mXR+2a6r8TmvZOVuJDgTXUXCuS3pxl2Tw+mXSCT/F8qbpRC+meMlCXW/TghpyAYXbBxfgzNObZxP+jKGJRatNKlnp9E1AaMLe03Mu7q7drXkjmJLVE3UkUsu8iUAqGzREybtXdSBFGQ7lDTBec7L4UojOAmzcr48fOZgaxpBO8L+SWqJk3X9d3YWABlfEmxSM/S0aNkL854UAp9a6QRRGVrCkRe3PVIdm5FPhH3+bVechs3ent2P41TvHQEtANPDHLpNe9W0Ca3+ukK+sKj3sc9MEYWocAgR5hbjbyp64W65m6yExijTPowByOD88gbuOIXjDLflSAEM/FvTsn14RNaPVuEiDgjm0Tiwkr1JR8Jr8wH6uTEMnX2ktxJiZKXpWg8nX6kultJs7oSyv0n52VQCbqDdhojKHezgphn1tSIhNgRatdotz1siKDv2vXcCqSyCWS6HM+NLLE+uz5dhWj2b0okhhpJZ+/B86n6B5Hx6V6N1b1uKGHjkJrYZL125gVtrJS4cBxF3ayaHMc2CnPGI7m62WSIzQyRMkEB3D4g4vjn8rW3/4OPdCb8w1t6AwWXPomt8tM5ERHW5Dl49AYIqDBSjDDLw7pzx3OQxuXhPZzDO3pGnxsEYD5QX1YUWlyML+iV6eqQV0xPUAIZM++/nwNedIsOW7Hy7wX8i/AXlrlXxLf21o6VOEWN8TpGqBTl0hJRQVnCOL3Gyjt2y3uvhncovQhpVCgqTrkdhdzaN76gKxJdX6X/3MwQCmAJ/rSlLHbVZNHcAqv18gJaDoGFQnlsb5BjrYPwK9wrYPdXmg3gUcvUve56fsKR9DwlQLQighmE23qTlI0KZt7d44ixJLpgHGM1rT0aazMW1kuJxDKzw7rjqmKgiI9yb9UKY+uQQ1HbGIEa/McbYGE7Zlehkewf+Hyv3sCTMoxZlpLvAjZuk+5tRLQ1s/7zQaw08zu41cVAwIlCt3GpAgtCm+oQJYVi5IWsixjIMVGVc0L/oWWil5ub8XQMgmKSspcudAcBO68iErI+eOsC7UxxVzf9MCMTJBAMxgbcQ2ovFknWUeY6sCbt7ueCU/tKUIjdCZjkpR/xjzJUM9OyxrLf8+lTlIexRrmB9dh+/xurA25gpUNJQLsBH9ZwY9lTkbmWcTmwO6+g1XQZzDQzJ+SMYER6pT2ZyLg0migL1qirPR+EmydTaBiMii5xoJowkpoB+EglptB42A4QNwWafNEqSyJ7mQ7AuEaqCF8ekOGYIGqTz49BGJ3P6194aVhr9SFDOYkosHq2+LxLl3GgFO0nLPHM/UYRmVJL41Fyl0/PrAMN/xCdoba2elC5+EBjAz1e91je3isC/QTKF+AOawUHQIjBft7JvU8b2k2E1aNxYm1fi3wqcUtRhVVD2gbFNYyhueANtsX6n+kJUItp0rruDlcuwyLbCpQC9oXtp48yZpJ0DkTbJK0hVnvpqwxw/pYWkx59gay+ygjLKvxIWFCvo7591LgBhBMpBjHWbCjRo53ArKBWFTTCqDuYsP4MKsXetJV++lA==" title="Mekko Graphics Chart">
            <a:extLst>
              <a:ext uri="{FF2B5EF4-FFF2-40B4-BE49-F238E27FC236}">
                <a16:creationId xmlns:a16="http://schemas.microsoft.com/office/drawing/2014/main" id="{E33D4DEB-DFA1-E40F-92DE-11CC09B8C573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 bwMode="gray">
          <a:xfrm>
            <a:off x="330200" y="1736399"/>
            <a:ext cx="2477490" cy="4301795"/>
          </a:xfrm>
          <a:prstGeom prst="rect">
            <a:avLst/>
          </a:prstGeom>
          <a:blipFill>
            <a:blip r:embed="rId19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30" name="Rectangle 29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z2dD7pS103gZfJ6l4USC3jqtWOPR/ue0umjYEY9KlLthURXCUyUuZbmGDPUXB2idlVQc+R1c0j6vNnMaKvr/AghcgjyTjoGcS2U6lyGcWZbvoYqQsrFJ5DN1RdHsB5gZU4BjQJ6xKwDUEsW8X/QQ4uIPkrhyjIfLLN7ZR3puqzBiN1rMnctBA0J594at1EN5QJYMsPufr2eabAYzIDriNpy1GurybA3KWqcTPRKYh436jQqOHiPaCJtAtzpRgB7Igk7tw7BcBhai66Lc0jpyzFEK/4NRoFF+cso+ThI1HNgDMZbpFoCsJQtilLqk9nQPGX6RXGboCTf8hOOcHaKoTUKF81dro10jOa8Xb8mBGZAZ+Iyl7KGHMy03+9hVypQ0KCMarzpIH1KGddaJQzrOxARl3gDpsMxJ/TgzoJ6WkNOo5RZlV2NtgvQmARQPc9FETEaDbJ3D6VE3B1i9qAP4Lnyf4TucsoHYH9AyhFna2UpG5xY2PBgCEZBjejxeNRItBws/VQIMGSREEvruaqrKup1z9TYtEJVFnUgBO7+EXnvNMIbROWtHBoz3SGtf+jmxfyCEOuTY6+uFdD5xpaGrhWaINmeffZZNH79IZF9i9AlwYKXYgsTgnmIAX2OPV5kZeDygHlF4KMonGI+eR0Xg3iLDfzNM5athyGpZ+P3CiMNNOaPwEUJqArc7D5TFHbUrTzO3KTPIOYn5P4+C14vfx6KATp036Y6dgLHulGZxwi+0ZUWJwt8jMBIKH5/KpMJDNHlIMvC1lVwJmefbReV6k+UpGmY1AFzePNC9tK/aHGVdVKFEWSopwaO235pVK+wCSADE9dXzWOv9daDdv3A2YYOPJqRxzbAGQ4F1mOMhTbAvioACAJSw19akvg501KdBht+hW2kh0MQiqPT9yvh/fhiaA58DNDaNHaojYudd5qkUywg+f+devoGmS4U6zxc9z4/zy/euY0Pzz/Lmx290+q5jOfWjWB3/azrXLeCiKYkJz1ttXgzDvIjRva7bMd4wCauW9SDFbPby+xAXJtj/QRuXMOxzLklEDUdcNwLcO/1h4ZIBFnPhuR+nUeytTTnIPbbUjS9sh02DGsrkrHfiLhpZeY7t2x2byjU1OSCLBnqkqzlOKJAnPO+t6j3rfSZRSKuJ81W5zuOLz3VZ9AxRJh6FuZjKTuTxHq1S/Hj9AjLyqWPDmHuyuQIyvrTQfCs+H/5jIweNtScB37L33hwLvl4gz/lultP1m7iJzyzm9sqNY/SVcuplHAf+UC01y+3VQU0l8vjjU1K5IVyE+Q4TTQr+qqHUijiveT3S7HzPFznOQRC78yvVI/ikwB6doA1H3Bb7K6QptcNmzX55X11gkR8YJUPJnIkYgpKE30EcFc2hFZHVf5PWDXqGEu+SuVEhGbgYRA2i5Kzf9pvzKCBK3FtA6kH07hom9KCY9032vyhaiRAHpeXMiQxqeMqRzm9urRY0Id+GgDHoL8vDwwupcVcCEGfUTo//0g/P0gtwwRk8rZ04HbQAxwxTLpW9IAAEzxZAv+vMxuN/tO1tXj8ckssoSo+uqsnrgfzPnQKJrPgL4uFca+blNT+BBQCJKTdlnrPqQdzTMtQ4Bgn9kDw23xNYwuj+KlEMdG0gocgS42cJkW+35HaK+p6VlkIOmwBlfiYOa44e0gFh15Wkw+0K3uwKGB2AZzUYe4+trNX1TskVi9lNBloG/5KwGiatra80bGN4nyEDKBo1/+YQeeF6ir0gJOGUoMEBP+pp5rWJkwdFk+rgcQ7AQf8UOo2lnMCUP2Gpn5XIAnjA9Uwc/3b4Qd7otAIbKveViCbOlgr4qEA1IKnAk+6xsRW8SuPiZeC8U9cUDnImKMA0L3nKzELqEmuwvMWeZjGzdR0Ns6oSUPBDcG1iuIzzFOfCZomjAsf6TDxoT/Q6V9G/SBgW1ySXbCTTi1f1creX4HrIEzsnn34BjRMFrC04Iiu0Yarc6Hvkm/LStU23G6IZbTJQSJqBOBAmWmMsPLwIxUel9qSphHbao+jIDfImF9D8lOKaU3TPydvkx49zaMVE81wS05DyQWDZxe0+B1YQ/xYJBzj99tSbULO8qAnxdVSly8girkg5MlbDsQRGixXSMy5RtqNryqg2Jfcgo2D2RW/jJBRJhPOfNNoPl5whAl48BZCQONDA5ElUFIB8qYP19ZJcwuQ2hJhNDhkKlxPe7bREtopmYJae69QGsCleLLqjeXR7cqefdX8eNGGDyPTlw60AQn2ZaPiyORO6rla9IF1qFjWQF/XdaOwC2GGT695xUMXtW+TyTFxtuhYl6nNsTSaxftk+m2kEGIFhf5uVxADl/4n038LaUiQIt8c1wKyAGQwFIT2NkRzFDWyc2m+Fig6y/YIncJjNGxG5+Cqb7I77yJRf4xVs7kHLaSR38O0p2cHvn8E+KtnFMOZvya3aqUqSJdHvYsBcU7tomXdClGd9njw4HgxcRX9MtxeIQPWL3kV7zM5mfUFYj+tIF5TRoQLAk0RhMJOCN/nDLCgVlDo0bL8CCc2vMMCDaVbU7m+rRdtFVZOT34bnLr0uRZjUFTS93DYarZCVRqXZ7IcwLja5aQ02Lomu9gzKlTZvdvHA4ZEe3n4oKAa+CM0xTpa/71t4Fyeqevy/cMwuMt1d/ausfQa/pnB4ac/6nP5cWryL2/7XBq0JOt/xDfoHvwBDpXFUJhhHjqFgn5lLRJcFygu3MLv4JN8N92wxTGoG7moBKPvfAP0fR9zpUvhZIY/MBjfs8YQgjViB8G4Dy2OWHAEvRbf8L4eJmsYIG3JyujZC8mNiOBM7DPw101Dk79vQafJQu+HPU+HO6kTSHThpvXR92jQ5ISqnaxOvYC/x37W7LNQ7Ak/82B4bM3Lv0DN7f7z8Yxd9aEypXqo+VmDS5I9X3in3Nbnpigay245RrEp+CJNbTYzWmnBg68Q3/c2mTJGAOooVTlaSzJGxGPUPu6XK5Krv3CNK0cP5Myq7jTOyoqqlVmp7DaL7iuifBRj2s1N9vzojTBNzvEoEPlArMIYDM3FgFTkjieRE4az+7MoBNgrhu15Rls9//7Tcm42mOPiXpSRZvynyqZ352s63hI79m7aPV0mMd9SQ/UyXHiWkuUCKbZ3/04eqng7tgXteR0Gz75AGS5qDc5JTxMKpq48A7fl0HTsRGx2PTGe0wZgYM4aM/BcgrkKjwDNU+riIDEKzdX8o/aRYWumgzpsbRlvccbbLwpMdu9h/0d+F6J14o3iJt7etbaWOpN3XN9e0GypMjfuyAIEDXuICS1WJOCjDvyyhzExF2/NenA8SWTerL640GlXeGLJLge2EKyOXFC7vwvy61UNMyKSscJGuTFETI4VGkMwr6hA6JhoA51IGlmeGW/mQn3HgiSySyMiB5SAf14cN9XemOXPsN64ubyvqd8FzWCqw8suWcd58VefgXhpkTy7W4nsEfWCbiro7i07fIz7OAomOoT0wUc0sEchkjk93k3jCmo/TtP9I44zO+l06iCunZWsCD5pUL9FjsrFiKSx+8qnm+LYCD47pcB/MpeBE4eUHkk/pfAMp2E5ora5FXF0Zs6vVkgWnpAyGhlxO+Gyni2D7uFxDIbYRxH9VefH7Zx5VGqJhQgMjd+I9+tiDH/nOn0wlE0449WV3Bm8ga2yug8DnsrrObOuoPZru2D7zFWmX9iYze4whWV0VXNMtE14KZsV7pmkVdZhRO8mznj68KHu0pawSJ6m5PPksBdE5pW16L44HTov+0bx/T0AmZgBrnMs4+6ju/8zZGCpAPtdxdK7vP87xNVbY9evpSeOJFXtolp6g6uYqNwW1DPdsuJH6N4SJSyfivG3a5q9E3boWvYi88/EPdztTjphhQ6kmSeHPoSEyOFfhshaj31r0xwg47f4xTvfLWGFdZdb3VmX2NoEeZOpWWtj9euJ1YAhyG+3i3finCZZcY1FCQf4pvvrttTPspUTsGIhNCc7xPZFzXvC5xfjEMIMTuRkKaoCW/SwRlbdtQxf6iiwuaeRI6JEATIMfluDyY2tREWn4WnArya69us+6puM71L4gyv3i2LhNKAnAK6U655aumNaCwHiEXkTvss8cIT+Ubo1h7ut1rvpcM9e/hBNToJZCy7mp+8Be1jihRAOuJs5ojpqC1BhxMzVGHKKNSxmFY/alfjyJUL7F/WD/zenIEr35kfHgnFl9P5ATBfCBDV0k/rh5cBREZOmPVviqqf0oXdtGNxaNTfqNnnWquxO4X3NhVKU5t/Wrjxcrvj1arlcpjurv7eK3PJtJCUmDRM1Ha8xLdbwbGVqznxLPP50AUNzWh9d9oAnN747jMmsr/7d0vkbA9MmB+Pt+YDyHgdqbGtZIPH3R2PDCytL9NRN540Rl6f6T5jj1lXr4tx7waC6Q78X4W7Nw8ewPxdZ2WE+bCcbhhzstL9wjtz7V7jw8Ngy1/UwDncDrktiUvYQd3ZcH/DW+sjIKOSV30O1BRUaAYIBSNltUDPubZi360wndF8LxztD060Z4aQPvtH5vD+st/Bw7QmTJNsZ9677wY0n3d8qot2hE9oBL8o4kOyobrQ844G+F97yNENVXWD0tMuOFvwrUEvd3dNLdhxAsk7Ux/Y6/9jn6XnjR5UWi9CWAGjD+aA+P4PVNm8rufgXJqwQE5SuW35W2FO1HPY4sLKOzZpQNvXia4lXZa8g6HdFTOczb9ykOZI+doIccUWIt1d/q0Q7C4KDK7YI+YwJZiBk1JWrGnssJvrlcwbUrySOg3DYDv/5X0rQix+Kwng4HkpMcnRK2l2zrrbjCpovFJ/ZW2I8oZYxEz2V37fd4ROkMEPgUA6GzTuyWdagoAI2WLnDBP7PdD+7uPExOWMWEYnA/mjerh9uxApB4Rs8POutB+t15AT7jDC2r5kQccRI6rEyAjcGngM55xWaQWJB4TFpqJWqxKr9JMvY9zIjhFCpLCMFycOrMV/+7FunZb9hopQtwDu+QkZAZLTE2t90AzHCe1gHjiLjrxmpfluQtq3wPc7UcrKPAQZ8cszH6aKt5wgwtQ/+HxYPN2EYGyc8/xjay6o5x8ernre5CzodE5+sqtQp2Bb0rrW4JzcQw/NpDLqEI7tfY/WTgOuRnA4zS1Xvk73yAkWKSB0S+QnJPMG9RXNOrvICGtSGoDmUoh8sKCP+QCsFX2mgoD/1KyxbejMR1WcTp68JRvSvInTAXMQ+G7vKkU3BdzkdI0+z+ExGncSG5pYSoISqvfQR7NgVLw/GAIJfSwWAwHXEGfgj10pbw/RWp6eWXeb//inLSJs135F6hO7Xo294/d7SM/kMn98KregFpsnRcEAcBh2BRgdYe+LZi9CZ4cDeV8QvjSYUqj2RqHKupMPB9jWRjE5zdrl3xe+iz5kTIWkgtrDGs6yzXgc7RLAqGyizxc5BJIOubtVsnQpiwwUPQHQaA15ODaYa2/52LcmaBAz8rhEuQ71VqEKjDNdAiKYId3NJ9Wwj/sFzj7aSlIj0OrgB6z9MWlf/gXJwONHQq6tEk+hx/A1oqH0VvuITbRrqUU4fB1jMUHcI41iVuANOONZFlZqgi6H4LiXjvrJajyFRFXeGv1xdcwdDZlt/wVUFXyB1HoUQ40gKBS02bdxXBor/HngUmKbJp8xA+AmqjJlnPXE8I8JkuSQv/b9hPFpLhJ9S2b8SiL4Upl7jfJ9J28+XXj19JgU8B90Ei56kVAYXS023toBRG+byd2pEDqSPwd8DeBkPuwCf6WWIVvchvCdMplvR/ko4OHJM2ex0yHHzJ7iSN7hJdryexM8TJelYBU8m7jkXRwNgXT52iuLdm5ydF4Q2bCr1hW4gT0cexh3kYpVTnqLlCYvD5OzDQhQ1S9nhbXWnCpZpdDWWYISTdMJu+pk4xoSdN7vhd3AeDc3ukp4kQrdhXgUPQqZ8OKDRzp796TWJStkNdAQVYMgh5hZbZpMTs114+Qz5NDEWvnJzp1obAm2Wir0uBjJXosLYjXJWLAOzs1dQOczTEM6c/IQRgjVm+TPhAht5b9f3BOH/XFnFlVGFWYx0XHDRn6Nyf0y1N4o/WgnLc2ydKkSGzkR1gkp8rc8NderqO46KRfGq6DVQ2LJ/oNtv8Ergws6mVSmgJiljzAnyezbRkY5Qrfig4GR80Ii1Jrl4MsuSjfQXzC35g8mWkuMuQM6KLgRTRNl86hasXiJmyWpMdUKnLhsRI1u+IEsK8qtiEfnnX4GkZTnKPEDhXxotCYTP3/SbJwcI7L1Lfq49LfeW4YnHXbQzciq1f+1YsxBpN14wFqyEOUc85pBDiaukhcC78y2HjNcbMiCXs6u1qmyC/JgMr6hyvnMdKi2U4R0W9xdcpnECE/rg6cbS1OzHC7we/2ksEZVyVYjEHDIE5vBOI9c1sZyZoeWhpBM17wEqcu8hZLghGOP44hr37M6FhjltmoR2VLMkOmtDJoDfer2KE4gmURiPkU6rgys6PMtKpIzw/dp6sSLmt8ouudDqmyLrJk6GGkl72/QitdPOiwRnC4cvv/EHp1ebrrG0QcUGTNF99lernF/JET0rsw97MY1J+tafNSVcHyQ5b0EW0X1gB5Jqci+EoDfbqX66LiiPK3hOJTed9ZoJnjB2s2aOvsB8nTVPo9GiKM4SRPdnwAdCKHQ6gCXA+V82yIlZnOjyUm5oi7Ok07jnL8awfcoswQJHKZrhUdrcsHRzGAgSp3fXfU0fTEkzJqDKeD+YYuKd1oqF4Um++GZZy8xtLkDgnrRrwGtxvg4EvU0natguffDLCfDHIqRiqS8vZm/E9lgQv8uPHT4WW2bCV/a3RtSNlCAtu4OZG3IhKiOrNG6qiIIZoBKeZhUNqm/m9WXB05fk/vMqPUXzPR/TiqB1zfBW/gcgBykI3ZJ/ftWM/F9PiFjImMAgfWQ3TWpjENNx9V0IXaxAhZeKdiWHVqrMqQbBaUQnHQn+FyX3eIE+EiaV6nWflgQrH16Bm+NGYj7v9QJ0ACjFLtwB7MgusUVzBQYLK0tfdG2HCFoQlqvxEoG4r4TfSvf01NtgAngAfVKWTDSqlyg1vARaS9CcU5LwxT4mcP6qUxhBSCaRbDHmNztRizx2QW863i7iYPfaqPciJHej9nrhKH/NGdAJqLf+ouxy/rbnjwYTG1yInZOYhBsy7y79szBQS52jRiDDmbP0u3FiOdw0tXvPQS61yABQKKVnXfbYCeiUjIXcwdaRRkrjzj6Np6ylMVbFdmfn0gYD2ZjHA35i9MGgbsTKFr5iN61IugaPA8/O1QQw6AYZsnnsKfSghOzAJjUcPIgVP04mLYJWUvLUFtDsYyhy8e7IrOukV7QuF7nmJnIw7DSOl+CCSiJiBB8GP0t+9UoPolH0BIClzPJIlvUH7XC+GYtbSlv5vCXQGiO0k8rqlr2mXUt0kYBUF+7v4f9qDtStLoq//MYI2isIv+7EdvO7ujZtQ7rXQXvz4q31VYteqvgCeiQzUm2rjxfTrPwjBAxvUpViPm2RsuNBdBAmKPnnNaXdVkF39Qak6+x8fHVWrbmec4nwRcmyRnOl4fVaoHTPXNLNVTWCjQaJezoJT+IpVwhsMOOYFHxDcpokQGSV2IwzgpdOENZlc+zY+Duaul+/b7Quk899W1F67eiyZ+BS4nm9oJuq6JONhJjGPayLE/Q8wigz0u7s57HYmfLDN52gPFOCDuNDdLAFAcA2PzCqE6E3Gw9PqFctdK81k1B65ULcmi4Rr3u2DGUrRMWlZTCPM0wJghE+vId3KBoobtFHLG+uvD3cnRpnI4vMEmm2JXs5ZPkQ05TjJ19DpavQEVONFPHmLJEnTGeb5Sh1d2+K71DXx8VKHNhaM9BdXeGfzN5fFcbGZ8EFN9HE+Qio3jkOG+81hp5fIzukaU5/H3bLnMlywbbwI1FCzJTT+PUJMACkkE2paS+xoBHzi3yB3ZXeqBbaO1iPMeOeJv0P2E9oAKfDs/oaPpNpWVXTMyACeP7qoFBaoj/+nYfQ5KbeVgAyBueCssoaWEUHT+dQprxcd0vi715dHy66I/VOGbO9ycpXJXTGA7oxZXPlUAYZLRFQpIMcdocrEvgsPE/8o/IRFFL83/Rhtuouax+jqO/5ZE00OeK16Ta5y57hpfLEeaRAMKAuyNAxBKQFSWuK+OBF4kyAmSC9ot+YgmXvGcqNCnPrtGSTjAycseIH7K7pk+EzPjzNt5sv/5p5KrtgPUrbnGr4dm0R4lF3LS5jHQmzyT9CUZUnmIjGFN8vhN5hbE5R5/tIeb3djE0NJ0KwYhxVwZJ0gjzBnf80ZNb4/MEufZvouD/+UM06RhiACC5GNpUJaBxiw/YEtcY8rI7u8Yg6uAQ9YQ+FgrGy1w3iNh/SDyqVVdBWkU/73N+ZcIQcHmpljgNJNeqHpsJrBmmdaOVMQGq4EgS8UjdkmTERDTw0Sut0uukmZqA4s8EtnrKxGxcXNYQlQlz2adGUflI3CnowkDCKQ6OMcX50VQtnaSrlG0/2wJU4O2lcs/vFBMVJxheAF3mFKXpRUMy2+H4E63KLRto3qa2fUFa98VeegJ0RHIWChzq/26l9OL/s7HzI/N/B+RxzrobeQJzCT6pNbSslRta65QCi5gPykEnRvMj5K+vbd6Lys2m9Gd7eOPCRu2e05l3jFyd30PGOHono9Ruhcn+xskGfQh/nKW6Nn66Ug4eRw/HlgbXatR/zXNreAHE61nZlWfTLsb6Fdhcu70PbJQ9FQHPW2TgbCDqMnk6yoyLPrrd+HhfaoISJQQyuCgbBjZ5X8DTdAg1i8qMXgj3a4qK5v2Bi6ymSn3pFoDHrKPnCTkHyPYhcStdD5jv+WjJxJvOkzjqI25aOBwJDeSC6qSMfLWw7+MIhGqbzq5foqFDQAXPsjzZVGZUxHwAIVkFcIm78SoHt2bpzi7TpNgQrdv7F1qtQJcaR3plNTB93AQCgp2tOmjA/RQ2cBmrJHvGEN0HxIpHGbJ8rI4sQzXQEC96glVqRqSKsbidKHyVq3tpZCr2ywBdUaC01yD8m+9fqZ08G2DihjRrxEWWkF/JVbNBEpDj4QmNQX69JKDgylcbwao0a0PPMBZA1ybbAlSKh6GvsW1BfH62tRlehZY6k6KZDCGwpE/6MrJZr6cqR+5659CHUHbdWVIPdjPuYtcpxdNFkxJ47OyLtzn7tZ/N7SrlyrdS+attwqoMU/CFXOAUikMwhQ3yO5WmSGXiXle6evSzDX6xE9LBGTLHPBzLcMWVycFtuuJuvj4jr0UrzH21vv6qykqCh+gidDrJSdKaW4d8qBbyXtk15NFan/aUNTnvGVqjC1xSv9WNNY1xuXOZyh/5MRgNSbtCAkyDHR6JrCvzZUDo3K34DajnuyzV/ckozR23BjP0XLap2sZjp9mBzSPruWsoWbIUhpicrW2Huh8yof1h6E/wqpMpoFzGPtfwb02DJhAp4ua7CZbuu01GZA+mPszgphemTR6CAhQnvBGPdBw7G3mX/dfNFNwm/8QEXUV0AciJCz8J9d+3A/XHFEEPKbTJf6eQ+8zcwDEkB4PZmlIOwHGSwoCkaHeqDN/UPyVmlu2StuVdJknPLz74EOGDU8LUHjXOJJv3CKXMjKy2FXoLSaEpH03SpRO66zYZ56/wdTqaT51AmAmbTDVXxj/md/CgSoXhf95xL5n0x0BmfH0i+h9GUHLEPjl0UZMUaHbyzNtx7mX73f2jd4rUXlcItmnoNfHwvLIgPYHcRPQ5naPyxxHnI+mxKtQoWNj+SzEr2qtLIkLYkvCuR6ctakNqFovIw0AYYvwDwIwcthctnRLqnofxAJqccfJEFd1Qdv1ijx+Fo/dPA5M4YfXdP/txGeQoDt+NCgvCtxE+OByJ6Xo69GOjdIUzL5D0u4mKHDB8tybBdiiSNdVoATkNOw/juBjlVd1ob03jaTFvzrgRzCcCFAT1QAnyaIp4+E0JJNFdr2GRwWpsh0yuDEJ9M/vM8E9S5upULOsQa7OT8/g302QRgw19q5lhM05FFw0VCDNX2zcs9Vz7tYVMGi++uEeyEFEC1mvN8qtbE7sTvYKkxwDr2R6okluZvpPGUzc8wobgWawl5NmxnSPeZmofFUTFLHP6GtJRPjZuAKSAOfvUGYp/jhq04kfWmoixJvvMs8yLcnAuqc34ZBcRv6183N1LY72aoXKjEhQrlVizhtgs2rScox3zqYhwdTanULb0TVrk+Aoy3mrZjDb9JGR5lx0ka25AVc8k8sPOIqpGcllMkDY5PhZwenOu4vAT5SjYYqMkM4SxcVq7241SwV+xU+P71AQve3dOgJG+s/s9lf5cTEgRgt9Uaxnfq1Z3ehCLz4wgBFoDA/azz57C6zQTw9/vdFRf3LYWwW4XnxT3Vu4D8rCWioRYUDah7E/Vzm2ErmrZ300Cyw08njIX0oSV5k2VXll3oebOjG3Z7eJN/pye58OnKQqSoKuzpTQQDnrgrjJ7ZVv5BwTzRt+yYhPlqtVDSLhnUC6msN5Ymo0/g4snbCwtdUHH+VbFn27RPFoWGJv5pHazOQieLwktu0bRrh1S2o61yydohpUaeXDvaTbYYPQMrwiUyzLP+sZSaI7Zhablmx7GOlpbdVUBZBOGXf1RFwVzIZxjHjzxKZo3sJ1wB0bP2jZxsa2zgsHtIHYxCIPbHpontVSgw4bh7H9iFMiNj7EN9zVCVR+VAYgZWBEcbUgg70iStgk1DCgVfRDxrhzRkyWF/2pgGOGkavYAD/nmYLBzI8tJFJO24Q2yJSQMTFZSkGKnqyg0y2SSgeGRQmPbCU5qoQzgq9JLbXIe2nXVgKIbgn4mP8rg4/6G0MpGDiS8Hg4Zhh6CV0Ps/8zbXefzqEDZFHowAlJJPk0DhXZFVkNB8AsAJEk1uGVOSlPKxecVCT6lxtKDT0mhY8eHhfg9/fJv7pKmXZt20hutKuIqzl/EBryZFrbFio846bcSKWpTBx4X0RRSolHNEbzgNVScxkBtVta5CCzy+Okf7AkwjvGuTS99eFTIVhi0+xJniBswHvKZGadLWyk0BxcCEubR1QUMmQEzZJBtOQQJeLILRLoNXQWWOJaJ53+Ydox8nU8ndFkzUHuXXsE2w2/PsOe9Dv2WBCXfEjw6+v7HXNGUdY+0H6Ol+j8xiBS6JL0iKplqUM9KloPl2GWYw9wyRY9Gwqqcstcl+b/6Mfz13kxqPDl0WOR6LgUfH3yU1RPRBHQAbiJrk4pQcs66HmlzzF+kdkwC4lQ0Lk9pbPG80Br0DU874N9Vl02+OXG1uQG/8U8bhe7WtE5NQoFElAhRIxl/hsFMtMfpgprurHk07o9Z8sugga34ryHtWwXiE9f5Ug3VR8B2OqfUusob1xycLFzS+0KlxHOWGkLHHIQ1uSZVAvy8rRCexB2gH8m02gE6wjqdHJ5qj08HevnfNw9A+pyecQW73tsnM+gT3jSU3cOUIkPKr4oTZwggUpQaouaf6yddR/3BNM/ci2m1taTVhgfhXNLAos0SzGt5QH1IPiYSObfsPdgkHxjjTrgT/C0GL2xJHtr3cm0tfQPwb/4SvqrWXADf3sg3PlkOTQ6DiqkdZXGfDcE+nqcUokhbrFdYNArdNKVASBUqXr9hUEgpLFzEp+RQMLlPIg0qTS0QWhLPznLqRCKhwu97YFScKQflL65WTjViqvIWFy2Y/Pza2waEl0v9gYJDTq3ASWJZdENkxs0UraApPHz22Lo/pOt+/19S6w5IAFBvip9V8SL8hONOrQHQ3Dq75oEDjTHpgdt77cTJyCioEMcPYPU1BTMMi0POfa5K7w11dS8vwSubkQulvrDKbJzOypBJYWH3Pl+i/vGHLOXJSEciZV8j63nOsFdDtn/56i/VlqJ37ykyIX/Spg0X1Um5+RSwenMzokXB2A4OphHqERSuurMd30EKsp2REOPx9mCEtQpTzRfvDcMJ2W1Rxy4NQ2SCjVV/r1cbLy42ESPVCZ0OFZtJjBaMRz5xF91HsokISc1ZXVfhTPysBpMmkCKkiDA2GfInQpM2/hm6gyeiI0mff3WnaZp/EcyDyel9qHKTT6J9jbde4qo/SFAkPDauZHljtF4blcDWSWiZ4ZRWnapLRreGCmlwqWxj6imj1MZU769qyFXdIrLiaXpaqDh5KvXmotSrrIdZHTNt9myfcOU+sj+Ex2HApM2edv/1Mkulhc0e4vEZOut5OIj/wpqEOwFGHXXBvEes1Ni6YUC/OKMqD7dKM5yOGx7CeetqO9w+PTWLE3kqBdLGL9mvgUPhfphe7WkEVsILscuSagLWhhGI/RamgabWqVJvjTYAdsUAiAJeVXlGYHML0+b70DpOlbyiuK9wpv57YUMoNgD7lGPN/JBcltVDGXNjL5zV75poq5ec9cOPfsSWXG+pcNQUTdmNVqPQELRZ3Qxu9M60Nd5DnvRWmRr8QHEjPGUFSOdwzM2zWU0nfP+kONAgErGjo2vCVz+gYlKrBVM/2Jft431qS/cQ4UKAjGu3uh3A8p2+/9hbOiRaXQ8wpHFt4j+VCrah2YFT5kl9rkvsr+3Rwv2wL5ZPBSBNDsAnxUdFDiOXjntMrPMP04yvafXvGkf4NX18TGKd2bwI+fW1LtheGhahbp53VOJhYbMudiIa0bo3FEtCtLywUT44VhWRhg0qyhnPhLOXb00r4IbTALRLNoA3JiTdmEvmAtDQfAxVZlx3Z2jPYotiCNd/UcPRGUZ33U3zktBiyFWYR4iWa2dx4Z6D9B827nhJ5kkQ7WvmxDO+aybw1Yq5bLwAO+HbdaCXejo7PWxCh13xck7lh3SXNSQzCgeXj1OozhH+uJqnshNyEQtYEe/9s8AYSy3OtCXKdNv8IOHPfIM0AVRgPG+58WqXwGxKYUd3G1k8dyXJbZM4F5xuNcPGUDUGyUXei9VN6RR2oXN1h82ATFwnrSHTJBgjGjnhzd75/3syRjVdzHExQFUHcl1jr21dBacb+ZBqeymY6AN/n2MdQf0CSHAGw+LMDCWybUOfAePvteYVNZqGdCqEGNk5Pl7o2CEjWmqNBcYMLfT2rjdtg9Z4TaheYfFkXpRxyBF6mGVD35lIcObQqdTs9A0nWg0hJ72cvXZj14XtuNV9k1G0CWiGwjKWJcngHAbzs/YB0ajpuqYj4lei5AGBkqbooTbJh47sgAAPPesDJCpm6PwYP77dvglpWv4e5IjGdTBaUoXq+q9DDYgFNI7AjGUZhRs62BKenoThjnEMjtWFYWZ3cg4Rk8UNPirZqKJ+Si4jMxXrqlgHpEB53Bt5noub3QxURxF2CZM1lcqhKOesz71iWifaWIF2YLQmNaSU6ij/j+wdeKsbIYUIxoDf/HSWXDqiRF1lq1gVIvz1NsHcdS0qkZVcM62/4ouZ4tEnlVpftvODwWILTnJEwxiU58R59Wjw98J9QXEo4KX4vuOglRDgPrvuWA9A2VrpZUzRgrGa2rAyWJlCNYmdcJ/JLOUIcsVwvq2brtr2mQDNhrVTgTtFpbCkV3MdOPomNd/oKhybtc47WpTy5jmipb91l3/+LviIwHjST/c45uhHdSmWftMGqp7FQAwMGWkb1nLHXQklsCdsP0d7crvwdPFZI3HGNRvl3J4/BkakORxjIr3BX9tA0ojoLi4TgJqGgb+HJT7yz1bTeLd0DzJ+B40lE5ArcLH5M40LcUg35YYpOWUqjsBCcJM0NyUmnr96lNg2/zy0Rt/JVEKy0PJmWVLV9mPKy1pESzK3Jqw7ytpMRIfcH3rCJIdi9ht2YN9pYurHG8LoigsVJFe7CTpObuMluGeC+GByIRzb9trL3oXlpgmXprQUMLi6nSL0+gAEwZFqj3TVIUCKauIHVKg8hzQPRAJqV3CJJg4fyhnDJY0k6RJxlgnt/wB3KLsYVTqD7Hjtj68JHJIZzlv/zrSbdi1hnhvmSwZalhwz9r45zatQtUIjrmFR/Tv1VZW6yJDupAiHjEMT5yQLyhcRnLQZeVoQt+N806YvCLg4NXbpVJcMG/3yuFf9rT5VzMg6LtSye30dMnIRVjW3KlRnlsxubPtGdG3ITwHiagRfy2WQVSLWXgjn2PFWG06/VnbNQheUDaKizt9qDHt/ZE2R1yJiZuq+uddPcZ7KnhjDNJ/IHpsWn1qieMkPlXIya5BZX9AQGDXFbZCKPHMmKe49pB23yL5kMXTqj7qSL0yIP11wHu3oE9cZ9NB9+DRjrgjpptsnQB7w41XsYDv5o4ltbalp7ox9vdAFr+UG1sm3kUbsFCSAfPSXhnDrJjcW2xxg1dQIGZm/gwSo8qebDeHtI/mX9KUrdaKiQ6k2d/0w3Hn7W7OOz3ctpQ2Sop4bEzFhyC7Qlat+lctuN/icQMStJxkJhdSY7pQ9R54nI8Y1CI6tAohqCqZ/OQZ64nFH2P6qZkD9i30dY6jefO4ElUpYG3/5hlmwGZOKXbNL/WCs83E1sNG+GC08UEfGLq5FecLg5r584eXscB7Bm257OVbL/3mTGL7KavnF+uUrSLqeCb5RxPLcm6bfNyyIEoE78Ey4H79h9khGjdg3QrAK2Ks3zcswQy8ZUCrQNYhrgPTRDWqLSPgnrNUFLM2bVxpJ3bz+TQ+iz2SW9BgBlW1LZQXm981SR2VGDMyBpxXoMNXPuTqPJ0rCxjUFw6iXsD551E/S4TPOM7WiiJev3zkduGh/R+tuohrHnYJyksdQUdYtc51A9RTccMGzY6gXBW4ZErtx6eKnCLtqItQ5aHacmftyN2KPzWuU+zOLRAGhLVs05JPKCiS6KCMsC9kQIv/79YGqEOVqh1bpVpc1e+1QOBOrqadlQBq6aeTb6OctGAsKe8lcaKLS88hUqPq24RdV/1GDLIvWy+KBgkpIqmKGEBvH/ZvfZhMIgTcWUgDFw+fDwMS/F9mkeASlmXrTjFOLTUNu9zzMh5Dw6vErVncpQeSG7JHzj9naT1eg+3qLPCdjC7OpWIsagily3gtozR4JNLuVeDHRDzlbbr9eftvmm5UliMMZKZt/yxO1p7F/F+zJn2dzWnGirwDqtzKgbVACPohJRuhAevuTjODAi9eoJKz0JHBIhnWL6tneSwejViGgFZto4iQ2sA4VHrpT9r7OESBQJWYrvkajMBCg5IbImfL0AUR1QKa4E2VDLBv7eaSuhWrojZ6NNo56Hfow7NN5qC+RDoYGJKLlKcDxvKOQviit/Q4TUiDKNTwj6x9MqchIdBwSbZKIun37p4n9pHkmDGzvjzJi+MNUcAf+6STddymTzPXIeU/OpEaKLZsp5QI9RjBTBIYI3Xk27GXejBLiYQpzlNmdmAuI2LuOjUUVMMeKJP+cbVxDRR5IMNrlHOuqfEF/jNcKKTaqLqeQ4pPDORGo52t3uYFn46+DGNG0c6rb6SSHIGZWEJdvjsjIVg4YH9Xbrs3r1xHSK3tXVuYbhXKC6TjjbIDNJNFgdVVd+vsLGbXX2ccYJqvhkfmzr+rNO5dcdt2RyblHOhok9o8n6RkLxIpDY/jZqrpkfVd6vroRmo3S/GhfNvdb4saqgkd7ZEI1f95hfHqbGslcD+2Dqg46jXzcslz5BLeqOyPfp4+L40Lwb5Crc7u1b7SwQEOpJQ2i0zlEyjzav/bFQRPIF6NYGMBwsN9fePWEObLYEA8sFwyaVu38HpuVlbYhfpNVJFFqiTtp1UI8Jp0Xszj8Ll+O3xDysE+kLbHphQE+2WLHuimTDCUgLiv5DbWGEUnTH0KhaqsAANncvl4Jg6IyyL/FGPIBGkF5PdY5CaUnAwWX9CpX/xXGWUcRgMnG43uFufBydgjSA2NWVOLeJ/Yh3ZEqLGdbbQn7QgRhKOHDtLBrHHLFxqpNUI3r0WYJNSSoKrZ+kLPDUDXruoMySd4HWyvtAi+eWF3QM9y/uYam0Xlgo4rVW7NWAuZVGl33BjQ0zlw+tfVocMIaI326/jKewGtz5S2/QSkKbdggUFFNnfFU/FWcCdQLSG9xQkAJBnJ3fylmagjGSG6p9n5iAhtnNH+yDskcfwbWJ6oFuBJ2PK2bFxHI5XAzS1ymqO/T+DHNsP96B/Tkxp9VGhGggQhXZsK18v8UYdTBkQ3ArkW1NrqxTKa+CI4QL/WUb0UpRfsQuBBUff6LUgXM85ealnDOnuPTYYd0agzT1RumRThVLbOzbZlfx6E29qg4gihPcLjwH0TI2rSJ0ovzF/zDvGByK2tGolO7/ZaajoCZErZmw9Fm4ZSfSXhphNtNGdt/a2n6dGpRVxOEEsm4LoAcoZ6JWmLXsfBy7e11sWbxDpUqMYX/pqATyiH2TjUn7J42Ye33ybj7DHQlvHzmINATm6afJYTlp1ZOkxmrgbyM0hYkg9/OgSbKk5em/a90MMIBGRJX44DHM5aFr6932vW03QKWVixLHIsFBLsk48gBjmx9KdHWmNe9rFwUeuipK/JcrM3xIsQtRLtCl93qo6NF8mE5LWGDkNQQGNb1fB6Czoi95aGOa/lJJE3jceVzT8oB9gS9xUN7GFRTcJiHAAgrHNH/igoI1t0K0fPhfS8VdnJlq6Z6bgAMXOiL6sYid7L8ZIh9KcSDq3v51TfHtgI04zHb3f7fYqWm/brf8aBuw0DO/jzQxcVNGjXNVC/hJrdi+wK2ro78ewv2RPPhiuCWYiaQk5wjLZUWH2XHH9Co8Cz19CsQ1DEfOWjrf35p5zuCwoUgwVFmiHRcbipvYtLD7qfx5vj4A8qmf1V8OT+VLjJM3tNXmm9/6DAwctwiS4AqIECRLZKvu4uLwtEpOE+7JST/PLGmO22KPkJxufVP7vPpvUB22slLbGtCE6jGBip9eyfVnPQHeCPyiE8a4GSidhXH98JX5jZiJcrtZbwumn2+yOZYjbAPiFaYgqpRQAZ3bQWo1TOeuPdwd2875Xg2AFy6wtNuIEq3mPhohRH8k9cyEOzHnIkjMpJSqvgt2rGJYfg97kA3WjQObdx+kTaZN4uikwFryDH/njBYLwNpZLHyjWtfVU4icrudhLTDKn2JlRoA5dK52ik2FoGsn7+wj6QPFUXFJYp23uehGCwpcN1fE3cEEkJZQiBiBjnrP8wDfJaGeZUmLF1IsmaS5toZZUxHYCZd9TGqtOa/h855Ghiq3Eaz3msX0kHroImn2sfdUhbAdYPbCLQwbOPG0ov4LldoQ6AXqaQ+mTEJKEaK0e3bvs9xGkEqSELo6EwYvWTd2s6KRlWnTmeBD9LLqvtUIWa7iu37u8Lt4pJ2FQ5gnbp5aXKPLkaZBcJzV8sxeO7Eb9jikQDqLNRqbWB3q5qtFebWoxkG56/TCa8ZO1MxxnK/aQMd6tENZdGJPjmyKv9QN2Mc0gll1zlYL35bScF9331rYs9kEBXAYNPuGekYH1jL2zrXyc6CmZCQv/3gsOa90xADU/LQx9HZUUXfuBJ/MlPaJImRMGnWjqulesQFaRtUisRbJefSIPjZVuhCKZPfguV1W2Nt51nv8TzEswUBh3WFHy9t7eyHNJLPgacdWu22Eh/sxIgn8WwhdWQh7OoaqLkJ8iLYPCw++j6Yk9/BTS4uWMf+2kBIyfdAPTplV65tUaWKCoFm40dVgQmU5o5Y6qkLmCUeLPG94rRzJYDUcWSzkmaxtkvDVzFODtL3w8j0izNAme+mE6wjgYRpjjmzX43UIeK60VfhWwjPQV4r92owv4yNT43JyTPAXaFhf6w9rsWtl+hQOnmxRNOfXpZQ7PdMHigSq5uvqSv4uqLh+TyR4oVYbwGqpkJJRGEuJOlPcUl+Sgq/oDxMjPi5ejUXNGaxqiyU0DXSiAV2uJR/GTmA6Vn5Pzcu/ZYfOHXW32qeNUKhavkDSQNjv2bjnZ3I8Wfo1Pt/SqND8Dknt2+tb7qb2pXKrAV3YWGTDScUSt9/iN5KLpxbHgEox1xDT2tkfB9CTWzyR8tduj/UP52I1/KyT7OY8oIoDuPVT83iGiIJBw7RAg7WZHdntFsvxZo/Xq2KLl7xa/WSvUIGPrTS0gqru9QPjCGOA/4pBb7fTweLtI8MSNWz2QOofkWwupN/5TO1jXC0iSZiARN9ug6gMZTBINACgJVytz5Hh9F7g54CV4ppA2pewzkV/SkeLM166gisiH6ojOAndl/VHI4b3I1TAI324BJ8gW4r/AsmkMTvNnuqX0GLF/Bz6FnECeh7+9Fnycrfu6vl/AqyAhwbYSaEtGQHCGZP7Cck2y4bFVxPXpS3Gc5NAInN+D2WKAfRpGN0+H8GSIIoKQk1jGrTN/5RPTpMlvgALmFLBRZJyLAOtrBGWSyViQsktB+8SmlS0BmnCxym8ewjoIHrrD7l1/mBH1ewrulj/AivmfWOmiiIMHzpFRCKDWhGcu9ef4ajTxldqzKlhAeSy3q1ywmTl84LjTeybsZD45GfmLHlWV4Z1gCJ2WejD9B2f8LKbIo+QJwCd7TfsuzgZDaLd9xsC/M4AuUyKRtOC71gZ19Rx7duD5clLRGtxknvktTzSC1ZFJVAJUCvqZCEzUCS7j8WtFpfQLGI3bNErvRyiK6j9o8/wbpJdo2YTFRjxdGsBbyGaegzCE10EFNj8wp9qQMjvlWFOry9LxwI4MPv96xridNXWtnETiTRHGGLMUhy1Bz+tXRmGrSUfPLVphuoOW3tr6fDpONlJHvdRK5PmJmeRYJHhyOd4A2tRSHVEsbvDdm7bPs/Ikynu2ftJVdC73e3K5NkQ3bItP4WDSimhvuWcPgTDXXY0Lt+ul6erviDuq1e53Qqi8SF+nHHINbnNhReulLMDNwj+MqQ5xfITvKxC5VR8LH4XPVgzwKLG6sz9hwJezSDu8EZDIzytRzjG3OmDMSLlvacdt1balXbkIRup1ObQuWZEFoWOgXNHjw0eKG//IkE3lz93+hywrbhmS7LOwT9bk45VNnOYHQva0zUNqpKS29z2urTon4t1bT7+kwl9bQ5cwTQdJfyx3oxJsIYLG9YRhhQgioOlTQFcIpNYwR0BiOcqWiwlCNwQzd7m22wR4EI/BnLrt2MEzAkfXHgssliPovowNNjtEiwPTF4uaVDkDVJLaZJn0B7CuUTO0duWQNuOfT4yB2yP/LV5S0fUYSFPA8hI65aya5AgVFDsuqFdGqbFC+JnzWgfWzfxsXv541LUkd2WXTtGePnJi30CvAJ4Ai5hgJAnWwb2M4wwikw5ZlN9y/kRjOm/qFr1DqHuwDqgixvMVDpuIe4kmNzTounR7C8R+egdMT/KcLEoCMtwlrfmc6FNNpBQlBjK0mrSx6M5lEF3O6mkpsbCCV1h6OBNHbIcWTmziEQk/bakKSKH534ZxRyZYiAszh+ia5gqSSrDPVlJJWIKeI/194oz32P4Kdo7Wn+85MBKnah8gTvqNJk3IePaWfcf8gEP84+/PNsHwbPTkIjOHuYavqwQFcTUqoh6IhzJL9S/IgbtISKUUm27AofIHFn5kLAt2n/pOvsE+txlIzVpEb7xf3oGel0z09lOfXKYMqYRhqwXJ6Q10yUr94pBJR030e9fZVzGBxw7UsxgEGurY0vvJwhR0OsiXxX+UuJyfXfkAnFgUkGJb1FssRFGFZqKqcnzZ5ZGsXPWpUCfaJNvPteOPjcQygZzBgdED0mA56hXPtZOQCm11Lx3jLzHiAYZYBXYcATqp0bXvAJ8O8pTrLPOBSh9bwA/OGtH32BLHKPfIdgPwVGrWjUNxsQJIEslrtiTEaD8ZXK931ZpyHjDr7R2G/Uvy9tzkhLfSv6I5LB+EVh7qVaxljGVdfiQEIPupaATNIQbxrh6kw59iLq4Nk4u3l6HKg0YuA+YvkeyqxNn6FxpOIedrLESKqSUJELbbhOOo+OVRsEoKkDyqkwwzPJFL3K6M2TCWm19gv7V3oyUq3G/uo4wAcq9pKUdKqMVb/H0SGfyQVS/uZ5SW0Y6MMkrQjSkNUOtL6XYEAIOmbGx6LGr+ZPY+43AXp1ZRwIPSUGHQ3om3czqSzm4ds8noWz7cY+k+jUxLY1XHoYdoivUmQ8+Iwrkmi6qtq2Dc5j8LCv/i09xhv1zncemZTU61J9G3Elub3Aj/LPeEAXwG0KpCaHjY7WeJW5eaKS4ncUNgpo9CgB0V/EfGzxXpV1ythkaMaVhP1V98XZxAc6HBwSTmp9imZcwsF+Z7ncb2FkouXQ9Im8MpYlIS9Qlf2sXjI3OtAbkBMuP3RbVvjuvvrfiVNC2juPodY8KSpRm2rXIOlm834C+9OJzRb9nJzCv4XW+YwhtLKU5M5ZWEAKNHUNbvrhpJxBjasJnA8/Vf5e7w+/RN/sveCxQWoxbhieLrUJK4DbOgDeMMS3VYgKiX0+m+VJjCOQool8WQ3PmxYOCIIVuwmABw8+qE4DoRrsAjRIwiE46le9B9mG/9lLIoFiFOl61vA/zYn6ALm1HSr9ObLpny2uHTD8yPlS440ojGMZtBnTe+lhE4UQhYXoLDrJg0NJtP20d1nfGy4H31AOLu3veB8+tgssqLKD53Fan4zsKiWD+D595gpW8cLs39+rev90d+cdla7GzBml/uYqaNGFGUJvDlAdoC1AcFvhiDxrQ5d2n0QbePNAdb2AXZfQuUPT1AJiqKKqdDGMREcgM7zkxNIR2iMSIpYk+5qZ3P0r8Ow+V6NBeOZOCfqiDjYGBxGLQ9c1S+0fX+/EEj/Q/aMSwaPS9Y8OQ80fqNKJP3mO2+fWMJseQl1ltfnkHxyNkWIOrDt/tchXNwCx8/rkcqFV+OWHI09rOzzkLeeHmuYb/sgwGRgC1gblhHl4fA72zUCFJdRbYy2bbquPp/4/fmmYDkI8ZlqkZLR4Qfc5LxU8ygWQ0oocvw9D2OhjOApaX2FjJK6cgqAqYj16b7AKwCxjy3/ndcguu1oo7zoWI1PAhLzzO8CoLrdGin2oLm9KMSPmryqCVTQfGYV37gpN0TPjKP019gEt0KFXRSdw1xGL+pYaI5/kNBa9AV6NWHVsmRqb8B7TpykWFnO0+XCFrKKH/P01DCT1pxrzYWHlhCuks5Dh6GkT5gBIeNXisywImt5PIfL2hFTuk4g72VRvH5cCLpMO9cVFWEtR3vHkDVPrBRfcJs32EX24wuC19ab7eecAF2PbX9RF6nrpP2QpyqYlnkPkB82cIxKU68bm3zWtYnF9yhBz9MLocts1r3kPaqlzg1SLZVMTcE8iTKUY0T1LJcPKgkQJnoDfZQQnAFMMo5u3Da3Kv60/RduBPd5RJBUWKXohKb19PscUlR4KQVl2HKvysIlPYrNdvuFV6pS/8EVWTOT1rvt9+GpxxFA0faZ5MxxN06XiHcn5AqSYscRUBGMTjEL3U+03bAlC5A2R1QposNrx3OT/D+zykhVjug/yUZYPSHc01f2TjOyKNodDdonujbX2qUaIUKJrMswrmA/FdIynAmcsK4qMQlgPGeV208z2s4HvRJkKUk/Jt2nJxc/DfzDYkWyqK8I4spg1Tnl9ASvnFHYldYSyiHGPzb8+eyfr5AYVVpgiWfWbjKGu9xzN1pq371Xc98beiujs0KJ0qklEXyk84B8iajLO+pioMdJBlK/QPrGEuCCJyLW+wdz8/+RVldkaay6W9oUAhRftCW5vE5TpHatzJpouvBm9HKHhZvyxSN+THg7sy3wW6PsG1orZIUc2/7fwil0Mu7+i6GPucQ0s7xB73jz2Oyp0i899xVTvCfBE4Lxt0urUpAT0va/vgEaTqc1WmuonwK8uSrNcFjik5aaX1SuDRdlU2knfkpeTtegNV2GAAK5Opw2XkI++h0mHRMX8OMAuVY4aeD3A+nyxOWb5lQX1fU//NzEGTbvc6JTqTaJm2VXsYXX+le+KUviDG5kFbyHL5ynnOqLSxZj4DhLoeiD2d3hLSHUbvukzSaipvGfjmSdZBIIe341AXhTjX8zpNWG9EeaOctypj4ems/8iEzKlSL0xya2K7OVchzP4XzZPkQQApv8PsRLQ+iABu+d5RRSrz4z2TW0X9PamTV/YlEP/ESVRGWjT13q9djdRenmXEe4sh4UeaLAjj2l5uXhSgW2xQz/170BqmRlLv9lwqzm0PqdO+CxFuebt4yBBPygasLAuLFF7+Na2XukYD0Fe162QGE0nK1WiiSvt+xh6pR6O/s4owuSGf6028ZuLVPy4kBjUfHDagIJLGSnnYcr5j3awyvLyT4CqgOQky1+er8tfzCfb7ABlp+1g/PCMZpItEDL4uxWC//u9vHQkToV8A/ImToeSXkXPetFeCrOTXU9rfyb5m+mWdDSMNUVvhDNX6lqcH9v+ovp1jYbpTETIqKT9wU3yYfyGUY+pUfmELfHo+KFoel31czo/W+A+g5iyI95PD8lNJPRjbxuzU7noETvXQ/yBSUOkVSo7vaFy+KE/NPvKJb0wokuw77lrBgtqYecKBhF5NuLaSgUTTFNQT7vrwbPFzIbeqj1+wkV7XFQqTvc46nYSEgm1uuSqYVvk2MH7+sdIwMqZ5cOyHmKXcl5271nIVqUrI/Thv/jqpTWJBkFmUM36IuDn7f4gVyrpH+lqpxWHhaECgZbJNPCWK3capXq6eSvbtOyvQatzYvlGTBj0fp/PJIlTqRil1biTBimKqhHL8378qdOwAKBVJrlaA+SIdxSJ71JgaXMl+EcrqMcpTCA+7gXouOda1gPwVSPYyGamShSH0thQlzI7TaEP035+ZICrKwo/PddVsh9M2c9zqsxAx2UimT0xK6cBeEC7XYfvUly3gDzKBje5160+Qd7dN6191nuQ0kknzg98t4ZBo3PJoAOlOtCGKGtWhui8yP1TmNFec5Q+ni6FvzHe22Go8cGZaobtYV3s/ykApk9ZE/ZzMRni0JYMQ7lFhM/5jTzpxa5V9z4QioeYguaj85TgFKaVGP3qu4tpR0dF6jWB65i9gD6vJ7e8Ca2MUxvqkG0WSYi+sWPdZC+BVhyCIUU9BGuuIUwhxHYUmPRG5jCjCD3hc4qTZ9wSHjS1/ob+s98i3bAJRTpOCXXnOApfyA1Zl5NiBm2c8NDM6GOfBJhb4G40kT31/FfJhzYnrah2ddIkIK51S8p20nl3r5zVzP3WKh9f7uFJ83J02Ur67u9WvH3zvrWeOj8LVgryP4RP5WR+gMxwwHg82sdz2PfF1R2d2PV11e1LTAME358CyiYCFCkWIvlW3g8XuUA3Ihh3w+SUK4ms7KZzx3l8JRpx3sT52yKOTvZbqQ0NbqUBBL3ZPXKFa092AK9U/7gbqPODDOyDVY21/yC7Sx+2VfWUZz0ksrfnvsVO5gCnChI0fDPRWlZILFOPAt9MmDrtDvdT7InLlNym5Fb+KYILthdbvIuG9i+8mwgjgo/OmkTcaHPMvXp/Mp/RHemejz22d4LhkThIMMan7O5EaUkt0aqwrL6Tosc9J+NFVesOeYDIbVieuBlUVVkTsK1k/IRc1sCloyyUyGMhi7jdje1mlolc674pTzsgoVMwhfRPm5QzkzeObzxb2mGw0jRxy53WziCBhLAgFtiB686UZPPJYTyKul0dGYhPHn2ZtilciyjRFfK6eks54yiebQufBvnCgaY7IWKydBnbi7QCbXwORcdgqauhm7+MuEY6m8xYnuM1fju0iwXvPJvha/pS5R0uaOI482391KMCduTEuMiOvAzrxyRAnOJGd4nQBUmtN7gAI29I238PgD0zr6sawCBdkwCLPZ1PF4nsck4jNVZXfMU4lVzL5LKVn9g43yUg/ic+n/GsReK6THmO54erYUx2XOigukuOMGTTM4f3zcXgdaCdHjTCdDTfJwj803xC9FJwcG/ndd7y5ivmoPTAaXfmfzXAZLUv1q+cvx4TR8T/5pFxt82s2lctylOFzEYnUDhlyGHVXrJDahauOy2u7cCON5kHwDRycL2fmPykp50VRtvEPh2hW49extG8VrzrbYupZVEVpfyvLvn3N8eqmjvzoXgsoJh5XkMT5rMmEtzI/QIQctDriiGkxRAb+hsYFltkhJSSYtDyEkF7jpnLB57HrUQCrpyu2Hw/Jm0PXI+KAt+9Aa0tHBtR2PHGEv8VbzbyqSgNYH2TzyuyWNyiKT9L/ZDz+aAqsSpkntVd0MCJ1w8CKthOMuwcv2STICEagWcyRR4TUnjCrb2j/rGk6GE9iFo7AWfpzGclpvCTzIq5kvxrTm87f9EkK/BVOLCTvnVi83mwmyhkFjPpU0o3+KRsGVvWE4Nezr6z7RGT3z/hdiPwMYzEa/Bwvb7bdQb6NQ1bbk4OKqtRDy1+mlzNAZDJ0YRcQq+L2popm2VbcxG5RMP9BeoQNMcEn4qoERrE6u+qKkTQlXJVCuCgtq1JLIhxgK71Kl7zet3L/mYFIUVeTth4ur6zdsNSN7uOIsvX1ednhDXRRDh0QoqKqw8sxILRRu0klGguYTwTWpyqTTLadPY7Sj1niyTW9AB5ycjl+aGdHssvDbdoRKFDnjRO5TNpWemgwCFpsGvnR8uU84TCnmDsm21v9idK0HqFrd0SY8A+5HVK3bw8lGJ/TkN8iGDhOpFZW0uq257GEz6JFHa1EyCT85Ql7mZs+igH2NRqd1nJAp4aUPl2vVLvJiHy/LBzESp9gvP0GRSC4P6OIwhw0OkyD0K23EtQMsqdBPK74vqnJN3F60FHogYk5rgXSGp9exxqZyehsGSVcaBtfcwubnsk0J9pufhOG5LvGN1D9svd9QHZ2q374ZASxWVz6b6ajLMH9auXJgPF+TLImM2R6y9y/4VL9Lwg2vQPYpjtg/9pDVdUowMg3bzrlvQZyyDySvnStiVfvRemPvx3A39ZX2fyoKJ11YGFqpAWQ1KLCoJ4IBZiVv7DOTOjJ3NsbghnRo6Di4KEsIqcwLX8C3ap3kYjmLpDrKs+25Q19POy8psbZfo3VQDrjhCaaut89vs2Gu6PiYQaPxnjIIL7UvYkyQwrJfzFv5M9GcbHT3+FXTHIPbB6UX+SvoPS/zOql8FbknGupGJBcFdeXJEmHdx0paXFqzArT3jyZcr6+uhTMmkQ5CvEFdPjUFoyn0y7FNzxF5CtDnyjKm55UMTYOvXiCxNhufAL4C+jUX0i/3ed7UjqlBG14Tw+V7GGDoC+wsgDpQG/IfVXRY1dIzARz+0SOiRbaMaPphtnWU45+pB9qL9iw3QPyXSg2Hp57UXXm+y/d6HYVafX2JOpgIm3g2CtHguhRLv5Saxlz+KAHE1gzCWeQ0MHLGrGRg2Z3K14OTwIERcRyR5GFCJXscih0hCLrOS3pLnNuVgNGw7T94hWT8aPkXhgkSVJyr9rfNVz6Yq4bxzPtK46wvzGN7cMDwWaA36Ix/b7GNTueb95PvEUeHRYdCUrxRcMbf3hLCjKcPiJKIWgkHKDRfdNeCyKxhEyOPbKHfwSR75Ffrwmyg5zuYJL40GbhbgFzFe7WuqoFSrkV/HbdHAdVp+58WqaWKnWgeNfg1TRjc+KhdwWLj5T5nrHfers7ZyszIMMtiWJZmzMFp5rG8WKB2R0eGSVn7uzMthrkZqcFqyVFPRgwronfMi3+S/Di6KPK2vVDo++BeHJKRPxoZeqRK4uV8sOfYZtSOJ3yWCt+s4+mjKdFJuLs3EcIUMb/neaysMtvRwj0BtRHLq3Ff75/328ExAZbsR1FpPJsCIcplK9DZMTy7T2hyD/Mr6Qlw2R0Q0UomZP8kbFKmO9e5aEyAGb4115fPYKAog4irfrgPpAttN4rFMw1KabIvPoM+CXUKTqDBIYylyl1ApnyvD9v5OOxJE1aQOGjryI+QpyY82RyPWKMwpCkFd1qP/6c1jzZc5IBONKtPQXJY8J2draO/ZrJ+3AV0eluW9Vh1zaR7BLwWs6Wm4l9Ix6rH4zBxzkC6Q3yhyK1lG8kwcinyDDvaC5+/m9aLYXYfQmPBN03Vqs9RvlUQjLD25PX0f/pE3l9tH0YpCXokPOHarJCvVngGs4Q+nsFQE2Ug3ZgodsqNW1LBtdVaFEI9VcnElfgDiWiIxryYeeZG905f6QrxMKzOZkfEWyM0j5upQcJyOpaMz/9P9wD5ITkopey1BDA8dhtfcR1rq5fpnCL7NDDcemWOlIlWS0J0mdoHFNQYBEkqFKZW7qXN3KzvK/2CaelmddUTiOmYCrztrKOygokM/x1szJVBk608UrvBYVIohyWAIDQckl/3BNSGjtoRIrKO3L9Vzy3Aa0+rArtfUU/xF1GBzHMxU77KhqzlzYNKdY6vjDfyRQa07PPJVd+8ECoQltU9GU7ezN9uVtjBRgTEXlHOYSALtCI66DaCJNgUtOnTUkhiJbLnO091d+GLtB/gFIzeHjfztrhleGrKhMPF3yjsgnOmKyOR2ta8J9E1aK+3dvBxDLI0U41ncMFCPnzvehQKdKiGxGu7kXgfRuQDKz4Iru6+u8FmcID/ySytjz6oXYj1zZjV1mJ/Vl/NjalA8thb8OlHXAPK2Fpl1EBuVcDRrfOuphn7aq45ZEApDd2+wLmkY8TUx4Ey7EAjXtNwmPtBSySuw+TcVr0fOW57ITC3eI9Su/0c1hh6F/qequ4Smfoc1kgokzXee7Fqbh9DAV/4888Z5YFX4CVS+4Er0Tk045aVGv+fldHwBFNiqY1/obDIF1oe+aUIr7/f6ZQdNoMZ9LusGKuWji1kfTKVQcFRxUx6HXKR2MUXJXTIrZj/qmRQbDwpp1hrplAnMZ9cowapvUVm63pO4RlR3SUP6EEhCSFXACzn0mQwUfGn9MzIr2SbzNjSMcJ62QCCe42WgP+XJD9ITK3yUp3HVz6p8P2KFAn3PEveyYb0rEy2/u9DXs3gwIu/n+MBVw5BjhwUNGarkKB/CA3OPpBIukd4zUaBBSPibKXoBXe4bzmkhAf5jLZ3Ck/bb0McUT6Pccpbsv2E86bm0MZL1n9e5OkNSJ0LJngKSZwNdJq/6gFkDkmtPnTQf0qLAvYPshDsmzPh8/jeznKEQZTG6Dk9mqAPpptIMN96MdMhw/Ey8vp9nNbl1+hLgDwppOftFm+aSXiR1JPh3A/FORDMJFRCeWYWFCecPnN64Pux3C1vpnKjIWLMx/TB9CzlMUGWFzcH/ZxZ4aZmHZeXkIOuzaCO1FTszHlmv4KMDMnFbNxXOOz7vhw9/r2kgax3nNIr6I89+tmbPxn74EZMWnnAwK1hncb4AlMk9HBrLCaw4B5nFD0+qWrjGGzh8RMEq/r//31cgMShL18ThaBv1+YLXyEJV5FEAA6mDNAebO78jOhKQl8Z4qZkW3u0y+cOeAMy6yt6QnKCvu9UxYnc+YDla6omtQniPTTBVkc2c0KfZbb37uWxTmYAiIO82SvI6bViiXqbNzGOPImvckgyATa/GgzpDGjc5cIpfafX1UO5POSWjEAkAzSFzY0vsjlLVS7qEqfV1B3CYll73Ein7WH7jvJ2jX9t6/s+73AB4fp8FCvfaf9FwLbTuwtazsQuQTno/A9VzQ4KcM0yV3/8RLbUi+GmXaJIEW7guefGkHrIf2qZaceJ7JKn8oSkgf6VpwZm0176KGbq8MMiHtYHwYnyNEir/G1ZXA8YdNEQ2g6zebxt8hLzSqcDOxZJzQM3+EdVbf/JwTW1SYFZdqviMf2D8x85tFHS/XiuOGOB+YAaRc25xU5urf4F0eZLkB/jZAA7V0WgNPMHWnNO0ND0vlk74dtHcE6y6BuBwAVXKz+yX9aL5oYuquIhMmkWaoHsVeJpZeie6TKD/GmQ2LJou0/GaRcm7eYJi16GrG040tEBJTvvcYsJeqkN74IlnkHQ7TbZUO5nKLoaTgx09WXiuMlONGBF0J+j7W/wqKLvXvvpBpfnwLujCVIUG9ctAztV5nzwkr2jX46j6m6ea7njz8LKuIn/eJJp1ipLqK6tZbOKdUO4Jgl/JlQi+OKvO5MxGyUJpIxFgZntmKoyhcL26Y/bxWwOieWQhap0Hxst9yy1fNqLsQJGWRcCGb5irTOVGhIYuRxiCHFIzkjiP3uMpD30tw59qqrROdanEyOf5WZX6N8/n9C7ufJiic9qpJq6+S7++9UkNDTtAAzrNR4ymKMcSBTaX6pwDUDne5XLdG3qEhNt1OHN5FoPmxHVoKWfo9vhrSbfvATWLR9tCSy1//tosUHQmaH8tdLstXt2EYrC+T90A0/u2gFJwtylcJc9tsZvdD0s0tOeLV7/KgjMMbdxK8yIPsKNB+wWlxYQJt8xsYqktx1/5S8TrO1gA+7l36okteUIGL266q2eaIXcftBBsqfzk6YYJraYHR4xdNHD52LFWNrOywhXBiOG2pL3b47p1eI4LmaIofPvvq8BvNN5mvdx461hNHykgVpzQhWj3v+DDqJB0IgTVsBFMtP8vdVw+loimwOiyxUFpRv3fDe3fkPqnE3CAhN6d8WIXLDKz5F7pI/77k8ydesessqLny+pURbJEOl8/RzZIEHmJ7NREUGVcY66PJ4WY6/IPxKqkau87huOU51H6eisFmlQkBxw70lljn3+UH89WNSZvh4PI8AiiV2zX3H4iO5tgvHfChWo63BeBw9ib2ZrPDueMIpu1dvhaiICJDDbRiaBfIdx3RaZaK4ZAorg/oz8dOJxcivgXNqnmgtHCRC6mzL7gxMia8jY1vtUPijKphEtT1sbIrffY+OBHvurDIXMmdK1bBeZg1MNdl2q2CKmSbmIXddq4kIOgHPMs6aeqq0KOeJL2zg3uUgTBVwXzKs56Ru7V9f1TlSYLDNmZi5P35SHWL4ILoBnzDuc9wcqzk9EVtPe4pSmuO1/f55KAPTNHfY+eYFJ7wiydP0P5TTNcByVdFgPy1oMNvB1wFwpSSSZYTTMC9ztClPMbPrDiMz1dcKYdrqc3AgmFSVqp9EIMKNRXwlq70TxBCBHUFLzwKex930RoMmUMAoZLgCRYjjPH9tsWjeb1AMq0c8rlqE8NQ/V5vhgY1E60EA8cYfoQjVvuAC+NgxSG1RqAThGH93LsBTzwVdUX7idtobM8Vww+pMzMfedIX+WdjLQ7eRN2i38CMKuBSLzRNYXDiha97+b3VyTuTdig9eH8Xxbo177WOatuGyYqfNam64HRwsv2qHlkUKatCFFi56jGJOPaQz77ebutJsILHOv1ZM/jrCqMDz5TNCMNnKl6dry90DXsbm0XgHVrjckK5LW+kJHvIK7RkBaB7ZZ3h61BnQ29Sx1XEdlIPHOrRUwMdgYqBq5QmFZH7X8XaJyX7VH44xIsjNIpKgoSVxYlUAiNZlKGGY7+17kDOMR62X719O3UITBivm2Aftf749vTUyVKtWMALPqB5sRaRsqHlGuDTC9twiDYn1v2fEyrPUbeLeOF6yPXApmalXGKIHgXtbGULzcNXBvcVn4ZqmLL9AAUDlVWdNw3f2pbbqZEQeMtLf/qSNsjZU/ZFK71WVGs3ChHhWUgZO0aUvbBDbhUTK9N2QOA4K4ZXrFYSYPQikipTdpQXBF/SEBcdVb/+tW5Hv5TuAXAacUorrAPRCA9WplufJkXMYYoCHo0ne7AR3QG0rw4L4yRImscQkFQj/GOhO3DC43VRvL/x3GskBQudZSqsaoixjukyImB2j3/uO2ZnGK+Z5KI/jeh7k5KNmNCUJXi8XCZyTmys3rCk01bRjoKgD8GxH24BFPIK3emubAv7W6LSx0sGbZjfGUm6WmKHUZbINaXsWfb1FEK9Cim3BVdKP3kMf+aC7VJApr2VAE+Dwmp7orks56x1AcizdFCEq6FGyk+udhn0TtKFMw9zesn9JWLBYYwBv+zM8LX1IHPhPV3m+m841C9y9BX7yDzF2t1z1v3DC/gtRyXPj/+i5rD8vJ3dxxhA2T3XxbrYQHdhtnr5wb7bYP624b5xOFJIHAa+1Xnzmq4iwXlOuqCJq/nZUOaFTvO0dJtx76twreOcKnlwl7dSeh5ROcZ7+9bbMvow4k1F/7jcnsWdcE+VzjtqqPR1db/B1rAWyP+G65E9adI6XJY6QNRJ1AVBONUMLZsEnz9tZMX2N1qhBBKOoHXpS5QPMyj6I8MAEAow3sYib8hEPc39wfHWgBM1qhty5isqR4OybX/zK4vTrguLS5z5Q/uVDuzhUFjY5fuQgn4uJYtiF9lU/3KsDEUmMzwZ+g9c35SpqoGNxzNTZtEdNHkojLJx3YWbrkK6m8o5CC89dqRNsQG7XuYxrv2TwPR4oxV0xZlysFEgrOcYFoxbZ3SsPktZyLTf0lYiI2Mkl7cJVwd040wFTKjKwkp8nUPKpwcdumd9IhQHgvMBaT1e4FBi664/ucPLrIfmFxiMBvFGjITDgQQLL0/UrJ8Iqka0/AaNxjQCxcASvVCN9w5gzfhnbIBZltGd+s0H5E4rY+0Qc2VmGxOrr8fvaxs2DJK/Wq7TJT0Sw5z8f+dC8WDZo50B0DxfbhbgbaKbA7J8uwIYQdg0pyBmOJhIDnFeKq0/GoQHMx+7dUT4skKJL764EDZmdmCt7OMRzAE1qLlupr0hXMxDCTB9F6r/7kFsPzSb0Y3GlO9DtC54l6Oqvqjtf+hfKbehM+R6lremHw31vgpZ9Ic4ALxIYV4hp22iuDRqBxX8gXFYSs7RtGO37otDC/z91yDFJ/I01/Gww8MHbOFxtjNFmejmDfYuQ0hnHByo2suV+lLZ570pDWmLFfMiZDa712k+DaHugdDB0P8LBsZs66FW9pwKepv4Zi3DmDCVEqwsmb3YMTSCZwRW/LghQybbuaZGA1wIuMhLWlfZQAxl3Tx+ghR25+AdWsbu3yDZ52wL6WyhMFalgM8utu0fOlaj23IGdVsu/3W3sOIO+GmuaYk9c9c0LAfKjB06BWzyXp+5gFH66ZFRNluL4kKpYycFj0DVjW2EGu1nALSH/RqiocrE5LmlUCjU4mN7eBn3tbVnJA7lGlr45ClBv9ppbisiEaBetLXA5pT5FSHWvWpyGGS6c1VDE/BbrH8M/1tpSZclWJFvMo0tXhGeVxBfrKZ7mvVnMvf5FTDI7o9ST9M6zRjVvLLcg65aIHNllMm+wIzrNO1A6HExJO7BBP81CV2ZATMIzHkbYnvU/W0PouICxg/+Da6tg37rAvXgnT2pSHvfm3GmpM1E31fdf8RURMKIiA+la/5D0YbDPWE51+DxC6y+M6jv66XcQW0G9KdYaB/Z9gNVFsycGWhh5hwTNwe8GJHRUuKkrZplcUTa4phCweSKyj4LxZq4GrxXNylWYkLSDnSQyZUrEBR7UaTquh0DM31rTuBe1XtsM7REk4GFmkmg4K10puMSkqOixaZZSteEJHF8qc4gaINfpoKbDxrho8YDD2tHzCyL3+D68236VUUz8dfr6bWehx6N27RoEnwB4pP+3FDAMLILww7szZx4Yg14y/bGe4C6qHQ+Dvd3BuQmJ+tBkxPGm0cUuDrvM9wtVq91MSvZRunyhxMLvsW+VXHqMbXaALLBYPv4rnz23hEfCHKYMpj9xqhWdwPDddyZzaWzAqYM1cxzNKVshZYxCHvXas+lx+fGNgZ+0mixna0tFAJW/Woe7E8ecR9/JUel9O7SbFKAzyx4WlNYZOKAgaQ204JIeDHOMSMCHFSmAeQafyYS7e5OVmHrdvO8y7p52AQ67XD/NBnYiVhRr4uJQBE1sANIQMZhRub9eG1DnxxqgOZF9gyUUsu+dw8aKOX9GQ43Tz9i2CqDnxf2Eyo5tFu3Wh0E62k+bdBwhgNk/o1Y519UxvZUvo0q0DJK+Yzgqte8mmr9zCgwRVRH8jwAantzzNFoI8mkJuhM/RDdOTAdOvzMTuY6yBxJj2y3zAwi5+7vdEY0LQkCkoC6E9g9CUUAfqaarQ7+YnV1lyH9sqr84+E+a0eX9xGiUG8vmPjFyQW91wZzaZMJgpuBHUuurAx9uTYjmch9LPT0As91i5I9heZnFcJnNd3vu9Jelpizn5En2KW7L4JRfGu63TgL6sYvgqJ+clc5BT/subKkVU8xEYeclqGA==" title="Mekko Graphics Chart">
            <a:extLst>
              <a:ext uri="{FF2B5EF4-FFF2-40B4-BE49-F238E27FC236}">
                <a16:creationId xmlns:a16="http://schemas.microsoft.com/office/drawing/2014/main" id="{53AE5539-D483-F347-8267-BB3E0ADA2D6C}"/>
              </a:ext>
            </a:extLst>
          </p:cNvPr>
          <p:cNvSpPr>
            <a:spLocks noChangeAspect="1"/>
          </p:cNvSpPr>
          <p:nvPr>
            <p:custDataLst>
              <p:tags r:id="rId11"/>
            </p:custDataLst>
          </p:nvPr>
        </p:nvSpPr>
        <p:spPr bwMode="gray">
          <a:xfrm>
            <a:off x="3309487" y="1736399"/>
            <a:ext cx="2563819" cy="4301795"/>
          </a:xfrm>
          <a:prstGeom prst="rect">
            <a:avLst/>
          </a:prstGeom>
          <a:blipFill>
            <a:blip r:embed="rId20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grpSp>
        <p:nvGrpSpPr>
          <p:cNvPr id="5" name="btfpStatusSticker719082">
            <a:extLst>
              <a:ext uri="{FF2B5EF4-FFF2-40B4-BE49-F238E27FC236}">
                <a16:creationId xmlns:a16="http://schemas.microsoft.com/office/drawing/2014/main" id="{81BB6E87-AC4A-CFD9-B6D8-22F403CAAD61}"/>
              </a:ext>
            </a:extLst>
          </p:cNvPr>
          <p:cNvGrpSpPr/>
          <p:nvPr>
            <p:custDataLst>
              <p:tags r:id="rId12"/>
            </p:custDataLst>
          </p:nvPr>
        </p:nvGrpSpPr>
        <p:grpSpPr>
          <a:xfrm>
            <a:off x="10102664" y="955344"/>
            <a:ext cx="1759136" cy="235611"/>
            <a:chOff x="-2269853" y="876300"/>
            <a:chExt cx="1759136" cy="235611"/>
          </a:xfrm>
        </p:grpSpPr>
        <p:sp>
          <p:nvSpPr>
            <p:cNvPr id="15" name="btfpStatusStickerText719082">
              <a:extLst>
                <a:ext uri="{FF2B5EF4-FFF2-40B4-BE49-F238E27FC236}">
                  <a16:creationId xmlns:a16="http://schemas.microsoft.com/office/drawing/2014/main" id="{76D4F864-BC85-C825-A3B4-00E47DDCDAF8}"/>
                </a:ext>
              </a:extLst>
            </p:cNvPr>
            <p:cNvSpPr txBox="1"/>
            <p:nvPr/>
          </p:nvSpPr>
          <p:spPr bwMode="gray">
            <a:xfrm>
              <a:off x="-2269853" y="876300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24" name="btfpStatusStickerLine719082">
              <a:extLst>
                <a:ext uri="{FF2B5EF4-FFF2-40B4-BE49-F238E27FC236}">
                  <a16:creationId xmlns:a16="http://schemas.microsoft.com/office/drawing/2014/main" id="{D13FFE7E-6B6D-1848-8CC4-44DD700EC4A3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69853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btfpNotesBox735198">
            <a:extLst>
              <a:ext uri="{FF2B5EF4-FFF2-40B4-BE49-F238E27FC236}">
                <a16:creationId xmlns:a16="http://schemas.microsoft.com/office/drawing/2014/main" id="{6CCE4894-A691-5949-28E0-D2F660B761A3}"/>
              </a:ext>
            </a:extLst>
          </p:cNvPr>
          <p:cNvSpPr txBox="1"/>
          <p:nvPr>
            <p:custDataLst>
              <p:tags r:id="rId13"/>
            </p:custDataLst>
          </p:nvPr>
        </p:nvSpPr>
        <p:spPr bwMode="gray">
          <a:xfrm>
            <a:off x="330200" y="6341860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CA" sz="800" dirty="0"/>
              <a:t>Note: Paid search investment only done by Peer 9 and Peer 2 in last 30 days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CA" sz="800" dirty="0"/>
              <a:t>Source: SEMrush, for the last 30 days ending 17</a:t>
            </a:r>
            <a:r>
              <a:rPr lang="en-CA" sz="800" baseline="30000" dirty="0"/>
              <a:t>th</a:t>
            </a:r>
            <a:r>
              <a:rPr lang="en-CA" sz="800" dirty="0"/>
              <a:t> April 2025</a:t>
            </a:r>
          </a:p>
        </p:txBody>
      </p:sp>
      <p:sp>
        <p:nvSpPr>
          <p:cNvPr id="13" name="btfpCallout516931">
            <a:extLst>
              <a:ext uri="{FF2B5EF4-FFF2-40B4-BE49-F238E27FC236}">
                <a16:creationId xmlns:a16="http://schemas.microsoft.com/office/drawing/2014/main" id="{09B8EDF3-BB8C-F5C1-E1C3-B0CED309E797}"/>
              </a:ext>
            </a:extLst>
          </p:cNvPr>
          <p:cNvSpPr/>
          <p:nvPr/>
        </p:nvSpPr>
        <p:spPr bwMode="gray">
          <a:xfrm>
            <a:off x="3772621" y="5689599"/>
            <a:ext cx="2195029" cy="582650"/>
          </a:xfrm>
          <a:prstGeom prst="wedgeRectCallout">
            <a:avLst>
              <a:gd name="adj1" fmla="val 62651"/>
              <a:gd name="adj2" fmla="val -47893"/>
            </a:avLst>
          </a:prstGeom>
          <a:solidFill>
            <a:srgbClr val="FFFFFF"/>
          </a:solidFill>
          <a:ln w="19050">
            <a:solidFill>
              <a:srgbClr val="5C5C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>
              <a:spcBef>
                <a:spcPts val="0"/>
              </a:spcBef>
              <a:buNone/>
            </a:pPr>
            <a:r>
              <a:rPr lang="en-US" sz="800">
                <a:solidFill>
                  <a:srgbClr val="5C5C5C"/>
                </a:solidFill>
              </a:rPr>
              <a:t>A </a:t>
            </a:r>
            <a:r>
              <a:rPr lang="en-US" sz="800" b="1">
                <a:solidFill>
                  <a:srgbClr val="5C5C5C"/>
                </a:solidFill>
              </a:rPr>
              <a:t>low CTR </a:t>
            </a:r>
            <a:r>
              <a:rPr lang="en-US" sz="800">
                <a:solidFill>
                  <a:srgbClr val="5C5C5C"/>
                </a:solidFill>
              </a:rPr>
              <a:t>indicates </a:t>
            </a:r>
            <a:r>
              <a:rPr lang="en-US" sz="800" b="1">
                <a:solidFill>
                  <a:srgbClr val="5C5C5C"/>
                </a:solidFill>
              </a:rPr>
              <a:t>ineffective keyword targeting</a:t>
            </a:r>
            <a:r>
              <a:rPr lang="en-US" sz="800">
                <a:solidFill>
                  <a:srgbClr val="5C5C5C"/>
                </a:solidFill>
              </a:rPr>
              <a:t>, suggesting that the chosen keywords are not highly relevant </a:t>
            </a:r>
            <a:r>
              <a:rPr lang="en-US" sz="800" b="1">
                <a:solidFill>
                  <a:srgbClr val="5C5C5C"/>
                </a:solidFill>
              </a:rPr>
              <a:t>to the search intent</a:t>
            </a:r>
            <a:r>
              <a:rPr lang="en-US" sz="800">
                <a:solidFill>
                  <a:srgbClr val="5C5C5C"/>
                </a:solidFill>
              </a:rPr>
              <a:t> of their </a:t>
            </a:r>
            <a:r>
              <a:rPr lang="en-US" sz="800" b="1">
                <a:solidFill>
                  <a:srgbClr val="5C5C5C"/>
                </a:solidFill>
              </a:rPr>
              <a:t>target audience</a:t>
            </a: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7B77C14A-91D9-24E2-D5EA-9A88563D77C3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38" y="946635"/>
            <a:ext cx="252287" cy="25157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970291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261635BC-0D5E-650F-79B1-1A72A821D5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7770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484" imgH="486" progId="TCLayout.ActiveDocument.1">
                  <p:embed/>
                </p:oleObj>
              </mc:Choice>
              <mc:Fallback>
                <p:oleObj name="think-cell Slide" r:id="rId19" imgW="484" imgH="486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1635BC-0D5E-650F-79B1-1A72A821D5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aYhHdubK/b9WYMbiqTQFZNRdTaHJ1Coz+gznC5J29/l+uni9WCTqRMIgVGBy5FSCqTCP+Vdrf4pg20L7fH6DBDFZux4Tz8Y6EIG+4ABhVXG1eVDB8FZ0rf6hSs2gwP2iWMPsE4vSr2qZ+sTIxP/yt7nXlzA42FxaXCupq55fRLbI9jA0HOzdgY5JMkcRcNforb2KCbFaDbSZwu/Rm8JQ7chNQ4jlSMIRjZ1s9kX5f8ag4sNcXawzgqPPhgXp9GQCYVL6AcwlGCBlVFlhTKxa5dr/yF1DucexU5Y9+TGXolNIRJQmpQzbM3UkgdDDAiss5IAM30N9pqSCN921KguG+ntbQeer/hdS9FWq27ykqZGBUWn+2TwnniWSeeuahZjW92ghW7N0r5zrJkVX+p8rT0WWCBRPxGTgFLEZSLFIGlp+z3iqFLLYt5zIFK/Un7Q1VpF9ZxFw3eM7ha3mfI0jYFNu7pExocoqdabgYNG2wkMOTd3RWWCvMGa4bip9v+sf+5uD6Tcyfjw38H6LaYdsFp+vJsOpibJuvhFL/mE16yJOZ3WdTbXfaZNs4Vr1L2bZbyW0rYQsKFLvwL+kZpVEXS2HX4e+Yiu7ZlFDhnGEJ2XSs3VsqhyDs+rM3ai5+5BY4WyJk/hctzaidA6ZEUH1ZYCczDAI4Qj+AuJ6gEqGKej0jdsCC0oGJSB0X+goi2tgLVDPKk621Gxd88uYGGKwe6yohrjMO1b2lqY1d8xTEenGWGfxxu7QP4BbmePYPqu083R9v26qbsa5EdZqBoMZEVxvsFle4ElqHUUxYR+qVhdo0WH1/JfOFjBiA1xrL0NahTzQy5ZY55j1VucjzsvAPOh+b0CI13HiDWVwMzzjs6ykXojV1hKisDL9IBs2z7hygzlCEcjiHHpRyQte6NbSOhT0YMXL/CAvcjTwPsZe+zDNqi9tngL2hImYF75/RMkfkra5a7XKx/aZv1QHwCY2cFNkf2oOROrK9RRnkyIh8hy4PCA/Cq0LcFiHAU94XVFGOC4jK/1CCX+Gux3WbYzaGivhmW/o0Md0Rq4Oqcorw5vca34uB19T8n2tiWXn2jU1osPcB2ZmjFKBvj7S7Fsi1vjMhI9Ti17A1OiSoQvx5sK0sG5FFqXR6ueumZnpK/FwmX3kfsCylhKpxvtv8jd2gYXv1bUXdJlU7YA03JCcEjkurGXssL+W1Pa/SNWJ8N6Hx0UBH6bjOh+GaQBsLM03B5U++Y3+PphmfJDn/c2WsR3NHuNIlMmWKl9ePgCWUOra+1U7mN06kCFGACBuzqy7aeSbVg0gRvLwV+XMRcpKlS1u4CDdfmcE2nbkx5LKBNYGAxOv2xAIsO5jv9CM/HySVYBRhZF/LBQAs+uUqXUR/xTxEVx+TtoloHJdnnI10DNaWVsqslHDlgEwL8rduRX+wDilg3SzPgufEDRbOFI5hbq6rtFf3BDiJLBoolQ9wnjSXHUXsKyVk7ZCbxiZ4bp0mEopw7iNbBKHj1ZOqzpsXe7Ak69tNmD6+Q4TYyPfW4u+BnR9C732LOPgqQ2MZYTe5+c2nsYlHZJz3N40uOr7HXGdFVDrZyDP7cQYvhlUmY3bXdiA3PID+q/f8zwQBdvaeICEmAg34HPvbEzwinKEQDT6zP1ket8brW4REWChzJNNPGbwksEGVqyNkFzDMcGSZk+oqlfo9Z8Esv6tfvy5hlhZmfCXVeOH3J9zfP0+z8CKabdPi0gEVrM8ZwKH+5N49l24d3oOPDvENHzFSOXVWbWPn35HaGlrV0XQOba8Jr0K6BfKkIGcTtXrUASpd0hdJw9SuMNw2sUYLWA3ICM/QFBmb05qly1AdAPHx6NKX7xBDe4cFjBewkhlQac25eQ2BmFWKdk1qMuoIBygDVOqJpsVldU9jgtFT5uJEt66Lp0ezCr3rclbuJEU8h1StlXN9m2cO6R7HKCFEer8gycUoAYMw3/iHaflMeCgC20aWpnbhp+I84MhAB4v6UNd+ufSi3RuY/sfgJ1gGy3YK4ZvP6E0zkXJaA5xqqrRevCIrZ6DDNMXCESMGPi6MQpWPTcxMZtS2POIEyi82vTdCaiXPkhCtQAAyN3Xx9Cg+7DkeDbuk3A5BzH9Dz+SEMVYycoCFXJ86gIWc39qIISQ5JjsdekDPoasNnk9eqbnwQS79+E/jA2HKwKqLQYBlp1Agxmx6l0exfkFVZlcbgPi3lUyPGNrLQG5ShFajVihd/zZv081qdg+8UFNyoXGEu1nt5wCZ0ui9vNRSh2QS9Avg+/PkH402LnMmEIv3/hqLA6a6qUKKzrruQiABel8GoqBWH3KCxMme69oyiIqeLCOqICuQk/yk7pS1nyxPiHKX8LfWmmWG8EwU1IwMU4NDUxVjOIcwK4zMXdtk1mWpOMMKaGrYtjzaJOFdtbgQhlrNOVM3KCrxqww38nF20OryGjEmQKZTAM68AXek9wpl/RSFJtPpYT/LAEhRvtOnkxoALaJeZ0eU114WKfkglqpd2lAzObRERhP0SY/TCQLsVldLhTW/BBwLdc+uRyDGWjExm+t4yqCetVDo4t1C0eyWJZR8Ci8SFS+LqcbG1ThE0I2fr4MzGifIM3bApsTMuaxumiLu/1ohqfbIdkYCo2/lUhbKa1eFIQLTM1N3lcPOfh/eq3NF1DCg0iKJXCWJYCHo6K2kuDCpj/NsWe0AyEcL/3+3nL5UHgqr4YpUH+GG+bLjdBZtSVv/H73mZLZ+cQysa2Qm5aAjhANFk21xCKfRRYDRPGu/1iIP19RVw0rMZE9sPezelldUDTs+vv5Ft0cUZv4jcz2N3VppdSKuKLnszhntROv0U9XfZ1c5ovc1LZumBGMb8cHxrk5RfOWiEDCnNd0xScr0pjxvogSJ3CW+/mBZb/OmDCuh+3z3YylthqequT/WNjDRXfp9UwMc9kr3y42YSgsC09kpaYLjJg2J2ZYUcNin9bmfwEc9ROOJSEsG4bUU/Zr0xKO5EfD4NTB2K8xcTyiRXcWVVbzkHZ5dmEBBkZ3vIlOGQt3CeZpqk8RJUrEhlawiAL/YC5Nm+VPWOLy8fSWjfqCkRlzpbbdlLBfn/6c3HAGf8NxyuxvHq2bhmXkXLxgZKxymPuWHtTR+mUmmHgNO/mF9P+iARSNAJng9XvUsXm6vIWO0AO+J8crCdsM+fzlqHqL/uk3WA/l3c5FgThEoAGUGuvahsU/kFelthc3V00tBU7fVGtSleOO7nG7uKj9ccipBNBVv3UgZjJdSJDhf1UsowA5Kw7vOI1GVKMVnsQXFjy8rf0wTekQN1+IY6WcO2YKRqrpQGFD+z91/6Uvd/LWzxOn3PdnsIyTT04lOdIy4ulFqKSMwVONZ4XyPPlRkqX4lYi4IP+LlYXNWJYVlREfaBlASuy+sPPAoBHNwQlG1nRfvF09h4+h+lnkPj9kQj4MhGT5Ppeo659jfPQjxTO3NcJw5MSXzPQTekZFXjSDYrz5DgaTorYk7SIO4hP1bWxGjPW+ysDATkdzPNYnOeqeEv7u8+Onguh0EOnVUd63zYJN32QfT0//6zikBt91lboKiVLBL7g33OCJ3iikz1kzmHg77TabxE9e52Nu2NkIEvTBTf9gexzD4YPt1Ly6Q6YpE/x6VCK0N3WXlc1lo/ihdMfA4EpT3zV9RWbKjfGhlqD+gYzMXyfUO9HX6m7Lj0IzfK4p0p7nLrJPQCu6H/o+JYdGsRGl9CikCdTK1/c3ipDlHJ9ZMRAXPwdnqdVhQPme9/ItKbl5aazgnM3fwUJRcR9PyC1fFwd24kzN5Ur+mBdWn4X/QMKf/6NQuVHohoQjLfHG594BDS9NVz9jFWTFcsHFpJBHX4/AHwzDxi8MG0VCMl73BNZFJ3LX46k1pLAo45TY/wPrsOTbUypbUSo84sLoeVjBt+f2RWPAhsu0gs8GoUC0TbLfbXyDbAvE+N4uVKGnyGPD8XiAuQE+K7iZmZAuwtf+5CHc0kVT5SYNpw5ON3vJ2uOEORplupMf6eomMYzY++DvDpsfRuKPdYbFpHr+2SoPvMCBzEo8SG6SZwuBdk4EcyXkk9JXFfzzIX/a9VsEiiAcyaOsrOxfE8P09TwjA/EUhiGdJemX376JQmLSpjQm7Y3GvbcSTfpcGwUogP8q/+FMq0J0xEgmx538YRQiwcHMmmbOLA5f5FN6H+hAkWtoF2iZBLP1GrPKuxxjjLjNBqFAorz95kzEPqZvZFH2znwdDqe+4jHgX6xTDhode7L+Hpybv5GsrymhfA7un4nie4is1f0n2ck2nP9bx5tm3Z2xT1shTBn67iK06tlc0B3rkixL1D4DAodwH97Rr8VVE9HFLfcjL0NcKASvAfMDUfhjVwaw89HumT+pYT1UOB32FgTI/zvGHmoLDdHGqrAfW1BvHbQSqTvicgs3ZqASd0TbYcpm/bfV3p54RYAe3O1sE9QTtJtLbxhfcv/jtpIjq0W6AHbALOyT4rKk5FtOcXP8KV07gC2NI2AP35v5sDdpIS6Ro56KjjaT04ZK1ipyFk5IjNIMaNP1KC1mO+L7Ht8aiFc7OqOSgSBwQidReg35l0qBN+3KGm46apTwI4lkoMFr0jzsALrnTqo+UNninhBaK32rBD02brIMeaviGJKuJA3s4i6LyDY2e3SbzxkKrTdOHG7mCpA851SbZcxXap0oaMuIs5EL5Xji+b0oXVJYHohz/1nIeWxj8RAeQ1BoRD8EMlRZvgPeciwKmOCAfvNWKHwuv24yoFFyI3YYg7YFkguXX2U89azS1fbLJAO+7MT4Lw3MEId8Zi5hp8/85nqFA3dHaYS3xWgyD4uC0hT9ak3Z3r5VExEk+66AYmqLbmpF3THNk/4KaP7VMXxRySlUIHdI4G4kFSsbX4+J11enUYDeg4fv3L4wWUaWJc41krJH3u6WLa36/TIJTZaTfnh9ziGpZ0VpE/imFGOvZhixO2DB+v1oVQxw6TAh9qkFd38CqWs6J/3V0it1yERhDKgFrAT4o6GCOI1+JkKcooVkJD7tkBZ7I71rI3Lj+Mba0/jHtLhkTTGeP/bCf6OccTB5BJDr+++Gd9q4d6PZvdmjZy1f6TPX1GkC+Fcf5fTJJXj4kGJxAta4U5sv4lvAXEDuq4fzVXO1OgamalRhrR7IqYcxdQeX3O9INWeX9fzCKGmTVJLM2bcxMrxjrN7/LSfSQPbRWmX/D4w8k30xJNwUFrK+3n2zvIRwsJ469WcOCDQjq7SIShy1uMsBzqtHmI+eyGK1Zq1RVtnwc+Oe+nlP+b+QfAJSPXiwn6AA26O+BUNazhw0gCSdHU+zbbLJraxPgDUcHHEym5OTzInfO2v5+HjTSD/22rbrAl/ZgZ7iLhQWBY7UAJLdy2TcjtYRxPFFpAZJHeGCzagiX8y3pH53dJltITOp5IA3trCKXhM7nA8cl4gYbT+mEHgWoTzkC68p7a0oPZmIqWvlAa2XFr51rUTWtq/VkL9PweqW6GeshnwLPltpEGGipNMOreCueu+WBQ31/gOOcrbc+udbGEcFR0IR4RraJ+LHD6o3uXjivhNrmlk4FRPFOvfAuUxcRbKCgKCM5fP6JoAUAVCd8mb0BLX8BwtG6hrGxhNrNfCy5iiba8AToGrtL4e+TEBjNnTp58Xp8WPBMo9Je4eRww4zXE0TouGhEmSZ7Z51myZdggdWvVhTjXzABzjkZg24W6GfhvpKI69Y8WrplLIuv4GFUwGJeUBNu4y+c+tfNDQRQwqj8941dTr9leQTjEI/V5q37EuQ1V73sr8/3GL1U/6uJWSz9e65NQpEQpIr5y9Mjjjvd2rr0JCFyU+e6oPCH8PETFVRtmZhZ6hUzzUEIdZJnjyhjSP2v/81TmGRfjqodPOxxQcihdriBr2Wvm9o0Zt2mBvHpuSIWyJDnayxekqobsv6JTHad1xoXj5dfHEgMs3082wGlsyRV/99KGAm970csrdETve8325i05uaNbxuSRXO3VR/SKbIfasphA8BDQIYFuL1IgcuoJOyeYoNecVw5mMnZx2ktq18sndPhwZlS/nOStZ2PCF7yy6z5M0FFFgQfvwXJWuGgWwxIis+OHre7lgvszmOYyYc53bQbWTNS9LfnVEyoXkGg6EYksyGSl/hqvMORvNA5gjbzfg19kkAlFM+SgmJa6cTzyoceQVVn4w0UoJLMLISgaLWrtP6e6CBAiF/VL2Abw9JHwM8Zu0fjPx0wfZwA91OA/iDT6bkls/wffzmhJIBe3LPZzooGgECnynMgwW+3pJk7QvYdIKyzX3k854xAFfV5bN4az6iEXV4yBlFolTlDh2eNoW488ncdNE9wAw8kK3S9hz7UYPoAlvrHAUtf8GfVj8mCwWTTEKtS59xqYiJRsYV/+7lyufA22M8GoybwQmPhwfqLlaZY0XbmwiDAXzEVsNsgOnMalKy9vnZB440hDoyaQMg+qcrOQglYRktBnBsydOTgrAyo10ekcN2gJSgecKQug6ePGJiOJLYd2Q3vzJz0I3htLXPVQXK6cQe4+ABi85r5xcqq3TojZs7OqSZJeZaDrpt0l4TgaY1gsi2TnWb+/78y1BZOF4Q6haKfXUcM8bWnMUD58ryMZQPGAumHdhtiQLO49+SUiP55lp4fvC+yWq1g7zxRPnOxMOCdVwd1PAKN6+oBPktp1Iv9toJUgfqWGyVmETyevHxgpT+Up/kbRY8YGZ7SuFgcWNkor1UGDnbYiwS5mbr0BpRo5J0kzq6sXa5moggJ3YUA7OCCJr1HGYOnsSSXGQAV6YLer+rChvn3ljTlq7nWPZqEs6jUz8DJQru4D3JL/wd0xaSODP0hUkeJFPzxTjNeso2bmoS1G0Jdplvjb5Dw85vcykI2XWHZpJeTuqtUlwV6R/S9MwYR8OnXdJ+VdG08iA2gZ9Jwl9nN7UzmJYwKQzauURveVibT4iWW+evvtPnzzoypNduO81kw4xvAjemvGRSPSqBAG+LTgwjf5st30ihF2ihHOzTLERfNwJQygoqI+rjeUWH+lxfRK3fxYPegg2/Xd/ZzRFkcJ6RT5KgcywKhQx9QLg9hf+2l6EpF9uGxzgx1mwFqDDw2OT32LQT76fkYedEv+ZUv1St681s4aehzp/hedT6qO1SvqdRKUpCJiDZcoCpdCEnBHPZvK+cDLV8vTSRRJBVdLEFRDWwfzAaQBGJt9bsCjIo4lslZjhjriiWKZavbFhrwkEpw3PbklS6TSOyTV6k0L59jzcYCJ9PRwBA20hk20whgQkstW0wzEmA6j2IFoKxJivKy6oWaihTpHpvRgpaOocKTo3cZSGwm5to/xa8wrqg/uSP39vZmSNonU+FbYMIpZPZV+I3meuIQmm2qT0s8K39ZppwrPrPTyz1sAkDDEJnUuz0gOV0HfnHnH4mutzhFTf39ndOgbz3+H/HCP3GopafV3ptrIozjutDTTB3BrgQ0uPmTAgihrRCbaoxXs4RL9dM+g9AQe+vJuglZZfbBjY493YhlQ8WraEwaKdoyPgUUmbWCvw1+m85FatQVjTtGN36I3AYdphPLOX0DyYRQ0cqrXcwHumibfo0CwGwEdtQry9D5WmEQRe54U1fexwC0dgs5MPdn0bVOLVM+aPXdd8Vw6hu4RxmkQC/BaprvbRc8y97YNzLOGFjJTMQJHgJTL9uQC29oEgWF/xgOcHA+g7goEqNoiGFWFMWPAG/HJ/rCJ64+nXuzd4xovPUnKp+WwBsrGWsP+owpxXB0s+lGtmNzuwqvjhM5p44frhwUBq9wRvpgMxKLKMCmhcRRqf1yI1ZruE3g3hwHePaLiAfIwmMCpKWly/4seYfp5Gm/AHLlMxlweQDrebPD4XGFS63j36HVxNavB9G/AK6tV49vzenTucYX5cxJbu/ydj4a5hRIW0oBFmjScmPW+Tt87VTlqKiR3hNNVilHlpL/Yzk1zRVHQMhnUfKbxChwJMPwnrur0c6DY7E0TZ6xptF+WxN/kpqQNzIvF2JZCOKDk1EpXRvXMbHHVssIo8TKY6lFrKsDwHYAA1I03gtaesGybmjWyDEFoMFpPPmp4Q8czw18oPqfMXUR20caDYqYkGq2Xk2wIvpng8IuFg56pK127er6t3TT5q0AaRPXUsUOM8d4mJFO3iYRl6uDWBT6NI30YPjQ63x4tHqnCuRkjM+A5NSlmXORwhLQUTHTYSlOFPv1KhRi0NaTeBeccqC2TjWo8k650HS3NXlV9BkYXnQQFwnfMeJLZ2LBsImEOd5FCcYt1RwTvEzJo5gh5eH6yxXo9SjzC+Z3im/Zfr3EcFqczzHEwdwy3NyJzTnHi2zSJnylZCoWqNPO+eKkvU2qEcUZ9tDnqkfA+riKpJjn6WSUZ0Qe6Z3oWjO9ULdqsXMuLyQysK/OSO8bHWyw0reywsRA/h1U2WsTARNofj9peWPB6STsJQAhrDVvYQZO7E+2pwkDUsTmEHW1BNNBd9LyjahKmE3aPMRu2CzPrpVVMdEO5pN7h2ENBv06COugIOF8uTsuDoLSO5kdrIJYXwXxuOPTA9rbZrHlODoD7C51TeMIIJKPKvmckTocDTTHgt5Bu+D20EuMhWli0KVj0id3nRl4+reHrGY6YPlAWkBwYzp/lx8QrmXILsF5+PtSGfFpM2GFfiMJ6XPDyAEsJjzxixwwiywAq1naYhCtqsAGKCRwFb3QQZDvfx1O3eXmk7huj7Wwi3vKCn9TZGV1F8JAp1xkYDgnxobYQa2xQ6MfhqQyy8WFdsJkwCbeT9LYczRwzCZXHzazVNzKD632Njus5mEP19a7aiV/igTuyRE3sjwhuiAUKm61HCH0fZdgPwg+8/Ew02WIEQK0OvL8zP/wktV0iUxPxACNv73c6lN08V0z5KEHMt3P8Oy76c0Zum0JFLcGROdoYM5hcaISZJYJvB7Ztad0+LhRQ7xcEZZOYZkHoBwbaj3yR2eLjWgaXc/dWNuG32oUZ9S2j9u2818fN2/RbB3hjkN94mCEh9t66lrZVzweY08UVUsG1ML+VeHVC3YXsv4nV1vLCDPWxnhyBqe0wbAzCnxtn0JxNRcaOxFLBkvveuHf2xMouYSBKGYsxUwg7J6tqZvK16knsRvf6PMCg95Cw/nlnee57IyOttj1NZjU3TfuRSG8B03uZfGxkVLmvpttbfbiCKqTtd/wNEzmCyqNodQOfdHnUnH+rS/NEruYEN3RZ/sdk4jTmC1iTmLhocXPAlOvLYVKHpnASyus85jKJmAudLPKMr3iVdDbsy3WxvpRx59Ol65MopoUeBQCXx7EmKQPE69sQFLLFZHhOj7PXMyR2Y1dTAMJLwHLcFVY1aeTw/9ClNr20SNFZAh94S0dDSOz/D2Drbf05kg4fzCObsiY8ZZfaFXvFjW8AillELY+bskDP6b2xUdr5Q2sYANZaqc6IVAJOGH1iXAyEmVPUIigWiLVLo4GyJUnOYMRvIekD+smt7c5zHxEdvFPGjuxp6x2pUeD5ZZI/GcENu5aoNd/0EFVC0mE02jACyQgl1KzoMHccHWTUZi5kshehrS7eAwH0k1LnDnsmo9W0lk2V42gcVr91hS03N/5Hf2HklRITJjSRagKpSDAEqUCkc85eeOhodZbiizPM+IZRTEoJq84drNl45iN1hd3kAuNsJkmZ3IMU3Mo5jVwJM8yBgU3UKcoM9F1MK6KIpbvPwuhl5hhiGD3rKZvzjbRtu12b9ddiOjwbW6zkufLQEGzVtO5eKZvl1pkqiYxCHM37qGHGiR/X1CsSInPGAZPAvBsCFPopInQARzSxNMmq47CuHsJtLbZDNmB21NYaPSfy2ybIyMMP/pcqyhSAJufmrI2wFPdxU3ecCfY1RAY9sKtVkvVTHVFZZ0a56ZALN4guENf2ZLC6uemWvOw4phh5wG5obOGxLcyyDRZ74t05xLRAnWDiTb+jkbNbpHzhfVwEblCvlQMB9RMAc2vapJwcPPMy5Vgr0afE/cu0HmDCPc9pXfZYanR+uPAygRyMY5bN7bS88+CAgTtL87mBLTHaAGlQ6LLtgfl8HHiQdcncQaRkp3iwBMRrpV/XU6o1Xy6i461hy6bWnWmfb4uU/ydRghx0yRcCdZMzbjXjaj9WLTZp6AaviLdtMvXxO5kiobNyC4e18U5gIf0FCbNr9RaWFNoejGwOQkcO9Oe8erw87OfWV+tVPv2ZCvIG9UEgGS0Yzg5BJNk4iUTIVO/065b5B5BzCLWZgqwzHDv33G7cARJi1s6q/aV0s5tJY6MqKaVwWWVWLvH7AKlUIsl7L5ZfY0PYyaPM61YJTaafaKzLewfeC79SaNy+pMVm3H4jM5jIgeYriw5opiF9LbF/2KaMFyRqvwNEmVHr7fawjZXLAl4kJqAVXmqvBVN8aZ7bojmi44h8LLisyvyxbwqu73q7mN6lceMfHiq5ohVVgdE1sRtKBgJ14Mx3kYvtDxOnXPCrhBuG6DEytH2l8A2kpFxckaj+P3q3QzQkZ1Az1/i5p4VjQYlIg/55vctdoS26Hqu6NlQ1IdOTijkDXw5S++Z+CxEUnVJWk3p7HscB/P8cuxTST7g+NPRRiEMEbvFo1Tb8Mk1CnzDt+XXMb3EaW7JWIVrRrKUP9CTFbnU32D3y+j2yuNzBNjUsQFWN56MPD4LC8f7SzxEc9oWohkWX9bT5Cxj1/sLTatbjZR1n+m8jPkQ1862cY7tiJRsGBk2DmBKElqyZGo88zLQBMfj8rgqsJC4f0lSmibWG/zx8tvFLgl5VP+Qmo/MfnjwcooHr7lES3j88zpswu76veU20qFPWNNP/b9TD/exjbmggff1Aif31sh0enXjuMfa3Q1a3gexxWbf7VoniO3Vtm6Rgrwu5nONY8fxdGkWPkV9O75jS3PY7MZ++pjduSytpoX2rrxzG4ep9Bt4XZ7uIV78wsxJtUf5lAbCgiRxvtkm1UofVlnciUfcfGxxc+TRNhgSUcBCM/BSZojksYkL+WpYhTJRMAh4rC0QpXuEYqJq92nGYaMbHF4pxA7aCggc12NpTJwJLJ4sAxRzNpWA+RtVRJqJcj/VFAvtItPtx986JU3uqmA9jGHC+Fw+xTBgUUDx8AVGZkISrenk7M410tmvZ2RmLWQmbIGU+MpVkm6wdVaQpk+P/m7JBKhMNuzs1cadDaOT7pXLqv5hI3407EzRqPcVZwqn69/pTHvV81ifsa8OcO+qJjpoN8vg0aPlzOp2tWXKjUpChcjFxlE+AbMkK08rSXEneTamAQKRSvijscDTtu6rAggMRHhxr5drLy/quQXE6ibkANHP12QGqClI0anRBBIiwiNWNazYEjoxQx8DS9IZK/q7eDKR8ELRslX3018VGWLTbaYQJLfh9Q3/CjuBdirwFelCBf9nuBpa3A/3PrWcbHNbW/yIpMu3I5XhYsa+ScOSehbDlx2PAn//6QJbE/FtnyHd828r5jLxfYwD6vNxddjdvozHmPq3Vje7qtqwnCsdlWSqe9YKjIxNSZhOQm+NUS5xVop0grcu9fV+ypzynTXKGrfKruDgDabtRiHggEoV6ackG9bpYecCOGeRsgiMAeqNblH1l7gDB/Uf0mclFbcImyTTlrjxgHLVUOxl1FBOw5N6LaFCxd9xkttkUT2vCtcTxle85MMsJTSNos7LGIbNM46hO12phxmYEz7dWI0CdlT9siyZ++v/Lz7HmvpgKo6gUeA2fem5aD+6O+7rcbWV7Yy0JmbsiYhGgxZ2IHNeJit5SNg9hyruU/KBAOiyfpQ/nbbhUgYkW4XezrNRbHOkbz6ZZw7XORnEgL0fkMd3aJZhaXlzRHMV8u9pRVlFzJFwv5oyeSfpDmBAw32L93XH7L5vmEQkcFHovTd4Gx5amRXX1DJja1/HnD5ifUm9xlPCEAsRgxJNidi6dXN+qWMddB5rZqCByEq7oLkOXxC3Qsdj0QaPcvILFlaA7qDo3xPWao8Q4HwBG4avaujR5uPKi73O6+9exO4CqlZ8/Fzu5cJuRZgDh2EfjPlusCerVFgEefn6cpKSdyoatQx1hGrdrLUll0rq7s00uOxyud3pFg3tAZ0jz4Ey8FwxHWK16LO50h3+vFjs7Mg/414BTZyEz6nr1muhjsB6zPSOP9kyR/iZSJknqDk4lEuW0oGmzDEibxNu8+lF6oLisy3PvSHrEbydGnAmNKjE5eeTPrXrV4TUDBn1BdY2JQViuAbxSUQNIawNm/oatpO49NMnaMAug58E/frVOG79cr+i0z6TwmSCvXT9AV+6VI2OJPma3wNqy2pECwKxrLqWKckDcoERHMDUcxjnWB85sYb665qvvSjoaBMzjXCREj3gq6SDCNloCnRoxnrt6jkkqy948gPeNskY/5zjwuapYSHx8+U9+yb8JxvsguaBihmUySZ2wYZd8kDKonT5P986i+dcMpS/P5mjH7d9iNLX3ggnOtZKiNgL5iyImvMGxdr5RavhBe/pHvSvFVnl6DwzZEBATRXt6mREAJ1WqTLmMAiqgz9Dnh19WmD4vniCBCm0Ixdp4aVk9IX8h5ycuwn7yF8Fd/sateGKUfJZSe7tiXa6kJV5sCm6cVBizxlEIoIW08sJJCzy5uN88QFGGTKDObVWqSisiM9/VVYQZZAu2j5XcBsh/1s5QLbF2Fj5rmRUlTzIg59XS3ynkQNHql+fY21akskI6tuC7T4h7coy6Gu+dytz3WD+ZMt9rnkRi4LSL9WGna81ekZXyJ4G4bymsK7EE4drlfzt2hNBAoy3QsA+wfl3SGw3h16Bbk3XjoAvqH3JFi3ojAcd9MmIVmkNo2rXL0q1DDhhhlLU25UWmUxI7SmHtInUzJ1jrANkdjEUppw0mWxR1XUkmU7Wy6O3QX355Z765ILUHEx3IQLXfu9TGWketO+Xmk/dALJqbn8mrYjwerbbkkFI3L8t9fPXpcbM8+l6gnPThK3uixO7SFuSjzcnzV8F76smJQqWVkxNIwvwDa0t7j35g6Ywq0Jg18Ew0SZnldiKF/2Z7HJnCF81or6neaeLBNSaQDkVZBMlf+8O0VaWRRZcQcA7WZyWCeFuVkd733TxP39ik1feZB3yWF7wNcYsGKRDQjzu6czNWgSjn8qmZR4pYKmXJiBr5fPYZp10ZAfNPU1vhj6LwU0KDJh91264foAwsBuJjDhLVW/mK2ubi3bziBpbopDlnHbG9ToI8sQAyBrCFrOTQtBnkXDfrDKQL4umxcExjlubMxkJx24xb8RbT1UqivN2CfYf7SiWmsOiykRMmeY0ifTHlNgfPQyPPdU+u/t1NmMqsDlvFi8XbUmo7YlyTFbVpEQob+g8z1C5qqXsCWHGQqczyGRxCcmABqf/nzjTUIQX05ILaY2PJ/TfDMTb4wQSz+YLZuEspX+AnAtXlH+FA3pR0n/GzGpI2gx6gy2aovcCa4BD0HQKFw7v7tbCe6Zx+zCc/RmGF97SaAOBctblb7LXVvDWoxXQ0/XGX7PZuIK/WdP1lOww1Sapc6gwI2Cz27/YP7RxodfmcymC+l62wr4kPDASoyAXSCdgJNs2Luutmxn8aYivD2yXMkOfdsaqteEQ3H8ibsPXOqHttWU4NrDPJP4T8dhtihsZTprY3y6T7Nm5qz/8RaydkcXf+hCJm3677oNzaBPMDcEKn5eITQqi5/SweLTganRVD5jVGlqva6zLjfxWBRLQEFDNLd4Hg0P1qjvkIirfjB9oLD9hK6XvFhRboMkbw9T1utZ1TaixbS+5vcHVOTUUBUVVYwMRmV5qnn9RVsyMXIsT+xC/Icc8LOR/bKU1JrYGcZLrCMnxC5SC2dqvRZu6efT861W4C2HSYJiV0JHAsstL6Mc9C8c/qZF7EVZ22/AmX9N7vsYrFxIrGPsx0zcSVjItDmiuSyJfX/36pI9gbCIoWFIOANXrhXyXVkFZ0GiKAlULCIRhHGBzJLwYCpfOKVhKlJlRAFr9XCLHSdduPysj5HLoND3EKn8apkuYqrcYwiRwjn8X3ntQxcmX91jFUh48rMw5XJ00HL1/kOpHAJupSBc52KQun2Efmp1wxEaljp71mWgvAkUPlpixbZg9yhbV2hXXSGRtAnPlGHh38/M4nk060MIU3EV0Gg0ytNj/ojMFpiQYtz8DuCAWkpRb09/eoDv5cGNn9yLhIvdPRHeg3YXXuCYPr08p79LulPSDMp3p65Cm79kcIhNrj7AuozVMEie45OF4Z9SSRSmtSuGDDe991BXAAYEHV8Hlz+viWcbEtP+jKC44Zor4OZuqJKmDe1npZp88SvhbOMvNZkz7Abph4s53thF6UzpNnPAdHGN76Ljf8H2gV45idxYXB6q53uwa56YmupaRMXAefDXXDvz1PoBfh3oUjFjQPxcZ6LsFeT71ft6+emFJxusOCahZpOIXcLFnyqSOExAi27lbPiAdy6Z1HNWyBSXlSK30ayrpDMSUEGZbXARvBGcVj9Ia4AE8KBDqtupwq5H1kr6xmaszNnu+rnnTY3r2vSgXhTXSrNUUBlU9uLFOg+Xo9JmiqiDzkxohNIYCrztawS7D04bHHnjyuh/0V/b3zhWvuDVYV00G4PldiiV5xEPyqas3Xn2hALu8s5mdwMhm2eiG7d5qQk6Zn7dXZzhmgel1pxrnJp8zSJAqxbZqomwPNdHxYvPHKL9+/lNOQxolWTnGHaPLgwzGt4kOGN3gTWdfAn+IbjfQqRp8Ys+omO7v/yopeJPjegw+8O+hia0iciR5rLLj9iUgLhEQjHR1iZp5x16HZQAJ/Wodj2Q9Mc9JZwCaAVQ+qAyYgWVvvFxWK5f8DtJ6z91fVIDQrhLK39ZfBKSpS0+CxepBeGiQztJRSuyJTy2mvRZZ2I/f0mI0a1GnyDVnmv2sAgJnzH/hkS/LQDu81FmWcDCUkvE4gnfWqS11t3Gd5jeeqagtu+OEx/L3kP1czixevMxkjMblEl64DmNLY1ukhQac3tq0NE8D6HDpgNhdhB1p9Ui3fyeXWcmurrBtwD2lb9NzyfYRvP2EQ09G974B3EIvh51g7ssthvrgXOOg3DDdvxlf+cx6CsCPohUJy/DSTA1aP5bHcUgl4cVZriBYxIRbkGES11f4Rx9hyl/qLtBehfE1NcmTofpufQ82x4Pv7uXtxBcBdetl6C4XmiwJVmWFX04VBdzH7rFBY5Wv/FzjQENZGhOzTwYVzbuwVxvAVkP9tTbhoqgzkPUqL0ro0AWNp0iXKLJqpCxpNko6Z8Y11/8/bywnD6RBAIK3XOaPgYFBzMQFCbq01urGtUYbj9mAqYzWhR9guC6eKFzZFMG4ZXOd6rMeH1XNr4hIVUGQfJkGZbMhBHgy+XQ/u2Zp12yMkvwHlELBkrsDdtX1jY0T2J9+XUT2i22tbWZJzPOnUD9HV+yDKAML6O55PjvS6BdeaFRDBEuMj7ndMHkIOBOaxEaHWZpE3P+Rzw4Cw8U0oLhT8ANBhpCLYrTC/u+DF9ybwQw5z7sLKuWjW7nSxHKMOmYiLE8ojvUiyezkgvMg5I0a008AI/KaUpDFn5bQEmIubdf/LS3dj9wUtuUqSi9JGijSGc5pxAUQYeuEcw5e3Y+X0rcgSnb+yaklXrqju6nmw10yNKnKUdnYTsWxg3OLMs3Dq4P+ssKtcAyFW4I92Ra/8EB83Bb+a6dLBW9ZZGOgx9Mi418+Xq6XpMoiWQSdajz30qKR8gRmJ2UPTtN5XprCMbcPVgqxOkKgFXYK92OU5of50fNnpUma2BjPuAU7s3TOC1331Hz13EZhkF20SAaEVvxdaLaqg5yOpeVVQ9TSIgz0M6eraRe/r2vWmpZdQ2BtoJiafqUqxQo0VZioyz5X9fAnouyEn9ZoCaCEZ+2YqExY0u/QquZ77R7VwfTPUa3NI8HkIHo+BR8R1XeVg8ytXIrdQInD896+DOU0HS/3KJiAQiTKDjonkWHPWUujDLQ6UTUdoIMhkzz4XSSmcIPJE9/Af0OKamfla+xwojUTPGdWV0Xo3PrbsDvDqB6+VWIOGROhk0CBMUSEqqiqNODdCaTwiC/QAyDEfmA1sGUCyUEIOU2VgYCP74RmgVb4fxKP+ylM1TRGVthQYfsXEaN6L586ATUKzGYoLEg7zRzmLU5t+vaomoJNU1tMCNki2jYW8kkCQ+IFJYkuR8vQvsPO+df9lsljN1h2whwI7sY9NB/HSC+fYjMInNgG4HJBdHFAolUXQ5rB8tTozLREQvK4uNubWozLVUfcJGxGG8/adn9s5BEHHf2mIOXkfaQAxDH+WAXsvXwVtPXtZvq6Uex9np5mADOYX/l9S2XPGDjeiHgXK1qYRz+pcgW0NKyH7SRFMzya3AoEBB7UF02b1heKiLHuvFigAi/j9kIIPA1Ap/17f2t2R+Ji9hwdMsFLHWbeE0+UvpZ076EZ1j1ooS/7CYQrKDnjLJy+72UBhQ6fDlKab+m9E3So7n3qKe+VN3DMcNV2zmonpJJFrbVA7vcaIEW7m593Q4EfqnHzP2ODWDIk+qzNKv9A0Oosz55wv/S26gIRyyIkLDLeAuCPfbIEyM5ucgt0kAQXamQXSm2EcYfGQYaMcvpA87VWGjC8cHS8bwBSmY1WQvFClBESqUByXVjQO0WF5+BjxINyVbnGP7CwL/JChIZ8FCXpp9g+AhCANChN/+MIe8TwM8JTdS+cBnK30Liv2/lEayiJYJ2SuIYgFcC6QVbqL4ttUxBM0Y8bbTwmKbSSUxoHWp/yojeMHO/g91Mcu7hbYOPAqO9/z/fn3CVFKp7/lBxPUnkuxEIeLccCrLfpaVm3iIZgBWHC9MMjoHKOxXw6Xs5/lSw2OUBrbBcVhH+X9S3uR3Rj9QH9Cms4zuvLdc7ZU4Js/wZvFedP16PIONT8RJeUc4bYm2LW/SPvEytrqh5fpvpYCmDjwuc5Y/oyh5pChfJT2yGoLBxEkoFlILMJ3/qCn872xbiVr95jCpH9BEZeq3k8umvpHeEOcRIHpCUeiWD5oaryGDnCayBkOHx66MmzcA6yPvktdCuDA0MX0ys5clgiSskR/ONKu0v+oLcL5TByUUOlbSIG6JyGdconupxpzCnRlYPYQlXoG+YkCnfNw/HKauFDWvdky1sqvdr7woaL7leW7Ws+762i2oJJAVjvW42rtTQ1/1C1icTcf8m2v7fhMi8doSHyFH3GQr4+Ko1vbE8501KUXFt0xussYQ6olha0/BdEqqoeFXdhhY5Fxn15v2vnKUVbTReATd+46BOFDxyD7j66joZiT76XSMaHVZKkpgsw9tNMBVw+uSgcmqC8pLxg9XidWDVWL0BKy4rRDb6slbbVAFJdH3kA/o7bcEP2q9hKx+EjfMZQhN/VdZw8MhbdAwohIvF4plJOIYJLAG+qpXQ1WcJTQfgGLkxJtQZPAbLELX2kRg0lFkYe0MVXYIfu17GzaHmAha/JyMVmDKdmXcXhdbXhO7v9mOXzGMFX3U9QbRpl8Q+V0EA0c+3XGvNVpHJfcpvIln6JHyNnMmut4FUJ6nbDxUq4aLCrm+1wseVTfUGQHmFXg+KJqSpI5ttEBb7i6eNPmL9a0JQVKL+XuTic/qY2X8oR1JlxLtuv8gu5qHG2NkTFV4QyhX+0uWiwbUCz/j3IS/roRao86J8X5mIOOW+x/4OU4IwnOUXUZmXbR3XUd0BOK/Cl6QdEX66NQE1o/DeRk+PmyvN/arXZbanUUGn8bvOBkASEf3mbcimIX+gRR4XP+WOkkqA+zQOML2TBvReinpRVw9HfIlGQbz3U/IOPcw2L1D8GCDOFVTjAnnKAdzAHn05JwMZYacPX2bDSa58EyTVf+eyBOCR+aDrrJOeel2QLNb/ovFhxAqyXy+0zAzLhu+IDL3xB8P0UWCz5pEz4PAQIDbF25SzMzk9rbLjhazgLvj4HG19vDb/1/fy3GN8f/CRi8bgu5Jw0EkYf1Al+/Sh/F0lu997fh05SIxL+DM8SigTJLC/CKMePBac12/I5MqPGv5hvtxZZTklwXkWGU8RoV8gH2/E2uesoGOfmSOyir9avrwIzVgcACD1Zb6xPnx5PyrT++oSEawMhodVK5F2z5mIvF8kgGFZbs9S69KnkBESMzZIYqT91uyVQ8YbbrzMPdOwUbEu9wH1VIpdtDAB23kDVlz2Zp1SKnuLgPVQ/ne/lXu1/ko1eDX9931HEcZIwLduSwWxqvYTBsRvTrt7ssgTTX9ZvX021CMQ0XbCWuR7HbOvtRc7IySgWC841qdJgMpk+cdGJUS31qXX01asOCKB9gNEA4u84m0STw3e2tXjRkoQeAaBgzj37bJRaYacaKrK9bGslicgCt0ztv7tN5Dh4v6UDpzhk2zSWc7oeLUz00aD2M57ouxOAtDiQr4h/YEHEeyTzavR8q52XFAt1bUsvL+8HSnhxPE2TY/mBX/HZ6qHAY+YokHUhEkV1MMG1El342uW5Va17D8i0hCMjCSKp5NEGNkExB8r/WCxEK8Y3oVPmhPa82O/uzdfkLryZMUdCR4zMbfZ2Wm3ld2QXBQ7zK6M9pF2ONHhFmcNqeG9RGZCo6wdW969Q0JOk1/4O/Ts+6/7qJOlxCxxknIvio/0A5+7GAQdFL+MgJUnT8ssm+sNCV3aWUo20dLvdJfOtsIgsJPjHeqad2UwzrYNG6cpwTpzQJQVg7Wtmc0VNqhAM/i/fKBiANkn0aAp4eFod4QD33pxutKKVmlMBM8PsptQhCeh7UNJTRMzfzATrKRKG4iTUvm0JJbi0OMOqzHne2kLUH1oX5uWdxtksYDwgY4m2JT+qm4hK2gfNBISjqZPCjkL+FFRq8WFSg87zaax779+yFn++MFQMCUrIUVoMpmRK7phJ1+wnbBWI/jHtL4SEKvEtgQ87q/iYm77cB9OopaOyqwnYzVcksUPW/1ufEpTOwHUkiwWVdWLR0LNApUfLqDbxvYnTSDVnVsshuSmZN6o6qa0Z5rcXLw5HgD9khZsfsjwwPL31WY7Ht+xAq4kJO9Cni7vDIeTiA+kOkBECSZV2ja4RYI8ngyLBBX+qwoK7FCC/UNFdER80Fox+Y3a9cqGkIv8HAeGeeNuFH+rgZnd0wGiztdSaUGsULQ+ArGfUVsi/KuJg9e6iS4M71/o3H8dtzlcC73haehqjBT9WFs+3K2wlaGIrJvz9ZnyPR2ILD6ELgtzlU6FpQaC5M6woeeO9mA9RzzzIF7kDr94aqOvOeoQnxICuTuX8cuHmSlisAlmH1Clb8nK0WZmO9NFw+9ezaN9J6NQvDCLnxP52k17hL6RH9JnB2QHyFyWd94hxiyM1kslaWZOCt3j3mh3xu0pmiz0NEi7NipI8rXtsEr1Ao4deBKjCX1+nmHoxG7D9F+BvS0fSALdUl4YhokKJvD8rkUH10xmVn/4z5ezaOjX1kMqp6FRAfS3MxbCJ/VMO6ZDwRYW9vY3A6E/tinZVvic8k+3o25vg0IJyK13E26LnqmcEMo/Pbq8VvLIQqAmKh39s2LUQNWZglY1KPvQhcGbcYQQQqp30gsWy/ZKBcL2erThIyLQK5ICUP7Rx4vlGv4ls6Di4LmVRTR14aqfMSp0cwUwLjyrxvNW5Lz/BNQiCyB5wh+eP9J3/D6sLy/5Acw1D1Ogq6cBBEp0lWDLunjg97irnH3B0k6CJnJCL3fVqFGOb3NsZQTMZaC8fJerkakKnHDKVVbtzgVC7F5d77HmWsSfvCBVbWsj3FMRymi8SjiT7bEX5dsGTPsXgmJy/fzqVoVaUUrGlY1zITCy5LAZNKRiWJVP9wDdz6D9KRkVMlsPB54fHne2vw3aQNniCD6t2GcOhEhk/AK1mEXwq8j7X9Lxflm7ryH5nixRBBTror/5SNiAhP0tfXEDR96EtSH1qydgTMwKvosVRRzUXkPoqhJAS7r/wu0+j2Tza3fvq8pb5y4++lkzQnj+LAdmZwGHOoHuS+rZV4UUqrj6NQ1xcYOlWxlG3NgLwx8BJ2V8FMOAeXHjpJkv3FmFw0X7/Vr67Xkrt3XF91kSzTeY23LD9pclkAJNVAm9begbxw6L0wSI5vkWjYY4USGQB1e6n0tPQOTba6uI7Hj/rIqqS+HKUP7yECwPe7wGhhd/dExsCd0qCbLF2Wz8gxtIKF0nc3rTx7bnVjP4z0bFEnEHZs6ViqT5nU6Fqenqe6BdTgdV9phW9tGetHRir6mMSRIt2gTRkHTYfmqkXVKDBy1Oh8pcaKuvZIJmlD/9sntrQtXWc1WUL+Lr3LTpyLexBMiKK5DaIu/0qq+m1VVCf0RiCgWDfdAixWLIaLlcXnHHAfk+MmVXDy/mcE6EG5jQphwj6IeSL/Mq2iF9TcEAb69RgcVgnsyQZvdHjVVCRHhR/GKHcmZNjMFTxAIN8ZMtfJ70TxrHWlMmw6wu+6/iYYOrdwtA2O3QWJ6bRE+TtUpkJCp0YqKqISCUcoTcMGAl8P7BBFXQ8rIb4GpHzlWXZgWtAAX4hCsJzUZ5fd71QeT6hb5V3HTBD4WKpPPwcJhjoQqVMy5fWxYGFWznHDSTQ34T5GMreR5LHrdkAsaV72n6FWEdUCGAF5OKS7Nee+EGwUzxWd9fLNkfLefcum86B73NfyO+9u4dsCWQj6W32wQyn/j76epnKoi26tAa3A3q1GzHfmBoK7nelzr8KK0zgnwOr7DkWJndjhPdD6FVuNocVMPS7dUzDwAQU1yxu9NK8Gd2oCLm89TLEVQqckwb+cKafLQxkPfpPz0WKHnWGoUOCo5uKEMVA0RK0y0sa0YTrRdOeIv+zXe2TqnFDdWWNP309npWzzfHPpzPKg+Jof7sf05kn41wNMnOfhZ9qYBPbiJBQJk1JOV9Wg+c9Q7lDx5b5C92s4YzHsRwZ2hRFNSYubfLUMAuIoDnnsMV+9Qd4ylc+VkpnUcXvcB9YS6kHjZz7+byf2cm5bHpcC341NDlbj6hSA+L59CL9NSbGer1GA4Y94qDmoyS3dWiyiI8zvqfuXZwvBktg0oR3kxGW3vX/djFqTIkitF8m06h9nMjeWr8p9d+hDYSBTxqjvuHlHxBBacrZohxO8ICehYII1jTqS9Sn4j8DkVX1IOcQClbWhTM66pcIpTQ89JsjFKwS+bdX77FQoNJxBp5RhMGOhrojFXK3VsYK8WaCcz3/D12CbvTfDqtRtJ1aJ0Qb8ljZNtuHfEWk7lLChLFIgaJHsXaWegTsZL1WMWBXs/CcvicLar9R9zOhLhm1HDAXqTbWNli9/qTPvH2bzfNyhDOaLENmRxRGRSwg+SicFojsbsBPY/4ch8UiANzYITBPmLUVIGepoiJVhoOoVIQb7jQZzknG7SXyWe0R+dozUDvJ3DsyS+eAZ6otszMwAyEhKeHZWlVqQVm+a8P9jenyvr2W7uWg/uOvW+xyFI8I9Nydt5HRmT1GrJolqoJH1EUjhyBYpqUUG3HnUs7K8zFpVPDvlmY/oycwZFamvjFt9F1a8B7deLRisG2WPW8xVLvcPs1jhUv11sVdiJ0a20SYJCIzFEd/PY5Bxhis3usD/NV+lxEBHAFpUsVXi52lSwxtnIMiDtuhg957gqNnrMurRPK8OBCkRhlNC+utKCT2/pYxWYhk4t5lG0BGYz/9KkHbxb3sNrpzqV/G+8ZNKJB9JA47Q6n62ONnQdKnDmRe48tBWYl/SaN4wUjeBNQOa2b1GSLYmuKui0/mcaL3m0btnuBdzBt7C8zcHgyndOHvwNtXaeKDysz5G++aXgrcJWHesCcWykbI52+cZQpM2mcWdvvQ7Muvr0WVgweVxDBvyX8K9vxcF2ri47HS7vKGIs0AmRhoeffKZ+0by8nun03KsZc7nhlssFJ7Gif80CXpTs+5Ivwg2F3+EbvMjLkKH70ENDJXeIF5MyiBnAlNB7/x3REGgP1M7XqmIBucsJcuvaXu82fz86fwa/8UQh+GRb7I639MyvkLm8pj8qQZLV8Ir1QVZBrQsnOxQBo2Uc8V6t7WPJlXSOUKzGljdyK4yFo71DmlsyUBXMEeVhrVjvRni51kx05xM3u4dZJiH31DU/b61LX7tGwnia/2iE2CAz4RzBKBM9hYfIZd3kfhOe3HYGXgMJmLhK7tI1chZolUQ28Sa6+EC3pnJMFHkOnvcu2gnZmw2Q3nDOZAJ+KvVtE+/N79V6WK5vKDte4IdiSg0i6JoeG0ta1jFp6x+Uiyv5FKFVqkRWRDcyFOHdp2tWZ+2Sx/c2ylXc0A3qBjZ1UNLzJP9jkTwTtQnMYAqsylVYokB0J7CmYhRgi/dpoOgGltdYhSsdMqZm/vCP99s64K7pYNKCaJy3FEyvzZldeIW83gNkg5iofp9qQ4QerXJ4S2+R+iP6LwPEjjruklvyV3d+34CYe8tTObKueNoy9pNW1WCD5FvscYDe1lftoVqK4+yloh3FpOczlOoJ4aHiB4i53jNt7h8DyhmGvJ8Kqs3UPOfzMdXbRvmod0sgIKS9gjE+AwJAfRvyu6t3WyHdZayo56uhHo/yTl+fSctmCYMGR3MP+wYIOHV4ryz54gzytj9l7tX5+a4m1caCi++JfgLW8oQYaLWItPuDahH8rWKuKGjAsqZPyUcD9jpNu7jX2KN4cYAmDe5Tfgat3GUBpfd8ySs0AyQCG+sw3EHyilCya3CJPaiuDj9umT9bizefGq1NFxsiLGgEv4RBxXuzvOuwXfpHf5gNQSMvZa68eTHyFYQgncaoiXZb0XG1ReBE3EORgYo7c4cgKno+XO93XmGk5r/hOWhqkco6LolbdQCaJk7jv34XaG4OcODahpSmR0Ro7O5hdE2F/PdQCS/nxLbaBUFRvXpT/idcTslBHe8nShUiC8ydwY8L3sjOzn6b6i4D41umzTmY/kDr7qB6pDn3qTg6l9BEhCc0dl0KGNlW/PhlQRfC4BOKKSleNJS8fdn5RWA0N7FYsdgTurLL7cTFKvUTXKNPcF1Hr9JHeimSbIOwW+ux7Pj+gAbCyjY3gAgNJ7EmjwO5xcvko06VNJwElaxBKwb4zCQA9pAMjb45lLpqJDSaE7HQjVfzP0oigcHSYhjKPXs7ZPndPLpPBpuKCApSco5IlMxH0QCKPEFd1rPK9lvvwv2R4W+jNTP7AD4fe2qm2en31Y4VJsCPIpEkvwYPhpKTOcY6FzDi8I0hWaSGyyufH0Hy70JREUuYfgyxaiia3pkwjZAFxg9C4a0QLsHqG5lgbYdGDn2fVIWCStmaABTV+zg7YAT2q8QR6np9585vVNfC4mFk8v+90i+btAf/105/6UshhnNiyxOd4lC0a6hZPJg//krilK32UVuPSFbruiMOGTbtCEgJNWkBK0btDDZPaBULzuW5eurWTbkAbD3eEqZ9AEr1sdC9vju+l40Pso/dWiqeMXXtRVmV0LH6krlK2c5UPUbXMqOyKfXtond0402ChQj02mu274or2YWfGtIfA8/hJ/uTeuLOFDty2PwTyKucQ1xoIXnPJjq2+aJUmyQIja0vtL9MJEowppd8lNCDoIpCYbHyaUP309losJDwZozPeiRUdh9D+9bBu4FDlYzlB0ebmdWMDN8+2A3nERMPc+Jf2VFxY74fKBGTINTpPyld1xCL/iuiNpaSZrNz1tva0lo44Xv6LjBLM3S7mVouyYcmq+l5y89Fvj6HPgzl3dW91RSxV5X5aJnTJ0T3PVj1F3CTz4OaeCoeJsLVgiEejb+JeJ2TOM03aJkd5SkNzzNuyxJn+4k7lAWC1ST4lExLOnFORb6sUadtQC4/kTkHqhy8QD+wckkriq+nX/+EO97JeVZLEMqKkoRhzG4d8snM0UI1T85mWGR01fKrk6loQokr7wX3wKaxQuHfRnKzHhkOlDpquw/SS03T3Xr5ffEf0+JvF02Vna+BPFPL2JIzI1vbg6+pHUN+U2SjoGI85+Qt1oGQMkUjAgH7qWTbqKeS30vxWHoYkOdbAmgtq0wG9aZBu0KeHubYKbr5uG4uRNZ2Z3gpsBgIWuwGpIJSkCgcWT7ZzQukrX+R89jzndqtYWyoGxtkVZomijCssC6L625caKwJpY7w5jMk5HqNJnzMUhxluRazTf1ymQpXIgymBdPB8SeeB3uq+/Z2r7QaGUp3hDpzqEZCw+kwSXOxySAe5xbTO2dSy9HwPw3BAvvSyh4RMR0vqZffRzrzlOQKc1xzNwGRPZqtWBNLXjlj3ZhaSqYB16FAqDjYtK2y76X6UOg+sTehR1CY+Irfx18DmRXOiiQChl3yPKihX2Sjawpg49kbShjvQWqr0mqhON5fMGAX19CmbrZoIPT6BrHHdhzN4yE82Cw+HbGgmnbpekF4wxT7UO0oJhAjwQl9uSKLktxYTLFJObQzHEAo6sTdZkiZ8AUPCARFylkjs5eDS5akSUXBYBz9rkMnSsSJfh0/8wj7ea7/2VNyak6NODP/C4ku9A8alGAyKklv7REVlMrlcPL86AoUnz+iA9x2UK3j92Tq21Xi6gVLLQb0nVlUaeXC/S/eA+ZA3lP0SuTSBMWlATLd3gomG8T1R9iQOMN9Rywrm5j4NdOgJYwRN7WJrOteNF8wgbEEc0fQc8hv2Fkbtwa4U4qEum953LG04mB8aO6KMk0eGtSNedbaWFkqdOsT3xn3D6V19uYs6pSyVM6WfCTo1qmYhw+E13VPXjXoewAvDMY9qQJLBYpM9SjhwQGPHE8mmqfxGsPR2bd9L5oL8y3frT1ZNABH/PzPm6us5gVAygpCcBui7uKEhtYHL2414t/RCj5LphjScOwnWoxDgStAH+uYLYmQf9A2qKTVWcs+/f+fEFsr+5/hhkH8UfxZf6eTjeFHYMmtde3r0E0Q53SSBjXMVDiZdVL77zIu0gMW5fpc+Lty1I9LudUFnmv45MZbyZ0sCVF6+SBL6RRFIOQ283fy44D92viHKdmaNM8NKQ8YSFSGsgMqxkYCokFweuximOUanm1SGjCAddmYDzpztdCxQJTt6zqQ1OBK24kXhW19FqwC9CcG5v8dyXhml3cmVVu+HwFxAGc9HOJUjwb8P1kHVSZqbj+ss+suz/LtS6I2/6T7BCSIvh3A+R3+DXqZYEt5Kv1m3PRzUrX6E2YSQd7A88VSDsGQ0XkRYBPNCLHeJh3JHeN+sU/6adsC+NyDiNtGw4qz6bXhRkkkalfluW64xpFRsLnplDi7S7KkI7dl/dLBMzrpZe+1z8tHSEZ+X2efe7J5KhzA1u3+iY1lgzLqIEKmNn2Iu7RE/nwTWTjs68xN6T2aMIhmI0WLyEPcttWHeW4E4GonD9hh7sbuduaVfC+kPmXRQqi8lt1QwN7FZFwxJ2k9PHJuQScuht3XUMM/7RcjAf9BuCcDwnxMUdUJnCrvsKwo7t4zKE4aJLLH1qNcRGdoycLurVa2LOx4mOsjOY5yKF9b5Q5trGmv54USx1sYQ8aewLbCxus8YRE0soFNU4FTMLIKgbigZGdFXXqucv67aX9TETZ4B+Al+8VMbv/d/oB/5zF01rIpotLzzF8UUdyEjFGNIgWtZh7zL+ffzlqoPUDU7+0byjBeolsMO0QO1yRWg40tLLdYwziII4uuNHylAPhozXwTbsD2oX+f+lyoHVx9hO5lp/oH5r68aFGyaM50yo8za4eU0lO6HfCVp3Si3t8t3f2FZ+hGyD9luGsWEdSl361x5LaR4TDzqq/vqv8tE1oSZgmLPUwH8xpsM8wHtLg7rcm8boZOSl7AsO6n10jlvyy86s8YflaZvkHetB/CJkGwNTG3SFXMKBItVZzpRRkk7AqVHQSg1LePFWge2zV02Fz5avgD5JPsbAwNama7D+AragHfqqv5uwqPPa6/VBLu4spSok3CQOtBfbtKilWMB7epRLNKqHwe3u/yqzhXE+8IYoMYXjJ/+879qbz3pnzcMQZUGnJWjJ8Ut2Qk+gveLBbf04WztJ3BVl0P/a/OwQ7L+1hOPTa+5JhiHGjrgITRH0ify2UhkDDrHX4Qjn5+xvhQ4DoICTc2NvHaEOYuieX/48WJF3+wwSkdB770PZwVoJv0Qrh97YtbMyeRI+55RBvrk5jILpvrnxus3WmY8T3/nyqnfoYqiZtuyJQVRBvRE3hAL+HZICjnS7lM09apPWT86vLcGEfB90JkThshb00wAQzpnLi8rRMO8SzrUEpnSv2X0D9c12UP5kaweVtTZv5ZLYdDuFqeAyKpA0RDkP8bjO25z5tnHJLaTNf1WMucZdSPTK1WKcJfphJRGGpv2Q1yqkxiYbmhz/3LhNpOvWeb/d2hHOqcC4KVsrW431PVAhkoDNIEe6sLhhKTkT+JlCICyia4qBlKOvICX5x+rf3XYSdiCkmd4iKNx7dR6bAGsWEHn6EYIy/49onOfPIfk1t7uEy1Ua0tAkz3SV60UyrQ3gVeEsPFgXKPauyz+wQVGKLMUSwBel7M6HDPMcJb/jWPJ8fvG3RhBxcvrH9eFY0+3hEHctd5DmHQ+9YjXNNEKzyH9CK8YpFOdiVuVD9quwdzQfUMmVRRFk+JWMUT7DsoUX4cG8amA/vRKhr6rrT+SCDGJEmG+su2+9G1MgJBGCGQ/aPVAGOwMz41yeDQb4QFHndK3oTx9436MXKvm//Fwwhv/Rsh1nfxuPfJEaLbu48vJEo7zeNqo6MVE3R/ckcJmOAxwZ2Ji92crNGbh0QwnkrfQIdQBAA90FC/y1B3XdcUUKRfd7DC3FBDQmcFkOMsOFQNw7KCV0YgsTx9jfdMdBNBZ6sCOV+bcxmRYNMTsn1FGKEekOzEZixbGAjSh5RtYCSA8U8myC5c5TMIJYptj5dxWyDDZhcIHDb+RSKsGRA+b1GEpdEGZnaqwqBPWeaDHah/dvAfS7l8PHGmrqdkfHYIZbrNaCFew7ttoThkIc3ts66DolOl/NrPDMQoKItYVUk7/EB2LR1jMa/QejVSiNgtRhnTMb/0Xd2jzV0q8M6h/4IPtv23pALFHfcngz7cDZdwjOypSoILD3d+/mWn50HjNI8DbsOk4RzINuiAxuLuI0tWsXd2iQwquAsM8uH4I8iMX3Y+iMkRyw4FMl+aSP3TgIxitMLpjNMhsD1K8qv9fM1nhDVMMXe8ATNim3HbcOM1hv3QuyTsE9L2IWdrN0b418iKNTDe7PSTRQnISVrLJAHZbMFNikMHstsF1AjP9dRkhomBUDa6rDssyeJBzPsLGOGfARIsNoWLCOpEJQwV7mbE7Fn5zExNh6sHkpaJgJ4OTjziU494aVECJk5+EiDyNgyVxPh57m52wCwcamKKoC4capILw7jvRbxy243FnsLkSrHeVmflddC7kMf/HiCGEmt0UkT/Tq9gvRGQQKWef3ynz1klrx3S670c5UBrynXlQnmOBt1ZGCJ+wKGyjOtP1hPqw0L41UZWsDqJsjhGZoWAGRAFOkaRtaNBwbV6dsGUdrohTgmNp/TvrbxSwjVfoPJWMPcnhcECuAvzfF8ZVspr4qLIp5tSqK6H9QPzmP9DyFc1E8+taOLmcJ+bVXzrmy3nKuhlyYKkBwIdLqOWi4gINZ/DzmrY/mVgsb4gWd+kj28VTi65bOdHu32TJqineQlGD5MO2fIsA6g2En7zDJIIDcCibKyUdtyFlI3phPiRs/8dHjDAdt2J3E2I0aaS1JIHd8OU24t9g25pBzWGB0lom9O1jk56yjfXvsAtU3inELPgdxRGowAFkwLwB+ZB1d2xeta3340nsw0HFji1iGeq1hEj24nWKRz9DL9WuzcWQJLBQONZLwpmhJS+jKy8h4L8PcBm3rEHjJZbNPIFkEXadSo50CF7IPc8GvnqYQBAkHyEoejEJP7X9sNWcY2i2pjnj9oQHRA/hkda33cDag9G62fmfiqChPrzh7GhJJA0gy8ZKFBHXpBFGX4/diHaaAtP/2IxTi0RVMj0ealOZ0KHH02KtKn7Z+sftmmXsvzb/IuuWNO/dTqMUo6vxGvQp7+6KVhFf0iEZxTCI5XP/oBgGoDBUmgnHzxF/YZvh7jZfxDqGJqW+URBn/K/d3TELqxm+gDE/o882eHtSQFGik4/OeULy/98gkhj9fbhg2fHfbbBng5jsO7iIRrwvzLOLwMBf9XD327zoE5YSrrQtS3U15FvnfeGb9HtRDU1qEO4fp0KXwMcTQSlSkihIOtpNwXDXTurj8r3pRypAMukuS/vFDbquhKACJn4hdZSvVYT4zuWz+mcecrs1Iq8Aug77FgZZoAUIcsrrRy9w2Pdw55NhGIS69dRXld/nzUZHP8bvejCV9sUs3V+RUivgINn7ZShHhc0EwGyz6pdiRVe/BFskyJ+ryZmP4fJpeLqz3WD6gglPSpiMiXuAn1h59sgf+VayXbQmTxXxQmsWv5xL79Da3xN50vbaxCgAaD8qDoQSZfcjeuUPRDVeTUMJsgQpJwWWxajrKtqYK6oM1LuvuuyzzJV5sg1z7oZ91zY2w8YwCL0rNRn6DODjcwPd0oP8KMulPJ9QHtOsCi8BWXZNlxY+pZ3Pv5lc33RwYcoRbysNJgH0U/VlGqBj6qlGB85pU3KqZuGWOKbrYHseNOEQalDyky6KfjKBJrLbPQEzptD7pdkpcuAyUuUcvYQ0C13AYLBkaG/wWqoAmHHcl2ICr60apV7vkpD/u4SBpHEyR1IzUKxfWZAb0yBSJy1/K+zWNOpqtXvoHcQAHRCMGAe4Dwa6a9X7RWMjGBRGiwonzQ+iEDaiO1AiOLfVcKvCp7cvN7hrbj8z4htxvTtuzv5BguuWsT+VhoAAq33+0dtNgQbUBE74CQ9ltoLjTJ6pItdjpROx0807Pkc4j16piS1BYdlPlG0npN3UOa+hPIWVL305Usg/bFn/TJwsSaocJq+ZLJcJUgmsWfkhT0cReq5ndv9hUXSw2lGzMnhmD0+oh7EJacURYrIgT4gu11xbh4YASShAoc41eBWsVcESa8mtekdDsdzw8fN1Upqxvl0jxFUet+0eUaAMMcqhTPrzUo2HWzQrlWn08EZtmKpqZQHblBopRwXECRWhUjov62mvdLqW4wJkRuyhwABaB1kxJZ5y3yZtOj7YY/6exvd9qKycJrSmZPMhJFFrxlX3z6HAsKaedCtXr3RxE8I2Ivs/m60N2rRUpe39B/mZWnWZ6n7iuKJeh3hYuQDiCaJxYB/v+tBxKI0WCgMqzdmYkOCJzZm8TGKQ3QQvhWbuuv9lsbeoOGOF3WLxYuKNgk+9SS5wKhhIqng63Q1lA1zAD1IqzEJaoONyjgcnuf33P2W/v8cOYqcHzcJN+XhJAuQpt/FHb++a/Qq4Fc1JGXvJVOGTdse3QU24Ii4l32qFVLJjcycXNYQv65qtwPSa8aJOuidNcoOErz3/jhfnQNXwFbhViwpu9oxc4C9N2QJ8jzTS5VOd4y1y34oSNRi7YwVWs0vfHvUKXUKbnr46VxxVl8hqIGEPJ/tJpD3+u7wEEgDC3xW+cPvZslrAaCpdIBux7KBjSHWppVqcWfclxq4/UwKvSMIzZ9twblsUVrLIUPrcXBXnT+KcO77I1M0TNg+OGj6Qhj0CIi+kLtRCOtZJzCo26dABizIaFNv1LeBpXFbJOc5ND2QVjFS/jq/P6V2gBLPosJ5rWYrHXwGqo07kPTYrLJuRUtAAnq+BY5CKxg4cCkQApkveKNJfWdhy4r0MVQac8gdEBdEx3JjA0gbU8h3HxGVvAF1WFWXtTy7uJesB68FNTSb//LImrO1/e0iCnP6C+8kqn6tPItu+X6zqiHfFck2E4wsCtu/Uec++HNJ7OBG+OT/8SZ4jvYk2ojVQpjHih3eKh3lu9NVfj9nJVrRnBZZAMLRDEhU8L/r8CJeFRhw/hlbkaP0gi+REfhrT38Rrs5sqxhRcUhdLSKZe2ODKgaf4M1ysUT3v/moEYneFy9I+hlXcuTD59kDa9V6ux/WcSEAF/0EX6dhLHaC8aVWJcUm3e8TNTAvb0ByBIZCUEa9txOezlW8ngZ9JryGS56WVrkFVcJZ9Ss71SAwJvpbGpvQPXY3nr87a/gjxKw+7/QVa37Inzq02x8qnT8S/5nlQZsk7bLd/3eZf03nwX0kA/Ow4xPptE+MFTcHIDD5Pf2BuDAzb/O/FBwAR5j1XzBSuIY5pPEvoIPfWBtEDdKqJnA++eBUEUGd7rOJnqH/1ZApyEmSQu58pv6zR/JGQiikvOIRZ9nzAcz/JleuL9OTjmaUGI2XwR4+n9t5KzK0sLeRrJs9TtJd2Zd5N9imHV/cEV5Z2wqVBlyH2cbt/9T8TCgtGGx/Tczu07QzvTeYZl1K1EAQhFfKZg4isS0C/J2kFdAnWvDtiCb7R8ysW97JVYie6aAWpYpFAeCalHaZm1IdyZ4RzwHillsOqElfNUF6jf+e8UCIvC4PKW7jUhVktOREYbLl+453aFELdG1EARgsfoOjOo8iPNrJlR7c3b+wt5ja3K9Irx+CChTY8CnuIBp7+sD+sR/3YU24jvSwwnagzvp2CrdPwN/P3aQw2jFPkxBsPs/i18tfRDTFzavOZVLJWf61gvJDgRBO9h+zhAxQu4D7GFnbPH4MXZgkWE1okEEerb3LhZxzc7SiX9SfMEhH0+hbdkobbDNDrDAvX64s2EfEJ+DL00/971Sb1E911wsJ3LrnEG5yAok8cpOqiBaCM7TYSB6880+bXohhyIAJKJjlBkw+sOBX3Tv4dQ+0bR3Z6GVGXORaHT016iCJWZ8JwhR8ieyYGLKvlVrKn4iSrylqcbqvuVKC0FjnOXhN6SfY79NhtuS5LB1MZV8MCEWu+XzpbwCgotde4yBU5vpexFcfv3u+yxuRiA2oQEFNoCyU42GDIjwKBtOVNpToCKKzV2bDYMTjZGp+dzFurli16rQFrnzJoClk/ND5V7qTooybCnll1HucC05tb5OaqFFJnRcGZEuHleGhMlSTP/TqVvfIYsPPu2i7P3DY3983wS2gsZznYvMobz4M9Hu29OioUcce6L0+ui+yWI6KiFTVqKI3jnsqaWYKTg6LUPqcLuZT5TDvejTUuob+AY5At9Q4G+0KWCs9n1t0ST+mJOvp3ydwynnev/ZQ7tqGrLRmN/eo0BU6sGnzRr25TskU3OtfF7HT2/3pTTDOXpK3485cmpKOuSR+ydpK+Ha5NnFJW26oShx4Zs1XMc5+uG498XG3LHPtZ80sPfNuVpNpyjmXwfXq9rrsSzCPjuicCeQqWp9YADGBnmfTZjqpK01GuC4Kpa6BlQDwYwiSzhzHtE+U7iSiWDr9sfOJTUmBolqPpQ+FEZ7wiEgO/OxOnHtwFVy9g3EZtYvlij43hgr6vDuYu3HeMyoJ/jQHlIxUexr0JwH27IxyCyKtL8OzCE4pPcje4sUcmclNcpKhGbKaAd6ZZosqT9hB9Ny/5hw7tEvljDfSrPQqko+XoKJa4gY83Gj/7XKM2pcxOtvEFKsMrI1LZD7XSUsw+z0tlBvO6jDUOFsl/Kq7m9sS+UM0I5OBhXVY1poweHfiOfntWzyilk1N3vIJREqTdSX1U6wIc02CJ4rmO9NhjAtlDKemTP1PmMaU630PQlArFhBQ1sv5PReFmr7/t++Ui51TNEPi6cYbNxCO78aKCkG6So6Q7G9U++dttnBls+/3/TUNZMImKf1QtdJY2oyuILLlZIPigHEfATIJkj9PDuhkcyHqq2ncpRxPXwCO3H33lXYZyueroYKgUIkgz+7c/1Nzqs+QvT7U+YCunSOSX8rngA71DGJfVF4FIJoBLWhODDlcB+eZ+bBjQEbaRxx9IN4ruFAXTiBVsMqJVVAt/H37Tsu8GrOMU+b3oVbqb6VFgYDxoH/gBlYICXSkDnMdNb8KRWuUdAlXv/RcCGoY4jsDCgeQ7yVNqWtg8B//NCN10v1+mTZXZMVHS5M/XZ4EwPCRwjQCjut8m2bZmc+i0L6P/ffctCEJ5vT9e77PGJ/f2C2DSll750H5hr8PNUf8ZkOKA0i27BiLjLMqymKOrRZeJ9o/2N9Kd+MYEWmftixP57p+i/msZ1+LiAtsfdZbsdF/i4obJt7yh926zdmzBYAocjIln8IkCV84Ua+YX5/drcUUK2Jpc3CTxycQHNrNAPO0t4joVQqW7BL+vTpR+oy8hpN+aPy8FZzOGxfZTaefa86+2cHreGh/H7kW7U3Ukc7xIQ5hkOl/cJE6FFZHyGaZemqa2aP6o8jSi1XEWf/Uct+N/iK2rX876Inq6/gyr7kXbTzUYwjRz5oIW6UwhBBYF71QwKDBkUHblLdfo7qE4OXXpq/BagGUU6CJ52AQFCzhxUQSBlmjrHoSytrnnZYEJZanabmREMoxri+DbP6JgS6vPHZB/pJcNzPR63lpD6tWyT259kFPw2HQdplr7yTt3KEJ6sRsCKecJiSH+83P5SiVLn7V0Kw07ozenc8bRH539BNpdTwcvq+Cdm+xtHTuCldPwY3k3hOprEPWADa3cn2Rwapv/DLFfm03T4a07V3gCa8riTIRPk0MbpQWNTeHB2Rb4Kvsnc2beQvMDyrTvwya999j87zcBQ5AWLJ2sBtqTzLF46ddDFeWMYSucD3j5e39y6u1bFliNdlzolLFttdTYs+/y9si5A4nBYbqQ52T7vYgKQwFG8t5MOfMKWn41CXEzVVu7ib0S7vhHJMxJ/60Sxinwtt7nNj5rNSbkA+IjEUTYRT2akbnEFls+1+lrD6elIjZC7u49/8QcjSmFt1qnN6gFIGwadUVorjC5Q+YL4U0Ctpz53OhNnHReETuBMeDGttRu1QRe1oxACMlrPNijPLjxVy4DtKexUhf4U9P9783WVvgJDLTJWstaS6TnOjgCaCaJyyDHYQwFez9eglYiiZj011WVf0l1bjJ3/ib6VwkfxShpUHdmITehHfduFNK2G90B8ltOFyd+3htPbCMibAlEQManmgsKA86g1q2qAy9V4cDGNbYxRKEZxTmf3m5L0+ybIpHC+51MXICVrRdF/7G1HwdEyzWdnfqFtDi0/V4HY93N4zJHKwqCd4Q+JX2Id5RZz7e29s9AH+sjptgwFO6/jQF9qjSes3UkDsKUKpmMKYer1SYoO6SP0Uv2kuQpT5gKmrzs6DLQOA/7p1ARGadfJwR7tOJZz/junsxrgxp1Yqxz4vTYxOJ6lrMoO6sNSxGXB6C65p6+y5oNIwfNi6s33zZx5HYpVhcbKMuVzJL3IKbdG3pqT89B10K+Hehshr0iugq5HqonJ7pw038sXxoaxL2pzgzUSqu7k9K52dMSQCRd5XDGFspzegxx6MmiTQWg+cqZH78qpPSobcsNOalqvAO92uP4CSxkDUz8wGFma8asKC0jFVk1DyHb9JPGeQAywSXQFxklXIg3or3xdySfcTq+W55chrE5GxPKzlk9IGkIcMBopMSm+2kt7RclPrjk463A/q6MsILUaJ+V9y3gwPaErIHFO2mvIxCnSWAVWn6d5mhDR819o4JaW+tuDaLoQug2RihdVdtkVxWPMyXWGmWVrqA7llnhHrqJUiGMjX/yFGMXXABmw5oqIFvOtfHU9gQM7c3Lx4RhxuDyOt0w4wjbBvbHoCjQH8kplBkpLicricK6x4ucUx9PZPUEpdp9ARz3PEgK2jwM99oaUXkA2GYT5arqAmjr9++JcOWxYBOI5mlEninwn5+j28uFTZ48o9xRIT8nIBEv1h19MZuBKxLKBbiUxQSwtu4uIUBJ42rUBmC6R0E/7gi1x4l9h7e3MBKs4+zxYlftUaT3EAc9kfdYby1NwcWwKRW3yFVoaxlMVELJJnBcin90bmHPKZIxzkP8M2OWT7BAjjUlufr4QMKGjcx+C9DheTp3yt8x1zOpd9ej8YBNmF75zZLaQ/hXyOjVhitxDJDbiJZDRHEW6JqswhZ1bltyP+xT1Bo5sMslGmjtu3RDxvs9Y9uctljDujLGRJfMHgIjn57L25nVFJJ9/Vv7PUogQdTZUfZovG+xZLr4ukZChfv3bDmhsLfUJWjDtP5S/mDatgitALJ4JOHXFSP3WwEc60OtKIYRh7baHcxo/HurNxznIvdsY45GsUVCOYa5VVwsYumOy2+ZSpVKVc+ElHHUiwiit88JpI3ExkhjS4l1ZHeKH4pL4XbcfRsUEYg/AUhS3PzhO/VT+TmN88teePjr7Kdwjd6fZttGl0euBQS7lySM4PwECgxZgPb2CRNc5abAgSY6mf0pZM86NYXaAfGa5mBZ+UvUbZqPd9mVznRPy3f+u/IUwp2Owe/xLW4SuESblW3LLM8GRF9AAaafAVVd0aOkPKcBDU/tBmQgV+eUY5fE2Gn0ofA5vGcsiV8ChEObjnqeejwreAmYAQsVSFTD8L4pdykZUv6vPD4LV3zHtSatb+h/xFLJhp1XNIgM+CazBXcGdLXVhudQxtubDUNY/uGjPUaMEetT7Ggz9qqejJTZwO5hv7fX7Moq1ThYSlWzjrPJwzOT5bpisrArGDuvPubrv/5FHFvlix61gZAGRqsdQF5o6i3iPwCUWzvAScsNtdpxorMfagjhYpR5l0R9zgRDJdmdcFUZIgz6bSBgtfaPe9IOmFuQ2WQFySu2u64Ffr5uB45XZw9xuzDTUgVecBtZILcGChdWHHfvAiW78Eo+RBKoeE11Xfu9Q5jeojspnbDF1rziaO2REHq9PL4bcoRfCGDkisb8u1e5S/ZROXt4Oysaj533cYredNi7Z+IIP1t7dqTeZ5dXL896jzF3u3q6sL9OyT4b96bRnFJC3aqm37pEMGLBoiwBUJb7wXRBKMO/VeUS3GqQj+qSmeyr58rsSIZulPgv0whfeSG2RfacpCKSXOaToBtZdKi4mht7i18HYJ+01o/y3sAtJKGm189zJ5rGZt601/dPI/v9TsyRPQ9yVzveDMtTY7nrOCWlT/ThnEHQgiBg6FOI06BcBfMa72Yu03f13dqTuB7nN6udfSeI3wiFHegDVAhwguVxlac8WxteTLaiB0/6HK+Duj2mVnnkIuKNVa7lt0o5weXlV0HnniByiw7Cq+TfAS69kOssDPM2U1eD2oDXPtXx6b5wR+PuiNSoJ2ff0WtU9Kcw7PMCiZ9yWD90gBcLOW4FtB7vJuG/JxubXnNGjXSXyuAJwTyQi23sV17Jmvx/MZt8IkCSIh6xc7d4KKS7JwabjF7HPlXKpSlpzwmFNFBP3jAKKYpkuoS4aYHlqBCoTUTLO72m3t32bflYBgx5PhXanqZLucSGS2NflgKuvuUxOWxmZtFYOyE5qzlm7q3Wze0qT3Q9DDvw0EFRSa/cTH+rhCy64k0+FdfirROG8aWeUTan1DL4wT5Y1pA2VEyjRg9xMkfr08RR2pnoobfisWuTtIjHi/Lv9A0R3GqGvYksDnviZUgEfezsQ5c5Bgk0TtWOWnZM1ER9yHZPpWUzyMOt+9t4De3GEnnN2v+8lxK0LphGq0XewrKwwYb3txh1X/Q4ZP44YIGkWyJEI0XMLgXy1BTyCkpSfhs5qZzbgrrHV7xNru+8hxBqXmv18wfP6obePJ2w9QbW5oUBEQu/WbKEmKxUKid5HTZzL1CDHNyIwqeX6th5KQ/uABSieBrNz/S+nOd1y23JBty6YomNPFQ2ZBrOyeKbF78AmeORKhGq1WyR/74Z4ytjwde2GUfEWqx4PHi9DIcuTzO8H0zo+PI2Y/S0socOMaUJpLo+Cu0o9bx7qVDp7rTdCO6v/+AB0cLw/o8KM33O3/rve+OETU8wkGfa2xgjGO7oJ5pKDdg09joIe/eYv2p1pIdKqRbQF4a1VJfoJ86PkD1q15aBPupdrpgKFdo0tvHqHeceCYw0udg1OjL9GMbcC+AOH6BRCVIpGCeCu/rtqCV2z+ebmNc7czjpVGQzHYzNcx2RnncD7wGJnXKnS7a4cNs9KOX5UQUPBARSWWJ6hd3ZvcFYYJHAdeI9AZEEXyGJAMTA7pm7uWQgcuAoF5RmnrH9VLy0jEN3xJeQiKdfcdviLN4Ae6yUQqc0hFOKMqL7kVADQVx0z05HsA8WEL4avqHGRZKvy7tSMicYdcJXZJYIyYo+ufg9nGNVkYeyo3VXmPXxqzYLuGQxKwYRm1NRXRcVpWl1O6+SvBaDPEKoJ7EgA0BCN30AU097AjWw8YyAfBUXV0eXxygI1FOGAIAl03Gndbt3eAlzFuwHcxlOEkwkftrGhuGwMjYT/M7XM7/eQpm1U3Q6ezhZXNEwhZt5rKN+vHm6H0c/x8oMwZ9T/FphILU24NKP6Bch5pRRS7Yx1U4r7A4GNzeM2M6bu6GtIWb1kpNpe4afOEHR4Bg1CqjWfOMQ5zPDlfpnpEt9QeV71r2aFORV96NLWs3NMFIq68/r3EVDhSCffulACKgqXVA2284rUMZKwbx+Au3692MI1wnfV/QjQVKuvr3j1PB2leOct54MNNAAaHcfHTcgKAjvYIIVs2czPmObK4T49iIt2TSoHTH3CHTsGuyI3n21BIPvgClZ063Rw1Xc/Zmo/yI43gd2NmKtUus1aKbULS69YfC6+HgQ9ZKzu7Ppr8kWiuYLEHQmSw3IwTo4xeg8xCHllhMvMMmHhBdrjV1PL7qx29qfZcU1SohAKiYxjHYWKFNiHndj679k/PQ8K7Wh9LsBOMUO7PpZXO4kUIGOPhMIzd1v2v+IcavQIxnN5X9OkuhLTpaNRZhKZveaDOtXWeFPkF/P78tdkhl5wFJS7cO9Em+CYOsrcRF/GI3NLbqVoGyDrtg0ydSlryOnlpkKkeIQjUonFTT9xp5NHmRTQ8099irTAJSi/NEWTMpq/fthyW1sz3EXLLqmQNr+PRAmDWkkbCv5azjbDcuDfjtl/Aom3XEaXJB0tcJhRbIjQw+9ztD3V83MAhQnD6Qr9DgMkFTImLUGUJjXU1mxvfWxYGwhdzdOqspfWxBmfgh6B9y0A3Za04ge3Xsx8dKPcI6GshhcrHWz+90N2xKeR33mijEs62o906g/aymdS05nJyr+55EPGTNdC5ULffyQX/IZSrfqMFHVdiYH7mSSWFB3fl5mWnphFyPw/mmz6LcIioR1gftcsbm7VpWsJJeReDB3cHxYvg4NuIw9PedqFGIMiGw3P9Q8aJc6XGWQeSCn67p1zmTopNp5bf098IbjjPymsMKL3nxoGBNWKXFEpi8CZUiHfYiolje/VYADM2L8BxU7m0r2fJMUsYhnXIHRU/a694n0Q9i+wsAVQoKOGMSH95fwk1h03lK15LKG/wn81wmnu8SCodmm20Hx/jVqPGWbftujEDA95mD4Rl3hhtJ1xZrsMBCup60iA3myfpLzYtO5b2h/Gpjdu75cRmwKVo2TYIIdFuWvR17asTGnuboDgJdZCzC4rAXUJvOYpREQWZ2u/h5BVDr1QYnyAbd2b/8WAR+u0VfEdS8qOvR2tgpxuBCELNBpMEdE3zP45YgzzydCrd9wmG2gilOviSQqs8bZ/9BmCdVxQPgLZ7qN6inuW+UWeI6NlHxpEtL11cSGQyYvdzmyPoRPGdYMtl2DGVAM1IPW5t4fJV+k7XxdU8k3UXSyF9lzk036NCuRcK7GQwfpMLXhRLSJKTXDGFEsUYV4bJUE+LnR+IdV9agrENTnIlceplZQzGdj2AbVHg15dDlh0HlQInKN3wLRGENcaPxwF96OepW80mGbnXF0cN8x3aSz4Ewj6aLqr3ny8Y7KkhGNaBTAucZTqejbYIcgF/WYb9KtlpmQItugXJfkEjgmmW/UWmhN1Z+Pgtawwdk2dLIVXZwqRthGMmV4YISv205DVm15ayrtnuCwMTgH422B5MHLPJaeYVHFuhYOWLn6fi9gWCJQ4Ylmg6Ao5tDJIqQScE/a5trjUr1k6m5gLMxLKO4DgGXShJYT8ra3K/uF16Y8sj7tWRJQ2J/431vk21weNYsdg8RP6K8xCQe2vSDKuK3zr36d10/ax6rnew9mvax8uuYR8dGd+qvZfZhQQ871+6vhIhskgb94c25nqMqbjuHYE4VzDCsWj5pHG1diIV35lyzSSxl37Uj4VwCOR+1f7LH1c7/tNOI02JnnN//NTnZLIzvdDsB/iTvKjxmKMmsNUQgU3VMXVBOpx2z6uv08pJ0qXVY7ohR7Lx9WXXmOUfpRhvH+STWNmnhhQlfApfL7GK7TL+2PJTwwIyH2WdrtChjE1S0coklAXS1bdQYIsvncN21XV0/8vs+USqy4MxxWBgjd3kzQUc71CCKkXjloxQGyFTROzyuy15SjtG3SP91ZS7XZawcTqEZzmJjJmgy5Ib6eu0JdG4joi7XAx/q9Ox0cFX+TNrGMu4yWNVDz/5e+hyskHxUdB4F/G6O4pkj+eRY/yGGk4dayB5PwqiirdIqD+KX8YJgFVDdxCL7sqa3Xo13rLJTtTlpZBHGVLrhqCJLI32H8gVdbfrLIbXbsBH8B0HPHNySqfQKVgxesJt0uu/nbUSFW5vgm/UGprHA0c2va5CObj4EYtShdjxrgE0cONUjNbxkTtFYFfk8rFjFaZrXKTSvhPQdlgHiHfIfqc5LoHUUiFvXAav59axw/hB18uzUHvJLlNdv6Me1qomnvdTNL9xmJeSBmCg0Vu0yk/j1+Ay7rnNG3QQOrHQ6ID9TjaacwyumvsvBUOj/Cd09Z81QVw77UvMbwNCVOypaRo5vxXX9F7Xase/cITyK9fCIj0mQGM5mOTUzGvKJQNI9Wa5KZQYKGss9GR5vh8SAiHrH4BoBrj2yw7rsGrnn31y9hr5BnwPyJu/iA5ioriTrVuU7RBullAcWTlPko/qb7mONacGAXjo5qTPa7RVQRHe6S1W47RB2AoS25sR8dxzuhImOkAKaVjDqgE0HB0eGuedZVcNgsU4sLSagqZQCQyzrnsdM/RnvIjA+5GEBmefT5Ocm0UOZH2Qx8iORQ0VOAyGH08Yey7F8nB1LnaAnmLmv4rKvwyraEpcfNyeeG4zFTeU3iSleMl7UXF7eXcKDwtf+bdE+U2dQor5Erl3J1TCiOBwVdSYMtTMKuUvwqlO8AZLad1G2fNc8uNOTr2jy7QAos5wdChrdbWP80xQMU/UkMMnk4GLEtXEBE+kbhu1mdGAr8hGSh0RoiLrjvZLW7BOHGJrV0mO+V0NL/vWcc8YBRh+KORLmECwqdC3K4gBSlRrDUTmNvuPQGM1ltZE8zsFINcsyv5kEJbqRccF/xUT/kcpCRAq+3oDULb+nWQ5aP74DMHI16ooHO4JARiCrKZCDS8gIzV11Aly30rdLevGFstKErC0Ru9V+PN6ACYDydbqJ5cTpcb1hiu9AxKx45lRxxlUbTbvULSsc2t8kejmtniixiMC7QPbUS9WMBHdSmLZeA4g+GMiJwgjqz5ccSTtD8umXg34yx5MYyVMQ3qFCeaCTnduKSg6A4IZ+UsZMAIbfbvGG5bVzust1Dq2zqfFaAMfNSZJi83kK2q70/a+YVcXzH1v/fajGTqyNu9kb2G1/OVmbgf4lFZHMLYl8j/oh2+EbFT5A1OQ6C/f5oMzMSUWFV1yFEZqp2pN88WLLh9nV9tZ4cWraxFYy8HtVy+wBA8JRKmy06o0l7P9nWzzZivnlubGo28onTtGC32LOGvTuGuqAOTkAmZSfLzH3hrQjaRvzcxhwZfpTGR1hdjG/b3L1oA1WSrIqMs5LdAHpRVJMyL49RnU8yp/PB5ywRsC6cEuanvr8AaXBrb13ZQ5ZESX+2nYgx2Ozlzgd2kZiUD8ynfIPjS3rzvaOpDRXSVDBUH1AG8T7JMRPBqcTISxlphOHA21np+v6D/1AUG5OqRyytkVikDZX1Ffh4/JlIqqWMJtuOjlCd4mSq2FPrUJA3CrTB0nF/HbY1t0/WGcbmT/JD5wDikHTi4ne72OAUIVsE6t/78MZCvdTbTQ8X1AiKJZ7rO/qbfrJ2EjbChKTgXSbj169bcogVkcQ4gN5nN4qfGIzTLk9BZ76jng5ZIQ/O0VZrLlGwMtoZ0Y3dkUSwkb4cany6FPZ2dWhcs490nh5Y4aj+vWLBdWsE/DzFaDIogagzBYbZZDkkbissRkbHw+WBIcbk8RTkqsfo6r2VVWyWATjkkMRZeuHVgcjZ+NVbaVrETbsGpx8PV6Yv0RpoZHdw0OChdlpE62+TwG4QEDFYbe/D+Gyl3RpejgI5kAOJ7JvIWjmpsgK6ypLe7/qfkyEFSnjOqX8olZw/CSJU706Jq6fP4Qr/s4FSulvbCbfd0sfVSNAvyJIMNijU8LE2e9Ms5/Dg8Gqx6ptR/x+BNatJ55jayhP0nrb+nJgEnweX69Okgj7a0tKtTNSiDwlEGVomefvprIL3tJh5wb2ErZRCIuZi99DxWmrHVsUHdQOa7AvvVNtSjWkJJE1Sxy6pDTR52IOx3QB+qWjBkMNJ1FkTM519eZmA6bp2vYZJH7qhBS7Ox2ZsSLcn4FJZNapW+2NSmGoWEqvIWMCr/m8Uzb0d3ChGLWhNRFPNvV7rSgaI2yE0njClQQo0kKme9VRYgAYgknEfIhLwEGPLOQmeszxqIKQA0TMD2yarbeiU/aiXLpfm1ePxo77K6f+ueadEXJmGJZrYq27zF66QF0ePYHdc7gl52/x0EV9QdA0Ah8AdB/4UJj85qr04P4qDqbHRKtNk/4amWoTjqKPshsiD3PK79+fJ9yZKARU0eUr3xCevsPllQQKHYtQEJNs/DqIOTAj8Xe0CUPfnHA1G4Tnt+zyZgmewpVaZRkcHrdWRGVfj7StnfkVU16ghwuc15f6sXp7OoPwTbvlmcTw4vQGy0Dv2ytWmYj0tvPFBxgeoeD032Q2O1fMFuZYmxqB2xOAHEV/2KZsF1p6SUBWRbe9agPFJF4LU+9vkPAeeEbQYG9miXmAilJU/uMKZ+rA9QgEUCZW+54bn9ZfekDkti814FEaUlJLFPqltbg==" title="Mekko Graphics Chart">
            <a:extLst>
              <a:ext uri="{FF2B5EF4-FFF2-40B4-BE49-F238E27FC236}">
                <a16:creationId xmlns:a16="http://schemas.microsoft.com/office/drawing/2014/main" id="{A06D13DC-5395-5C05-1A06-861DDA7F4148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 bwMode="gray">
          <a:xfrm>
            <a:off x="6032326" y="1843743"/>
            <a:ext cx="2848046" cy="4486387"/>
          </a:xfrm>
          <a:prstGeom prst="rect">
            <a:avLst/>
          </a:prstGeom>
          <a:blipFill>
            <a:blip r:embed="rId21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grpSp>
        <p:nvGrpSpPr>
          <p:cNvPr id="80" name="btfpColumnIndicatorGroup2">
            <a:extLst>
              <a:ext uri="{FF2B5EF4-FFF2-40B4-BE49-F238E27FC236}">
                <a16:creationId xmlns:a16="http://schemas.microsoft.com/office/drawing/2014/main" id="{4A01CFA3-E117-01E8-120D-EC7B1A751541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78" name="btfpColumnGapBlocker991182">
              <a:extLst>
                <a:ext uri="{FF2B5EF4-FFF2-40B4-BE49-F238E27FC236}">
                  <a16:creationId xmlns:a16="http://schemas.microsoft.com/office/drawing/2014/main" id="{1F8AA950-AEEE-A337-74A9-C8569C63AB94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76" name="btfpColumnGapBlocker400886">
              <a:extLst>
                <a:ext uri="{FF2B5EF4-FFF2-40B4-BE49-F238E27FC236}">
                  <a16:creationId xmlns:a16="http://schemas.microsoft.com/office/drawing/2014/main" id="{6E96FEAC-B901-93EB-D363-4F175C29BC99}"/>
                </a:ext>
              </a:extLst>
            </p:cNvPr>
            <p:cNvSpPr/>
            <p:nvPr/>
          </p:nvSpPr>
          <p:spPr bwMode="gray">
            <a:xfrm>
              <a:off x="884376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4" name="btfpColumnIndicator903582">
              <a:extLst>
                <a:ext uri="{FF2B5EF4-FFF2-40B4-BE49-F238E27FC236}">
                  <a16:creationId xmlns:a16="http://schemas.microsoft.com/office/drawing/2014/main" id="{F8215C73-9982-16DD-C8C6-06B6079960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btfpColumnIndicator158560">
              <a:extLst>
                <a:ext uri="{FF2B5EF4-FFF2-40B4-BE49-F238E27FC236}">
                  <a16:creationId xmlns:a16="http://schemas.microsoft.com/office/drawing/2014/main" id="{52E2171E-8952-4848-9A64-54DF0083E7F0}"/>
                </a:ext>
              </a:extLst>
            </p:cNvPr>
            <p:cNvCxnSpPr/>
            <p:nvPr/>
          </p:nvCxnSpPr>
          <p:spPr bwMode="gray">
            <a:xfrm flipV="1">
              <a:off x="938430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btfpColumnGapBlocker187548">
              <a:extLst>
                <a:ext uri="{FF2B5EF4-FFF2-40B4-BE49-F238E27FC236}">
                  <a16:creationId xmlns:a16="http://schemas.microsoft.com/office/drawing/2014/main" id="{4C2FA6C1-BA33-7C4D-C870-8FCEF4330BEC}"/>
                </a:ext>
              </a:extLst>
            </p:cNvPr>
            <p:cNvSpPr/>
            <p:nvPr/>
          </p:nvSpPr>
          <p:spPr bwMode="gray">
            <a:xfrm>
              <a:off x="5825728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8" name="btfpColumnIndicator435161">
              <a:extLst>
                <a:ext uri="{FF2B5EF4-FFF2-40B4-BE49-F238E27FC236}">
                  <a16:creationId xmlns:a16="http://schemas.microsoft.com/office/drawing/2014/main" id="{B18861CE-E156-FD5D-E664-868FBC3A0FC2}"/>
                </a:ext>
              </a:extLst>
            </p:cNvPr>
            <p:cNvCxnSpPr/>
            <p:nvPr/>
          </p:nvCxnSpPr>
          <p:spPr bwMode="gray">
            <a:xfrm flipV="1">
              <a:off x="884376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btfpColumnIndicator923480">
              <a:extLst>
                <a:ext uri="{FF2B5EF4-FFF2-40B4-BE49-F238E27FC236}">
                  <a16:creationId xmlns:a16="http://schemas.microsoft.com/office/drawing/2014/main" id="{B7E33492-6BB1-2151-9CC4-C44C61B98829}"/>
                </a:ext>
              </a:extLst>
            </p:cNvPr>
            <p:cNvCxnSpPr/>
            <p:nvPr/>
          </p:nvCxnSpPr>
          <p:spPr bwMode="gray">
            <a:xfrm flipV="1">
              <a:off x="636627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btfpColumnGapBlocker393847">
              <a:extLst>
                <a:ext uri="{FF2B5EF4-FFF2-40B4-BE49-F238E27FC236}">
                  <a16:creationId xmlns:a16="http://schemas.microsoft.com/office/drawing/2014/main" id="{BA7B4742-4F32-1BD1-BB6C-696C70B7615D}"/>
                </a:ext>
              </a:extLst>
            </p:cNvPr>
            <p:cNvSpPr/>
            <p:nvPr/>
          </p:nvSpPr>
          <p:spPr bwMode="gray">
            <a:xfrm>
              <a:off x="280769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2" name="btfpColumnIndicator890054">
              <a:extLst>
                <a:ext uri="{FF2B5EF4-FFF2-40B4-BE49-F238E27FC236}">
                  <a16:creationId xmlns:a16="http://schemas.microsoft.com/office/drawing/2014/main" id="{5F3B8D14-3F96-6256-EF68-156DEC8810C3}"/>
                </a:ext>
              </a:extLst>
            </p:cNvPr>
            <p:cNvCxnSpPr/>
            <p:nvPr/>
          </p:nvCxnSpPr>
          <p:spPr bwMode="gray">
            <a:xfrm flipV="1">
              <a:off x="582572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btfpColumnIndicator120930">
              <a:extLst>
                <a:ext uri="{FF2B5EF4-FFF2-40B4-BE49-F238E27FC236}">
                  <a16:creationId xmlns:a16="http://schemas.microsoft.com/office/drawing/2014/main" id="{A6613AA5-F9F8-D318-BDA1-A643EB676254}"/>
                </a:ext>
              </a:extLst>
            </p:cNvPr>
            <p:cNvCxnSpPr/>
            <p:nvPr/>
          </p:nvCxnSpPr>
          <p:spPr bwMode="gray">
            <a:xfrm flipV="1">
              <a:off x="334823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btfpColumnGapBlocker495658">
              <a:extLst>
                <a:ext uri="{FF2B5EF4-FFF2-40B4-BE49-F238E27FC236}">
                  <a16:creationId xmlns:a16="http://schemas.microsoft.com/office/drawing/2014/main" id="{BA321074-C624-D922-55A3-C8D3476CC557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1" name="btfpColumnIndicator961198">
              <a:extLst>
                <a:ext uri="{FF2B5EF4-FFF2-40B4-BE49-F238E27FC236}">
                  <a16:creationId xmlns:a16="http://schemas.microsoft.com/office/drawing/2014/main" id="{A472F4F0-6302-C789-51CA-482C5C7BE339}"/>
                </a:ext>
              </a:extLst>
            </p:cNvPr>
            <p:cNvCxnSpPr/>
            <p:nvPr/>
          </p:nvCxnSpPr>
          <p:spPr bwMode="gray">
            <a:xfrm flipV="1">
              <a:off x="280769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341107">
              <a:extLst>
                <a:ext uri="{FF2B5EF4-FFF2-40B4-BE49-F238E27FC236}">
                  <a16:creationId xmlns:a16="http://schemas.microsoft.com/office/drawing/2014/main" id="{62F6B72D-4863-2588-9DCF-EB9146798392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9" name="btfpColumnIndicatorGroup1">
            <a:extLst>
              <a:ext uri="{FF2B5EF4-FFF2-40B4-BE49-F238E27FC236}">
                <a16:creationId xmlns:a16="http://schemas.microsoft.com/office/drawing/2014/main" id="{394BA34C-3378-1E67-4400-C1934CC9CE3C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77" name="btfpColumnGapBlocker986949">
              <a:extLst>
                <a:ext uri="{FF2B5EF4-FFF2-40B4-BE49-F238E27FC236}">
                  <a16:creationId xmlns:a16="http://schemas.microsoft.com/office/drawing/2014/main" id="{05F0FE87-DDE7-408E-DA8B-10D070551B65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75" name="btfpColumnGapBlocker499628">
              <a:extLst>
                <a:ext uri="{FF2B5EF4-FFF2-40B4-BE49-F238E27FC236}">
                  <a16:creationId xmlns:a16="http://schemas.microsoft.com/office/drawing/2014/main" id="{8210A889-83D8-7BD3-97D0-3ED16FCCEF0E}"/>
                </a:ext>
              </a:extLst>
            </p:cNvPr>
            <p:cNvSpPr/>
            <p:nvPr/>
          </p:nvSpPr>
          <p:spPr bwMode="gray">
            <a:xfrm>
              <a:off x="884376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3" name="btfpColumnIndicator517852">
              <a:extLst>
                <a:ext uri="{FF2B5EF4-FFF2-40B4-BE49-F238E27FC236}">
                  <a16:creationId xmlns:a16="http://schemas.microsoft.com/office/drawing/2014/main" id="{C37AE752-AD86-D747-F668-93BFF655A8FA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btfpColumnIndicator443080">
              <a:extLst>
                <a:ext uri="{FF2B5EF4-FFF2-40B4-BE49-F238E27FC236}">
                  <a16:creationId xmlns:a16="http://schemas.microsoft.com/office/drawing/2014/main" id="{C4782F94-52DA-161F-3238-AB720BF049A5}"/>
                </a:ext>
              </a:extLst>
            </p:cNvPr>
            <p:cNvCxnSpPr/>
            <p:nvPr/>
          </p:nvCxnSpPr>
          <p:spPr bwMode="gray">
            <a:xfrm flipV="1">
              <a:off x="938430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btfpColumnGapBlocker600619">
              <a:extLst>
                <a:ext uri="{FF2B5EF4-FFF2-40B4-BE49-F238E27FC236}">
                  <a16:creationId xmlns:a16="http://schemas.microsoft.com/office/drawing/2014/main" id="{CB50720C-4A55-D497-9EEF-5DA3DA3DBCD1}"/>
                </a:ext>
              </a:extLst>
            </p:cNvPr>
            <p:cNvSpPr/>
            <p:nvPr/>
          </p:nvSpPr>
          <p:spPr bwMode="gray">
            <a:xfrm>
              <a:off x="5825728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7" name="btfpColumnIndicator704949">
              <a:extLst>
                <a:ext uri="{FF2B5EF4-FFF2-40B4-BE49-F238E27FC236}">
                  <a16:creationId xmlns:a16="http://schemas.microsoft.com/office/drawing/2014/main" id="{1BF94D32-8740-AE67-2EE1-EAD581C2A884}"/>
                </a:ext>
              </a:extLst>
            </p:cNvPr>
            <p:cNvCxnSpPr/>
            <p:nvPr/>
          </p:nvCxnSpPr>
          <p:spPr bwMode="gray">
            <a:xfrm flipV="1">
              <a:off x="884376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btfpColumnIndicator760726">
              <a:extLst>
                <a:ext uri="{FF2B5EF4-FFF2-40B4-BE49-F238E27FC236}">
                  <a16:creationId xmlns:a16="http://schemas.microsoft.com/office/drawing/2014/main" id="{F91DE9D4-DD7D-63B5-AF7D-4273CEC217D0}"/>
                </a:ext>
              </a:extLst>
            </p:cNvPr>
            <p:cNvCxnSpPr/>
            <p:nvPr/>
          </p:nvCxnSpPr>
          <p:spPr bwMode="gray">
            <a:xfrm flipV="1">
              <a:off x="636627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btfpColumnGapBlocker826245">
              <a:extLst>
                <a:ext uri="{FF2B5EF4-FFF2-40B4-BE49-F238E27FC236}">
                  <a16:creationId xmlns:a16="http://schemas.microsoft.com/office/drawing/2014/main" id="{E6CD1219-BABF-001D-0B0A-ED9AB01C2325}"/>
                </a:ext>
              </a:extLst>
            </p:cNvPr>
            <p:cNvSpPr/>
            <p:nvPr/>
          </p:nvSpPr>
          <p:spPr bwMode="gray">
            <a:xfrm>
              <a:off x="280769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1" name="btfpColumnIndicator855029">
              <a:extLst>
                <a:ext uri="{FF2B5EF4-FFF2-40B4-BE49-F238E27FC236}">
                  <a16:creationId xmlns:a16="http://schemas.microsoft.com/office/drawing/2014/main" id="{7D33A243-4800-9EBE-F1FE-3C1B3B7878B8}"/>
                </a:ext>
              </a:extLst>
            </p:cNvPr>
            <p:cNvCxnSpPr/>
            <p:nvPr/>
          </p:nvCxnSpPr>
          <p:spPr bwMode="gray">
            <a:xfrm flipV="1">
              <a:off x="582572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btfpColumnIndicator706034">
              <a:extLst>
                <a:ext uri="{FF2B5EF4-FFF2-40B4-BE49-F238E27FC236}">
                  <a16:creationId xmlns:a16="http://schemas.microsoft.com/office/drawing/2014/main" id="{ED91AD87-F2F6-6F8A-5799-7B0B6632A76D}"/>
                </a:ext>
              </a:extLst>
            </p:cNvPr>
            <p:cNvCxnSpPr/>
            <p:nvPr/>
          </p:nvCxnSpPr>
          <p:spPr bwMode="gray">
            <a:xfrm flipV="1">
              <a:off x="334823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btfpColumnGapBlocker295097">
              <a:extLst>
                <a:ext uri="{FF2B5EF4-FFF2-40B4-BE49-F238E27FC236}">
                  <a16:creationId xmlns:a16="http://schemas.microsoft.com/office/drawing/2014/main" id="{57826110-507E-F760-74C9-5A67BFC859A5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0" name="btfpColumnIndicator238456">
              <a:extLst>
                <a:ext uri="{FF2B5EF4-FFF2-40B4-BE49-F238E27FC236}">
                  <a16:creationId xmlns:a16="http://schemas.microsoft.com/office/drawing/2014/main" id="{6F578923-AD66-8DD0-C4FC-C43D3DB33ADB}"/>
                </a:ext>
              </a:extLst>
            </p:cNvPr>
            <p:cNvCxnSpPr/>
            <p:nvPr/>
          </p:nvCxnSpPr>
          <p:spPr bwMode="gray">
            <a:xfrm flipV="1">
              <a:off x="280769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107083">
              <a:extLst>
                <a:ext uri="{FF2B5EF4-FFF2-40B4-BE49-F238E27FC236}">
                  <a16:creationId xmlns:a16="http://schemas.microsoft.com/office/drawing/2014/main" id="{F69C5CD4-E3B4-063E-E80B-F0CBF1256EA3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F6ADACD-6925-4DE8-A425-F595D8D8D9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4" y="1"/>
            <a:ext cx="11542516" cy="876687"/>
          </a:xfrm>
        </p:spPr>
        <p:txBody>
          <a:bodyPr vert="horz"/>
          <a:lstStyle/>
          <a:p>
            <a:r>
              <a:rPr lang="en-US" altLang="en-US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M: </a:t>
            </a:r>
            <a:r>
              <a:rPr lang="en-US" alt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ope for Peer 2 to invest in a well-optimized mix of keywords, keeping CPCs in check</a:t>
            </a:r>
            <a:endParaRPr lang="en-US" dirty="0"/>
          </a:p>
        </p:txBody>
      </p:sp>
      <p:grpSp>
        <p:nvGrpSpPr>
          <p:cNvPr id="87" name="btfpColumnHeaderBox799102">
            <a:extLst>
              <a:ext uri="{FF2B5EF4-FFF2-40B4-BE49-F238E27FC236}">
                <a16:creationId xmlns:a16="http://schemas.microsoft.com/office/drawing/2014/main" id="{37944D3A-D0FB-4260-B0FE-5546755A84BD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6112458" y="1430062"/>
            <a:ext cx="2754465" cy="290707"/>
            <a:chOff x="6366272" y="649222"/>
            <a:chExt cx="2477492" cy="290707"/>
          </a:xfrm>
        </p:grpSpPr>
        <p:sp>
          <p:nvSpPr>
            <p:cNvPr id="88" name="btfpColumnHeaderBoxText799102">
              <a:extLst>
                <a:ext uri="{FF2B5EF4-FFF2-40B4-BE49-F238E27FC236}">
                  <a16:creationId xmlns:a16="http://schemas.microsoft.com/office/drawing/2014/main" id="{0976A5A0-BC2A-43E0-8F3B-F900EF5EE673}"/>
                </a:ext>
              </a:extLst>
            </p:cNvPr>
            <p:cNvSpPr txBox="1"/>
            <p:nvPr/>
          </p:nvSpPr>
          <p:spPr bwMode="gray">
            <a:xfrm>
              <a:off x="6366272" y="649222"/>
              <a:ext cx="2477492" cy="28543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>
                  <a:solidFill>
                    <a:srgbClr val="000000"/>
                  </a:solidFill>
                </a:rPr>
                <a:t>Cost-per-click</a:t>
              </a:r>
            </a:p>
          </p:txBody>
        </p:sp>
        <p:cxnSp>
          <p:nvCxnSpPr>
            <p:cNvPr id="89" name="btfpColumnHeaderBoxLine799102">
              <a:extLst>
                <a:ext uri="{FF2B5EF4-FFF2-40B4-BE49-F238E27FC236}">
                  <a16:creationId xmlns:a16="http://schemas.microsoft.com/office/drawing/2014/main" id="{CF0A5775-896B-4BF4-8080-93629103023E}"/>
                </a:ext>
              </a:extLst>
            </p:cNvPr>
            <p:cNvCxnSpPr/>
            <p:nvPr/>
          </p:nvCxnSpPr>
          <p:spPr bwMode="gray">
            <a:xfrm>
              <a:off x="6366272" y="939929"/>
              <a:ext cx="2477492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0" name="btfpColumnHeaderBox187732">
            <a:extLst>
              <a:ext uri="{FF2B5EF4-FFF2-40B4-BE49-F238E27FC236}">
                <a16:creationId xmlns:a16="http://schemas.microsoft.com/office/drawing/2014/main" id="{F74AAA13-44AF-429D-A093-94ABDB51B702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3221329" y="1440829"/>
            <a:ext cx="2600136" cy="290707"/>
            <a:chOff x="3348236" y="1143902"/>
            <a:chExt cx="2477492" cy="290707"/>
          </a:xfrm>
        </p:grpSpPr>
        <p:sp>
          <p:nvSpPr>
            <p:cNvPr id="91" name="btfpColumnHeaderBoxText187732">
              <a:extLst>
                <a:ext uri="{FF2B5EF4-FFF2-40B4-BE49-F238E27FC236}">
                  <a16:creationId xmlns:a16="http://schemas.microsoft.com/office/drawing/2014/main" id="{AD760BB7-75C4-47F2-9556-EA23C9BAC30D}"/>
                </a:ext>
              </a:extLst>
            </p:cNvPr>
            <p:cNvSpPr txBox="1"/>
            <p:nvPr/>
          </p:nvSpPr>
          <p:spPr bwMode="gray">
            <a:xfrm>
              <a:off x="3348236" y="1143902"/>
              <a:ext cx="2477492" cy="28543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>
                  <a:solidFill>
                    <a:srgbClr val="000000"/>
                  </a:solidFill>
                </a:rPr>
                <a:t>Branded v unbranded traffic</a:t>
              </a:r>
            </a:p>
          </p:txBody>
        </p:sp>
        <p:cxnSp>
          <p:nvCxnSpPr>
            <p:cNvPr id="92" name="btfpColumnHeaderBoxLine187732">
              <a:extLst>
                <a:ext uri="{FF2B5EF4-FFF2-40B4-BE49-F238E27FC236}">
                  <a16:creationId xmlns:a16="http://schemas.microsoft.com/office/drawing/2014/main" id="{D68545E9-15A3-492D-BC03-A1A2CC4D3CEE}"/>
                </a:ext>
              </a:extLst>
            </p:cNvPr>
            <p:cNvCxnSpPr/>
            <p:nvPr/>
          </p:nvCxnSpPr>
          <p:spPr bwMode="gray">
            <a:xfrm>
              <a:off x="3348236" y="1434609"/>
              <a:ext cx="2477492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3" name="btfpColumnHeaderBox793910">
            <a:extLst>
              <a:ext uri="{FF2B5EF4-FFF2-40B4-BE49-F238E27FC236}">
                <a16:creationId xmlns:a16="http://schemas.microsoft.com/office/drawing/2014/main" id="{9C071DEB-260B-4978-9901-0344EF78EBC7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323857" y="1444677"/>
            <a:ext cx="2600136" cy="290707"/>
            <a:chOff x="330200" y="1105266"/>
            <a:chExt cx="2477492" cy="290707"/>
          </a:xfrm>
        </p:grpSpPr>
        <p:sp>
          <p:nvSpPr>
            <p:cNvPr id="94" name="btfpColumnHeaderBoxText793910">
              <a:extLst>
                <a:ext uri="{FF2B5EF4-FFF2-40B4-BE49-F238E27FC236}">
                  <a16:creationId xmlns:a16="http://schemas.microsoft.com/office/drawing/2014/main" id="{6BA055DD-F0F6-4118-9EDD-6418B32C2F2B}"/>
                </a:ext>
              </a:extLst>
            </p:cNvPr>
            <p:cNvSpPr txBox="1"/>
            <p:nvPr/>
          </p:nvSpPr>
          <p:spPr bwMode="gray">
            <a:xfrm>
              <a:off x="330200" y="1105266"/>
              <a:ext cx="2477492" cy="28543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>
                  <a:solidFill>
                    <a:srgbClr val="000000"/>
                  </a:solidFill>
                </a:rPr>
                <a:t>Branded v unbranded spend</a:t>
              </a:r>
            </a:p>
          </p:txBody>
        </p:sp>
        <p:cxnSp>
          <p:nvCxnSpPr>
            <p:cNvPr id="95" name="btfpColumnHeaderBoxLine793910">
              <a:extLst>
                <a:ext uri="{FF2B5EF4-FFF2-40B4-BE49-F238E27FC236}">
                  <a16:creationId xmlns:a16="http://schemas.microsoft.com/office/drawing/2014/main" id="{BEF7AFEE-119D-4FC1-941B-E14C7676156E}"/>
                </a:ext>
              </a:extLst>
            </p:cNvPr>
            <p:cNvCxnSpPr/>
            <p:nvPr/>
          </p:nvCxnSpPr>
          <p:spPr bwMode="gray">
            <a:xfrm>
              <a:off x="330200" y="1395973"/>
              <a:ext cx="2477492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0" name="btfpBulletedList109036">
            <a:extLst>
              <a:ext uri="{FF2B5EF4-FFF2-40B4-BE49-F238E27FC236}">
                <a16:creationId xmlns:a16="http://schemas.microsoft.com/office/drawing/2014/main" id="{EC95FC76-5D4D-4D3F-9AE3-50886479B8E7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>
            <a:off x="9123015" y="1880341"/>
            <a:ext cx="2754465" cy="2534916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r>
              <a:rPr lang="en-US" sz="1100" b="1" dirty="0">
                <a:solidFill>
                  <a:srgbClr val="000000"/>
                </a:solidFill>
                <a:latin typeface="+mj-lt"/>
              </a:rPr>
              <a:t>Peer 2 spends only on unbranded terms </a:t>
            </a:r>
            <a:r>
              <a:rPr lang="en-US" sz="1100" dirty="0">
                <a:solidFill>
                  <a:srgbClr val="000000"/>
                </a:solidFill>
                <a:latin typeface="+mj-lt"/>
              </a:rPr>
              <a:t>and generates ~99% traffic via unbranded, similar to Peer 9 </a:t>
            </a:r>
          </a:p>
          <a:p>
            <a:pPr lvl="1"/>
            <a:r>
              <a:rPr lang="en-GB" sz="900" dirty="0"/>
              <a:t>Investment in unbranded terms helps in increasing brand discoverability among potential consumers who are unaware of the brand and attract incremental traffic to website</a:t>
            </a:r>
            <a:endParaRPr lang="en-US" sz="900" dirty="0">
              <a:solidFill>
                <a:srgbClr val="000000"/>
              </a:solidFill>
              <a:latin typeface="+mj-lt"/>
            </a:endParaRPr>
          </a:p>
          <a:p>
            <a:r>
              <a:rPr lang="en-US" sz="1100" dirty="0">
                <a:solidFill>
                  <a:srgbClr val="000000"/>
                </a:solidFill>
                <a:latin typeface="+mj-lt"/>
              </a:rPr>
              <a:t>Opportunity for other brands to focus on </a:t>
            </a:r>
            <a:br>
              <a:rPr lang="en-US" sz="1100" dirty="0">
                <a:solidFill>
                  <a:srgbClr val="000000"/>
                </a:solidFill>
                <a:latin typeface="+mj-lt"/>
              </a:rPr>
            </a:br>
            <a:r>
              <a:rPr lang="en-US" sz="1100" dirty="0">
                <a:solidFill>
                  <a:srgbClr val="000000"/>
                </a:solidFill>
                <a:latin typeface="+mj-lt"/>
              </a:rPr>
              <a:t>investing in high search volume unbranded keywords that well help brands to create a stronger presence</a:t>
            </a:r>
          </a:p>
          <a:p>
            <a:pPr lvl="1"/>
            <a:r>
              <a:rPr lang="en-US" sz="900" dirty="0">
                <a:solidFill>
                  <a:srgbClr val="000000"/>
                </a:solidFill>
                <a:cs typeface="Segoe UI" panose="020B0502040204020203" pitchFamily="34" charset="0"/>
              </a:rPr>
              <a:t>Unbranded terms have higher search volume vs. branded, and have reasonable cost</a:t>
            </a:r>
          </a:p>
        </p:txBody>
      </p:sp>
      <p:grpSp>
        <p:nvGrpSpPr>
          <p:cNvPr id="21" name="btfpColumnHeaderBox279529">
            <a:extLst>
              <a:ext uri="{FF2B5EF4-FFF2-40B4-BE49-F238E27FC236}">
                <a16:creationId xmlns:a16="http://schemas.microsoft.com/office/drawing/2014/main" id="{671B1308-282E-4936-AED5-9A25B6D0FAF7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157917" y="1430062"/>
            <a:ext cx="2700191" cy="291303"/>
            <a:chOff x="9384308" y="4861757"/>
            <a:chExt cx="2477492" cy="291303"/>
          </a:xfrm>
        </p:grpSpPr>
        <p:sp>
          <p:nvSpPr>
            <p:cNvPr id="22" name="btfpColumnHeaderBoxText279529">
              <a:extLst>
                <a:ext uri="{FF2B5EF4-FFF2-40B4-BE49-F238E27FC236}">
                  <a16:creationId xmlns:a16="http://schemas.microsoft.com/office/drawing/2014/main" id="{B3E7FAB6-7119-D721-A9AC-1BE94C3A02C8}"/>
                </a:ext>
              </a:extLst>
            </p:cNvPr>
            <p:cNvSpPr txBox="1"/>
            <p:nvPr/>
          </p:nvSpPr>
          <p:spPr bwMode="gray">
            <a:xfrm>
              <a:off x="9384308" y="4861757"/>
              <a:ext cx="2477492" cy="28543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>
                  <a:solidFill>
                    <a:srgbClr val="000000"/>
                  </a:solidFill>
                </a:rPr>
                <a:t>Commentary</a:t>
              </a:r>
            </a:p>
          </p:txBody>
        </p:sp>
        <p:cxnSp>
          <p:nvCxnSpPr>
            <p:cNvPr id="23" name="btfpColumnHeaderBoxLine279529">
              <a:extLst>
                <a:ext uri="{FF2B5EF4-FFF2-40B4-BE49-F238E27FC236}">
                  <a16:creationId xmlns:a16="http://schemas.microsoft.com/office/drawing/2014/main" id="{7D96C4FF-881F-4D95-455F-E791AF8323B8}"/>
                </a:ext>
              </a:extLst>
            </p:cNvPr>
            <p:cNvCxnSpPr/>
            <p:nvPr/>
          </p:nvCxnSpPr>
          <p:spPr bwMode="gray">
            <a:xfrm>
              <a:off x="9384308" y="5153060"/>
              <a:ext cx="2477492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btfpStatusSticker719082">
            <a:extLst>
              <a:ext uri="{FF2B5EF4-FFF2-40B4-BE49-F238E27FC236}">
                <a16:creationId xmlns:a16="http://schemas.microsoft.com/office/drawing/2014/main" id="{C6E90CF0-6280-F29C-A9A8-9250FD3C4ABD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10102664" y="955344"/>
            <a:ext cx="1759136" cy="235611"/>
            <a:chOff x="-2269853" y="876300"/>
            <a:chExt cx="1759136" cy="235611"/>
          </a:xfrm>
        </p:grpSpPr>
        <p:sp>
          <p:nvSpPr>
            <p:cNvPr id="6" name="btfpStatusStickerText719082">
              <a:extLst>
                <a:ext uri="{FF2B5EF4-FFF2-40B4-BE49-F238E27FC236}">
                  <a16:creationId xmlns:a16="http://schemas.microsoft.com/office/drawing/2014/main" id="{057FCB9D-F892-7FA2-E5C7-8D0920B85CE5}"/>
                </a:ext>
              </a:extLst>
            </p:cNvPr>
            <p:cNvSpPr txBox="1"/>
            <p:nvPr/>
          </p:nvSpPr>
          <p:spPr bwMode="gray">
            <a:xfrm>
              <a:off x="-2269853" y="876300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7" name="btfpStatusStickerLine719082">
              <a:extLst>
                <a:ext uri="{FF2B5EF4-FFF2-40B4-BE49-F238E27FC236}">
                  <a16:creationId xmlns:a16="http://schemas.microsoft.com/office/drawing/2014/main" id="{E34A8F51-1C72-F24D-E626-612D818A7C73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69853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3" name="btfpNotesBox735198">
            <a:extLst>
              <a:ext uri="{FF2B5EF4-FFF2-40B4-BE49-F238E27FC236}">
                <a16:creationId xmlns:a16="http://schemas.microsoft.com/office/drawing/2014/main" id="{BAD9A011-1219-EB3C-2A5C-1B67DB248B6A}"/>
              </a:ext>
            </a:extLst>
          </p:cNvPr>
          <p:cNvSpPr txBox="1"/>
          <p:nvPr>
            <p:custDataLst>
              <p:tags r:id="rId10"/>
            </p:custDataLst>
          </p:nvPr>
        </p:nvSpPr>
        <p:spPr bwMode="gray">
          <a:xfrm>
            <a:off x="330200" y="6341860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CA" sz="800" dirty="0"/>
              <a:t>Note: Paid search investment only done by Peer 9 and Peer 2 in last 30 days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CA" sz="800" dirty="0"/>
              <a:t>Source: SEMrush, for the last 30 days ending 17</a:t>
            </a:r>
            <a:r>
              <a:rPr lang="en-CA" sz="800" baseline="30000" dirty="0"/>
              <a:t>th</a:t>
            </a:r>
            <a:r>
              <a:rPr lang="en-CA" sz="800" dirty="0"/>
              <a:t> April 2025</a:t>
            </a:r>
          </a:p>
        </p:txBody>
      </p:sp>
      <p:grpSp>
        <p:nvGrpSpPr>
          <p:cNvPr id="19" name="btfpRunningAgenda2Level596989">
            <a:extLst>
              <a:ext uri="{FF2B5EF4-FFF2-40B4-BE49-F238E27FC236}">
                <a16:creationId xmlns:a16="http://schemas.microsoft.com/office/drawing/2014/main" id="{7936B67B-C90D-44DE-E2E0-9F25D5A8CA0D}"/>
              </a:ext>
            </a:extLst>
          </p:cNvPr>
          <p:cNvGrpSpPr/>
          <p:nvPr>
            <p:custDataLst>
              <p:tags r:id="rId11"/>
            </p:custDataLst>
          </p:nvPr>
        </p:nvGrpSpPr>
        <p:grpSpPr>
          <a:xfrm>
            <a:off x="0" y="944429"/>
            <a:ext cx="2463844" cy="257443"/>
            <a:chOff x="0" y="876300"/>
            <a:chExt cx="2463844" cy="257443"/>
          </a:xfrm>
        </p:grpSpPr>
        <p:sp>
          <p:nvSpPr>
            <p:cNvPr id="25" name="btfpRunningAgenda2LevelBarLeft596989">
              <a:extLst>
                <a:ext uri="{FF2B5EF4-FFF2-40B4-BE49-F238E27FC236}">
                  <a16:creationId xmlns:a16="http://schemas.microsoft.com/office/drawing/2014/main" id="{94F4D664-B5A5-4D04-FB73-5468AA954449}"/>
                </a:ext>
              </a:extLst>
            </p:cNvPr>
            <p:cNvSpPr/>
            <p:nvPr/>
          </p:nvSpPr>
          <p:spPr bwMode="gray">
            <a:xfrm>
              <a:off x="0" y="876300"/>
              <a:ext cx="2463844" cy="257443"/>
            </a:xfrm>
            <a:custGeom>
              <a:avLst/>
              <a:gdLst/>
              <a:ahLst/>
              <a:cxnLst/>
              <a:rect l="0" t="0" r="0" b="0"/>
              <a:pathLst>
                <a:path w="2463844" h="257443">
                  <a:moveTo>
                    <a:pt x="0" y="0"/>
                  </a:moveTo>
                  <a:lnTo>
                    <a:pt x="2463843" y="0"/>
                  </a:lnTo>
                  <a:lnTo>
                    <a:pt x="2409122" y="257442"/>
                  </a:lnTo>
                  <a:lnTo>
                    <a:pt x="0" y="257442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7" name="btfpRunningAgenda2LevelTextLeft596989">
              <a:extLst>
                <a:ext uri="{FF2B5EF4-FFF2-40B4-BE49-F238E27FC236}">
                  <a16:creationId xmlns:a16="http://schemas.microsoft.com/office/drawing/2014/main" id="{6E78D609-218F-B59C-9E8F-AFE442776954}"/>
                </a:ext>
              </a:extLst>
            </p:cNvPr>
            <p:cNvSpPr txBox="1"/>
            <p:nvPr/>
          </p:nvSpPr>
          <p:spPr bwMode="gray">
            <a:xfrm>
              <a:off x="0" y="876300"/>
              <a:ext cx="2409122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paid SEARCH</a:t>
              </a:r>
            </a:p>
          </p:txBody>
        </p:sp>
      </p:grpSp>
      <p:sp>
        <p:nvSpPr>
          <p:cNvPr id="24" name="Rectangle 23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z2dD7pS103gZfJ6l4USC3jqtWOPR/ue0umjYEY9KlLthURXCUyUuZbmGDPUXB2idlVQc+R1c0j6vNnMaKvr/AghcgjyTjoGcS2U6lyGcWZbvoYqQsrFJ5DN1RdHsB5gZU4BjQJ6xKwDUEsW8X/QQ4uIPkrhyjIfLLN7ZR3puqzBiN1rMnctBA0J594at1EN5QJYMsPufr2eabAYzIDriNpy1GurybA3KWqcTPRKYh436jQqOHiPaCJtAtzpRgB7Igk7tw7BcBhai66Lc0jpyzFEK/4NRoFF+cso+ThI1HNgDMZbpFoCsJQtilLqk9nQPGX6RXGboCTf8hOOcHaKoTUKF81dro10jOa8Xb8mBGZAZ+Iyl7KGHMy03+9hVypQ0KdN8DTIQKzskQMQgwNkn9U0RtWU+jC/1Mrq3/G73VHS7fsUVieM17+ZZftP3v7t1qFR+LhvODGxVcwiTCxowoYt3WHzfGJBP1ZT/2PGOukXYruoytcXw1KRacMnPylbG7Qlz8RV0rIz3wSb1Fp3JBihiotosGJbZPqi6jVpR1bTOj3guxlOZJvNY+AODmLvxFtK+hF1S7p6OkpZTbbQM1nxQHAyk8WzHPtzpH/yj8X8pToUc69KnIaLODGHkillZznZcPu3MixkAmff+vIHtwD0eBPO/qfM5uWH1yTAC5/pw/mvB5wGzVdbv0kLJG/SXtzAyEIp643Mzx6AUXBH+oLqTyKU0dilyLjYw5RUg4B6c9s7CvHArrZrLmhGqbdVnYGPU0Y/c9Mrjx7s8HTCzlnDXrnPuiFBYz5oQTqTNaZ3kxhO2UJdvuVuyQfk/AEzelnpR4p20ifap3pDKmsZIJXPINBHeC4LfWxLfoDrpCEgSzIVyouKsPUEonyYOxqotFmn+zTzjaAKCMcmQg8U8rYXlrGjLkTkuEY77HvZtFQWGjdqXbNpcWzFlirlDulxxQ9REmBOlc51pK66MMiyG2lczBsJkzDEPwN7Fsrli+dOizyT5TLUd7KV2SqY+dHg81vIfFX2D/KTYXWLaF2z2U+TaKwE26cue+YmWD8MirQAFNht/W1DxlNQWBdHXI/lTAShH6h551dSZC5noQqXh9Jwn6WeyP3QIxweSy0PwOmACZvc62hIeu83vGIMr5F5TokJQf7siqen1+RrvVHvzGJsRD4M5XZ4d+e7rq2jc04I6YhYpp2URDITqBOJinfgZnCFuZQfGb4Ich/CIGkS2Wg6kKf9WIR14/W9sFJ0JZvDe6ociBu1J6SgAy7eroutyQq72dphfa0KTODFS9kXm+fKNQgSsiC3Vjyh5P0QcLRjAMOyaUNGYWHZ1GaQThoF3Z8DOVxTTU30MMOpnKrpEHEmoQ1ErayAmsteXum48z5oGsRgWRurVMafK0R0kLMJ1qAIciEkyLhtZ8T0FOhNO5SJCYrif904qOMEWbZRinLnBQdSxWycu54eYTQTzttzCjcb36EepvdxRVK9Z1Xcy+9u+UaR9VS6eM7iG6ozwIzRVDsHMOvi1+GeNE59hwsqV7We2f/WSxodTw+JOHYEh5xn98VSp2tVj5TFFo4T+XY7zuzQpmmOhiZzFyXaTLYHNj05pYg2kyOBragg8nCkolADSroLFsxHEqzumqCf4tz4qyDv2Habn7t+6gJYzitU4T4HJOjAeTRwfLYiQnclT280Ve/6B8LIwgiyPZxwizbijJbHysAZBj6kcu6+VzgVNvqN78UaSuuTx+NTKCpOq58jODhzxkl6tw1p0AMNzFv8fsdIC54/OiyxwhBNmQN9HYEcKo48LmyvCJEVf8hchT5spqdlGQ9nl59GjWxPwVB20IDKyxf/fL3jG0gcsb+yJy39sRi/FoSb5BvU8qzfGWmr/qQFH15yfiSa0LdtZBiUHHFL9JUAf8fD/gjKSJX05TFrAZfIXz745L+XCbEy3rtK112CPen17TdOstbm9asUEnp24+PU1Qyq1PDEfCr2L+dpavB5QkWmLktz2yHnSB8GRuYRqMYfwq9mC+NtArfymDUVO2Vj/EFCTa5M4UlSkSsRmmwSi+jntTRtAZZn0Je905PfBt8KPBx2ac7/y9hCONZuJyYdlmdGXGWKx0Bl9DfzafNpSZdX0hwRMwV99TeCuVsBJsBIo/8BcPS9wy5sBzvuF4P8HGwC+v21jPUp8LeuFIEVdeRrYKFlVZmeZnZcnJPCEyheLrJgAIEbZg0tIuXN8EMWnPBR8+fGvNDLx2BnYS5d5sa066Kp07cBgIcviWU7nW0PeqTSd3tiXZX++aOlddH5Np9LvLMZFO/a5JAcVikmntiibRL4VC2mTddrZM+MbDe/69nAzgWGlqUgOnHVxsWJae4jpCJdwcXl7OGDJvx0u3udW33TSwl/lER1WLJZPHaQEC4xWHAYdUll4sJr+lEnS6UPQLq3qHb5p1p8HX0DvtqhVrjjHhSp6KFzYNpF3J/BLRdu4CP2YUigqnqLyR0VbWSAC9Wp0yQs4MkonlkXiXKKboda3PtjWT4S212qdJxUoY2UNfSO43AO3yy9WvULpW0Rnp6gXummVPAla3Ddq8hf0epjApPKQWqdq8Db73tjHDs/WAIcKrozpMRZsClmCUFnTFa+7Gi0lgqB/yc6hzdznVnDlvwXSmgraZNVVbd15x/OFt+gTKTlrUFLtSVSlSpcnd4wRop7gFxqMR1TlcQHAt8EtpiWRSSe4IZTuP8nNrOeqxqFJCtuB3x1r8k+ihUnfOx57B/X9oU36zg1+K9oERCFN8Qqs/DytbJiGkgFRCxPDWKhlRVZ2j33UCP1SoMIS1GLKLUnf2TfvOiByB0qGS5UuzZScQHf17fIpiLsXiRgdD8mPt0+7OXT1zkgHOZDZdI0/OWBUhTVZ55ca2plS5QDKNWtq8fjAeHc4CgQupdTGevrLfy4Q7nQQPz8xAWTDvz9rGHs5Jc8hFmx/zVZ93oigvJ/tZ66GN8Kpz7Jb5Z2xgmsBIDqqTtkI7qXqu6VvmDiUX4YYPukwSYdjgTGg+pVfMrPhKP0HIXYL+RfM+Deyi7eji0zO+xOEhQTmYqGVUN2o4HTgXQNs9PJdKLAWYKIbN4EGCxewzJjC+Iy3PcfyA798UGAM3Hz96v/VhxE206h2FSSk1L6RHuM2JjbF5GYi2tfv252lDCNEDn/TWSdg2u0GpWgjKGxHpmZUFNuCNh98ukIV36oUaVtxnnuEYCiZUv1TzfrwthFqjDdDwkz2u3MLWipDNpPbnCheHIrdIk3ecrTHQ5ff9jGUKhsMN3VucNL4+O7qmfSJE5fFL6W9Uc/C32XdGSzhNF0P5Ey4w7Q99WBFmGbf821ID5Iu76J9eUQY/0B/F/pOTvfRY/3dxZLILV0LHmQyygaj5wTg7IOPkNNCAM1+G3PwKqkLj7Cehu4m3EHFl8yMzQHAQkXg6MIETz11+Zh/okmtyIZtrEk93EIVXjTJ/S9p+PCqqfG8UEKkYqJ9YjAFjxuwag2PJq+GkH7RPJKbN6jzZ0PyPHTuG4O6mSolNgrlk1ZSKN8sHhwLuPBB9Rm+/lDTfboc0Zg3DO6lakuD0KCiNeZ58Wd3O6uQmQIjBHRQKsQlOoCzSh2LQ3wWTyqheWsea08XXhFp8Z/8w5vwO2oHOiZbidC/I+ICVAtbhas3yRZqvzFLAALEMfT9Zohx91qupUsq1FFuuNXqvZNdjtROms17CXkgK4s1GJJB8z9inEdafTUSwhLdayN7pN0V4cdqfBPGAYiP58VMEGnBfKTAUQBs7duOEoXFlIkTEflNmWiUSePob0A8/+aKTU2X2Q+hWADx5OIcxtXqnPsue+dLjTUEcGaDnTnMw/nXUFRL+zcz1QkiX3wPMffhfF3V2URBNlyuHhGKBj+rr5/8RSzaZPeTMrLNuyrEWIjwKmL8jfQI2sDgpmVkJv3RrJnHYoXLZwlW3/xQzr+aIoxZtKs2KEx8CUbh5gFkW2v5VN3JV++UBXM0oZGOWle9u1+P3EQfZbMepXYfnTHc2plpUQ550CmMD/8uvGtejxa4pUTzv9ZMbVXQs0jno/VSDcHu29CXhSSWwin1h6ghSCG12s4aDPmdgK7ZM/7FpxNzumdgy1r2z+QN010xUqtxDB1XWkJDSgB0aEO/BLYVWceUg30ZMNMWXNONwXTQuC92j8D+Lq7XhJoPtyAMShDc8AheVpXgBmj6It3XnfLZG74APU2eyj1WQhuXJa7jD2/M210FRFTMnesEwcmRzT7V15JhdMimxDTW3r36fZn1wGwZ69u6H7Lo1IePqfX/GeUwPmTHE6o56UmAeykrpozyXV6tbRZ0D0IMyjQqZrKUpLOG5r91wRq198ZnNohbRYn/81PedzM3V2HwZHHSxAdNsCelzfKS5tsV2aqg4B1VhiLXzXinVEbb+tbd0IvXip0BX4kw/7Yo68IH1wjwRl/k2Y/xdMPpRUICfvr7L+ZL5QqCf7A9/+vHaPibcf5rMlC2R9CLDGskqQ6YjsFEAL7L24nYshs+MTjNsxLCyi4mfs5DPm2ZdFQOaY1tHEA/HhIK/01/XrhOdHpCh2sL0Q61L6nQc0kdYY5aCZrOSDhRVC4jHKLGTDvEUu8RWIQ8U+B+daFa6QOlIFnjHk4zhMoMUcs1dx6xhuDMGpTZgwE9G/LhJR2o6e89mPdSG3vg3nrISuRVHY8lTuGWV2z9/hxpTMIMPu30EW/cjbA/FyR080nHbmqBWtwyj2++YeulraupnpabJOBK9V/YqE3Q/yWZeUMp5jQcTAEK2LQ6Ft+JUvor259yxRXS2uHgL3QgMedTm5AgHK4zEVpkq9n6VLP8egUDyuoPTCmBPaTot0lJeObQ1z4l+2bjP1Uy486UwOwVXlvlOxHbLSD2vb/YmmeyBNE7oOR4os18o0RVzGRkxKs0dLLxn0sNAvymXvBFXtsj6TdWjDik4tRvdjr+G2yh4zBIn3stIoseEUoV9anOMe18gU0flJU4sZuiogZbiIK7h+tf+R6KvHftBht7TuFV6DsaPWaVnQeT1UivTY+pNm9AQZt7rVmDrR7cNUTynZqK+2v1BAK8M1epTyk6c3KMbFSTTevfG6reKAC4PO6sJ2gTqHAUT3Ay9VtRcJqCU01RXceCuvk4o0ZB14Z8GddZQexa4Ho1/OEWdFt5Hq9JVOe7itYb+O7VU8Lc0NRvZM97IEA26YmM/Omw3xlBQTJ46lYQ8izbIO2AT9C8oaH3ZgKV6IiINIHm0/aZnaN+cpU2GHAlA7FMryevd5SY63/JjD+1Y92Dn4h3OnNnStf9dKji00uLdOoaMZki6oRv/0+i8SF2WLlbAwHJIjGx28SnkjsxmzzTD1rIj6ZLvokHQyx+k7vlqF3pYwcvKy+SAus0IURCnCcC0yB1ohAahuqSn97hUHSDByKw59YGdps6FXVWnPD6SunXKRofpbou+ouH0/kKSWniU1dG4a0w31EU1MgtaAfH9mJBMkkiHGxpedP2jvzdJpNUbqN+8qA6aRUlliQRxziLGqSue1ZGILfG+VY5WCqyFoEDnXEYptLPfXCulaiEDIDmK3aOqFIZGOD0odl5n0g2g4+hAeJWtqnON5Cw9ieowQxcpQcgR//kILgFvjyuhTzwqXIkdba5PFFt9QcIrxpDjdNUpUH6bbt+UvNkECdvgIbAJsE1xpRy1T0wPfGe+YFC6FI0Lkz0ePJTpmy0jG5JcxIEpICfLsO4/z+LkHmxIResSWSdf8dPqca0Ti9iUJtHgZIFoCnei7ebjHZpBMiNKcZHRCdCoX9X6Nm9UdR6oSrpg+2nzmCCASjGDRjC0WqPfXIxCMsfZ1K1Uadetyqq5DlkTK5xpfrRORLO/R9ZGod+JAsNgoCVP4aOYeAbNVBNE0SUL0G7Oame2GXOTY/FQ5LMvDCv1coaNrjT7CKDqhkK7x9xuqIi/3gFAmcGRrU6U3t9y86Nd4UuGozg5oamtKNIDFQzm27b7BtOeu8tqoN97tdKs6L7YX7dcu7nF4Kfu1pziz/rded3smAwF0NGuoeTsQxYRH2PT/Uywi91ki/56Ns/65x57EB/jjGHVz4KwYv2WpHW7Au1HEDBsw6Fv4HguZpik2Sz/jxdgZDChPkFF0q15vJYhSD3RbvT5xpFvxCuqDks67SwzkBkvXUX0DVCNC7lj1vRqlZTPYGkW8TJePU8DsAX5Q2jbNV53F2QdLGhIC9xzZMrJ+vAjudj3SB9mCcK9u3CGt2cZgfCyBWMx+klYE1ukky1ftTicoeT1ngm+xBfHe/WbQ27Qaej4nc0ImLxF2sObSxzc1Z19vBs9y8kov+pHehAk8uaFiHrmF+yhQ/2Przh/lFH9eADZWa5jPqXnBDBkxWWwW5oV7EfFKjDjRQFFgGmL5wqUEsTQAtazyFY6UI0pzrc2vyDvRJac6ZLytZS2pT63ie5rZQhZb9e+9ZqFqpZFSD5XTzDrXujaQcNK2N2baY4/Lh/vSN1TWBfN2ov6XOv0Yv4h6GeJz1Zg2LbImq7V/bsABY/j3iAAuC0wtMpvMWXworyYzz0DEfjHGTSB/hGzujMIQWZM1o16VGOP82N3I3v2y71pDXgDsb5Bl+OvT4yTqbBoqJw32LSW01CJ8iXoTeHHCn3kQVEKjE9I5/FRU6J8E0mkXsYL23IXo7tL95lHYMGgh6PbfUCHfgHh/a1JeSo03nqu/R0LnI6bWiyA8fSLFKzuVvJGu8urDme6/VmM8MiEEkPEEQwbTTRov3dfuqOlLDnofG56BDfrHq9J0uV/luJlJTOGsiRozGzQAUCnOnyR+BreJyjDe8e2YD4q4itytDxxSOgD5hZvz/aAegTSWgfLfS5LMWsPNM1m0awe2FZLNS6xYEFNjapLiAF27jv2mHZgYSF4bc17yE7H2+iIeTA2AsX4bD7A55PAJDANrpKvxicXWKJZSflM7IY+fTfzK8XoonqcBYErMc1BeIuY14RUqtNktYbr3GDdGBFGOSWChRBKZiuNbaSmIxAuiw6M505f39l9gpf4ADZ+6lgHHDPYZTsq1U3cPdVtUonI1eYDM3lBL5Xa16YcQ5Pn6UEonr//RCRV1ZFj9ar1dmxyGV4x22Vm7WMBKaDHDK3brFhQI7KNiiE1KYpo4Js7ZJ9hwwh5wUOHb7xMswdjyE4n1BiloCtSpGlcN/DLBasWA/J5YX77efmGfWeGLZ4cR5wtMM5/JkTYaLOeb1CpZomt4e4t22yNNQhDb4skPz7J3vcsJRAIbwUTETE8LBtUm8w9MBuJoKKV82H2ogp7DNcQx6LJK6/SYPcsQUFgB39kq8xHzl9oCMnrLWdEg6PLwcgqKd2D94V1okmAKsF44emD9rOlbg8Fy7OoTadx++2mCn7cEWr+jD0YtQ5j3EumEWsYxQNZsmTNpe6KsyBMVnCWLkJlQzRa+FqxQ0uUQ/luRyz6Mz4FLlWdQMUJ3NseeHiqBaSf2rLgTJgk9SDN1K/gdq+KiYhQaCiIHo4OglkWwXMatLbrtM4Ma5+AzicAuf5F8TPtbXCef3AGfPyH4bU/quRnEcRny995oZplzXD8gATWKGiN26WyA+9ZBrhRoefNJdEt2x9/zbMa/L/XDLY9XrpDNrjwFH4C7kRgJyWp/JIxfuBlZPcz1ENFQqEFQ4uwhZQRAxoAOTalsi6gEZiTmaEjAvrG3n204Evk7ZxaTEW4uJ1gYmDoVCwKmS5S4xjvrCZUP+gTIsXGx+WHm68Wvo3YcctbL2e48jBVe8HXRariVDBqnHZGJ51ck5GoP9r+nxJSi0Y7s5HrQ1DJPIbGNTclcD1VNSyd5gVK8QMvVGUgzmP6FsIz6bzk5zaYm0WwVXOeIMD6lPONQ7jkfTIg9PEy/b1TG+PhQRU0sTjknKlkkAa4A+fpuQp1bEy3QC928uZh4Tj9b9QBK71tm0yZKhLU6wOrPZH4STnef5hSUc8ytFOgXTNaXhxu4G8ES6k6TkIWv80sVcqAUgAj5VW4pvPJCVzsoZSDlTHBpYRSk69QhHb7eNUXeWF1kIe3/MCK9gRWdCn3+O1JaQ2KLFvOHKGQkKIWMfMio/j4XdcKpTOfyCAo/NLoHwI+drJaxT95B8RoRMi1TkGnzklm1oyw0YKdxA3Z470oXp2taqVB0lJR6mhswG2cHtHSbf6uS14yS6sJh6z7dWCAmlFAu5Bl5F0Bu/kkXpTU2fEf7fu7E09WVcYMq23KL8iGvYnKSpRCysj1EyMbOcQ5fTQkGBB8FgApMZk/4J5MKkT6tf5GStatWy6l/YGOP7k3d4tOGoIK6Sh11tcSdwvZHmifXqN6eZODnWRCcf1GFkcE1w1arMkKJEMCbFeNzts70A+b6Leo+nvKyikK3Hu5fIPOlKWXMxrkd/H3F56Crfc7fdarLoFlghUgpbODxfgHVwsS1m0JwowNKqtgjUVsL5iIkdZiA822AkN8hLlIzy3D/Cv3gmCkZYwXds8cgnuVQ90uB8lSdFrHSnneUt53Rc88tSudmwxVcmiTQvPUZFGM5D+RcUkyDENFSZwly2e1wYQHjsgy43rj/T4PLxRVsUhjhXh4s2Q6mZ4RtNbT2KLOwNBp00k4LgpZAX28b5mJGqK3lPQrWEeWhbCRnmLI9n38zUJMoUjA2/DTU7+5SFp4fBsVT5r8HCqmZjvMM4kzNeYbKuzVCze6ZvMERr11oozIwRgWMbzIRUSEg/OqC9+HGxYjccbY1bX3WBuFnAhK5nyHf//OY23MEUOqFLO3lG6A39CyIxRvJy9Z6ZqYM3dsPdReW2kSE1wFnMZgb7DTW77GPr4vlkHf8M2BFXbDOH63KxwaOKi7q9VqWsr0HVfr56RY7oBAqsN/kCIrkdJ/qcpQ5OKbAlzxKZZ+ihgj+yTcHmtkRTQr+7913S/JsEwft294ohM1e+C39fo7Ml1nnfDBPyV1U6dSjJLCpFnz9W/kh0wt9WGmK3gfjlb7kEqLMuBA+2d+iv8B0t+f9aJC03xTafO+f+H/9+dnHmlcFTD1rRooq7SVFaYjICBaWe1ftxOBak4GwzjD2vlCNEyRHVh3GsbfJY/dJ7d+DccaulSqtaoTMBKHzP5tlWclnd3zNqLB869/eblnldoCvWrCCui1zFNifOiqoP1hoAdu2T3vMznsOjN6lYVK8mF2JFJPq082w+fl99nL0F3Nr6dKdn0vC5HyH/DpmAIQtTbxuyhk4Wdsj6uyV6tfIngmta+LxgfKl9COEWyowwMEODYPL0y+2WuNEjv+6u1+3Ya9lG0diVglVzYDHFQ1DA2NPqE8jgLTVgC/ygKKU42W3nlrdq9g5q/ahW3Wzcf0gwklhOgmLhw43vrIF3gSs+w83SzVAlahAY8C1wi46OLtGgfJvR05PjCs3XAckl1rXA8q05gWYeCvAJ0s2viloYrOZgCGCEaVX/hd3LLAFx5rQ9XUBnptocMsQVUKH2e/QuvBt3arz1lsJSLnDvINOo4z9+xrK6d6l1pMmRrG9BkGriRyECbzolkQPfQOcDBfSJQtM9stsLeSIdkc3d+wSVd9GyqFgeHo2yWRJN8TDPxxUgygMrff3guzeCWxB51gfYm/u6SAvmKGm/elGgTM7gxt2fSDzRdIltygOHuQTwNXnLyRlINNiBNxDxZ39fJ6Vl/aIfl9rFPcmPuxh3cqpm8SherWJM8vDbfcLl4IDKTueZRqI+VnubJ+mr97ulQxchd1K5Qwd8EBX55mn+TaVUZX0xfnMweQYU5CQ7kKXyFxzq1VV2Lk5KQQ/c7mfsJVXl0phOuz2/7zOGweMnUVd0IV+27JWADVhVpXJy5Djb7epdfEn+KE0eTdpLkk32JSnpH6PbnGkZXR9xJrKyfIxuclAt1gJqXsPcctt7iBEv0m7Xwz6hBoRtG3gh/g7TdOFZdFCg/83nqwjqjzY3GW5u3ZGzCAwvql5kaE6xEMZ0x7bm0+ttzDS/LVsaGyWREQJBsEgkCrnDoDWpkCkUOKBjUxbcxSfWniHTCdtBzRQC+pntgDDshHLE1cUeXc2jefvvGyB41eCYEVGjYTLD2fkXLlRYZ4LBzzYC5nM47yIJeLpgl9G5VLQy6tmugZFk8yyXU8vaeUOas/v2VJyjrDxdinIcO9xA+wR686Nm2KhtZcGQeeEGk2/JYwMicGADW8gKwNLhbxL1e+O67Y5K4m4dGWjyue/Mu9c6C+d5a+1t/qANQfQR6c3PEZiiS3/IWUjVEME/arY3QsJc/E7xpGK1sLyS+4HIT13r9SjgFNpqxts4WlUFNjZMXy6nKC9QI+6FbWOGEbk74JiVYnr7dGja2skvDxgaM070zEeFVXeefQP3sW8hGSAolxqtodPNZMD2mm5QlZGVAaxxl5Ylw8XSTYYwCTnnIC20scOqRpZ508pzYjAQdneYQkvBpqi+a8ULUYq9wW+SZUWvAhEgo9vBIRrcTHm0x0Uo2boLcOzC74OMpYEKNdzRQR1cXdyILqxMPa+s6EdSfL+tMTNyo+q9CNCvvUdmK5R5CidvJepQMaVpfMKASIZtsdbWMgq7bY9Ak0iDx2rxrivpTbFLAEmpHvnOFQssMljg2wKXvflsE72UqFHT0cIswSk2Sl1ZYbDgAlu+LPcyMzSciyLGvHADj8FNUbOdUxzPQW/l9FKbdjV9a3bMgZCvdx27Ta8fcS/Q+S1lFUko2EnlL1miztFsxuyS2J7Wjrna/t6Oz3c+odySqzE2PtoMMvpSKwOCkxkMfCvSaM4bgb+rZfSo4wxUDDHspbN0IzXgwkUydCCwdcJM95Gz07e26qUecA3WSeu60rY/s8WUtdhYVctkpGAspgmIKLzkL9uV3REZwc/dRrKEh4b+pyQYauO7m7exGg7uXWSf9NOpLMiFusvpMLzyRJjF1HNxRpvaOWm6b8HUVq+9PfmEO/k9vRIOHXLQrIOz1i8OVZb6q734XhUoy1dXb5t8YJzdZO3/9RlrC52O9+t//YYlp32Lny5D4dT+cq2nWF6qSg8lNLQnzpwplxPeNgiIcyTUeTgAZWZtC/SAW3V+XXzSt1YG1uIpcxhNIC7UdmOKkU3N9k1+xOw7oIO2niEM5ARB5MMneOTDZiYv3wmPWD49pUwN7FSnSUVoNXD7FfpsLgrrM3yjN6s9LLe9zFbp+/S3eVWWvUwmrWUZfXXBrPVrDqKSMqOOQtJTnTDPs2ToBrDC+ns2NpYywhZOed1KsQ96ZhnIJd4M1ZgmDMRPYyte3JyV3TSlOFOnWrJGA8PzJPqtEMIlRHR1hjwhS7R0rqDJ2yQRvn/18IV3XXtPlD5EobBsfl0aiQdGDZWB3uw/J1Uf+ITj7v/ouVI3517VCFUMeatU6YYGlCGhrsWKBNeGh49v82jBIs5UdCMRF9WNlCeaZn3MT+zvY/J+XFm3RfVRFiidBpF72VBI+FDC/1lUpepb2h+V3LhZgFNpZYd6k7xQtJQoKZSvgKxWfrUKsEoJSR6n9AVQc7POzPeN199ROklD1jDm52SsMxrcJAmDhXkoir4eyXTFaeW3F073g3HS1xtHdaEf0kPEzHwlpi4EAbASd2xbyF85PRpti2m+i16K+ZjFtjPF0hx+cyPjWGt148KyGT7MeBBad+Uwpk3n2fgx83muGHgRZ37Ly8K2izxwv8Mg1vgIyVYOaXCOSCpub5CakGyjLBwTbFt+97kB1dTFI1viXbuU45EgIbLEb2cVDj9qTEDBvczIAxFdGL9MSDFPPGpqX7CMM7Dc0mGLwx6+nhw3ciGNDxAma6hPUwwIH74RvK1BxzVUPzY9wnaRxVc9zT5syG8W+CDrRx5wetrET3chJ79H6XhpKRmTrEBXuMrO+A0Zcl2oP3X1MqsCzJCN9O1jqlmzDtA3fkJe9+92EPrGhEK9GIeV0wiwt4iw4uBtn4KxlK7uVxmjfxA73m8N0SEYkqrCGNK018wsXEC1yjDnHs3OG5fdPq68ILLFuG28oivpHigGYkGA6iKhLREheQ/3uhAApRCPS+ZweYHu7K7VMBktNuUDjT5m/Fx2NkCsZQelDx9RwfvMIh9AA5ZNPUteFvDbdbj1gblpYfzVXq+Zgq9Cpkj0XWoN284seXLdmJws4d30sQr/D7HuLSAiiEJWkyOmMptHNKI5dP8X0Qooq6x09RTfbA1tM2OQX0rwAdgd9SI49n1FrWHhxvly2JX974ZQpLi+2038UXmB8BJWeniEhwhyUG2HxTY9zOPOwDDaKfv0SuWKc6ZLYrpG8XDNkU9Ol5ol/U0IMTTQFdwqMLQLmIMTTCaysIzKi8oA5fKFjVW01gf8y+gcWg0hd/rZjrcJ9Z5qsk5dzPUtkarAzvVYF158lrYU7F6pDEPe2HpJw99YotveOcGAKx6aWji/5mfISOftt66+EcurHHqvVIEmS+rB7CKq0VxNW0SrSwVSJC/NZRpuvuG5aL3Grasfz9ZKgr4IxWRCN9lnk3lHzJ12leO1w110kqyhrgiDPIWXcXwNyMImCjzrYS4AcRpRde/z9syFpbrT4VZvquL/4EzrSNSo9LyXi9gkZnlR0xzQ/b03JuPSjKtRv+2QfT+yoN6njkNwjmbc4Jod9pbTQLX+2Je0nEZCaTjiF4M0ipooFJXDitNxUeUO8FDYDb+k+ATVO7yrO7FaZJxgwczZodagi8zCUCsNLOxbe92TShKvAjWNZnzUNymWOUcLVd0J0SJ+Z8+2H6/ZdBtdT2z81SlhqcC6vgGJ3kd+E0KvtAiwwsIzRE1J2SgOmqO0bzL9eMcrBJn29zGqjTkRetVvRyo5dFVtRxtAT3ZIBLoxImimZZBeUJAe5o2wNTSFP8CstsKbFqWEhAJ4Sjivwp/z6omUwiTUjrLebiE7mMY4AlhYiTo0Y7/ijwA90zZRKenQdH090nf0gUS2N+DQn/UEUUd7ev5V0IKlic5Zf8b/+fd7RrqH6RAhae/ur6o+/GrNw5CsWs1L5fFh531tBglI6T8L9nQYfKVBPHg+53fqS/cmCIKfhpLeFvTws2sNWlg6L/VssyAqUxbCnD2dcrWXlCrASOtWQ9/jUD3HM1cWRQDpt4ejUjuBRLYfYcMGLbz5wSZQKkoH+mAF8Rbz/OcNnC9wEa/NQzhKG7ZFz2JawEn+mYtmoxGoelcq5p1b/fp6GFYjlYiDdO5ORYpGZusynXPatcwVpNgf2XXEVU3T6Qmfub97CHZkm/MmxZvXbjVSFCNmtZvkaIgTPyJvqbKRczC/YvGmqfF4/OLSvNuhKNEK98JHD44b5Seqp364OFBVk/md15YxGi2qAXB6p2MFQts/FFZV87jxzXoXafJkTS90SH94Mj8Uo5rIA3xVQ+253YFSRn+j0zfVIXCABz5FWGep+ywUOWpLm/088+j+B1OaREEhG4hsQLfd56Z0vTKfDnmLMAzvx4D3K0p/jSRyt1wW8sAmaVn5QsUkGcAu6kXdbyj7fDD1mUXfwZtJJ1cEZ3cXqNUfcAXdYbf4uKItyL5rQFJwzYo363rpRripjUleI4VNwZS88kJrsyw8h4Eq9FbxABXpHtvnrnLKUEA7ptCDV7QAb9qXdoD4hGE7xJsl3CVIUZHoNZcE/uDzXPsK3UkPqi7UzPkuYGlBon0kxl2qFF8urapzJwZD4SLO589tWpF0tEA/BqsiXcwzz292YmHQd6YvAI5/V+JuOAoi9fkZGFwm1M9CvEv6jm0xuQIBQbTIgeFvy82JlASRpukAmkXXdviCdyzBAg/xmUafgNfXSx8eE7UE1eI/kLw8kaD8FbHopwmHHS8Ns39jhE5b4nJzNMDrQ1RjJO85sMcIU3DKJk1hDRI7j+I3QgZRb5tTH4zNxeREmeKcmfcxauwhvIJqOEujq+Zn15WGlE2SSIPcCJEhO/2q64JwuoryHK87Bs7fj9RVZD/dYokDKpBubfx0/8MCqA1BQkK/U9gG3i4QCcfI6BQ4zvFs5e1zbcvw/B8bSapmWe5s0w/J0IDGrQy9Jkr2NctFx3WjiRjPSXmEmYq9CkZwuZbpiTebdDjekz4wzQxuDkQfrxsses0H2SaoM+hKDH993+bu4M21MlWMGxazzZml4tludMTW9eBo+fpUbKJuKS4AwIfJoLCJOpVgE9/gvTbx8TiRzsSVlIucY6YKN5ibTsmZ8KO519myNDNsD3QwbQsbcyoTmmXvOUa+UAbbvP5IQGt9BBNb3VOCvcpGKGCXTmI5hI8ATppnQPU3TjKUt9ztI/BwbYxF9rfyStu2m0a4+jQjwWIu+wakmggxCtIw17+r6W+ez3xeQVCcXp7ENrL4xXWz9c8zxTRrfKJNkAA6syJ95Jj2fv+4OmPvRUY4KyJr9vn7NYyXTMC0V/Ggg8+jx/c3FIOnfoZJ3NCYqnca7TE0utVzLfPE5s3P4ttWcFcIX0qPxPh1BR2AQN+1O5tIEcdZrn8BDU//UlqLVjMjlxvrkfdMSS3go0yEfVRj2M3WMJykDuvn/RB9PrvlgbxqeuahYShz4Zusl61ezCl3+nbUmSv403ha8ftftaIc8qzjNgH8GPM9lQqTy+Dsfbh0QDFyqyrrdAPNsf1BSZFTql3RAkugVeLmSiyl/y7OHWL+nSpY9gSkUNFzjc1J00iv4vmgkmaYHwpCC72bjHUkC3FZZ+95Sh82yZQetEwUm1zKTrbdzfHSOiBK4Qd53EG5F7TDKwFx01ohiQBHPrwY9w9vPkZH02Unu0J5dM2TZngKF7MfLMaRBrh66PyihuwCzAxmXciyfana+m6vIjlAdCUxjbg99j4ciPHwzeu2R5ehmi3WZo3iCkZrB9YZ0tp7BZaJsbZ9mSkR3xoIlBrfaUMgpJ98WKqsjI/IOtKTfGOWdzBb5qPjx08bPp0xs/Wn34Lhaxv8R7zP6lfxRF7+OLBQi9rdmzzNnzX5EDb2SPOpWtbHwOS931UZoFwTCvlZGQOihey4QUKzx6UTvU18h8ITzfs9Qlgk4H7ggV+3Hn4PvXEqAas9RsitPe29AgWIz/IZXHY6dEz+2xTu8ieBCELw7AVdE39UfM20sgF0ZN96kaWkp5vu2ItAjMwLQ6KwvIavkwHKaYHxNasL5huginETG0w9Ri0H3oV1Hd3u7NcTSTznIb7Ybn5cXBzDxWFr9svDwemPnbU2ssFLf7k20Erh6IVpstmQqxPmUju4moDtGAFvTvBw7TF1ny5gFYhv6D1fIy5IsMqyaeSOdSZXF0rJvm7+IPfG+dTD+1JLHrypF0P/1MkmdmL9Dn7hr293Mphd0usouoEcFI46jfYpiRDgWHi/qW1iEJreunsxwBE0VDdED9g31H9C2n1HYetT0Zg5M/08OREPAgIiO32rrwSuiIXxY6Ce9ylQCWScoPAjApDShZD1UTfqOvqJr0m6P08VyX465mOlXci7YOTWkDBjvjN51yIEfHkeuoT9oAvINBVUJIwyQdT//B1/VacjvkLFIzKlIMu648XqyMwzqUvGcSgWH3mIp7XveVcJctvByFlLA8aSFAAGFYjrFn8NYlqgJ6mNCn+H/PwFRXEcgkYSA/Uw8d3hH2HCxrYw3/qV6evvuDb4efAO7UZOgugH1Bojy3AgUx8IRCA5zFhJHal+yjJFtsLAPZeGSKgvQ0jCpBrBz3+Ea94Bs2t1IoMbX3+T8DUpSw/P1b/96cpdstQQlPEojC/5As9HTZ8NTN4ZLKWbt7w64HKZrV0v54NqdnuZYGv94A3mjQXzdxOJKnkkpFu8zBwS4dS3s2U14lGE6jUdq6n0WrCPl9eIozA31OQnQJxxGE6EJuUksk/4rspAJVqCiQ3aj3KP3ge/tVm6IDGe9FXCEt9WZ8pnn/0ks8tq/xC0+suFhyoKLKksyMrcqfgdGbWGGbx6IvnD6XsefE8cAfOhxKiKjSwtxlhZVzXulaUbNongAck8DRAXmx01/K/Cxq3QyicgHbn+rqwDOQ0byFrV9AIny3f2xcxn1ynh8F077AYfTKO0BdKn9v3kVW4LXgS7Gp6M0h33+ZrSilwIUi/fEMIUTaJ3xWi0jr2jr7ANtTdUYI7BiwYv++/fiwCYTrI3ELQJA/RgWjaHWrcFDhXGkvfj0JvBfnds333x2r+IKS2uVsto4eKiUu5PR/kO00+HZAG9LMw/z0L6PjjWf0sk1hVAt/QTYuLTeW6k/Z7wEF48o3eqjc7oRYX8jGlMfGXZPO1Z1KtNkCu4oOVq44WD9H5rePZV4rOAKCI2prgdbVpxP/As8Hw+5VJKNlokEskHlIy+hueAyF8X6ITaUyfB9KFOwP+BygnQgBO1VuCPuBPerwODQvRtwohFi5bImn1JJPrH0jrPQRpFdqm4D8AEnsBTKUE4IWxS6fV8AiXM/txi2LWgRDEBI9oIIA8il9RARg9d9N/RMp5OlNMbsqB8ISf7FK7Fg4Scg3kdEkZ55meHpMmw28BK2cEIeOG3v5twvQS5yy1zsZsxRd1jBL/GkndyC+3qfZe9yeckjvv6cBS1L2m33/HQdA9tFj9/WCm3a7HOQR7TdMq9BMwu8h+4zVYXeA6zpuhpWNxAUwNRnzq1BStF0WEMSg8Ue0KTAiKnEr6ZK6KgDWJCIYRIn9FSZCwJ1YOFLB5sA0F86rOgudPltYTzDVt+f1vS7CbOdlRVC0GvEC3YhHSgwocVfF3AnxW90FthLZq1D03RY6P7Ixv9BE3AbE8AmwYevEMgDlHA75rvXTnrJYnSKnzm6x/BNuRE/bUDtGOWo+EBblhrnTVQfW2ye+GWvpmSu5O2gosU8xMSaeBN1rcpeYs4ydmhaYY3f3Abwy3zJ+rjOf+0YSuhMm3fIcrVfDdjxrcFRp3GEuYxMGyOEmToMtVlSEOmQ4Hczcgb0sVb1B0gTAfDGzh2lZoXtoCM3yxNI5xWFFlLj8WZgyDVlELr/4aLD99DW0mJiJAMLwaxJH+l6L0rAWruIs1CnuVsvQlPNPmQcZkJIfrrlsnbfdqQXE4uQkCXEJFey+rfTU4/ayDW7aLxjchzia8+PP31cTilC/LZ1YkqIhYyVYipHu1dyUOV3ZBiu55ln+Wy0jo0Xasuth+IPIKV8/pgQTF0BBTOsv1FH/lLDSIv3KM8dlKre5p6CcWvpqPZ3bk0wQPp/RrVWLX+uI+DWa/iqBKB/dTTUvyz3NqvGrSoN6QSyC5Z9b27nXvnfSFf6ujSUh66kZP3WErQ4xCtgUdSF6J3lzQJdeWEqDU7JH+7j0YVWxpMgf3FN3w4k82N8Eax96d8S/trniKhk5QfHKqAecpMaFfZ/zAhtP7s/ij9g58NdTsA8j7ECTp5LE5akCXe2IVweO6BjkJGc40KxOuwYxI2beyZhdU4kAsDCcWMDiaUfQhjhh2D8Ii8cT0Wzz0pqs4QDVzAwap06BbYTmhk7aFGYIa6givtlNR7vQgrLkCY+rUTgHXs7WEFIBTegmfiZMEIHzs4QyrlKo8d/GoZUNOnFesMTj8/U+4DShxcGVbHBAFNSgQOaagolNN8AGWhY239RxV/bobKCT2kiocqMT/fokeDZDXdy1m7R5sqiZd+4vCuPuipp8b7jel+W/Ql+01TbwR4zkOjpPwiBE3RZhpCRrdadda7ns4MK7DH1vGRkoTvbFQ9EcKWMrryjkBYrK3YVEYORXWtULtA2kbiCdmbdp64AUPq5x///8fRWlJev3riEvq+Nsz8uU6gPp29VRa9UJcv3QQHD3KrYLjPX+xxUSi0BC7kr9Rb1lSHoWDGZWsadfk1c8M+ZJ8vvhDVsDuGmWhvep/yBNq9llyazOWavvRGLZjRghfLpDA22yEIHmpPGhkj0tNR7mcnPSeimjKIGeoRlaaEOzMterOWrdmXNyao5Dad5+w/BNHcoGzFRqYU7xgF/vtLNggMVDvC/9cg6R+EuCvhFpUR3Our7e3CVzFoVQglxnLhLdAF0tdpsfjrzS2vBZV53D9Kj9vDV6hnFk/0Hy9yS8VAly8KpYx+31I4uzFfSEEsxn4gxLE1LLqVNUw2LeqmUn7EDUUFaGwM9HKnQqS8u7TI/5uVJVAwkgN/ugb2qp0p0isJchSjoffJBA4y8hJpMiDDsg0L83B4rDCku9aoPmfcuEdZyhD28iQLvygB2tx58D0g+lxJnBELK/07P9FHecAamHWJqskfThd7IjjwQgdOcv7xqfJG4vdy5pHfEX1lrrnd8YAWwdctGj++zTpbZ2W8lA23AOUQxYd7Yw7Jxx9KWBg9yg4VwNtgTDf7beV/CwEQDR4OM6QhYv/qqZWa0fpCvst/HHEhmtZVogyHL5meop0iWyH+WQXH5WI7xJxt+CRybS+7wQr6wZfUzfHuDZ10+vYN0vNdYjkE9I5NQ+HeeIDYXYOmmFKj5bAmGFvwWkIu4YV89xWNl/ykjE1PGWD+tjKSBMB4BMlblVne0wxDhq1ML3zkb/vTqz34rEYb+Y0B3UMriStSorjrIQGbcuWi9s0eN/ar/5O+vLKbfd55ihJ03kpoEVma1nbwNZzCqr1OYUnizKhBhmDmysxA4mR+4t3gaE/qvJ75KW5/NN40HMSikS7kZxzbYiJQG+An83wg1JPwL4v0Heok0xkuIb1qcrf5adCuT50dV5hAvcBj5ZUHzGLsJPiaKNHQluNfhFEMlK05fG8W8sO/dVI3JCWSlauq81a5nHJa9GQa6/s3PdPKrj8hFxrxQ5QzeB3R+3zfUcU0Z0V6HilIyjhJKen4liV9HbpVM0/lcwI/d6OGSUxV9tVmUy++DYDwB80EQfzNfzEzLSLJxWFmwMY11jx0gUIZ9IDuCoPohMSIo5LRU2q+6XycVacBP0+8KrJbcZN1SJm/0hI/ikUGrs8UaE8WiuR5GnmQvpg1i1EqTgbo/vguBUhvpY0n+xMuOx6EI5l6YNVf3Tr8kI0cy5akzqko35Uq03OpLSHE1POUmWccoNq7hznH0vbs29H7VgTadPWWAi0lrY2vv4ZryOBJ+NQoN6m8+/1LtByUX1Mi/KjfR/I6BOMrwr0KhAYlQtBRQ4cEJsJbvsmn5bjoFE8SqCqjyUI2+RHsr//3xSg4DX+uEv5u0jGWf2toE3NLlEcQKgzwswfc5M4k1lcd8l2DsCEJMWuIYcZmjjD2CjXzVU6ePVsQwcHWXIhizE+4KT89z+zjft73A6Zo2mexDNJw19Jne0S6o7189otwOWv/rZGRiSD8cHm85XqUK8xQcxwt2KSF3tJTic7FjUtD8Ty/YMV05Mmk8tbOnHlguZL5oV3dbhpltby6hvKtP6aoe4PrPh64PJhQM5M+X69j/8geGcbkFewuCcXALjsJeLe9py2pKtvliqLszuUWPHfDCtmVRA2I5QJubG5ZqVNs1JYeDSTsu3ffXR8ESzvezEK2ENZDCYgdmCqXBY3sLNeJtJ7mafE6NfEsSbkR7y6jGjEB1zkjxTHyQQsX2y4p+zqewht25wqp4mCAQ7aWci6sS68fKww2tCWLDvwCsKVSqpOnubBdL1laBMnnLHTAQXP/adQyX7o4dKHzByKNeJl7n9s4agoLzzYNND7c/nvrsmyMA0k5/CNbdjOJmRKyfnk7YfxuzEVnCER82P5u73WpLRsQUEub5JeQ3+COvy1BMr1ZqwTbWAo6/ZgpxjdHgsZaB6hSqtM3tDXnJvwvu323fd7N1q0ZHCfKpPPXgoQHq/mgj5ZfvEf7uWatPmeglBFmZsDRpodekMsTcGt5gOdSSCVilwaTrHL0uOWO+/qbI26J9roKcyGwg5wvUwINSJvtMZaARldsNm3nEtvQCebwZF5vhClh1eADc8Bd5atErcHRdOpIPefqVMHK6kuzaRrrcyGN6WnTuXBS9NXr6JJqgv0vsWiaWUFSlffEOHtSd+R4VJ3e4CcdpQ4c/9WvHO0S2QxvhdeJxXsZcPlKnWaZPDePHjA12KIzph9/95/ikI4sWMprkhNYFT2U/+1L0Hm5QlPSDoCZgz5YFITjTbHE+fft2tv5QC99pXPja5BoduTQUTM1b4oVTT0zivvDVLkK8SrH6YqTyYgp7PJuo1jzln3Egi0TLegjD1Fy+8k1Un9M/u/optkzDKptRdxa2vuSxLhMMmiDGnencEdFWoLZeW1ENdcOjW3H6TCfxiO2UPFhCo/4AyNp/l5462vG+NDzHhsC/9BGcwHJd6MXN/PBXFIine8VGalsTm/xluYyyiRUbim82wJv/9L43n4q/ljEk9ZdGuYRhfAlvM8eH0xfWdmUXmkgNRsxAHVQYtZegICx0yIfq7CdLnxU0E9rOX2xhHTGvWSj2CJ+GLYN0wtm0Mq2Kc+pDQKzvrpim5Jy1csPrEp0CFzZjwX5eYfgJHqO9SVcM4e5ed/KxrPOFTq4qSbII1faUkXMDglvH/1EMXmQ1MOqXdSaejmz7foV5LGZJepYYjgpbks4G0lQaeaHNKCsGGrhMYR1uuRe4cO45bCJaIdxxLSlljooDW3lmB1YYTYjVTVTsjKyAcMpzn/6yQsFx8hyJgD9lM7N6akNOz67QLMNtXZMMes6zq8ZbC/kOj35YPxEQJMk14MCVMgjJdCpbtZRxBgVaHYiKmEvhwHThH+BLmOrdIl5naKLUbEAayA516/Rb0yZBmYE/Bhhn7wgFkop1rJnS1BMPOWS3AFPw/5HdENBvu2Egep5JNvCEW5rXrb3fwOPbEmyFvD6OgSs3Kcxr7ACZafDThULHFn/cmxCkF723wa0fB+vrPxndIwQ8RkhcIQGinc1XchrbwNckjnQYZH38u05fW9YRJGDf0z8+dT3pFEv3DZmFDfH8mJfNn2dhbn1k6fxylz1yISVmPfN8HZvK1B1Jjd5d+LUJgK5AgwKwxBVlonJrV1Vue8YCWqjRW/h4njsoDHnOfCv9aXptDOALCURj3xA1fRp+r+ud0Ck4Hm7jBzNefh1k/J9UlThK+J91LnvVYXHMy+gntrnhYa3W6nymlcUnduZjh5O5F5cZOc7zf0wBf2Tg7xZAg4hbcpnRFsvjsl9MukbY6UH5mCA41HOHJBzwJ0UkFag/yymap4fIhkNtteTaW6jTJfJZ3mMBCBCNHVPc/R7sxSdHZnynRf4as3KNQvC5gVU5YNEu4Dt3Gg18Ltp01E6pgd1GFVwMjY/QaTSDlqgfzie6xMv6WQsph/DP0ssizQQ3WJKBNL4sDKXrXQ9v2FryPmBjO+8eKKjzK0OzeC/Wlb/IKRSY2vD7sl8kuZTPKozKrKY0lRjiGwNwCk5vjxg8lHbis417VxrRbWDUWmxx5wHeqVsvsgSCWEGA1gKACj2B/QC9Ha5yNoiEaXBB7R1gdUzPin5l5+mpMuz3GjXtInBGRMyKYybz8/H7Bbr9QN7t00psiUB5wMNDU8tjI55Wb2shpwh5JWSNrYIIeCRusxXGCCyI3PJyWHF/va4CzC+LFeHxPXM28QG1WUiSn+SkuQXW2Sx6PDrZIHxiNCqS9iZ0C/2RZ1rG2LDWVgwr5zSamEIlC+/iMEqU4dPlC2mEBBadJ3RWYhMwhW3hu3W73jKsK+/SR5CpZCc1V1VHGRUtberEYXJVWyNwqGNzLSK9cEAOsxnmeO/dONJnl6qmeD/0jfqc2fQkdviB/Cick9OoMZCEkI+RY7OBUuUEpc8AC8lauSoFdFNURY+UlSx6dFz8bdpPqJg7ClHkKabYekFRFZcavfA5aBUt+qYt9VrJH5WNlRErAysVsqJSg+UEn60mwv/yvY3OWfrUjl5Cqulag3VAPU9dAeCmYIr62PFxMInzKtPYMwj8hAicD6HBNqdqfcuqihSJ3VZfcXx/KqL9cJ6BlFSniYtWNJBqz+ElbFkoEouSTgCNsF+v5NrWggIxVX1jtFSvOLjmrltpwSYLxVJoPnIN2tFGQGK/y1pUkVLsBUKBCu4YmDOBYjhLIeKYiicHX3q5kiNZRoW9hQt66i/tHsH7/xM57O/zl+P9A8t2/g0ZNegjFHwMts3rXe7pC5cvS/evj3bnCWic/2+o7EAbRHtC2xbJhu6x1a7SxhVdwlNGEUaq5cBa/u/E6rmx3f3dXoFdz+oGDZRjU+CFC9byHyzUsBhXHctVQfPWJQcwLshvILJ/Cw3ViIqkc7mvrCeII68DPodYZzZRnK5AUKTTphgd1kVLFsBf0x9t4skXpNCaA1wcU8skjFloxyWwVuok8/oBbNc9zuhR4HbtRLJzEIEBSSIybLR618qWRmj/H0Qv7QkL77hDbD7yLIWKn6p6OTVNVtYM4HhRPVfc+7IbZsx/e1ZcCXgLOCL00WAwdvk7FZCe2wg8efI56hX4qSTAcg/iNl5Daq5s6De7bgYO3QTcX5+WoACdB7DR5eJNOswhmwYs4DLRFtdDfaFQ+MS8FtGFfSTmnMiR8bhN3K4SrMEbkWvJ0CT+Y3sp3Y+W2CMcDLpinwZn4IqG11Gsg1Ex/ALgOqm7LZMcfv2q3DA9fUQZniY1VKmJ9ClbC3P1ZzaAD6OPgvvdWKN+O8wzOTHXSwMA0sXNfzIy9SG3whLurhUQd//U1UKhxp/ZRAPlG+GkpuS+DM5BmlyWgqlVo7vyblFVav0qZ51JALPP+zHUMhkCw6fKu9z5i+8rtqRPoCRWdFYVhYrpnuraWY0o9zy9CgjDJ7+Tv0pdtHkgVZNRjXcCa24PBCcdl6HJotefwk9vmXTakU3yCWMHKSyT/2+8j3zHiSPbrgwtXYF9wOVIH0+rmHJ8kt9l1hljR8VqeWb+crek9FUUZcZEl7suJMXqlPRzJDC4gZGvq34M7tHvI0/Xq2C0AKOVHvbyQqG/ODE66bUK8oBdlx2in9zNRFEiY5I5eHJ1HTd0EJr6WglsYZavaroBMOiwcw/Rmnf9vy3YhtEyqrVwcz++cQwjVVbH6DqQUoeCu9U6PF3h+oO4k+IroDJZDpyMgiAdP1qtfeoV1Sey+LxtjAQC34jLYQWwq/KObNjFOCnlOtBf2Z3t5GsZv7YI3wgcXuTVWLdjPQMA9vsMd3VkQCZzShZZjZHw5/Ao5+2JVF8au2rIS6+CQQs8Fx7fDdHwXuiL8eEwyRY+SygHEgXlPa2GEHqLZfSYsbcF2iDt5PtjQndrvCTA4mhyHqWOU4rHY0Qe9NOtFcXKlvP9o2k0wmRpL0m8s/cfY0kmCTlx95vgbnpCbVb4jVB99PsJtx7O+cdJd+Jka1/6H92r1qZuFTtKIP7JNVxbeoHelkox105mf3FOadW9fTojD+ZE4KQ5rJKYzuVBn/N2yAFxnhDLcCn+uXqTwOribBLcAXpeLs8KLSDiMvSdufdu6GawoDRkBBMJP+ogzt2r8XO7p0dKh1Wqsz4jnT1AGXHzBqA1Ag0MKKGXyYBXypwuFqunQFCBHUnpt9p+ZUZUBumF5vwZSSfZVIXmHmjOV0jVMMSKJ9Jurfx764m2BFqAE1jgduIjNGhA63Xsjg5S9ak7NK765BzWaYXI9GLPDL6kHA4ffhhYTHGuFZFfZkMmomOMOQ7VEQEjbKDgCjo9yHSDL7jbL2tZ4ZRc/V7gyoSxWty3hJvCoDC0eH7ZiQTc3ylLTmDJMvZFg+ILj/t2drFRNfiK/XPwPRI8QL7OBRvj3BEtxWSRwGznlCCOENb6+SUfNakxasCblunmPBIxPE/JVzZP33ZHgmw+EXZNdVQFIlWMzON9ojdzwRKpAbRKyPYppYjqouCuOBznLtrluvlANs3SkX/y0LzzBDueCVLGvaH+bxpwMIxoT/+fkBvyOk+zK0/iFsZ1oBhHaxOqPpsKZU0h72PacqpWjNZ70O/szuOsGZcQPanuC/XMQouEze0a8KsJGpvurYFyC84TLzGASQiqhwQ/kdr9cCb1HGcmKt95v6sifcDe/NW03o2wQfDuzKAcMWCVqLm6SF2ubPi/hZMh3n3mT9jL+ndiHVhzPDLpHBu397xEprzpjaXaO0sbY8qGxWXNH8popKaU4WshrkVGhjFiyuM9O4I9FDlRp+ZwakJ0l9ovA6081p7uQPrDzzamKQYl3xrR0GUGLSkB+O1TUmsqNlyUFwkk2qnQfVf07Kilar14aMYbr8RcZPUQjFGwfZ6UmqVzmO7zd1Pow5KhbK6d6BQyQX7RYE/i622kLe0RX6WDYBkJJ+P54mM6efCr2yDeDZPQ3mf4K2fG0/YiNFiWxvg/8qwe8/ZWdj5bhSVA8DJ6eh3Wr4NS1AiHtIMf3GCnp8I/7cyheK4abqUve7ucF597MWM25OK0DbPcdZQ7ER4GA977dgulcF62ZRL5E2D4H/qKTu4hVnwwSbro2Y2aHSKh4L69CsGczSBzPDZ6LK50j6fbsbpc769fO+kSanwh7kbuV6Y6L2JP1c5Qpe9KIqhl784pA0vrWReP2nk51o2mPgAyi3/MXtkRI9V0F4YyDk49dyVhEgT1JcgXm+l8+RYv8QmPCLQGo5qCH789mDKPGct5sWNlN5w6LnbXF5dTpIH61S8ZSu63pGEi1VvnA98rtKfjxumKdZpvIkTL1jBkB7XiqVODbpqu+DxJBhItuMj5hqUKxjZkzG9BbwFS5bIuCY7bOo/q59XTeHAV0HpKbdxgISw6nYKuwUYVMPnHhQzk6jSXXXipKuDnl3sEf9Wjs+fxZpvStdw2MMG4uKpHmL4n9AvQCm5WjWGD7/1i4gSHI5YSV7+YJDBFkJ2MQTSRoqiSJWlskNmdzGrlNsCQtzKrjVRYW/2/ZWKoIPT98HQ953EbVYumo91tC1i9ADZSNHe0En6J++U4xuqe5cwuRhf9jF4DLBnkAZKc1Yh9dX3tPY0CYPgV1MIk1ilTFNwcTQKFdvCKb4jykSF4a8jGWVtjRIw940qNrX9774svbNkMqO/sGtZ6dGMx0maqWSRTZfWNgkQ3omU6Sh/fMDLBvrF0qkHUvHmrYcuvBYveRGoHIqz8pma5zl0qsxmdTemjuFQNfl+KyJNXy1Zr3dhUQKwBRYjuJdWow8gM0pHlF0k6DlShyJxbqVf9EF5nV546pNU/3fohiLhVDTTZtKp0rWeUM/Y/z/W9TXjRziXm90Sb+16qWq+D7Br0ufmtbV2GavQqDnWDRbbknMggGeXyn0a0BltocPO4JOAfbgpT1OYvYhMJr+BPVfg35vdXpJe7CPiMp/VegARaek2tUSZxQltKMaaWOTQmT4bNcwCTypZ7TgsfaCbX3aubjjwfvDHL4XuH6WRrfrf9ZdUgQT6idn/bqCNj4gbtBt1fdK1lSGzK5lUxIiGJK/eQxK19i8F4cahL3dFNYbJ+f0pijuiUxvw6SJFQtkZr5z3HrLdMc1t/xc5cTmv8voKAdLyyhmf2i/Y9ydWluhem5F8QhFOhCs53jkAyQMjdqDBMfP80wBuKJRKKkpijTX2JIfJUYsdoFeETKj4pLfZ4vIUdeFzj5NyOIGNpb53zQ0OiZrOZEioBNE4sBcrSvWSUsQobfpziatVj1Ji3dywlpKulg8WtH/BIJoDps0hLz0+Bz5QcI/Yx4M/cjfoWn2dNoixr8ppCRn0aQXyJXwIAD1CWRtazH6BigyMT9H+KcKrsWTAPlp8jgWUOpzh6u34a1RJpyKlcFCZlru+h6QW0XQEDS7Moq9770NewtXW34RBDGh824uyV/QBWaIMKQnhHu1akhJd+R+dI7tJYV2hwzg6Xp0jGacGyQQeUf6q/U7ZkA1CMNBJ188945amBWIZSSt6s9gAtn9gsVfPvUEtwrdoI2T0dAoldzb4/tlsVAZ9b4qiaTAxmZqE81isz1NJEfz29J6cBxN6aA2yzAElXhpn1IJ+GuNBEyPH1CW8UQoXu5FVgDLOJhpfjm9ZG+2eFMljH+tym2mcdPQ5tggNhnx35k60p3c2P3Oxrh7i/rlW9ZQcFklVetkzLLzRMwyHLNtzsqKIh1mgHzpjMPK/+xS+1ks8ZmmFnRDipm7hC0IKddqpTlBGBE72r/YNxG9reMjZswGPyBGyphYe7UAy87lLtDj1Zrio+vasjZ0KKhL2i+auJ/TC+1oB/LvmIWioPmOuhT+Pgrnv6MQfO2FBP89q5jZh7I59afI9XxMtpgC24r1CCLcPmLqGb3Xyk7uXfjt74LGoUrOOhrWvohszGqEj2SSBCrH+ClLsNlyQP1Nm0XupDImPNVkyPiTnYOKWx9oLC7h44rC/iXFDbFvGOSgvnDkRDjo8cf7a45+Q+erxilGW/lP+9zYNxzjqc4PoAERXlqHohc6AAEWi9wN+XnPYmvdG/hOsPZi450iWnxXpUaGMQVG6YzgrwSZCK4KjOV+39jDCbm5THlbcLpg3qmPvFUNwzhimqbB8obSUvn5ieAjBenQXK8gblasYA433MZwWcrCq5QgHWSmt4TLOVQE9cctL7n5GnU3tvcnfWyR/fY0i4g5EebiQFkzfOKtW9xRZFw/tycto4kn7TKrp6PCbVOwLfJ/sHFNfC0uSm8gkcynstVDBAuBPxBDRtBvQjQHbuGg6TtGRu28gl06vXZUAeeluQK7Er/RyeJSuD+g/qv7UnpMRb01dIcrRTn2S5fTsUkfldBTRZOMIMfSBefatGEhQGGqovNfJPH3NR934jxlW5at9Y58SRh5U021e1nrqzMRJeoP2p2EKqS8jR4vNcJbKmRfvBDf9lj6+36+mAVfhgOUY8zd1HcoglGvsNAwmWRsUFV92mVuYfS4fyqOtyWajdTmNip2zjb8Hg5znZuhPu4lnLG9pJEeC2NeVvOqx4xbPrYhcqZ0oPlRFWXaWspaJzobVWCcrCBsXFfixFs9LWS9ZWkr024BFKD+u5Ro3zVpEItjclfiP8VZ8UhUAxQBDj29MzvLpV8qmBH8lAeuBnGGhxalkU2bvHT4AkL+c/LbILR1lXxUWXWUOlnCDJQgetMgmVBuMcAfob3rflTqyqOz/2l3TyCVbZeA9txtxOtBPYW+7dngg0iPlHCDQ5NntLLr6SA+eoJ2VOYlr+ZZ7Zfeid8W7RkUvQOukpTxs3lGgSRXi0FOiJZq0p65NAddKZvmi29j19baDbk09LSxTH95vNVWpIMISW9j7DjvwBxveh0DxKo7gkceQj6R8xXaZy8Qqm3r2e+NwmqYJXP4qlrWhTN5QwV2ZQJAejIQqDTlkE7CZ+Ne32/CXc0FT9Yodx72yc5HsoH1w3k5gwtdm6d0D8oqkjzYsEkBmpGVhXOuSIWr+WHNgz2t6ZH/3YxNctAzvao5w9oCpnnrqDTfZxSvEWZRCjDiKOfQqJIv6og0ntg0hM88PCc7c8o0lpenb5lIYc6jq69iOsivwQ+rn+5Rhe3EGW2aubSrl8Ja1nQF7MyYdJBDoMubjdBvlI3rI5DUXNyIZR83yKSNWzRsD1dGJsdpt6EB3pmJkND6o1B7DfYUsqP/UaWbLZY+zFBzAoS2RJcCG72nA08AZerU16p9+8bGoyOTMNkLDy6qeVzTDT5RvJeJPrIh821TiKy4jsdEqmj4l24sLxATRgtlxrsK726zULkJ9xUgMc54w76V0Dej8ffPvDtMfpfb8PYYpYlT1KgrzlUgKExQeV1FX6hbK0/hGYaDDIw+AMDuqPhP5FZVu3cfucAli3Q0Sq4bP7ou0fie6tnRHJvo8g1Y4LhGJI5KYt1qT1GXiyYi7Lhye9yp7wJnIb8h+JRvL/1P1n1D9GoAw3BrZSJNUA2gTQ7bKssDg4W0aXs9sLHnB/IhF7MsHdmRS1S+l7dryheKdqAnYuVBBi2jpu9FLWouLW/uA3DW4lEhePovcO8jfNT/rMagt2f97Si6MDPOpxYY8zGoBcoLeFzomDsFQNR8viDhvcG1mAWSAPX2DiBRDXhHN0KkSY//NGLcuCOoTJbP2ZgpRr91mRKjI8lsJulBdtxBooCnJC+berw1WLkElC/rrppUoRejizlL2Jalf1tLLZITaXP/BSGbjqTFRxWvUXJ7xPQ+bMws3dnYpyMvYeipR1vOcg5+UQtbPEARyODb78bmWkzfZxQ9vIrEXXbtfnQSL3sncwXrHoVqFEQHTCNRLsqIFuh0NOoUlRbh/AIopI4chJG/ILlSCl43cdKurMVduvacvxdL0pYQVOya0GoA1SafEBhv/x0y8WZ0RtUfJDKDrvi9Hl73Sw6UM2IRjlxqhLFprCRV7Jko0feBUYAcp0upBZme9YXU7IbjJV9S6IwdtT5vIRVjlzSYbYYwkjgpelSF0VZ2qEzKd4qkXi9MkobiaWlYKxrHXZhOAEE2Qk0JHKIYCTX/vD8cAI3MIxb3/V7e89ckqpoL485dmTzWShmpNXJk6x2EKCreyZLpL+M09oYnzAEQOfx/ICPa9FwIe/ovl0LU5NNCU5l/5YGOxvB9GxKap3u1aQqcLwW+rX9wi1DibMg8aHlI+FwFvcRO00kifyLJYInHxPFcx/eAPsOCmQyiEb7rKLp72bliGIqaNQUDpjluApi29kYOibkRMuqVMK1/1XNzHHRERCtmCvGNt7kUqQ+8NV3iQ7cEolsCtgECyLFHVHiB4HeJMKIFWoupXZBIseN5BEkLqHebv9M88n3dg6zSPZeaI9tA3uS9hpGV/FBGy62vCgNass1b6DyOA7qBx3WVU1ZcPcfmPDmOB2iNd/ECR7vT+/0GDsm5oILkzG6TYbMF2NW9nYSp0zEmvL0s9OrQBi8Csma6Ph7T4y04FfzT1p/GARb876an9HBODZEXn2v2NmM8m6yIOhApqxC61UV9ZAi8TewHU4XCCp8ezpw3/f9n3nDiBkq4O1CRSSpLZQUzf8nocNG1FHp1VqrjD/HH8BcZ4BAleQp/qNbEb/DdWDsSpLPxH3InL7irafHON1sQgK+tMl+aFgWkBfqSS6437Abtv8PeO6JtO/sZGb+6PQHxY56HRiwPAEGoFeQXbbu9GdHpG51Zk9I0nUTicbfdXrgkWB/knMXIt6UB7NSGiHSIQOJgvFXlx0yRrc/H8CQqubQzJ17OyniSkWl+/pu445Ysj6sWThRaqmxY67RmJ4Ehqx8g+2111Gdfji7nu4XnGABmvJk8zHBkaEbq/0tN6rWjq2u4QRGTu496aghibSHvwcAQE9NGtVJSWKBJHeBfy2e2r7SvSHtJIYzpqSFaInsqvepDjoaSzPujMH77yIHEx8XtI1uK1keOy3kxkhHaK8LxjBBYKR2umylYRrCg+df+uyM5Us73keYpeTNyJX7bN+hrhWFoAIoGI/tA5JPv3ZvlHbNHyLEj9PHK8CMgaCyRf4yAxnDQfPahmhTqcUfV9hdecSO9A9GnPOMs7GYkCnWmfS5HtoODThrsgvuQi6DhxkmVbZL/UU53WdqY8hnPggcxHV7sblcr6sGHIlx7BIZaAcZGWdNMOHEEiwr7RpYYkZrAVg2nxR3eRptlhsBEBMMREL3sqBjHWrvvMelUEAH2NOOTL9xv4VhEoITpbFJiQL8HJyCvpAs+mjb24LjXjcItUbVxxqbEJyKNkT9UgBJsNRqyZALh1CFUubair2Vki2GtNOpVqi6iiZ/Go1DzpjwhALbqSz+3my9tik4jebm0Uw9uNwnyymzbeOYqoGfK0fLXKwyEPZGt9eqdN4D4sVHws/A4ssGxlsP7q8foEzjPx0enyEBWhkHS9okrLDp3zKMAKzZwzTZE4B4zQ+wm+Rex0DZcKfFcQaiMRymhWKO1lI9rTUnhc0zhHjH9DobEKgxyh32qDdfWc5rqqYnBMvR+G/5rVuW+vuIvbgXfYQvU2IaRQK5JcixhkzT4MUOWukTqF9RXcTZFGQomeMctiRaNwDuFz3rFwL2wIiQ5l9bwl1lFCbXMZeve/P3CfasXrHymZybLOmTvuAuAbvG2pc7nJzFM4H8F7XOKnRxtq/s3benZwmzekLpp0qnGU2DgWbGZ79Kihm/b8htyAgzGHF+sdT/1bXTnFHUzlTUDEbMg7OEjDxuxpiPpfCWdq2I7/qOBHWEFa4Hbff3fGX+cze6gNEqitIMkKrssiRNQYwXbmWNqnUmThhlo+UiH/OAbk0SRNtwcksouT9Iw5TFLkFirxDSSWBL6xYpt72Mf3TbX+KgNjiLgSBtLN8QTXEcqvIDKbkH/hDQ0wBF80ZFcRaILxHRGskGDmI8BrdPME359AqFQFPM4dK4C89zT0pjsN6m5NR/RkY0Et9AzOWNxTXb/sivCZLWsyhzkrpRViJFbPiSJ+BoWDy2TxkolPBLNpGyZwMBvYcyr2dQRB4+F8L1RBDNQNoS0FY9kMohjXVKzZYg4tEwgadgTuObVCQ2XGbPrFkPHXRYNF7HN/AGON5zOBN4b0C/4MFWLw3wS5EOCFiGBbnnQU6eJMK2RAgnMH4c4VikU1yMTkeluM6I7wgUqMg2B3PA5hLjRZlftDczb8XJpJiHjfs/v0OjTODc+HfNyIoZA46HSZr6/66PcjfQDWcZ1WmkzMvcqpgF5E7K4rSg8JQ9MvAtT57v6ZRoqsZzpDmx7way++3A/kqz2jgCsnvp/CJwMy9ayrft10EKfRzc/7SgbHXzDqA9DyXX6c8GAQ0tjE/NXBaU+2IAQu5j99y0oU1csKlJzpgT4YMvabHftJIghkDou1bX+w1MJ8k36zvfZVq1BNBLg3lYoDQWuIsGxo0QALDb5Sjs4MU4wPHkzGIN3en4VB9X23DmkcYcPwjN0Z8ZRiZFyhDK+Tmp7DQOKfiv6qDr8xw/HKp9wS3SukfdTnOZFY7ggesUAy2XonALJXKWMyeekanPt+HtfD1mYcHa53gFQnMUP7cxJhBALD02e9zzxI/3dxoQNpdU4v+AotjJ6Q3XKQlCGxVYUr9sjd4pO6xN0tKxfSM9eHwfbUZBZAd61R53Dr2FEXQPnnsIXBzFzBt/PPRZeSD4ZQenBFD32MrNVfMqTRtY+OJEjFEbcbUZxTc+kvWpYmyReZVojbB1VMZ0+9TLZk7q8u2ps5fDZ17k0E828EbHasVdnRRnW4mVnR613rnDLm6PdB6MZoYp55lKz6mm0hT6zPPs+A7DTg9XSNttt38zoisocGK8Q6HMZ8YkrAKESJWV8bHPN9uf0Og+UMx7g/dKT+9HV0++tIfDWrD+ShFa9nknfDGNFo+QtrCZKEoM5DOwnM13xDi21744jI4ocWMnL4sJ9sOIj+vVEcl5TYqn470BEYjWa9zNI5KrjZS1AqJfLVNOOvLyqMtTfMrKN4yqu4UYbZsnmKFjV1oQdVklOQwOLu1s2yOEIrITpKTEgLse1qAWLTmgPgcYoquvu6paWe+3oQ7K/LNoO3zKc/cz7HQ0zjCLJGShy0/k7+CrQPEVf1S+Z2+s80Wt6GkOncDTOCYMuzGIrMFmDM1snHnDDj4ZuiK6/iLBzVT4J+ppz/MXfnTbJ4t+mhx+ihxDDA40J0AMCms3KsR8OczR0QZcPgjYK72ndWhxTAYPunTXdpJZ3K0hYOJ095nL4d79uMb6QpWsg0K0gkdQEyzBEpevB2nsyIVJyEY0YlLpwLcv1s/oQ4aMuA1kRJw2R444CaHuEmbd2mXmikbANVhDSdUf6H4vnXY2OoZl4Dc/equZ5+ugli+IkpOdbmYeSG+81uSqo7rPk40B7bd16FhDIb9NJR/SekynFuKSvxm185BPrBPs8WhGaDfdTLHsRPXXulnD1A9bwID3/HO2vCfCiH5vUbtQzkBEXsAMSFzVwYjTKWAVOWyK8rkqsMSzV76Fk47UWtcApGsUaUZBC0+Nzw/yVG6s3mJJGjwwCFRj1gxicLO3EsYzgRT8BGIJUorjsX25zTrTovsvjlir8KQUaLLCPBoY0O4ubaJj6Lk0Fjtje6ezvBvfo0RBzVnWSDU1UrrzfRVostqLYwBNfJn+Q+krvijtm3Gi1h6I5tGJegNZ1g5ii8FNVNfirxZjDAQU5Zg+OPyQ1x8JdC7jqtNjyOz9Phu2D9sJqdQBQ6A3D958Sk7+2O+Wb1ueXfEu4T06bR4ed1ZAIFWSlwN24wocE6vgpuyzPzZSjXuCK/gOvcPEI1KbcZTV1FDpjzA3DqtDoZcVjzRAp28Ex+4QAvoOfEK8MRICpXh/LkFuDYKQq7HzLK/B51YEIzOdpAUy7P+KyJw+MfT0N+dQ4VJVIOj74qO1VYkQaC67+xuemn2Odx/ZbLTdQprLIcy99lmy5a4B8oNfIuX5onSEXVUMDnsV+BgMizq1S81yPD9GuSlBS5yaXHOcydFWVRcH6ecwrf3DOMdaM7enhyOBoeaV/SFh6+9Fe1EXo2M8d/FkVMZqGJTtszQHSbj22u7Jfg4Z5W0jKkRFQ/iRPb3KgQppgL3PusIXgRJxOoLrn4nSuIaG8NRDZtqKKGU8BE2ft6VPlAzXsMSAxRPI4qN0Sc5Xy1EwtYhASUGt7uhswCGztybHkM+36dyJMvPsJTLiEhHD9VDjwRCXyJDekVjqZQm8rGqGXnydjLJ3gJlZqS6kJ+/738Fll0uFvKp1GzbE9nRw7QnWIWOp+ygKKNSMfEoBn64K+0hydF7BE9uw6M8xDsk3cp8yzRh11m7ol3Yfxy0PRp0v6l56CavT2bWIdU4rOB3jW8LifJGI9XZdR2ZWEr6clws2gJiMHasaONd7X08YgsV+pCaANWsHY8UV/8j3J7ZglovCflseJLTFFKq9qGE35GOfS+mKc1O3alo5BsSR22Kmuz5zeYyApveCfH2grM2HoMZBn2hKOEwdVvr0+IOYLfLm5hV4vtgSboxMCkhcBYn/OkzSxWIeh2gAIds5mEcUg8DuirLA+zohASwcWmIx8RMjS/RmXyNQEGEIWCey0OHyG5zMc+yV5QzYnPbrkQNd+yyRWYFkTInZPlgOHFIztjtflPO6oB+kM0pHrYHbm0lgngsMYwiMF9BoTLSo/Nwx1pojNyLq1o7zkVrD3xMTzkJIriX9ns/47ZIXDHLo34HDD1fyNxudqDvAt85X0+3oiJBXrbJbxRvvCGj54LUiOwx570MC3ZYg5xszDGbZQTHwoZWYnbiW9p6HmzN/D8doXPMPEbNklzB+jBMjYFVngv8Iwg1nAUKvUxCQip7g8eVNv0oB26nIAiqeXxAIf6y+4CxBDaiTuPrXHWyQmMBKWpKckqXLjGc/dIflxgEl/UmLPAh8OcgW3J5EnOkjwyVvZark53/qv3GT+ZJq1yKQXh0eODX8RSVxj3wxv3Yw2lZFrItiZYvIYI+YHTekgF0gXBQPdnRwfMNeTRKMD3B9rnz6A+NmEmKLml58acEZCFg6a/7sJ0hrbWLLjFziOIkYR8u/feIULY4Ot/R5HMNQmHipJKyPrW+9W/1Xm+eNVBp8RcY/BjOrV9QioRuJ2bCAqNkfbq0jtbh7PVYJyobh8lwbdNC6Y34WQMphjja4UwSIQoB+XEoQ+goU9E9uYvVcr9I35uTYyRMbRceq4cQpgeV1XK8YzCV1+XYn2PKDAUcBpDU3VGMlR00rxoC90EJ9ccfLUWOTTf12wtVCpIlUkJmIa8T9T9JeO4FSXtSYsS6slxKYZMzovqM0w3zxk4etSmIdTa/gxJvVtB0lxMFXrqhAlhEcbqz8zjCCWiWGAYItaVYyFGK+eX6W2akFA7UFMJssDdRrGGnjfto6c8NTBVGfHzXyVx7d33holmG/7QBMBml97GT8jgCyCLhPI53SeV7l2g/lvZq5gOi69pBXyfkL+x2zf89iFJBh6FGt7qw1X26ZrBSlb6z4igpAbdAfE4XGuH1wuAteK58L06jxcTagZU4G81q54Ml5wfCYxvww6ZO1dfTGY7UuvypvocL8wbtLYahNtkuUjSDRak/j0h9kHASaSwWVorAnqegjkrPI6Iw28WbKk7uFQ4xXHPREg2YrN+c4CfOxG5zs8UZPita2RPvBrvtnP5Amkyjqr06i9RpNZHDlnp6hwq6D/FnRknTXhr2u4bLPzfbohz93Yzw5Dq77fyPDeu7bMTjExYYCF2wrYbDYACRgv0CCsQ8w3ud+dIaiPWkrs03/1dV3ZFomNQzHHpPGLdtmHY/BxSqWYd/CvSGGbuVELiq0DdfkVGiaq5ljbaRBRyR7H0xkKmerEGUnku4J7abcTpuCCp+Cm14J9PaHq4XczG1eL/H1NwqqTq+Zn7r6iYNevZltBSaSOwe87wUnCkvm8Zvt0ZOKAj24K72UQEI7CJ69JlYX2StOB3Z86MgQnvzujmyb3O1sCi+qVKRmgLtDL5qhtIB5iOTdGQ2x5tbTQC5w7r+OqmZy5H24OwWySVgJJfyNHBltfb3lZfmd/1HY6BAumcdkT9eJLjvgvgilmoVJX828/5b3AHqmKBIVDLUd7Cv//W2I11FcsvrC7Qb7vBbVKiNZIPD2WizoX5cz/ttRPBUT/ZNBQkaUNtxxkRPHvOtFudPvo2+kl6UJPBuecIwPCWrt30vcV81Q/mLQdWiPL35Sawu3J3pqnMjGdSh01vkHLxgYEUJL23U38GmhRrYgDOauodzGNTsjPKhGLcI+EcVHkxhrajYhwpfvoCI/gN77Q4w2NGnh8ZdbIjpMnrbJaWQxRX4JxtALusMdmQfQHSHBU1K9zYPTIr4lXSDFC7WOYib7YhiPdwun+xfbkoQF7GL0HQfvjxRUqBYsXi+nwE7OvFsLtMXlDntdj/WzTmCpof/vlDnnhZP8EQ24t1T8uACCwnJ+VyygRSqDf5scRanfqSptSFWt8e2FD5LlKh/fzu1V8BF2SDwfKWhpv+6BCk4FGXgwi6qbg0y9Y7r4OfvC+Wr0rsHVDqvpqaEsQTsY7sOd0uH07x4b5Q4a3Y4gUKaR7FlwXTM" title="Mekko Graphics Chart">
            <a:extLst>
              <a:ext uri="{FF2B5EF4-FFF2-40B4-BE49-F238E27FC236}">
                <a16:creationId xmlns:a16="http://schemas.microsoft.com/office/drawing/2014/main" id="{5AB8A48A-95C3-4954-BC1F-A2A8AE81225B}"/>
              </a:ext>
            </a:extLst>
          </p:cNvPr>
          <p:cNvSpPr>
            <a:spLocks noChangeAspect="1"/>
          </p:cNvSpPr>
          <p:nvPr>
            <p:custDataLst>
              <p:tags r:id="rId12"/>
            </p:custDataLst>
          </p:nvPr>
        </p:nvSpPr>
        <p:spPr bwMode="gray">
          <a:xfrm>
            <a:off x="231947" y="1759423"/>
            <a:ext cx="2628966" cy="4486387"/>
          </a:xfrm>
          <a:prstGeom prst="rect">
            <a:avLst/>
          </a:prstGeom>
          <a:blipFill>
            <a:blip r:embed="rId22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4" name="Rectangle 13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z2dD7pS103gZfJ6l4USC3jqtWOPR/ue0umjYEY9KlLthURXCUyUuZbmGDPUXB2idlVQc+R1c0j6vNnMaKvr/AghcgjyTjoGcS2U6lyGcWZbvoYqQsrFJ5DN1RdHsB5gZU4BjQJ6xKwDUEsW8X/QQ4uIPkrhyjIfLLN7ZR3puqzBiN1rMnctBA0J594at1EN5QJYMsPufr2eabAYzIDriNpy1GurybA3KWqcTPRKYh436jQqOHiPaCJtAtzpRgB7Igk7tw7BcBhai66Lc0jpyzFEK/4NRoFF+cso+ThI1HNgDMZbpFoCsJQtilLqk9nQPGX6RXGboCTf8hOOcHaKoTUKF81dro10jOa8Xb8mBGZAZ+Iyl7KGHMy03+9hVypQ0bPH7FLW3DbHqpkMwHY3oocT7YNBb2icEm/uCiqJKRMC2f5nlXVRrrjdFiIRSHh8s2xUZibeNJ/YgTF3YRHYvaE3CK/klLmzGFS6N41CSN3aMoW277BK65TvfwxE50lN5piHzbTyBguzINaQRlj9GUvPZnoxub84Gljn5jthbYORlWbIvXLORV9QLQN6VuXzx+LNrs7LOLbRcZ6oNcEvKAhJaP4phgHtnJ4zKOA3ZeZ5UqqfeJvYuEB+x3oDMmws0ge1NFSMXcnj5HqxBcH+6YJ1BwkG6dVWLouY4NqtK2vA8J7oZIGH2U9LFrXpr1oFQgInvjBe0ZhafwWNzQqJKC6zGVbIcWN6n3Ve1j+Lx5g8uB7JTrmF1S6TezZG6/CK/nfNDTCnBAk/v9YTavq/b1S3mGRf7e7fVfXlhdnj3vKPGeAwPO2lYj7oTRCY4PjyfYviKcf9gtSLT8ZuyZVsueUm/I2QXEy3ll/Hkb6p9MaWaliZju4jPvqiqY3JK/sWJBT4D6cgO1RdTBLL66gfRcAnGGLzh7z//ScZwycXJBbe7VPDOg8ApcGr4eUjUV11o3HFJDBXG0R4atHAfIU8/683DqQFCFYT6p17HFsMUZEJuwd8BCU7+I37wnjU9htinNJEskdWI7ILRrq854QsYd/lCCUPwf89zHQI9vC+899roqwgSvgs0z+QzIrg8D1P6B4eYER78MgkFh6tOT6odd3HfWB33vPZvH3NDkZAaJYss2n1cXNAGDk4L8qn422IgRmZCV3jegow3+qfor64lt00pcecut5pkPYV6+zBnw9b/bHFau/PeqDoWQKvndZjLjzA/JsLU1NoJswXtIUonAHicmTXS98QwJyQT8XLNZogCDRmfWJ/z+StYK0TgqqCB6oxYcASYzE+vmT8ExtDyxdwl6eEIIgweOZw05akyNL4FtKUkf9i5KxSS3MLEE4pLC5WQP12+2Lj0ytkc5DErDB72DBw7igOcV9RJ8JCqmfw1aVhqPFtgVogGxvmjmlKokHDUx44wJanYKZvFOXV6I7BBudtjer3JZQG1ftlq1Mspj5Xx0mN05sSFKvi0APfgLMP12HEb1bBRKh0fMWOguLoZo4GDYlYRO9iz0mrfEqo9PLQEGicNybstmoQkO2PAHrSAWTscBt4o/l3UR141HotNxARi0A1BpTfdPNx/fi2ZvNxMnLYJ4jBA5CDxWCNJLQNLIH8D7t02bNCZAKdl4U81ki73c9eq3bAVr5bWoll1hWT9sMLDKzU+mgeRSGG5HL7lzNYiBVAGP2a/TCXogi/EJUuwV57R7u3kOJxQhG07h62xnTpabQYsi1f1AM/6+BJRyvA3Oul1E0IwS8CZZoPZ4U2SBK+RZTMnSCbs0PekilmIu0i3Yj7FeaJ0Bjj/tjkI/xxS42Vou9ifdYhr9rl/KFsx6jDUD1Ro3MvTtWaLVwzxerJlDN9iPG/ePDQx7enuUHV8oEgJn0re6x+W6QJK30/oerzR6bSro2lK5fx9SlMaKdNPd4EjZWKaGq6ugMHQoy4+6JAqxnxdH0D4JdVEyG+92Em6M5JATBXoYy/ItcRVtkF372adtVELiYxHbi99xZPtgGuDDomLd60SNOXOVFZoOHARUyDfrDSLMm+Zpu4Zg0HIov9QggqEXViikQYBRqWGijlim1x6x4UY9nIZ6QMutqEwi8hsCt18M6GcFmoJZlWPwbyh8438dQB8JRpLOHm8dzyv5EDxhc+D0KkyLcLDsFsRdJBmKI90UmUxAAmlJ7y05A40b/DPQxqT9iZlKw8oGjORBmUNTklganIOWyvl7iGFFtxm0BYRt5WGVaRZ73FVmaLr3gjiggxADv8N4PGcMtps1vxnZ+ZVLfsBb/i5tlynCZxL4FiQvrdPrHW0w9IUUQ6Y/RW6HJLcWvJLILwtH6tNWqpdL3S/G5rEYNWab/5Q+zIm5AxQJPaN36OOi5fM7hW9Yy2b80+b2YxyoK7dg7OSyPrTwZ1aesmQ+RYGBaxxWtx6VUmZUqpD9LKzEXDRZrzWaqVSVeHFycZ4Vhs4rMr84KI9Q+JxesKLSUgOa7FJQHw3jgyD6g4z0Y12b5jZO2knAqegqNO0gT+9gHHqhAUr7akug19LJlfzYSAcpXxZ6FjwLtClW0x7t1JYSmulJUtDF8jEQeLZj4b1wuEP7Jol83QVNHA2RJLfAQZl1/JWAPprZe//Q6r8F2akI4GYWuG3VXVwIf4JQ4MPPVcb4viMVrkeK00i1FR5Dn7JArGRpIMHsfKYKiLWYQ9sgk7vTzsJtZJHT/Q51D6wGev16KSjjVNCNJlGj6O5FHEJ5cOr25N4h9Cwu9QUSxBlPqSqOlLQ56cUH4zjtemHop9Oj0nyEqQtBtBOBJbHe3G6sAChvEocKiuNUkyzNC3f5ZNyJ7NQnMkTAXE3lPykm3qhnbI0zyaKihRgC8MJb1vTqLqEQ9y9T7n1VCibifc0uXr7CzIE4REE0U4xbnCwZLEK6vstnFJ7jfk5PGvOXjgkZtueEUHOI29S0wCg98ntOGqJbSCdNxECvLOlvdD2ALrduXb/D1mJ/2L/Gab+1VHiEv+gWMg8nnpmsG6G6JQTSC3K9z2D6bo/fZ/X0XIsL/z0M3PbwkmsP5bzwjSOXgeKfVxXstnPcCoWCwOu0XfUx30/UwGXWQTPi7mK8hyr3PqXi69Tk8SWJDk0y4aK+qQv0fEJP7djjMm7PO8zMmLi9LwfpHwMjExsbqLpX3Q4Wj/bEzxWRwr3oN7tVmicurzxMyQyFodXZndFtCg6e+YVwz/rXnG71IIk1f7ehbT3A3e5DSiqTiVmbt3DFT40J9YPeZLbQTHMbN7EbTVcXndMPDqu7sNhECxT2RsohtG9kFp0jqpn4D90KD2WfEyS6FWWFbL2JeEkgb6yY4/LculxK9JlcoNfHQ1KUgVOs7TDbMiyuq0iIOqDLnNedTsrAWyOBiYqFzZVcgG/v53l4FOE1PgRiwW/H1B7DY9G6MzJSWTclfIzAD1lWu/8Nzk16nLGz58BSM06htgNZm3mNc+seht/7kECASVEE1RKiozenHM0nU8Qq3oGw0src8YFBSTVItW87/u2V/On3JxEotaVa1n2Yia7VIOvA+tii/XA25UlbJmE8qscU6IlWR371LlnLwYUAB7+7qYdzTtCBPOoy+93SwpEugwLptiC+kgrxogl3dKJKPjM+/ZmyK0Is1jIU9+sciDLIELk0YFKIGqByNKmnZZKm1M0D583nOGvu6JTbRJr9FBPK0nJqoVfjVKWKh3kbBBjY2bL0aZix97nhu2Ycv+WMsaoxVcYf5kuqmyDsmAuDMHq6kt362EavjXuzME2QZ0amxAKnOuTOgz5jzsIilC4y6sfgg367Qo+OGtziKeEWAkJC4kvgqZVLyNB7j1F9Af3iWeZTNO+hHyloIuXG+wE5P/UaaPNSzN6ch4y3sW/KCvbXbtdu1mhlW1zX5CMRPMrlhvrPti+YWm9Xc5B2ohGg4Vfm+hq3Py1IVJyR8RQDv3bH/Sd/n0OvIXmV3ivTqW2/HsTzhbbwiUH3nDjybGEOQ/SqE9d1uXthNVD3TCB+rWJy6f3yd1GNy/v3HqJ/Wa8188GSrHI8SQ+KAgRb9QHAfm9SzQY2WY3Q/4phdyOEN906DZvsOwuHf2ZkE5FCo/yljYIc3xp0tSooYmYAI5GKoxzzwT/Dsp4tVnVGfhHJcTz48Xf+Y/gTXC0pzJxt6fJqYD8LuTuSkcU6UfaiCy8f6PHN6T6A6J3LsyH4RpFm4j+L2qgiLXeGtxa+nKgXTPpogwPjQ9EBmpVq5/WToWQIlRE6gLIZeV8BmQUrTwpnl+DTB5Arxhj4OdpCAiHlyX0HfxPpiyYS/SyzzU3ad1J8mPpKs5LvBTREghs/KMVCxx2xnhnKo2f3LXSg2qqe9AcpdiC4Mkf+i/D2K3VgTCOoPhGi+tlp3+Z1n6rY3CvhEjWM53nOw/EeGJmDYLVKH2RZisvXXNW0xmBmjsgegj64mLGtdOI3v5Jo1XJWN7qAfNOx7UpGr66Z/Fw5EFxHOt1ahlCNjr88wqtflfCkzWeMKFxye4osUAvvx4eRbfz8KGkKjZoOWgTvgYbZR5UV5E6XCFTVZ+7XK52l5TIVUJWufY/rGU/A5XtPkAphkvZUHeirDB2qYR6IKUyMYPSH0Mjq6m7plBQznVMxEkAdjrnGqkgp3FUH1lCUC8rcbO9RFhdaCNoDZ3KHC2XYZYwDLWBxV0rXEzUJDH0nyi1bQt45z5OoSvAvhoIykFKF23T/HsVvcZCTr4i45bgr6HrCoUyk0WhLIeTFl3wjWFv08KUomuwpLOPrhqlJXHA/HJ5ldZXLoeS9zKrgFItlRSPGfwjW9/6LrtOAk6D1r36Vle6bECZHY+aAw6RfNmlHI6aVa3gyEcQWKRmctf20KvmKlR49dD7iWUvcbUbRRdeQ8/yqXkvw5kDRupKpGj/IpzA/sfKH5qWFNwqRQbZw/j5YrwkshrryDnO6hGsOESvwONyKHfyjjyDXf1EO6B+JSetc4X7TK/zDJHvlZZA0v3E/83nI62kFfppddpg16Nnd48BJJAYthlAQZgvRf3CU7rhL6UlpwtmM/LeqpPpJcuNBSnEgFkTmP6NCT9p9SClZKZBWgnds1iqB4ObL/6tHVhn/TAkTv9bheK6yRNM0M5MdmoCt9BtlhEuDeSBej3O5emcJtXTHhEgAlUbPl3XZtiz+U13krlN4XqlRcFRT4Jo9DgEoF8qoF9yuilBCDlFxdyYL2gDlbU6+SsY0TrEP1IADYE5HQbLA4J2kVR68kqMbiJd8G5/s7xef+cRg4hWw3Zz2uyxoougkPZF5VLgf9YUtXfverjmRrzTzcuY4wM0tx1yvCYGWa1zGZyeQ41J2PwmZcGhqcv0+Ayf57TSU18kURrAIrmW1rrcY9+IwY3uvoxkFRPcUksYpLKPjcXgwnV5x1/OctmFzABbX4Nf2g38RUKXu1Tk5DWb09dtwH4LGqFsh02T5GZNVcAnfeGvln4FY/QEarGKNKCYkopAGZAs9fo1T5/X1IhXZQsPgLWBUA9KQ6tw16c6mzyms0o4SJFE6yv9IBQG5DUyJtKZQYrzLozRb80KhT3lFR48/+yzln7qlT0mTMniV4uCxan430Gz1TWK8+VXy85Edw/hxd6uKXnZI7bs83gMz3BRel3Nmc+UYytUG1YdYMCAote6Luf244qmUI9WctIGOLreJL/t9O+y/xu9DrImeelG0kMsFZyOU1BnUANCSO/G86BUz7FFgYwL8eoqIpcmSiULaseJbF/QSymIsb9ciyL9XmBAgEGRS3Uu7prkhByPXGu7nINXX4QM55RLX38jbpYCqyfB50h6Njz3g6o9G+vun1BVwzhcbFcpceW5luC658fIr2UrkTSvWeObMnbTpbyn2xUIyCURvZYz1q8rCxPSRhwhBdWUYuoGgCfNTa9RhnuwUuteu3TDwohCWymuQ68CGrhw0pmHj5MA+GhMV+1rM7XItkyTb2DivGhRAfXYCG92rpec52AkJhf/jBBFeN+vk0ZetNt+9G+WOlE3ZkBTpQyBl6QnEIQPgYP+QTGD1mwWzXY1K/kEhOXTMkxcjMItCx6z3ftUcTFiMkIUS1GGFtl6fQupASOxNASbKX7Y1OlgPQ4J6BADBCMlBKRYCeyhcFnEjbPjO+3GaaXRoVHVx4SVNFyynse5rqK4THfJX19PkK4TKier1lMiUwHYoOGEiy7f6cAL6ixWIZqA+r96ZcrP8hl9l9JFEA0m+hb8QYuvF3gclOxleLwrW/G43Js/XHyhHMZ1Q6hJz3p/WnG67CWRBRabRrrWIjTkvyhmLFd1jzzU5QfJn3dEEMbngTLxjubqswry9qQ4aNAt48ZpKnsaoZysW0xPK9VMAehpwHjlV9LtjpxreSjyd5AtGSrUucMsxZUQ7CDj/l1+WVQeTwNZ6JBqqDmjHccysVYMUD6xGzdkY3LmTDRXb9CkFz08v1MNbpFAHQLFQbVSWXtTxO5Xak/56cyKNUH86qJ0ybC49uNWTFgU5kxilH6okTdpYSGtIn1I2pB0C8oEa7mVX+U+JIMG809D8fa86IGWiVUkoqfr9uvFewmvOKUjKiduy+X3JKKadIhCQ7DOk0P5nDIimQr6+exJA/FTJjlURjwLsa0SuAOjy53EZQ+Yo/Dh1ORaWl5BPweDfnzHBNadiPqV1afJNYvURfyRAJ6f2nLazoOBpD8bBN2TaGIq/DkPWtQquv02YtL0CHzoZQBsQQm+Uogz4ofgMTMoUkry9MULWdAbJilb67BiIZNZLSj6vKFZ23COcv94wPIphQ6mQO2rKIlwJXdxVFvcSIBivwNm72RcbWB3X1YBuzy4O+thjIgNQqkBR1xjmbmtoSICj8KncI5gehk1d+bCOlC9dXlJQrplTsBJ0pLksgBNvEaqCPhwQDU9ecfhXTMFJJyH0/TLTso/IHmB9qgpdOJzTMc3bUUvAhGcGZeJD0fLdZGEK4MfoktxxxCR7Dfaq2SfookI4Vllj+PeaVOuaKwkVLEQ7elR3Mm4oJXwPBEWfCrPlKZKqD5It9gcJDVOMw1s+tHzz1EpI4b6dfS7cMpEFOt+7xcPUK8FC8GXa8ZVI7mJS+g/oDzkWN1JPMgrgA+OI7g2JuNGSbdl2U3x83fgmHNXRPSdXqJL88BYypMDDrgvqu7mW0pYAwyGwmKP35j+2wGFGZRQBGkSZuTq0JcgCMFV7IA4VbPefweqDDDDkZ8ehqIgySaiS4oDxYDAdb5B5XLGn2pn5XffLaDjlNVKDbTvRmd8O0WCYCOCZVkkqJBFP9SFRZER+poHQvl8B+4yp3Ub0i6bLobSJWl6NVLOdk88g5C26/5KJ2AyQuw6cbM1igcLv1kYHdphpz5qYnyPxI+x6hKr3Fw3+Axek+lIWPO2gse0GRYwHKvAPS2bGpGiSpNjKjoFYHOF3saQcw3KUQGkjAZ+ZrG43X2DDCMjgfDD6J97gzEdECFg10L5/didBoZVja5z8QC5AUnngQo1zyu74qvc7V2n3aADR60wq/EJU25qD8vEUnz8jGfRuRaRDqY1hz3+oEQKzRlptkrrYaXtBEQHDJnM31sFsGIVnrCyAIHJxk/NfkMM3C8zPnIF0JQXpTQpU+9+uxNoWxS+RfOTYJp7c7G0pubXjjNlM52rdDX2fNkY0rcyeMIx5oalOvpdVAm0snX1PpO21tg7OErhPXChsQ9S+H5j0Vl6dm+lUiy0RRpAxQTaAIdogowiCBtCoteWDc7iDTd6RFMZ3St53UE9KtuEr1wRx7hQcR2O2d2bCEhG7K5RfFWzCk0YctDMjQv1pWYeJYT2gTFX9OpIJ/gjQYd34lFZl7kPqlAJrGKpKMxF6dDU+74zLSMlT5L25uk5ZJswyqKxYnVf2dHLNRml0YkpW8ix/6SG2XSpdMIsqWg792aH35SM+SBYWMGPjqtDx22DhYRdvoLm9lbUuG/xDYuxV1tRFkG7+7VVW1HDmlWqpgU3bdYx1nD8odPQ/D1xtUWFXdS/FtANM3tZUAfJDII7Z655P5PDiTxI17biqmGJiqr4FMTRl1CvYhDYsC2jYGdsW5sF8+Oo8ie5Xzn2jWAJENypMTdg5rqVKvS+vKiQB5rd6LfM3zDB7ld15+y0fRi46cPPvQ0pYyOLwA577Kny3lZ0btACH710c9n2bLba466GYN4SaEqvlW3JZmy1Lra21hMzd3PrukAPcPqxU+zGHfWlYqZB1pmbULsDMUhRxo7Jv3ruz6zx7E3IFSLER95LNraQ9l8HY4v00Bh6mQQ/gOhh6eFDFzdaqP/nxG8QsUgsfWAXNPe2tXo3h8RAijdPzCTQd1V6kGA3uORu/qagE2B+9ln1MpluTf5/7OBYAAXYKAjTsAIYzGZ7utjCBMiNkersfOBZezKu5UZZn6DmlcgKSZAYuxyxz7jLWt514rIZjmunanTse9laNlBAyZL/SEZsECgGFwaWN3V1kMfRQGM+XHBQRreqJ48NzMOm7Hzzd+8ECg7ApX2rVCO9x3cK2/eS5xY2XThiRpG97eoZgc6a5Go2B+rZ/BVrCjinl/DCN+RNN9ulbeK9IhT6dYHUfouqdijRvv4nhW9etLlQA/AP5uOpNb6AIwmfT5lilNwFC/F9948GI8vG40le3Jiu849UAinNOaINXhIyJRNNrWWemE2Fuhwk1j/aAD/srJDCWxvM/ncWaGhBa/irz/VgXl2mW3bMSKa1ZlkKzxSZNXOM75Pwx3vV445F2iWbsxTAaJdyVPBYb65exVlWo7dG6/P9skIFDsVh3yPAdAku5RCUeb7RXRXNNnSkvIJN5wXJ4cG6JietB85qg0MAFzA+EaN9cb7kMvhiSUvIr/MyuczmtXOVaOO6N18z+k/eUVKTv1yL2CH6T92t4kxhEHKBhD8HIO9BVW5ePZ+O1XeC6HPZlafM3OcYRboT3lypYUWUa943c7LNXhOBQOZwwJm95wsXr7jQhsMjaV0aY9o1HcGswTrD7wYxG4ghwqhNVEAhGLSxEVnp6HbxC/L9sCLmTdCmkuFIBLY0RExxJvuzEtbVXdnXx8nj79oNkX6zVML2Beu3lScJj3wpJbsV4/GewM/EHXurqE0NWroQbNCd3gKE82/h033s/2hUmVsu9YERhDKTjcn6jF9bGTKZQ0ErUz2w8cDs8moOCuDGZ8jMml1ID/HalnsFin21Q0kbel350YwuJl2ankY571V9ZXNnfVyp46QwLYikVBGnhCHXVWW4Gp4nkYUr8IIil1yn7DVf39NInmc/iaTABA04SZOFh6tTb+k9R08+BIOgPP4nk+gBzO64aq9fBz6+eUlqX/JGMUPwHQ4f7pML27L6oVCU0V542zQQ/+WoUUQcDG7RP71dEDawRWck8lQRjXRaF6fqilyHo2i2CJDXj7kPim7izev1kOKSUqR2XFMP5uGWaPFOvkuPRdcBCmsg5qQKKL9BdPkWXugmzxitjTUnYAOt71AI7MjAOMpmCk3RMVJvRK56MixtOxepH4zU/k2MZSxBIFFF/SuGHdEsnuBH865mwgg8mNU/zz0vPK6Rc8qNzZxiG039Aa4dQNRKngq1w3aeKetJjc/dkln9CbAQTEk4kcAnQXd6VIcGlGfSCI8XsDw5Bpe6b2w43ccmJQjaGKrCfWCVDnmXnBEpGe0PC7qFaukwwdSc8qnViM3NGSySpzA4MfM8taDnE3ComYO9agy1i3RUzOYNn0CauA72mm5urf5xjlpEsdzuUhbG++TJco0py7uj85WTIRnw7JbI6GHYW9E95x/SOpLhsSV3JA+AmnFaCWZpNYxxSxi61hybNP6g/flFlDrDBKEmK/hH2cu9Zo+VgbNugnTxUUcYwhCUkCq+5nnkn8OHeXtrghl2RWMLollsnJQO6ASQ6BV4ROybvXabh4gVXW65DZkDiYQa5WQS+ov2i54ZpGcuKRb4CS3XBt+flqf0RLadqtb9EriAovDsqnjAtk2as9U1G6oCvvgupkeP4BvihEvdOQ4EEotYeZOTxErTTyACkeqs4ELoOkZlXSWRDr15tYXMQzlCMHpbLgqzvvHYW98kr/7LbesCpPQPHiEokoM5qC8lJILZePSDUYhJeA58O13NX/jo1y1MA4b2tmZU4CHeEy6W44/CU5jUZu2pEDCMfTYrJIs1wyuzLo5dRASnJ1DmFA4Q1tbTJj03W6zJpLGWk76DBuVzYqgW+MIlUmlxXM/mXCnCjXJxQey1MBg6peK6nBk72yPXR7urrMPevSY3kd+Sw6I3zPyo6I4+HWXCHtVxztf57kA1kYm5Fp/M3nJyY/LKYciJBcrMKIzZt8mmbhzeqCTOars+t7zyuqDUwVyf5AqASwp7hFD8wWIIYbS0eookHY/QAbol2qJgZMpLKBsY0Jn6Xp7I4hzYgk3t3wcOi81itK75et+H+C0gbhmZS6M5//e2JY/HLhj8Fle10+jPPWt2Jce3DnmfUPUUygDJph3AmJaENktOt+ceeWyNq5N6kRtiCjpi9x1xoDZLpHK1ztv4mmAWtUW3GGfWPCYPkka7+zkuEgtWDWBSCMI8qNzZK4+iIpD7AVEpsnP+OzDsCLgQgR4cVO0KFPD6I9vaIVq9wZ8XbNqsh0lEhds1ymVw4I5Xa4Guc0UoGsDsaaVXeuL749WTkWAKY0gyQobCXxAvE49xJMAdjqJrvYoCjjj8cQVozR/+zw4iDtuy/Svon3qWFGZTGz8ISvMq71oG7rVXOp84BB7VvN2e2fl8bxd90ecRAB4rT353Smg2ttopVa8/YAgtow5cVcwmObjO+VEOwBOqFi1GUhFOD24uCUPBFxFWomQWIxfQE4l1WdfO2q3IZyYgcxeDeGCHKqHCn7bi3Tc6RTPLskpT7Ln+ajzZ+P9XjVhZz/6+UFkgMVpHPNC+QfOzsWMsOFe7/jSBCHlAbpkyGy7dhKDACFCvGU7WZuznVnBc3H5cO0aWcknBZMUFrmwLNbqrWtA5Df4FlGPXa4EmdmkQeSBcy3P8Pe7xxnvFCTvfx4iNm0+h0Q11H2SgOnt77hGkc0Tgd99FcplhaSpYJP0j+fJZgTjQi+lx2qoYF6QJIbWJ2WlRvFGkUpvxShSJ5WViWsKtfJqTlSFsp0VWWu4HBzT3SrE8HNj6BZwErlSNZ9Cl8nq0IJ55v3ByYuLDBH/+C9ENrroQKm6vHplpKOLJaGPMX5KmbZ9LredBb+bPaQ30K0CgrEIRmXJe8kcVy2x/oWqtYiwGsLkJJPvhiJ6H/CONyS6MPnp2/pgCzbrAAufnIeqYNU2bd/dMzS5ehVmvk8kwGEpLn1uxcbPf34xlLpKOSfvrRHy6YvXcYOPPCaYAOZXe/GHQ1UzV/gGj5EHSwHPgkm3RfiSRCYs4+WAtzJwbHSWim6JdzVBM/PeHviN6nfqTby5CEXOx05MGKqN8GtKWqAEPRaUxxN4GcV1U7qKVYlZ0WTPbWXRubcHjI17Z2vulWSC0t4iapGaGHYnrTfdJhc1MA7sfnGTJf5MUbjlAiRLkqrMJJFEHaX27UrqTn+KY3MS86ipQHObMOLXLZ+06gRQsvh0YsHcezB5BSDFQ/u5gonIwOck0scZDHlTTTaa6jyNdTAu3J1QSUiJsfQ/8SAObpcpd3rEGzpt8TT//ACIpU7kbWd2aIXiiQpW3xwYlFVIXd8ddpDs5vCxdaygnoUmsDgESpx20RZxnOrx9Ha3J0nQqMSN6cXFAtiNdTq/caUV2wFb+iuAK/hCPuQ8gF+k1DXVx0jydVYIOMr7uy8UKgHZkyjdDC45FTaJDpii/8SQWflkRM8Nfh1sojXO0KofG47MulxakMtx8W4luSo5t3hVaeeRABFGZgoBIoZizszqzAnCCZhZGtLXMHR+ug7/hkODRL26Ka3MfrLJ+eJByOom4dj56pKBOyPgZhcbMtDGt4xsQJUEOQsGEPze83npOpSM7jIywAjtx+LWp0csbnoH1rzCXZAi5Jwzdrutygs00xfmq39hddmhSccTYDT+XHiirgVlLi2iXJvTKQ/S6CWkJPWjzqP9AxsldLFRWVii9/yr5uCR6BvKFRT43k+6HSi8byUf6O2snc0ncIvToSoJorh5c6dcvsi5OmhSjnpqTW2lhjtGmqYb/zhvHAgX7iQp3gZxUUIQ6GraxeqdWi/o6NS4YhsOI0Jxlf/SWilnWXEvSfhwRufydsy3dVy3UX3gy0u10GHdwgTyg2C6Uxg3AnTMSSPYCpzzzXhxnLWd4sVu4mehx8cS91D2HVBc/PCuEImK7xrDtTcVNeMZKFbm+PvfLQZpkLQ/vkQAvZyf+PcLetVPnluK5YHpK868NiAuHeAYsUz7wNN93CUFH+QdLRv9NFpT5gMdk0qfyoYpy+C2FxRhJRf1heFXJTcn4BJQe3F9bW8F9tKKdTVKMoxkTlk28D8buNiFiW94NnRaP8OJxsG65ywbCtq0c9wlcW3fEYjrBhihbUmy9QrR7w51Ub7fBnFbkumpmqGFP6phje7ovPd6ff/r/v+q+sVVJ5c09UG4S2uvRKDaETUI7PuUYAW7W2cxQfXXQWcsv0TWrUoa5CO791axTVsI8bqYQ1IE6624UFs2a65BFN6Pl71ITHfERQ91SC6qOctOj2q0RSXhPM9ugGWRpmpX8MSPKwUNOZknFNo+JTD76Bqwp+ElkKleK2GRstwAZF89ZUF/VGpqMdlvR3DiX1vp8i6Y5YJ+J1g2ijnbQNnoxyj9sy/ufE4mfoEyyTk25ENL3uLkPjNo0DT1O7jX5joz3yfF8ZF7FqVy/h5Az73HXgGUYvpruvjAwI5nWACRDOMU72ti8lGr+ZfXDguVSTWHPagBnl9OX/+n+4/yRQAdb/Wtn2HvPYWh7PAwZmqrogr4nIZ6/muZDq0iogvH1OlsxLIKJNUCUfW5hyqDUn2U5W1gH20Io+DH5DMZiRhaw2hX8bneQGACX6ZqUZwX1UGA5SUKGl2siqDagi2SFTbmZGwL+fEB4GDEioJNLPdm7q/OrMQMjEA4Gu9md3HGWiVvz6rSBBbD5EPqH6QhKgwiaZq3OkKgtpkvaYN+KFhnX3Fu+MuBxP5lNTaM99zAveNeO0buTyciOZMt+z1es6ZWb4/gZ13+zfydNpA4antEQgFrGWI5bXp76Uzla3KteWlX0N4NbL8nFAdIsanADG/6Ymjs7hATx3S1+CyGsYNYfQIeyc08Mw5f/cQXNPfE29FnLzy9+BcOSGsVvhi1WK4jsnUyHpe4XHSVQ9TDdQcy3C7vM8QZTrjA/UFh1o4HwkMMk+Ityp1QTC6OfZxtxYwuCZYMZ8sHV7V+ohB+KlJwydXU0M49qr+Bbu/3BAjB7vDYe4u+Ly/88wiGiVsh4ffMBk6s76sK89l8AkF0BBSzwUaJKVfMhzSLMc89VWLGhLAcNtSEqRnHfDpOja2VjVQ57xIbcXFf27NwvxOOcw5prQxGKSRhBcudappEPrl/U4Wiy4vYnN8EzHAUhmgdbNABB7tJVw12Re/FAg1o+5rS8bstJ0WXitugpK7Pd4MkJsQFOHpEMsZNhe7ulJPxNiNfFsH9v58j4mPJHZxgtcPtrZqqTbH+0GddvNCeG87ZVo9RFJFcdS4Jb6SAM7KGqpRgfh+krBw8yJEYubyDxjWnGRv8s4FoE54aRL8idhGp3vOnhV9+UBCeim5uaFjhwsFjFTIAzIudaArdZMMtGAJFIoZ/GRdHJjhqAqUHL86v8fgv/ehDTV/zDDPU1SpTCzLisObCk5YNmoHo4bfpEmTES64CRTtI26pIEDn8wUaX5r3RtHTtgvpzNRNLsQa6dK5338zLpp1YfhT7MH48rHQzx+EL1Hb0vpX5cdBEWAM21z3Dz0ltYsS3QI9L24WbBUtn7G5j7w0vOuV+JKhOncKV1oS+PXWC3TBdGeWN88c5xuLw17RoFFuaYN+PI1LAiJG7EEe6hChmDq+ukd7Fb5KPSRE6YdTEwExZw7dbqWfjAzml0sG378MeRjo/8TqS2VKTpETQU0p6lquOB2CJWLMcEysmrUMaDyPOIiqukjBwphXxi2nDG96XCOa5Nrq7lTUpNQ7LnhV12jSLknP9LDFuQU6eYWE/kFJFEPGF6zzRGuoRxAWSOpueR/rKJ6m1k6/W4bDZVCF/i0oLzAO/3g5pZJSuOo2Mdi+QU8bqIF2ekacOAubnVcenIp4cv53zJfALgJnWwNn4mBjVdlJ7MEeogI0TC+15PvhkOpGJPZFqftYJhxE1GK2C+UY6SYBk0/mPLF0Tw8aXMY4M2F70Mxd/P+mTIMzK1PvOv3CTwYJuQl8GSTtfAI9LqVvIuL9UorgPRcKs1Yu6Lqc8N9oH8XUZdqrMuON3wmxxv6rw+GADRwZlhoqTssL83hKiTysuf3bboHrtaDQjwkDpsMRHyyU0XhVHiaGtsbjACiiI9XvmDmYaSvLyDdbbwMttG5NYl/rdCoTi12BtHkxZ6l6TDzyy6hPSy6lUi855v1WWmZI0Vt+p10OQiWedjm74PS55m8SE5X/LCVj+lBF1RSm5E6vsXvseiBgexzDlOdigU5PJVtRV7K5UtpyG4hAOB4aj3+xsdlu25cAgSfYyt0XJO+PaIwUltGU/EIfm38g2k78Www59OOEJrz/2G04UWcN86F8sTi9q5622v5G6v/C2/uepMumpXsIOlE0yjRFQSQG05sKkYCez9YnR1yTyNZZqNu+KpgIrItDfq2xl+cRxog8PbTSHlw3bGnuIUPX1g7k6Px5ZHAySZ0TabvixOAhMumyqQjA5NR+NoxMLHeQu1n5un6DNJfCEt+RdxwvWp6GcHr4lciilY2DnTovbFGRn+3HlcW6dkMbbM2KdaCq8MVKXDuIXExThhNMdbTKoV/1H8B+ZVzhv4Jy/tdknTe6NBgTNweaFnepPfrJ8NIXAkiafECJxO2/IB1C2F1Z0wnYUZDlYLvwjwkuw9+ulinpxyZvQvC6EsAskwIFRYWDCbNcVOqRvH1F2AQ9IJYCr0lZeoCothYwSoqLMAOUws9Xafku0Jzk5neR932OTeXhXzunPXsLfAJzFuC9wH9c0Yu76svAkP3H12uPzZ74Xm5bg/FzFPjwbDX3CoTM2KG4KcT6B1xa9r0oUwhsOW4C9//sDZEWJn+tNSUB3/9YD+fw6VKDTm34d6+bqoTqNm3G9p/PMJMHNf7yrAIOQ8xryhhSFStsL4MyD5svzki+wzvoiKrvR/wZTIEB4dFjm87eUkK9zFgKiiMQ13rcViT6tgnRvQtTZWe8zPVCkRcsvIRiTuLZBihwmimI5iV2LafJYq/DbkVqcAfOhQExodCAp+Y4jXMa4G9rMcBn6v03F9GTBLu3jI/TFYh0nBKA5FWqB6nbKwJTMTRiyPnRBAnkFzocPbtsVRP02fk6kznmJ1UJrcVA71Qb5dibikF5F61QNNDwssQ4K1UWbO1PD3xSzlYE5N7GmbzYZREp8UIXOFUVxd1gCQ7MTOzzSJ7Kf/mvfUfszdvskTNH4AVDURx1IGK8uP07rpi4sUAXPwD9I+1w/fa/MN1nPhs/QgAhPNQDVwojwYWl0v3L2YZdlrzwQnyDwL3TBoOLsd3YXjPrtz74feavy1YGkA/f5rzV01Zo/M3DpsB/H9P0KX6Tl/0i0liPrJC8YJ9CpL5qDQKQQm2513k10mrVAyFj1VLQu5BSkmcR4ycqAoxbC40mHHv6f4MwLwIM+4LlqTwcZHAEQWsExYA+iRKo2FQkA1cJbXX3wWieJ+iYGpL1WhW0NriDMeHg1sZfSvzyX3FAthJ8JkKENPp+BBhED6joYiNIl7X2jNFR8aQB19dQOlyeU8NXBsm+WZ3MxuDly7Txbod5LZ1BhhypNbYvol2xl43r2bkByH1uDcZLJRBGqaPULvLvGYwU3le3YeoD2VlGiIerz21uWbHii86v1Dtiqq0J43zZlJEoNG9Vs8VSlV3aYpvq/F5zBfaedgzNOrPUfD+AO+tOfy/ApKN+HoKufRlNtpkmPyxtATNOibFc/WlvtGp5VbwAmg5JXYwgyZ9P8mkSdSTcD44q2uFCVejY+lcvnRRDrfRcIu63X2rJFfFtDVkjh3ghZywt9HMm/9U/hhQdYKLNYm0KEIauFE7ZAiJ50gE7sr4w8K145OuWF+oPvVhKUCGpCB7oGjfy7kHAlxsvwDN+h2RQ17CAUL9nIRDtGQbLIsAx5m3iSfUAxaB4LLKHghYpvXARpTSDbiUT2DHaT0ker8aLC8JlLPB5R5V2KjN4zGePbcgeSySTXw+B4aAoW8qiusHveYUTznOpit+Azl7IOpcElvjtRm8851xWFW8oi0A2A6KNQF6ymB9R6gwe2XuEEcHJ/K1iavp88Jbg62fi94gCXowvH1+lp5HpZZimrWcI/V5e8sWa5h69WtgLjJ102G/MPGFh3Ddo4OQZkpAPa2gcaeRQ6sExdMkkr5Y8BPibf/SUXGcuDe2cG8m+d5YmEf0+ujFuGK4v/7+8goSMOG3suHS5i+PgHA2baraPvKbmx2XWMBSitxMgada5PsOwEE1aWr1Nr5nzZRfM1lI7RA8+W0kHtVvhQ3fA3Tv5UCbxzcMAIqW9d0n9XeSlg32ulCV3fioKNtzeSqbKo7P5jC9g+2EO9ivzTb8EnB6qQfBS0XCrcCMGWiHc2ytJxNTTaX+HFImX0z97JPrcqnXqRDA8PCqduiYh0vpeYKPl8dDjOypfEUI1PheR+PYbd8gAr58EXTQ8YeYCEw587mgge+w6JbA0appPv2cwgY3qaVoJ7huCd81K3W4v/+/ThRegzfmWvAq7rwxft3HswGoY2EyFHynZI/nTkQsXKSzZy3kxxyk/6Ncn19IZqk1WmugStEHRF+61bQdS7K14vx4sVE1m9I97z+oyUQWKzWmbCfhz0LdF0bNlSxfCDeTcfU6/eij7sGNGvOXuwGbK1xnQC7f6FYX5crJjc6NhGl4H4Nbo5Owuucr3DrZsfCwpbhzqRD/B7HkNoDnCDB02wTABwSXVKEI/YsUBWkk3o3BNJCcaKQnVEHxwRD9UUfc7gwjOT1maOKcCTsJUG65/sR6fqjlgRhXawwJnfWyMt+AxoJ27XPcQKA8+yjDRVRBsZU3Wyl5S1AasBTykSZEtFiaxRMXwgkFDJOr0vrNsEtCLwjtGLx3NGvCa5qzPNbZxF6hwwEqrLDy0DnZcz6xMmo+gOn4R73zu9Fq/ESESrxx+FRfNtcSKabok+6whkSDfoCW666eepvHzltdA5zHCl9Q0JxS1wZYH/kb57a4ImHKNLzcRZcFIRo6saEbCO8c2O+qCypJuoqp0cSEyUhuVJ7eA5lJOYklBaGh0uGGmE3Lx3yTYaEavPzl91sPmzBWf5+7rTZ1rhgecI+AN7UAZMpxkYjX3YD2XEUyfRIjXN6xEUOUIgO9qRlMNSBS8qON0iUdtCqtaTfPO8ij4/dNQFJ8UqnS8KDhuvvnmq5QsJzkzGYHhMxVO4iIqGmJl30W231gPnrM66IV2IDqFiMeFR+YDhhO1ETP8C0WSPxT32kjKLetZKx/MRXsu0rxAJos/dhOZ624xN1qQFWNP1NRVQR6+Pqjz4S65xb/q2QidLLmlj7JODuBGVaCrXOtZ8jGKfJqpGT28ltFe/rwvtuoAQ4KFdcqQVlNXrN+Mj4I2ALoZWs7R3dtvokHhN5Y4hjnZ7Z4FfJN1zS4sMbQ8+ZFARJVH2XN5aXVyAu2MUhqQrxoBAUp4RQo9GXGI9yAjQkyVVmUIWXyOlAFexTqyD7BC0EH7e6VIAO3fSEYtA4dpaxFjO8XgJp57fbDtUwYHyIAPpmiuOOh3b7ATT5tk/wO2zhdunIUzIFovJnXf20szHX8oCwU62QS/TBwZrARwMW7ykT7b3HeAbio6kL1TnxwBW8ovD0SEMQCcUUUq+SF70WsgbDzrNN9JctUcpgnFiOAQZy9Y323xxE3j0+KjgoRVO+hRlvsJhiAEd1+sh3nWUnbyDi6UKmQfqUAFA+HE1IK7agNz2/lf5FKfXgBmmCLko9o1zXaPSLhqyPcu59tF3pa76EvyD5yTBIeGNrbtk8RRzsP/tFRgQgPeAU1orXvs6plB9TyYGk0XEyLdn8sRbnXMkPA91N0oWEiZviav45Wn5gyDGjMEDHg1EKqPuhZXDMfZ6sqlD9SNGI9hMTLHAjA39NHcLGXLwuuCedz9N78W2RKSs165niakVUC/XfdaB+CNRmWErYDvMLzf8WwW8lnsOHPA9rNYRtIsy0DwBLwg7mcoNf5pP2H4XXtvAP+iWnz2s1UqtxhCW0Ko/NEn09FymvAK4r0ETDroAwIxgLzxEu8OrfaFtNuR3aFqFeCZjmvAqZfP4cPPhT69dOKnCFAVQ5HeaNx+mqy7CxErm90T/lxlIu/+hoEASB1225cigpBUuq/lf2mAxDt199AOseI+F77VrQNVw3D9D9O3W5dVCBh05JOV/rXEKiQ1Rx/1dKW8It991iu4e5GQAdnn6YtD7NT56Kl4mltS29+5l+U8LufxXATEKc3XA9Nu7R7oVJPUW6U1mWKrnPUnqG7TFUJJTr4EbpGAmdcyy+JbElo8et/oCI7fuOXe+nydisk/Af/tgS8RFI3xHHba9OOpyZP1zf/c5O1D5j/w0TuYNc9vONXCnMA6XK+QVMk40B2asHXpOGhcvsoecfiph7rJ3qac5KiQ8IDjSI7VZk/68IaNNEZiMWNp87d7kJney/pP/O3cQs+x70UDhlkKr8fyvtFMUUrqHoEbae76gUGqhmKSNJGsVoEfHIVQjJ9MR3EDVY6p1foqvBMUzpE1wy2ideiqPHNGgUuCxMHzvD7kWZW1zFGJwLPXY8HpAjc1KAvH/0jxmKlKGlxVFKpusEE9NsEccvLvHqtMz+a1QdYT4euLqP++hWBykzZT0BTsxy/YcUk/R1AmOBjGl+hhUvkUcLMiPhYQC1a65SOnqRmKqPctEaky4Ur+H1wYi5LxrzdemuBUB2QZ68rcNENALHyNdVxtDUpHJRGw40uZf3Z6ULhXO/D6LmlD1STzbJFhPyYeUIYOP2FX7TqWrDpgR4jcEprBkawBSyOdoE5p60FZ14dAOOglvZSe3iZKEdLdaopOuTY354fVLilrz+HSAuDqiU44xVxg12RrP7hHiPMxo+lupuCcBMAq3I0N3Z/lqANBQGvTc94UrHVLrBJSfjFaR2c8vyvHpbzRPYwLypVPgr0d/P8dsB/orP/Z8qaqvjq+9ON5peSi7aFx5KSMiI7/ggVOheR8c7/27UysQ5h9hvU7OHN4XrrlLSzN+Mbq0GpcYO3di3HMfxEilgJP2tG79iIN2qPD4z68/chnBqWoWYzfnDN9GdXMAIQfeBeVYnz3krDOrb9T62f7NXz1MEAa7nWLaKEzpqRfAzyRew6FeCgStLc2KPbW0idsgYb3DUymV1+PPvhA8pxLpBIVWz4ppEl3lfR7W+ZzhBlRcBDn2NsM+p5tCySluozy7SdjUJE+irwjLjwT4nklrZ9U4yPx8mZoxA6byWgKMQiM8ZAt5XEarh5ZcXIqtyqcw3jy7QJuIRe5iWTCckWZjaSBjge0HjvZMTrZG10uTGyPP9ZbQhebcmEat8L++LAbXgzn1dBy+CU8NcfHcJX7EEsoB6yLIJa+QYI/5xWao33NJy5qfqb3+X+zvREtcUJe9NyB+9UWOyCsApEVm4YhiarhFn/W5EUr29yVDGrB3SwRc1M3ycJWaPnNRc4k24PoCIvX4IOVGmsoRPLAOZXukrX+kok3wkQJ0Du2OOSwYQwQE25eSS0bV28Q4U2TC+CvHzRJLSMwyKMOB2nheuRDz/X827DFXsP4exOkauSVCzygjD7dJv2f65b0cXvv9U28064RZRP776EaXR2AWewrl9FLorTAmhVO8uU8/ZumWLdYMJaO0OoC5fMgfxGcnc9Z/t4QPDQMzlxKZjZaeuVXrXum4HFjGXOFa5vjfMfGCOsoX5g7+KOF9cCIKjU703zVX5ElO+71Q+rLq+D2S8SumBo3GI610OrK4D4JZBSVyjOH9vGjXhMBaiBH76CpvI1dZPba6l0zqSj2cQNObAMvo2CeCU7KM1rW6Ac0XbFJckQJnYP57oOLlhwmmFwhJ0vNk2WsrnY4Z0Uq149GPYSU6ZLNKhnHhBKHDSjCpUwI2CgaJxtZuT+1zRJ5ZNqOuYDnNgK2XPo2/MUxoHfYFxLgCr8nd2z4+wgbY1BTcgKYPSm/GPpro5e23423BR4o3n1v4GuQJLHhG9ymw/0zK5LxDx+G3SrHQvqpgph2RYfPKGpj4SNZCDwktrkFeu3d85xrIIFqexV0Ars/U/2TkZmcv3WfPGRZ+DFkqsLk/aSvHLbXh8GDS1ytj9p3k0mVp/nxdjEglyrCFLm57YThKpZgoc0qmcvJHg1y0O/FCSHDzNXFOhK3YGDibD7/8miZF3I39jTpu7iY2z89kY11THKBRbhGrrejvb/rasX1yeqHxQn4c7z+Iba4Ecl0i2sijBZY6lFgp8WtlGcN/re3j71P+419264DH5Lsc6Esz1uR9Z3g1Q2414LocSLxaALGceT0otussuVYhrDwQcjJUjPWqDcerrVmCv7wBI6BwW/ZeJD+Zn2eyJKiEZ8XWiHHydr8ljqXoVWnZR3vtZ3akg7kVAahx1VvhZ6bVM3HcDdfS+ttcuVICsaY8XOPTmwali4EVbA4lyRajCKsRUVmAW4ZKrbVk5vRYHpUN8BRoMFqxwwtiB79LOm0T9gtGd/qNT7hfM827JKxuuK2wo5DTwnjxjf6OEfdQ3pLkIcYDBs42dIlFJ8ckssuwRaUR1DENttgNhxUUJoI1NbPfL1jjAYaxCyZiJgEkxcG/zkIJ7ZEzq9nFEmrK+FJWrL3Jv8TjMdHGHMM5rP2g4tU1Ry9KpXjzl4+gz5T8fY1qiviMg3Mqlh6AjZGmvBWWkF55pcPKXg1ROQQ3MwWNsncxgyu0aHAdCVgNRMtuXkFK5z4k3WmN8LGve8eRnfzrvwofZmyEniJ/DTXqXqDl8nVCY6vGW3lMjtSPfy7czmhiszSVrn7n43SenJhjZ/s5NI2LXyzSp3AIrNwWAtWdfA4U3mN8Dym4ZyEtFrm9K7H0vRyKDUvUNjRknR7yFR9n9P89k45Ko9hSMCIi2O17hxL3aPWGF4XR0NBIdNuPPW60hx0smHtouHtCyJX1yAr0BLHUg/wZIHByIb2DxAKVJ5CMp3S2DW5s2g3YLGLrUyIYmx/aFeCpVLlqHc8cuIfFAjlSC79dAEBZg7GRCFuDiha2skj59I8hrdERgINdIh4P86zuiUCtcCtnQ6INbn0FDqzIxbGHKvIOw8grjysl+LhL2oAy5fPIq56VsmlhdfOogjc/vqE734sliFZqKqwTPuJF/htNPvXdrAOoOJBdlzStBMvEi9McwgbEjfly985eytMfCvXT9vW2vZAHfHPPZp2lFdP7EUCCPrfxYrlbwW3lJqKsz+gbdjpN6iwohrh7EjPsYBQa45EI30SKISW6Tbi0e0CtEkBCSCv/EfCw3oxoXUG1AuZvQw7IoekITymWPOoRQoG6cDnpPJnpRGU+01EWjg8TzFqwRJM1NyYP+0991SLUBY3IHCGjTdyuueOcmm4y4+z5Hc7iXzlK5s9slqQqnbWjp+RrySgKm1Fo6Y2Uxtgoqgh3eMW1lBrNRhxQdc3vOxMAGeOoQ6aXeVbxGYdu36t5V3liEZunVSacfVPRt+uqyiN7619CTvOzVe4uJxJUA/p1OLATmgE26o0O37SSZ1UZ0CGDIMLvDqkK8ZPDJJ1FmyS1M6PUsPyq1nqA+YhQbRRx9SjGkHkHjgGUx7H50VGmy0WRTKMb8mrbJ5QWvr1kEF94B6XxbzWNIceQo2vcVKTyb1ZUImslHlO6viVYW5H0Te9WyYHR0FfRz8b27P0cHuBpbzfTTE1ErVHEG6JusQQp110IJhOKCv/sxdY5BzmboKX/5cMc8jxAsBS8DG3L3wj90nGynzeu+2pi7D3Wq+IdYhg3KU/KndZJeYU1mUs22shU8Kj78B4dlLOs05VE3VzSGvXxyHwwEO3gojaMsbUw/Yc6Jgm2ptOYmWZ8pRsW6Ge8wm4DBSAkkbrDUts3TGNl3hn+3E4uQbWi3b0Z8Ic6kCCm3yYdxqc6sAF9aqrNa5YrkhBBo0HcizCvxVa9CQ5IEc5lygS2gAGNIR3AFbOTxJIRrAxoHbDn4rvnpwL/xa1o1jWR75AsaiVsBQrY+8IhB9ynOiMzegfaoMhOgrcIsy/aTwZKyxWi324cPhIrdxhYSNcHdIuS3qA5YWoSKMrzWLu0T6iNuWNkzPerdqkPlTVS6L9N9y1kri9wEPDh8L6EpPTAJ1UPFxkHm2lhYbkvsZpWCh7YRSVcFEnX63B0wR7ZQJ8PBbVjvOoJgQ/cieZq4qK1xZ58Y4MWQlF7TMXZqCN0rj3HzcHs8duyBqFPzvt2jKOl84I7m5fdZZpTlvVnD6QmuQDEQcxuewgCFMDABkOszO1XxJ2LcYRDSzjAbHM7qEZrE8YsS3hJrgDAsMaw+rxX/yQ0uZJ+GGFK+dJ7V3sFOuQQ5oW+RJZAJEq8rqrvl6MYfcwRk94se05FWnhHXj4+KyYVG56qkbFq2IQ81B2conamX0dsov32jD7qc81ME4QBzOlXYJL8HCK1DvkBlanbtAmeVpc2pGNfpRIx6nsjiBbjKjVolHlWOon0TcooMftCOOXWNcU43cSB8opvDvt79m24LYXhB7/7rvrYjYI017ecA3ElzFNhhYreRywRVpy4r5iiVcwCGVoh8SZrfXL1Brznl3ZGHH36jO6X1xCqE4q/S775HOc0W2jk8Ls8hZnFNYIBbLGhjkqWKO9nnxV3iiCrmmpzomDUfWz7CeasXoqxIVAsIU1A//XMDedBBtp/O9ODAT+cP2pri6qJNJPFSMDNkMasOGko0zavc00AnpuGJoAN/aymGlrBl8iNsIh6Tg5919CdgrvMpCIdIqgMiVBMhPihEFWOFp1yzTvPBx7PT9oIWiFYCC90rKLP4VZUIfPx0I+uxwZOmc+wOf95SRL8wMv9Q59ko1IvPYL6T6wCXSNEylX9sjXPsG1w7TwNb9rfOoj1XJ7fyvhuceStyt8l1ZtfjztWpG4glFtQlP4pb8tf2JPRWfOcNwsJRf2rLDU/I6D2qCIxwFir4awLgjAKIFXOD2kFHWbiCPud7eTCxznKC8CHAJETpisycKZCq3xrj0QUduIrBiMlcEdSD6bVYgkoC16A9FlpEvApzk67iuWSkLiiCeu982+mFzD3kzLhDCfesHXFxJUIIcpEn3I5t6sJllwac2YxmRUQSbJ9k67DwMzS/aWeu/sENjNBnPnlNNF4eTiZWD5uelOmhIZa0kT68M4drUaMk9JDG/NQrJZmw17NfOkD4Wlxeq14SidZPZ5x3KL/cBJSqRj/KS4GoQMjDTxBk0zsh9FHZDbMO0cJy/AFauRHUM2x6YRFTIGAJ30BzUHmvJqnXhs4jFKEOkrAaFOIOIEpGV/le27OUJ/H+A87CBmnLS1HBGqNlH11GdPU+scrbDmRIdFhUhGFB6WUUM7gJHoxmpB0LGhgtmvqGOTlG/IIsq2zVeSZ/c0Sfq8IgfwW6PafzSAb6KmAAGUZ+2SPM1wjWeDnrryWKIs0Lwhcxgc1AhRqjS0vwJ5Kyes3VM/HDqbbOb7XVKmoFTTi+Y8OjJEoTV+z35sza/iXd3H+vFyDD2VCtXY1XUYwPBvl/3ZNnEjpPmnpyM/EVkHPoh5aIm+F1ONWiygfq9WyGt6zeZpIervzvUAb9xN7LWQvXhQ+f5zyvyATB4vBiiQRPsUPRTBu9WKuOE/ghCxUh9BW/3kTlEDe7Yrr4m0pn0qsRP1vyuBoiitekj+n+2jbUMZwKpaJIUDAdUEaNvL0jEt++iZc0mgwT1pi/cpXEs+aA6dVwVrldrNttwgDJvQpphLtaIs0NhoAO31bYHas0jREI8IcL7MgQIPkZhMdk0RmETOvb608+28XS56gCFvx/dPx/dp8EeRj9Y0wHljZ8/oe3kdaOdhdBlwSHXUdoFdyuOLFqYaejZvXkCxKcpXyhBJIAp5MRjB34zHi9rDR6MSe+i8BPQKu/xqpmGkRoTaJKLY96YJutYYCHTiKoTOz9aBZvXzhdznRHNKh5WxSJUqCIJE8mvdrvvnQR4OhW9bG4NaTgqND9FL9S/lQaeZ4kwnH4J4t2iB++DMEkuPwLW83qj16dHjNxX8ahG+AGoXBGD7+Qlz52nevzjyR/PDUV5o3txeUu6rSm6Nn3NGMsSL3w4zwAe2hSlad1vledeCaZ9kQum42mABHoqyiQvsg93iLmNWCXmcOeR7EXb0/6VafD3rsCK8whcsnxOrfTFBSQS5taDvnjudxkQsoNq8OPtTnWmO7sevKACU4Bw1nc73S/fL0J5LSoziWdJCZYhLI1isVBHeh7pbvQ7TtRSphDbRXLHU0IqO6nwFYSNIj/biPVra00q6ICCJaWsW1clFmEpDSdvMS5hvB8XlHJN6J5dJuvw2kalMBmyWZy+pCVopRcPbFsc1AD5vxRP3CI4ckJihJjLWM3B/hIjGQASi3sjhu865m38yK/R9LUISWSZItFzJ9VIh2zeSoNEXGjFE4YJQW4Y4NzMYOJW5rPV0umnjBQWLSJb6xVlNNgnCoL/wWtr95RFxddjc2jekQq6YodLPbWtdvxjV67H1HTsVZ/1w31Co2jbg/KnGYD/UoQgy/oQB5LANxgDojS5qt6/mccs+qWEI5r+4wLs9/qYygofREFxFOhMvJd9XlhciA7I0BBZalCCB5m/ve8RkJBZ1v0y9b3UbcoBatjIBD4l1vgIl7Kn7uu0E1uHxU76XXacRj6MNChqj5E6K2+JGqqfoHKQIPIY9+bel+3OSFPc2RXmYF59gPlFf8tiZIkDCJjnCkp8W+looH12IbXvdVPI6zrS6PGW7So3gkrMcvLSDbzHK3Fi6LvReWC4uWbuJjkcrxKSrth3mH7pgxQOBxYVNpfLmHTjEJmnSzDq8N5/l9otoWSIiejcFXZSIvg+Jkq8oEcsIL+UZSHBop/fSZ4yUcmbpFgbMDoDTDeGvIH+DnVhzPc0E/G3VHVNXT/p2GS5QCHw/fjyK5A0NaYpMjfV5hFjHLAAJCEukfiClIUQ74yjoDz3FuHJ8wzfy8rU2PqBiSjdmUwWkaA6unfxrTZ1bumTFtEpuF8sdFoq08aq3+qDNzvZuPESerP8TPBzEp/c7E3akiYu1/qESyIl5zW6e7LlqRwbayRQW4BWKPru9ezVL5e3IMXfl35xtGFgnuWwTFnJP5CHLatEq2HEnRznb8Gwnzrpv1D2T4g5TyENoVo5uGALEu0jxAP/6mlqPtcAhyyKrkZX5w2SAujq0963mwiPDxyiFCqe3KZoTE48JCMU2R7/CbFAKERieFkhMyfDViOMEb3gqBMqNLH+u3YZvNaQVpmgu9kKlyCZGO35KQI6/3bTzYO9WE5Tt4sWtLBWpdXHqbXcv5Lht46Jke1E8k7PmYhHEZi9KdFMpblkGfo+RdBiAMqEzUQd5aRz95X6eJZwGLKJ8+9ZoaVO3AX9Mfhbnk+XK5Y1IUQWvcig6hBn94GuRhTEquerlvRQgorQw1jISgG31D2m4HWocDBMMRGjt+pixrVNK8nOUW6fXhXXaARStKruPy9iZ2eIF56k0agvp2JVYX5xs/Q15RInNPyfEkSPspD+YXEIUKArxT7uYrjzHyMnyQJdVrphI+fa9zwgOvW7JC8izn447B85JevrgfjgUKQcMzsvXZtSMjjd2llj5abmFk6zL/AXVXkyLNZSQZYREQFQtqwLy/9FNhIuk0CaSNXnziRKmFN2DpqARKjhrxmqO9pdycSlcpXcFyH6QfFsTHv77OhmhnZefXCvgRJsxWRh9gjt3aSLUqRW0Trw6sXMASFDOD9MWQ2NLvraeE/d3uFAcFm3R7UEia6M5sf7NAyGuVeCXyfEn6QP9FIcVIaBdPWQT6Hn8RjI1Xt1fuK6qyYHPzgiAnkPH9CUC1HVONiYmRPhllaPHT6l4sRTAY2NkAntLhxOE0GTkL3vFOm8XBmnPDBxkecdb5DnWLh3VaUHElPd/lLb+MKSHsF/EoPZdA4claXSOaAm8HtgI0s9/xA8RAU0ygQStnYBSX9jRaPkoiyFxkoe+kLtaENL7WU5ygFS53ZnTwFsiQcj7z21BmWUw2rDej95T3/Au93qV/4C+b0fIfkyCyFqdTtWvCoytJHWQBqSinL5KmkXGAttXKYDM7WmI9CxjN03wsXY4iJ72ZiJV3bE7OhHhKBL3K3uHzomvBaSarlifFBL4HeMTXSwj80p85+hXgl/+pLNYN3X+OJYXaF6DinZtKn6859c9nq9zrmtlFJbfxVDYDoj3AGVjRmoJn7NbWjw2ailAvBKN57+31E+NVmPp552R52vmsaP1eBJRgHKEbERRQsWPVGHuStkEeeN8HrMETR8uxYIiEICG4lBU9B2TL6BqfK5P41xZ2QxJism3XkDf2TYLwuwP59jbdHpOfC1fEu1QkZLzQbl8kpOKtAvQ/wR8gKdPgSMtNvVr7N5D9fniNYbga1YgM83npoPDhuXrcQU5G/XO6V8kLkqrDhvqsABYnNafxtk8koVJ/9QunMsGHwL61KN7pB96MWzCmJzBW5qBxJOqsD+YSjGCZNQ9xekEfa1SVsyme81TGfeaQsPI3vvV624nFWXpL0WKGyuH/S0YWV6rj2fkXRW9oa5Zi7eQAcM6zt6niNJePI02Hg/iKxbd2VWLzgf2d16zcmf4bUt5odzmvEzGLKpI+b7W189ySgh4e0ziTIKMK8qTl+l9yTuwhZdn8MLxgL+fpgC5zRmA2bAI1WEOscNvrnPZPeECaXB9EEFsr/YnICW/CIGCeWp8lgGUMUlG4mAkjubKsYtbcsmvjH7h5cWjNceQrsPfa298kh5kSP80bzNed59bPgzp8CDDq56nl/w+0Pmton5Y1aQLUD37sWgd5aKmvrmTMiewDAmr92K5XXymS1HCgc9uhj9oGapXpwdo632kV7nr6pZGsT6dNZzfL8FCFSEkMw68U225Yer6cTxoa9bGVhMZf/wjDiPwY0iJ2Q4bdxEqpAU9UD8Axk03v70vlh9g1iw+gGDjTCryv6ijkJsxlKUxJusEVGeeeJmpMSYc4kVPXhnqwH7hmy99c1JSbdPp+3dJpE33BryTvLrOGGX3MP21YqzTpfFtw7guAUWo0oyQ2qeLvf75xBCAFtnFLvBunqRdVXBDbTz0F1Q4cqKGEK5Q1EClE7sGnmuUuRw5PsxjZkGUTHOYNNmnuPW7dkHaeb/XkYPN7wwpItpgmqYi0r4kHWVxIUn4t16wkk1hMd3jdpyoo40bBrMyhKGaZWmxQyGa7yi6EE5jOzd4/CGfX2X9FUgDhbENZ5h56IyIbcsMiCqOKWL+lhIt0X/is70kN9+HsOskm5FpmpNedT3GKHABX4ES1pQpg/A1JheAD4q9XnqxGZ3ZXvNlKwDi0naI28u4b1yVleE0KyKRyP8MIw+G4Z3eNKZsOaGF2/pB3qwjTG8vwWSs5jLIeqAs8IaU6wP2NpOn3lt+KNIctnerOXkz55U64QrT//XWALELfhu90PyLjUCovauniyDDndrK15i6ujsQ7RFyyCryWimQMH8DYW6bsfHUtaT0QYOQ+/tSlYpKtWq2qf0Hkd1DidD/pz3t7aPVwRcL9w+Pyqh0n2J+k3bEKc8cEQ25zgF98L1c/DQLpdP7E3Brda791GP5sNZGzklVijGtwwK2IRwhTY+jpxKgDsYcLoc2YQtxqYatU5miW/vLXF86RFtsGCjaze+Zvi5cXE37+s1kxjfdVXO3W0AktbmwiqTDtVnswhQF9MJwecR30J/qBaTwfDgZcD4TNK9Cezy59awD+y3EDD5RqEN8++vEWUWJLRKi2qrPQYajBsa3QSriNQhvGeQ98H1+zlU62H+YWh0l7gZuRiTGLnapM8SxPhq4c2/GchyCc+FQsW6PzZWkHYPKCNUFf+cOvFcXUhyn7nN8f8J1NWDtW8lyyjqpzGoZbcNAN30tXj8x0ZBhq+M+RhgeLsUalMm9mb4rG5XPpKc6Q9tDfKR/3HoaUZACMusMfGE1hTNI+/c8h/jOKJjJDFCiqVebivC1rRRWO7Dt5nmqlYK7/myclDgzO2c/01s32UuaqTiM8EMSi9FVbxMWoBd4HSRrSkPmEIdar6ye1i77CZlvpTSQFk2NyfPV9P3qq1AEu1AChy4w3UGkJdbm6a/5bTWpqjRhiP8KrnthsaF6u7xmcJcyi5yASDVM9Hg4xaYQqHqbsKUHWy1HhVl1SDw9p6elCLRo6nAiZHyniAyJoEtsH9x4RDYVnEmFGDhRWMJDHFi3mvpfkqCOPHRZYyLQsjlr2GHOwjEdhvOzpMKdDLPt+PiSHoGBrM8M9eVrNyTV6Nn7OMLPY2ewF9/UnsOaTeQOnoQ0fhD3wOi0bm6VuR8o63yWkFfQHLuWQOiznAoFDPJEd/1A1jqHIscP6PLBdu8gykILKn4ftT+zTJRtJm8BQgRr0RbDUTD63ct0VhQfyetGyAgWhArf2QfL5jQvWS42BfZm+IL14K6bMOSYAOUZj6du3bpZyaVNr6TtlSexuEqteWnSwZBpKHGxn71VZjW3ICP4YUN/GIEmk9tWT4EpYclQA9XLbqEzywxRtZzwd/n/CI1SbEdHY0VNVCba3cmMRY3SSezKyoSRAlov7/rxLcHVVsTBertYabRNZyujfU6aAvJXSoDPHmjBnZayyJVLTlHXENn81IIcHLkNVapIHVbEY9CpspoF8tbyXnSTSUtQNyzejLnzAGgnI670wmBL7knXivn2FXpZickUeGmFV9c/ehxoHPF8mdFzfKbOVBqIDNHoc26+VQAcJEIanLinyT0rvkOubiZFH/GvKhqaenNcLIr61EIQ6UtZsu7NpNmf+oN284/yzN2t0HNCpyCg4lBgKwMWVJEUbEh0vW0puueP9BQC5TCwoYM1FX0gTqdaCv79MOCCmeo0igdRqmxso1gF8FPxaTv8W1Yk+a30WpkMftnrxK/a6FAaz8d90R7eR4ddeeOUE3w0Urgz5MzkLmDkw9R3sA3lnrvZpjNBlYvdvAUt7VpXeNNYmvgfx2F9hw2JCkU2/b5WdptznxNQ5ZlKCdL7Lzk7Bb7y0r0Zcx7Xa5IsO51v6usHytKZX3On6gbzIrw4FdScUXKXmj4vcX1h8Z58rX85Suvqxe22i3RuHzTYYAbq/gt1IC7VC0aAi54tts6Keq8uI7sF9LAUmUHIy9FuFliYjCc9448u2aYvKQT2G+3oTmZE54YpHswrZE8gNLR6hjvHL8Z3bHBtDblaU4gFIr9IBCbtPiGpdvFI8NHH1w0qrgD282gjaWspfEs203EeuUwgPioTOgg+hxOfU5RF4hLm6TyITk/KSEcB4VjjL1UAyflpHuuxyq+awKE08RemYq+mzaB+W0zYMu3UdVkaRkAXwE3znC1XFtvdqFpASSoiL3uMPs+IcdkmJOPBwGT5xHUo7S1zQJeknmHb/CV9OYPvwuON0PMO0UsRx71CCAZKQKm/5sBpMK49w16vjdYfq21j+gwfHQQFc3IaHBt4/+e1gt+pZ3dudiuCMT7uwpWguEpOnEeosZ1lhpItWtR6enSkAtU7S+ofgDfdeWb47hkbtjEwnuNVH2o83mg06tWmFnq8iCX4VDzV8Sfl+rL9smlB4EaZwXQwGyV2raNu+PsYvtzWvLBFUzgQfXU0vcJLg5Gw21Wu4OO7zk89I5+wJZkoG+bL5YrdpROVWtdmbqug/sI9KhY/hCqfWMoUTUe4213MSvKWhrAcAeVHZAxjhtM5n2Pa6hAHM0GG7XoEx/Qq4hlHhR44hhKTaA0NUwgCvbl0RU07DE9HmJoHapHF+QsV3Yv1wbyW63eCxxgoC4gh2/sLTOWBZseROm/ptkuFIrsg8jEFPY5nIvLOK58VnRSIIE6c9j44u+ma/mOYLbS3/tq84In5mCF2rc3xVxbOMIA7S6jAyQOKzeU/T6LlgZjfZX2u4XFeoXKYxF7E6UgA1uMUWSMI3UH2bXQIVDw/xuUFjnGiIP4lZaGtOjtqdNxtZTjJPDRaPb8ZAWHRKChYx+AjVZf/+kP7jjNNLzFzIpBOXZ5lz3m2dLCCr36ZaeCX0gf0FRI4tQ464ElB5uzO4avQy1vIXUJ59vp6FXecQEDXUWAjB3D4l7rbfdYnz+ouvERhWzmH3A3P/SFSCFu6xMtvj3Iy2UxwaJgm1cyWaSvzr0fY9aGROILh0wQaLM4g1VxwZsTE8we856p09y1uU07FxMaT1ufeQ8wbnSAbSyE4pQyd6tkIy999pjBp/BhkFeli+jVqFDGS0XomcxyMQRkdoguVt6rc+ZZutusf6ww7NXrN24iNlJgpA8ACSAPVgZ5En13rjyple3bJDsmxteNkqPMPFCuAcwACVjCidkXUoXu8G+n4+JbIaFno+StxbED2jRax6HvOVXGGXRclyQgLEsMUujZlCjQmq9DcOVG4Y2OVH49ceFrVR0av2ZI1KHDuxGlM6q/4/bdTSlgQv4o1yy+cSiN2in+6ZuV8XUOTpDBrQhJJ2NlYJWjLJ7Iyda/tFCW4J79Zc7piClsLxofNfR2yR+mntzEDx281tmJOrnAu2b6unoSukoVrtskDSWx7HSgHSYloBRR87BSP+xN+9tRAbziGapqCJSUx0KC5NxDljFUp7U/kSTFAxFzEElFQoFtybU/BeRuYFIMnU995FKHhxjTp5VInULMk3h63W3g7LavSJ5OGCMaFD/bGNuDuiExYOv1kT+e2+PYYXkAqwShk7Tq7fV7be6o/mhPf1SnyoxWyDyGRDcal9kLaCcqWmnrZkdsR40Qtt0KPGhPiLTzQAo/c9fHagDQWlkvsouKABMTz3NZOsTJ3jxcz3og62CjIztKzmQOqWs1cGlgmstmG9IVsFxEQeny50W+twyrhfIYDdNg9H8I6vIqxyIP/ShMZpiUM59jrFwdMPlYRKDKracGmX9nUX8UMFohC5A6HuV0ZyrCgSYj5mewNgzXAo+kMS5jFsMSP7Y+pJ5v44Uvget2AlCDDpcYza+msIYy1sz7fVkNS1LIM9x2Hhi8maITcnG3vOKww47kBhG8X6//5ElkeW5OAkw/neymTZnMctPDDeaSIIpm175CngjjC9BnOiXpXohYzbKH/KPURf5sTe+XL7MRG+0MI5RF11WoHWzXUKfj1rAJ7dYDlCCgRvw+gOhDROSnyj8KGI9Eq7s0XgH9v9nHRti5GahsrBtaga51hc8fRckNHMxN+mndlWsOclGY3ma52DuZsfcJIon7hJfD3PVQgDNaQTLsqORXILYfq9K8ZMS1XCy6zkBtP9KoVOxrknRuvQI4cjrE/sABIiiF6ILuEMLX4hkvO/tqCmChN/4imVj8TLdFSMdUgiEsSiva+9ek06PhhDA5wTiZP9JcPvoxaPR5hMPNBCl2RGTfaJ+8iuOyYqC9LMwOP/gypk8lEQRPfBSb4J4KSLPADN/kG3Bp3Q9Im7KEUprkXz1yJQ/nGpXTo/4mfq6RHmJ77ohfRT24yQGXitEwQ1w+VDP1Zdjl0goHFCQvwZd6Azv4JMwEnk82BPhq1S7Jx8OfzVsZyt5o/Y9Zz6Bh5de5fU/4IwsEEWaUTxwHg3IRVyS5bmFJRkfM5RJw3svUaVn0HanNHOqUzFsVp0LVk7Z06VPeTCe0pJCeM1tuR9DJkqmrO2wxPbRV4ZrdddP+0mAZy4tQ7dI7LsM2tjreRzX1A5tRuu0rfKyLFbtmA65ChF/Xys0MkBXN9d8npE7MJ6FJgy0IFBWG0Jl4ZBX0eVnhEgf/z+xfQqs7uxCziFsYGYDiJSDBMmQcmXJZNunNU31cvtCwstoQ57zapvea5T230F2qaaTEaUvvDPWIk1YA5x8SdpyqPCSGJdrSKyLlde33VAEfYIGjjHsJOfRaKWztfzDdn3glxSBcLKEJ/BZx+EbAPJYKG07f0kgOErmbMWU+uHb7z2BcSp36y7NywWU7ajb6rDJQz6CXVCY0ZS6TWlDcuq3R7j5RqHB6adUaHskdoL75mKWA4lsR0UX4o/XV/ezcgS03DVNOPg/Wl85duUg/ISUH5gbktB/OfPOl4Qt2nqpTSnhUMGQpKs6x6L71hp7NSxEoaV+jTD+xITA9mK8ahEjMquDIAUPUttx9WqGF8P3tFhcc/XF7RUdbedz1Pg8lIl0E58PmXLx0v7C5vXpzrZ0h1f/c00FQh3nHZQryKLW2KPXfgvXITGRWYpGWxgAdBeGu2TaLRFGcOhbIqao1MLlYJwwD5KeMsi8PPTqrqfAU228zneNrrnjvh8jKghXQbFEJvzv5c4B3NojQfdG6LosxmBdWxrrHOEQwA2ek9cnUHVyUJE7o5fFyWpzQbi2MfjT7/zlTeIjj1P1nM9/ftftDDDj3Ikb9BMj/9a7EaXxbIRJA0lvgJ4PpBdjxOn3ya8MVEpsCvsK7fD/IbVe/Lj5BxXb3FkcRG9xiagia9lJf28B10joDTi8yZxWK17+FOoSrD5+62gjAFKbDx8D8pMj4qgcJw+1tGmx2SJHuzbHHTWrb73vQd0JxICZqz/mkmpTYcixoDeQrB7CjHSEw6UV77iq/t+HKWKTHr9ywdyb8sC1NODP3SGYU7kcM5mk+5zsqLXC9fPLGSwVFN2ShnOSpTTR6naw60HnNbhEBXueRlMkdGmFHY+Op0QltjTTWNcQEQEiU9fbyqkluaMAXUVIOw1EIKNC7nlZTCd+MwQl3btteo5WZyUrcdlmbqsjXaHZt1Qr7GEfZ2JBRfHSto+Mhhm93SA6NqwHas2Ejd72t1vveSQunDpVMUqExUvq0oqwXl3xYKM9gQqGWm16KzEWGiLuu2YDl1oBqM67P9e4Kk1b/JDivqkdY/8lYoXvTAqO2i1d3mf0n3LlS+QKaKlY+QygezZcpIqXR46fu5RqE+99wAalcGnx1QmELgsey/rW87s9hNZEPcf5x+1M6Ux21CFbqjp6B4EP7zROw2tqRZDFXC0+1d887Ax9WuZEb9xfmsMxXjDWs0giFZHhlwL6NjocD6ARS0J5PMiu5+bNC1R6eEqtrjX9NguQFobOxGxRzUT/eFrxrSk6C/Yv5eZ8dVVd25D9bacDapY78HTNIW/iD8MwVUQVUh6qHCsc9SeBWVUoFBUn6owi8GsUfyLyYzAfYofvMMF/Ns+rU7sk56hyFrj8N4GxWvaSaW3dwQ7NhdBsD8M1S8/ukkC8eb5SV+6uIEagA5ajac7iHk0GBOMCBQPIF8leqILI6x57x88ZQcCzrn3KEC7OfWdoaErUUa9XKez+Xnb7ZZyZqYl5RxzZt8ry+HN0S9coL4pP26VsgaE=" title="Mekko Graphics Chart">
            <a:extLst>
              <a:ext uri="{FF2B5EF4-FFF2-40B4-BE49-F238E27FC236}">
                <a16:creationId xmlns:a16="http://schemas.microsoft.com/office/drawing/2014/main" id="{38918857-92AC-7FBF-0D27-5F7585131E8A}"/>
              </a:ext>
            </a:extLst>
          </p:cNvPr>
          <p:cNvSpPr>
            <a:spLocks noChangeAspect="1"/>
          </p:cNvSpPr>
          <p:nvPr>
            <p:custDataLst>
              <p:tags r:id="rId13"/>
            </p:custDataLst>
          </p:nvPr>
        </p:nvSpPr>
        <p:spPr bwMode="gray">
          <a:xfrm>
            <a:off x="3207521" y="1759422"/>
            <a:ext cx="2628966" cy="4486387"/>
          </a:xfrm>
          <a:prstGeom prst="rect">
            <a:avLst/>
          </a:prstGeom>
          <a:blipFill>
            <a:blip r:embed="rId23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600">
                <a:solidFill>
                  <a:schemeClr val="tx1"/>
                </a:solidFill>
              </a:rPr>
              <a:t> 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8451071A-D2CA-E31F-BD5A-5F7686ED048E}"/>
              </a:ext>
            </a:extLst>
          </p:cNvPr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38" y="946635"/>
            <a:ext cx="252287" cy="251574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C932B6C2-D708-D16B-F3FB-401AAB0B6927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844139" y="2375450"/>
            <a:ext cx="854032" cy="3145330"/>
          </a:xfrm>
          <a:prstGeom prst="rect">
            <a:avLst/>
          </a:prstGeom>
          <a:noFill/>
          <a:ln w="1905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5F733D60-61D4-A81F-778E-425F467FF25C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3768209" y="2375450"/>
            <a:ext cx="854032" cy="3145330"/>
          </a:xfrm>
          <a:prstGeom prst="rect">
            <a:avLst/>
          </a:prstGeom>
          <a:noFill/>
          <a:ln w="1905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F996B30D-C994-7397-3F6F-BA41B1A8A3BA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6672106" y="2552281"/>
            <a:ext cx="914400" cy="2968499"/>
          </a:xfrm>
          <a:prstGeom prst="rect">
            <a:avLst/>
          </a:prstGeom>
          <a:noFill/>
          <a:ln w="1905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8" name="btfpCallout516931">
            <a:extLst>
              <a:ext uri="{FF2B5EF4-FFF2-40B4-BE49-F238E27FC236}">
                <a16:creationId xmlns:a16="http://schemas.microsoft.com/office/drawing/2014/main" id="{ED544604-0254-BE51-40C9-C71A1F76AAD7}"/>
              </a:ext>
            </a:extLst>
          </p:cNvPr>
          <p:cNvSpPr/>
          <p:nvPr/>
        </p:nvSpPr>
        <p:spPr bwMode="gray">
          <a:xfrm>
            <a:off x="7429557" y="2241411"/>
            <a:ext cx="1413113" cy="582650"/>
          </a:xfrm>
          <a:prstGeom prst="wedgeRectCallout">
            <a:avLst>
              <a:gd name="adj1" fmla="val -44344"/>
              <a:gd name="adj2" fmla="val 71664"/>
            </a:avLst>
          </a:prstGeom>
          <a:solidFill>
            <a:srgbClr val="FFFFFF"/>
          </a:solidFill>
          <a:ln w="19050">
            <a:solidFill>
              <a:srgbClr val="5C5C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5C5C5C"/>
                </a:solidFill>
              </a:rPr>
              <a:t>High branded CPC due to high cost-low traffic for XYZ brand name and its variations </a:t>
            </a:r>
            <a:endParaRPr lang="en-US" sz="800" b="1" dirty="0">
              <a:solidFill>
                <a:srgbClr val="5C5C5C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845784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FBD5349D-31B6-5D97-83CE-1AB9E6DABEF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8264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28" imgH="329" progId="TCLayout.ActiveDocument.1">
                  <p:embed/>
                </p:oleObj>
              </mc:Choice>
              <mc:Fallback>
                <p:oleObj name="think-cell Slide" r:id="rId8" imgW="328" imgH="329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D5349D-31B6-5D97-83CE-1AB9E6DABE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33" name="btfpRunningAgenda2Level596989">
            <a:extLst>
              <a:ext uri="{FF2B5EF4-FFF2-40B4-BE49-F238E27FC236}">
                <a16:creationId xmlns:a16="http://schemas.microsoft.com/office/drawing/2014/main" id="{C7FF2A83-1140-B3FC-E7B1-C4D55B17A09E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0" y="944429"/>
            <a:ext cx="2463844" cy="257443"/>
            <a:chOff x="0" y="876300"/>
            <a:chExt cx="2463844" cy="257443"/>
          </a:xfrm>
        </p:grpSpPr>
        <p:sp>
          <p:nvSpPr>
            <p:cNvPr id="1034" name="btfpRunningAgenda2LevelBarLeft596989">
              <a:extLst>
                <a:ext uri="{FF2B5EF4-FFF2-40B4-BE49-F238E27FC236}">
                  <a16:creationId xmlns:a16="http://schemas.microsoft.com/office/drawing/2014/main" id="{85612A0D-3A13-61E7-BB02-41236A981C3C}"/>
                </a:ext>
              </a:extLst>
            </p:cNvPr>
            <p:cNvSpPr/>
            <p:nvPr/>
          </p:nvSpPr>
          <p:spPr bwMode="gray">
            <a:xfrm>
              <a:off x="0" y="876300"/>
              <a:ext cx="2463844" cy="257443"/>
            </a:xfrm>
            <a:custGeom>
              <a:avLst/>
              <a:gdLst/>
              <a:ahLst/>
              <a:cxnLst/>
              <a:rect l="0" t="0" r="0" b="0"/>
              <a:pathLst>
                <a:path w="2463844" h="257443">
                  <a:moveTo>
                    <a:pt x="0" y="0"/>
                  </a:moveTo>
                  <a:lnTo>
                    <a:pt x="2463843" y="0"/>
                  </a:lnTo>
                  <a:lnTo>
                    <a:pt x="2409122" y="257442"/>
                  </a:lnTo>
                  <a:lnTo>
                    <a:pt x="0" y="257442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035" name="btfpRunningAgenda2LevelTextLeft596989">
              <a:extLst>
                <a:ext uri="{FF2B5EF4-FFF2-40B4-BE49-F238E27FC236}">
                  <a16:creationId xmlns:a16="http://schemas.microsoft.com/office/drawing/2014/main" id="{E5AFCC31-FC86-9F45-E927-D99271C90480}"/>
                </a:ext>
              </a:extLst>
            </p:cNvPr>
            <p:cNvSpPr txBox="1"/>
            <p:nvPr/>
          </p:nvSpPr>
          <p:spPr bwMode="gray">
            <a:xfrm>
              <a:off x="0" y="876300"/>
              <a:ext cx="2409122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paid SEARCH</a:t>
              </a:r>
            </a:p>
          </p:txBody>
        </p:sp>
      </p:grpSp>
      <p:grpSp>
        <p:nvGrpSpPr>
          <p:cNvPr id="38" name="btfpColumnIndicatorGroup2">
            <a:extLst>
              <a:ext uri="{FF2B5EF4-FFF2-40B4-BE49-F238E27FC236}">
                <a16:creationId xmlns:a16="http://schemas.microsoft.com/office/drawing/2014/main" id="{9C20752A-C2BA-862C-CD45-EB042FF3EE39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8" name="btfpColumnGapBlocker679000">
              <a:extLst>
                <a:ext uri="{FF2B5EF4-FFF2-40B4-BE49-F238E27FC236}">
                  <a16:creationId xmlns:a16="http://schemas.microsoft.com/office/drawing/2014/main" id="{CEEE0AFA-998A-59DE-8CB1-8468EF689241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0" name="btfpColumnGapBlocker200955">
              <a:extLst>
                <a:ext uri="{FF2B5EF4-FFF2-40B4-BE49-F238E27FC236}">
                  <a16:creationId xmlns:a16="http://schemas.microsoft.com/office/drawing/2014/main" id="{8D5F1097-7688-1502-EFA9-D818AA581CF6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8" name="btfpColumnIndicator100593">
              <a:extLst>
                <a:ext uri="{FF2B5EF4-FFF2-40B4-BE49-F238E27FC236}">
                  <a16:creationId xmlns:a16="http://schemas.microsoft.com/office/drawing/2014/main" id="{C9C9B85C-5DBD-681A-57F9-9C640D0D9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btfpColumnIndicator278926">
              <a:extLst>
                <a:ext uri="{FF2B5EF4-FFF2-40B4-BE49-F238E27FC236}">
                  <a16:creationId xmlns:a16="http://schemas.microsoft.com/office/drawing/2014/main" id="{C7468BFE-C50C-8CFA-1B0E-79B4CB551EC4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btfpColumnIndicatorGroup1">
            <a:extLst>
              <a:ext uri="{FF2B5EF4-FFF2-40B4-BE49-F238E27FC236}">
                <a16:creationId xmlns:a16="http://schemas.microsoft.com/office/drawing/2014/main" id="{5E883D48-892D-061D-7C8F-31E54DD5DC3D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1" name="btfpColumnGapBlocker242064">
              <a:extLst>
                <a:ext uri="{FF2B5EF4-FFF2-40B4-BE49-F238E27FC236}">
                  <a16:creationId xmlns:a16="http://schemas.microsoft.com/office/drawing/2014/main" id="{2B00C35B-B67D-92EB-12EA-D04E067C8EFB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9" name="btfpColumnGapBlocker104840">
              <a:extLst>
                <a:ext uri="{FF2B5EF4-FFF2-40B4-BE49-F238E27FC236}">
                  <a16:creationId xmlns:a16="http://schemas.microsoft.com/office/drawing/2014/main" id="{F23751D4-79A7-04C0-4819-1789B98543C3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7" name="btfpColumnIndicator291145">
              <a:extLst>
                <a:ext uri="{FF2B5EF4-FFF2-40B4-BE49-F238E27FC236}">
                  <a16:creationId xmlns:a16="http://schemas.microsoft.com/office/drawing/2014/main" id="{8CA98CAA-6C2E-A25E-57D3-6B16A4028B23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btfpColumnIndicator334761">
              <a:extLst>
                <a:ext uri="{FF2B5EF4-FFF2-40B4-BE49-F238E27FC236}">
                  <a16:creationId xmlns:a16="http://schemas.microsoft.com/office/drawing/2014/main" id="{14F494B9-8DF7-33D7-6E8F-98C2F336E4A6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DF6B14F-EF51-F750-96F6-9A90B7B774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4" y="1"/>
            <a:ext cx="11531598" cy="876687"/>
          </a:xfrm>
        </p:spPr>
        <p:txBody>
          <a:bodyPr vert="horz"/>
          <a:lstStyle/>
          <a:p>
            <a:r>
              <a:rPr lang="en-GB" b="1" dirty="0"/>
              <a:t>Paid search: </a:t>
            </a:r>
            <a:r>
              <a:rPr lang="en-US" dirty="0"/>
              <a:t>Opportunity for Peer 1 brands to bid on high-volume, low-cost keywords where they lack strong organic rankings</a:t>
            </a:r>
            <a:endParaRPr lang="en-GB" i="1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B1F3090-D306-621B-8B9D-8B51980B5F1E}"/>
              </a:ext>
            </a:extLst>
          </p:cNvPr>
          <p:cNvSpPr txBox="1"/>
          <p:nvPr/>
        </p:nvSpPr>
        <p:spPr bwMode="gray">
          <a:xfrm>
            <a:off x="9960529" y="6378848"/>
            <a:ext cx="632190" cy="22659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36000" tIns="36000" rIns="36000" bIns="36000" rtlCol="0" anchor="ctr">
            <a:spAutoFit/>
          </a:bodyPr>
          <a:lstStyle/>
          <a:p>
            <a:pPr marL="0" indent="0" algn="ctr">
              <a:buNone/>
            </a:pPr>
            <a:r>
              <a:rPr lang="en-US" sz="1000" b="1" i="1">
                <a:solidFill>
                  <a:srgbClr val="000000"/>
                </a:solidFill>
              </a:rPr>
              <a:t>Legend</a:t>
            </a:r>
          </a:p>
        </p:txBody>
      </p:sp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8C6E0A16-697D-1209-CBF4-5B42E26626FF}"/>
              </a:ext>
            </a:extLst>
          </p:cNvPr>
          <p:cNvGraphicFramePr>
            <a:graphicFrameLocks noGrp="1"/>
          </p:cNvGraphicFramePr>
          <p:nvPr/>
        </p:nvGraphicFramePr>
        <p:xfrm>
          <a:off x="10592719" y="6388145"/>
          <a:ext cx="1218176" cy="21539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09088">
                  <a:extLst>
                    <a:ext uri="{9D8B030D-6E8A-4147-A177-3AD203B41FA5}">
                      <a16:colId xmlns:a16="http://schemas.microsoft.com/office/drawing/2014/main" val="3303214137"/>
                    </a:ext>
                  </a:extLst>
                </a:gridCol>
                <a:gridCol w="609088">
                  <a:extLst>
                    <a:ext uri="{9D8B030D-6E8A-4147-A177-3AD203B41FA5}">
                      <a16:colId xmlns:a16="http://schemas.microsoft.com/office/drawing/2014/main" val="89983032"/>
                    </a:ext>
                  </a:extLst>
                </a:gridCol>
              </a:tblGrid>
              <a:tr h="215397"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8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Rank</a:t>
                      </a:r>
                      <a:r>
                        <a:rPr lang="en-US" sz="800" b="0" i="0" u="none" strike="noStrike" baseline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 4-7</a:t>
                      </a:r>
                      <a:endParaRPr lang="en-US" sz="8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BBCAB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Rank</a:t>
                      </a:r>
                      <a:r>
                        <a:rPr lang="en-US" sz="800" b="1" i="0" u="none" strike="noStrike" baseline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1-3</a:t>
                      </a:r>
                      <a:endParaRPr lang="en-US" sz="8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5078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8342306"/>
                  </a:ext>
                </a:extLst>
              </a:tr>
            </a:tbl>
          </a:graphicData>
        </a:graphic>
      </p:graphicFrame>
      <p:grpSp>
        <p:nvGrpSpPr>
          <p:cNvPr id="29" name="btfpStatusSticker719082">
            <a:extLst>
              <a:ext uri="{FF2B5EF4-FFF2-40B4-BE49-F238E27FC236}">
                <a16:creationId xmlns:a16="http://schemas.microsoft.com/office/drawing/2014/main" id="{75F6E46B-BD85-3F56-6589-AE8ED292DA0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102664" y="955222"/>
            <a:ext cx="1759136" cy="235611"/>
            <a:chOff x="-2269853" y="876300"/>
            <a:chExt cx="1759136" cy="235611"/>
          </a:xfrm>
        </p:grpSpPr>
        <p:sp>
          <p:nvSpPr>
            <p:cNvPr id="30" name="btfpStatusStickerText719082">
              <a:extLst>
                <a:ext uri="{FF2B5EF4-FFF2-40B4-BE49-F238E27FC236}">
                  <a16:creationId xmlns:a16="http://schemas.microsoft.com/office/drawing/2014/main" id="{4CB66D7C-DE6B-643B-6B3F-76AD32DCD2AE}"/>
                </a:ext>
              </a:extLst>
            </p:cNvPr>
            <p:cNvSpPr txBox="1"/>
            <p:nvPr/>
          </p:nvSpPr>
          <p:spPr bwMode="gray">
            <a:xfrm>
              <a:off x="-2269853" y="876300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31" name="btfpStatusStickerLine719082">
              <a:extLst>
                <a:ext uri="{FF2B5EF4-FFF2-40B4-BE49-F238E27FC236}">
                  <a16:creationId xmlns:a16="http://schemas.microsoft.com/office/drawing/2014/main" id="{FCA7C88A-1987-82D0-0957-79F59F191494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69853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8D9CBCCE-EAA9-2AF9-A8AE-4266A0F145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5824371"/>
              </p:ext>
            </p:extLst>
          </p:nvPr>
        </p:nvGraphicFramePr>
        <p:xfrm>
          <a:off x="330200" y="1497695"/>
          <a:ext cx="11531600" cy="4791061"/>
        </p:xfrm>
        <a:graphic>
          <a:graphicData uri="http://schemas.openxmlformats.org/drawingml/2006/table">
            <a:tbl>
              <a:tblPr/>
              <a:tblGrid>
                <a:gridCol w="3590819">
                  <a:extLst>
                    <a:ext uri="{9D8B030D-6E8A-4147-A177-3AD203B41FA5}">
                      <a16:colId xmlns:a16="http://schemas.microsoft.com/office/drawing/2014/main" val="1978026863"/>
                    </a:ext>
                  </a:extLst>
                </a:gridCol>
                <a:gridCol w="2544226">
                  <a:extLst>
                    <a:ext uri="{9D8B030D-6E8A-4147-A177-3AD203B41FA5}">
                      <a16:colId xmlns:a16="http://schemas.microsoft.com/office/drawing/2014/main" val="3582200954"/>
                    </a:ext>
                  </a:extLst>
                </a:gridCol>
                <a:gridCol w="2803096">
                  <a:extLst>
                    <a:ext uri="{9D8B030D-6E8A-4147-A177-3AD203B41FA5}">
                      <a16:colId xmlns:a16="http://schemas.microsoft.com/office/drawing/2014/main" val="1675891326"/>
                    </a:ext>
                  </a:extLst>
                </a:gridCol>
                <a:gridCol w="2593459">
                  <a:extLst>
                    <a:ext uri="{9D8B030D-6E8A-4147-A177-3AD203B41FA5}">
                      <a16:colId xmlns:a16="http://schemas.microsoft.com/office/drawing/2014/main" val="2315043492"/>
                    </a:ext>
                  </a:extLst>
                </a:gridCol>
              </a:tblGrid>
              <a:tr h="225699">
                <a:tc>
                  <a:txBody>
                    <a:bodyPr/>
                    <a:lstStyle/>
                    <a:p>
                      <a:pPr marL="0" indent="0" algn="l" fontAlgn="ctr">
                        <a:buFontTx/>
                        <a:buNone/>
                      </a:pPr>
                      <a:r>
                        <a:rPr lang="en-US" sz="1000" b="1" i="0" u="none" strike="noStrike">
                          <a:solidFill>
                            <a:srgbClr val="CC0000"/>
                          </a:solidFill>
                          <a:effectLst/>
                          <a:latin typeface="+mj-lt"/>
                        </a:rPr>
                        <a:t>Keyword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0" u="none" strike="noStrike">
                          <a:solidFill>
                            <a:srgbClr val="CC0000"/>
                          </a:solidFill>
                          <a:effectLst/>
                          <a:latin typeface="+mj-lt"/>
                        </a:rPr>
                        <a:t>Search Volume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1773849"/>
                  </a:ext>
                </a:extLst>
              </a:tr>
              <a:tr h="198494">
                <a:tc>
                  <a:txBody>
                    <a:bodyPr/>
                    <a:lstStyle/>
                    <a:p>
                      <a:pPr marL="0" indent="0" algn="l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oncrete companies near me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,1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CA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5981233"/>
                  </a:ext>
                </a:extLst>
              </a:tr>
              <a:tr h="198494">
                <a:tc>
                  <a:txBody>
                    <a:bodyPr/>
                    <a:lstStyle/>
                    <a:p>
                      <a:pPr marL="0" indent="0" algn="l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aving companies near me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,1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CAB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932874"/>
                  </a:ext>
                </a:extLst>
              </a:tr>
              <a:tr h="198494">
                <a:tc>
                  <a:txBody>
                    <a:bodyPr/>
                    <a:lstStyle/>
                    <a:p>
                      <a:pPr marL="0" indent="0" algn="l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sphalt companies near me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,8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8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0279077"/>
                  </a:ext>
                </a:extLst>
              </a:tr>
              <a:tr h="198494">
                <a:tc>
                  <a:txBody>
                    <a:bodyPr/>
                    <a:lstStyle/>
                    <a:p>
                      <a:pPr marL="0" indent="0" algn="l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oncrete company near me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,1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8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4544587"/>
                  </a:ext>
                </a:extLst>
              </a:tr>
              <a:tr h="198494">
                <a:tc>
                  <a:txBody>
                    <a:bodyPr/>
                    <a:lstStyle/>
                    <a:p>
                      <a:pPr marL="0" indent="0" algn="l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sphalt paving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,9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8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4561814"/>
                  </a:ext>
                </a:extLst>
              </a:tr>
              <a:tr h="198494">
                <a:tc>
                  <a:txBody>
                    <a:bodyPr/>
                    <a:lstStyle/>
                    <a:p>
                      <a:pPr marL="0" indent="0" algn="l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oncrete contractor near me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,9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8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8650692"/>
                  </a:ext>
                </a:extLst>
              </a:tr>
              <a:tr h="198494">
                <a:tc>
                  <a:txBody>
                    <a:bodyPr/>
                    <a:lstStyle/>
                    <a:p>
                      <a:pPr marL="0" indent="0" algn="l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oncrete suppliers near me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,1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8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5580554"/>
                  </a:ext>
                </a:extLst>
              </a:tr>
              <a:tr h="198494">
                <a:tc>
                  <a:txBody>
                    <a:bodyPr/>
                    <a:lstStyle/>
                    <a:p>
                      <a:pPr marL="0" indent="0" algn="l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sphalt paving near me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,6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CA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9702178"/>
                  </a:ext>
                </a:extLst>
              </a:tr>
              <a:tr h="198494">
                <a:tc>
                  <a:txBody>
                    <a:bodyPr/>
                    <a:lstStyle/>
                    <a:p>
                      <a:pPr marL="0" indent="0" algn="l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arking lot striping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,6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8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6802327"/>
                  </a:ext>
                </a:extLst>
              </a:tr>
              <a:tr h="198494">
                <a:tc>
                  <a:txBody>
                    <a:bodyPr/>
                    <a:lstStyle/>
                    <a:p>
                      <a:pPr marL="0" indent="0" algn="l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sphalt contractors near me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,4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8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3187485"/>
                  </a:ext>
                </a:extLst>
              </a:tr>
              <a:tr h="198494">
                <a:tc>
                  <a:txBody>
                    <a:bodyPr/>
                    <a:lstStyle/>
                    <a:p>
                      <a:pPr marL="0" indent="0" algn="l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ealcoating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,4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86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8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0773601"/>
                  </a:ext>
                </a:extLst>
              </a:tr>
              <a:tr h="198494">
                <a:tc>
                  <a:txBody>
                    <a:bodyPr/>
                    <a:lstStyle/>
                    <a:p>
                      <a:pPr marL="0" indent="0" algn="l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arking lot striping near me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,4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8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4360848"/>
                  </a:ext>
                </a:extLst>
              </a:tr>
              <a:tr h="198494">
                <a:tc>
                  <a:txBody>
                    <a:bodyPr/>
                    <a:lstStyle/>
                    <a:p>
                      <a:pPr marL="0" indent="0" algn="l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aving companie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,4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8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8653143"/>
                  </a:ext>
                </a:extLst>
              </a:tr>
              <a:tr h="198494">
                <a:tc>
                  <a:txBody>
                    <a:bodyPr/>
                    <a:lstStyle/>
                    <a:p>
                      <a:pPr marL="0" indent="0" algn="l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sphalt sealing near me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,9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8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4964663"/>
                  </a:ext>
                </a:extLst>
              </a:tr>
              <a:tr h="198494">
                <a:tc>
                  <a:txBody>
                    <a:bodyPr/>
                    <a:lstStyle/>
                    <a:p>
                      <a:pPr marL="0" indent="0" algn="l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sphalt paving companies near me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,6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CA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0982370"/>
                  </a:ext>
                </a:extLst>
              </a:tr>
              <a:tr h="198494">
                <a:tc>
                  <a:txBody>
                    <a:bodyPr/>
                    <a:lstStyle/>
                    <a:p>
                      <a:pPr marL="0" indent="0" algn="l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arking lot painter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,3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CAB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8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0741436"/>
                  </a:ext>
                </a:extLst>
              </a:tr>
              <a:tr h="198494">
                <a:tc>
                  <a:txBody>
                    <a:bodyPr/>
                    <a:lstStyle/>
                    <a:p>
                      <a:pPr marL="0" indent="0" algn="l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ealcoating companies near me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,3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8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4023191"/>
                  </a:ext>
                </a:extLst>
              </a:tr>
              <a:tr h="198494">
                <a:tc>
                  <a:txBody>
                    <a:bodyPr/>
                    <a:lstStyle/>
                    <a:p>
                      <a:pPr marL="0" indent="0" algn="l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ocal concrete contractor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8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8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463210"/>
                  </a:ext>
                </a:extLst>
              </a:tr>
              <a:tr h="198494">
                <a:tc>
                  <a:txBody>
                    <a:bodyPr/>
                    <a:lstStyle/>
                    <a:p>
                      <a:pPr marL="0" indent="0" algn="l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oncrete staining companie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9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8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3864128"/>
                  </a:ext>
                </a:extLst>
              </a:tr>
              <a:tr h="198494">
                <a:tc>
                  <a:txBody>
                    <a:bodyPr/>
                    <a:lstStyle/>
                    <a:p>
                      <a:pPr marL="0" indent="0" algn="l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sphalt repair contractors near me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2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8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5128234"/>
                  </a:ext>
                </a:extLst>
              </a:tr>
              <a:tr h="198494">
                <a:tc>
                  <a:txBody>
                    <a:bodyPr/>
                    <a:lstStyle/>
                    <a:p>
                      <a:pPr marL="0" indent="0" algn="l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sphalt parking lot repai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8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632732"/>
                  </a:ext>
                </a:extLst>
              </a:tr>
              <a:tr h="198494">
                <a:tc>
                  <a:txBody>
                    <a:bodyPr/>
                    <a:lstStyle/>
                    <a:p>
                      <a:pPr marL="0" indent="0" algn="l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oad paving companies near me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8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6453645"/>
                  </a:ext>
                </a:extLst>
              </a:tr>
              <a:tr h="198494">
                <a:tc>
                  <a:txBody>
                    <a:bodyPr/>
                    <a:lstStyle/>
                    <a:p>
                      <a:pPr marL="0" indent="0" algn="l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arking lot asphalt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CAB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8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84484"/>
                  </a:ext>
                </a:extLst>
              </a:tr>
            </a:tbl>
          </a:graphicData>
        </a:graphic>
      </p:graphicFrame>
      <p:sp>
        <p:nvSpPr>
          <p:cNvPr id="7" name="btfpNotesBox735198">
            <a:extLst>
              <a:ext uri="{FF2B5EF4-FFF2-40B4-BE49-F238E27FC236}">
                <a16:creationId xmlns:a16="http://schemas.microsoft.com/office/drawing/2014/main" id="{EFB01B38-098A-51EF-E007-B439B5DE082D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330200" y="6341860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CA" sz="800"/>
              <a:t>Note: No paid search investment for Starling in last 30 days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CA" sz="800"/>
              <a:t>Source: SEMrush, for the last 30 days ending 17</a:t>
            </a:r>
            <a:r>
              <a:rPr lang="en-CA" sz="800" baseline="30000"/>
              <a:t>th </a:t>
            </a:r>
            <a:r>
              <a:rPr lang="en-CA" sz="800"/>
              <a:t>April, 2025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BB84D66D-C25D-C2EE-EE42-009E0C116BA3}"/>
              </a:ext>
            </a:extLst>
          </p:cNvPr>
          <p:cNvSpPr/>
          <p:nvPr/>
        </p:nvSpPr>
        <p:spPr bwMode="gray">
          <a:xfrm>
            <a:off x="6472423" y="1488170"/>
            <a:ext cx="2802206" cy="4791061"/>
          </a:xfrm>
          <a:prstGeom prst="rect">
            <a:avLst/>
          </a:prstGeom>
          <a:noFill/>
          <a:ln w="28575" cap="flat" cmpd="sng" algn="ctr">
            <a:solidFill>
              <a:srgbClr val="C0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493B8F9-5287-575A-6971-2181E5791517}"/>
              </a:ext>
            </a:extLst>
          </p:cNvPr>
          <p:cNvSpPr/>
          <p:nvPr/>
        </p:nvSpPr>
        <p:spPr bwMode="gray">
          <a:xfrm rot="5400000">
            <a:off x="7761861" y="188965"/>
            <a:ext cx="189615" cy="2802206"/>
          </a:xfrm>
          <a:prstGeom prst="rect">
            <a:avLst/>
          </a:prstGeom>
          <a:solidFill>
            <a:srgbClr val="C00000"/>
          </a:solidFill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CA" sz="900" b="1" i="1" dirty="0">
                <a:solidFill>
                  <a:schemeClr val="bg1"/>
                </a:solidFill>
              </a:rPr>
              <a:t>Peer 2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10441EE-0934-663A-C962-82D840DDA1B0}"/>
              </a:ext>
            </a:extLst>
          </p:cNvPr>
          <p:cNvSpPr/>
          <p:nvPr/>
        </p:nvSpPr>
        <p:spPr bwMode="gray">
          <a:xfrm rot="5400000">
            <a:off x="10470409" y="293484"/>
            <a:ext cx="212469" cy="2570314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CA" sz="900" b="1" i="1" dirty="0">
                <a:solidFill>
                  <a:schemeClr val="bg1"/>
                </a:solidFill>
              </a:rPr>
              <a:t>Peer 9</a:t>
            </a: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D5E47DFB-22BD-0D77-2582-43144BF925C3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38" y="946635"/>
            <a:ext cx="252287" cy="25157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142039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B5AB060-F145-B20E-CB73-AD13D33BE0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9072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84" imgH="486" progId="TCLayout.ActiveDocument.1">
                  <p:embed/>
                </p:oleObj>
              </mc:Choice>
              <mc:Fallback>
                <p:oleObj name="think-cell Slide" r:id="rId17" imgW="484" imgH="4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5AB060-F145-B20E-CB73-AD13D33BE0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8" name="UniqueVisitorsTable">
            <a:extLst>
              <a:ext uri="{FF2B5EF4-FFF2-40B4-BE49-F238E27FC236}">
                <a16:creationId xmlns:a16="http://schemas.microsoft.com/office/drawing/2014/main" id="{E2C84EE7-0A55-EC2D-04A0-FBB9A451C2C4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09351179"/>
              </p:ext>
            </p:extLst>
          </p:nvPr>
        </p:nvGraphicFramePr>
        <p:xfrm>
          <a:off x="8236274" y="1104624"/>
          <a:ext cx="3609134" cy="1316102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0549">
                  <a:extLst>
                    <a:ext uri="{9D8B030D-6E8A-4147-A177-3AD203B41FA5}">
                      <a16:colId xmlns:a16="http://schemas.microsoft.com/office/drawing/2014/main" val="3897694433"/>
                    </a:ext>
                  </a:extLst>
                </a:gridCol>
                <a:gridCol w="1356491">
                  <a:extLst>
                    <a:ext uri="{9D8B030D-6E8A-4147-A177-3AD203B41FA5}">
                      <a16:colId xmlns:a16="http://schemas.microsoft.com/office/drawing/2014/main" val="2729753460"/>
                    </a:ext>
                  </a:extLst>
                </a:gridCol>
                <a:gridCol w="1152094">
                  <a:extLst>
                    <a:ext uri="{9D8B030D-6E8A-4147-A177-3AD203B41FA5}">
                      <a16:colId xmlns:a16="http://schemas.microsoft.com/office/drawing/2014/main" val="829964771"/>
                    </a:ext>
                  </a:extLst>
                </a:gridCol>
              </a:tblGrid>
              <a:tr h="557294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1000" b="1" kern="120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Brand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1000" dirty="0">
                          <a:solidFill>
                            <a:srgbClr val="C00000"/>
                          </a:solidFill>
                        </a:rPr>
                        <a:t>Avg Monthly Spend (LTM, $K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1000" dirty="0">
                          <a:solidFill>
                            <a:srgbClr val="C00000"/>
                          </a:solidFill>
                        </a:rPr>
                        <a:t>Change YoY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14307374"/>
                  </a:ext>
                </a:extLst>
              </a:tr>
              <a:tr h="379404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b="1" dirty="0">
                          <a:solidFill>
                            <a:srgbClr val="C00000"/>
                          </a:solidFill>
                        </a:rPr>
                        <a:t>Peer 2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>
                          <a:solidFill>
                            <a:srgbClr val="C00000"/>
                          </a:solidFill>
                          <a:latin typeface="+mj-lt"/>
                        </a:rPr>
                        <a:t>7.6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>
                          <a:solidFill>
                            <a:schemeClr val="tx1"/>
                          </a:solidFill>
                          <a:latin typeface="+mj-lt"/>
                        </a:rPr>
                        <a:t>18%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0825124"/>
                  </a:ext>
                </a:extLst>
              </a:tr>
              <a:tr h="379404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Peer 9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>
                          <a:solidFill>
                            <a:srgbClr val="C00000"/>
                          </a:solidFill>
                          <a:latin typeface="+mj-lt"/>
                        </a:rPr>
                        <a:t>35.2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 dirty="0">
                          <a:solidFill>
                            <a:schemeClr val="tx1"/>
                          </a:solidFill>
                          <a:latin typeface="+mj-lt"/>
                        </a:rPr>
                        <a:t>148%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5808991"/>
                  </a:ext>
                </a:extLst>
              </a:tr>
            </a:tbl>
          </a:graphicData>
        </a:graphic>
      </p:graphicFrame>
      <p:sp>
        <p:nvSpPr>
          <p:cNvPr id="42" name="btfpNotesBox735198">
            <a:extLst>
              <a:ext uri="{FF2B5EF4-FFF2-40B4-BE49-F238E27FC236}">
                <a16:creationId xmlns:a16="http://schemas.microsoft.com/office/drawing/2014/main" id="{89BD01FB-E9A3-CB5C-C7D7-1F7B6031A2EE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200" y="6318415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CA" sz="800"/>
              <a:t>Note: </a:t>
            </a:r>
            <a:r>
              <a:rPr lang="en-US" sz="800"/>
              <a:t>LTM refers to Apr’24-Mar’25</a:t>
            </a:r>
            <a:br>
              <a:rPr lang="en-CA" sz="800"/>
            </a:br>
            <a:r>
              <a:rPr lang="en-CA" sz="800"/>
              <a:t>Source: SEMrush</a:t>
            </a:r>
          </a:p>
        </p:txBody>
      </p:sp>
      <p:sp>
        <p:nvSpPr>
          <p:cNvPr id="12" name="btfpMGChart469693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dJY2OMwf8mgoXWrd8S3Dpr8K8e5QDX9l/GOurOelpINCJLA3EC4Lci7vMC6fiShJ1UHdlzzodfzXVhfa9I7ytnjk8UxGhLoYCoYswL6v0jmUqyjtlYKGO7KNrwdR3Jtqv+irS/Sfzu5qGHNY/GWRzcMCJB9+nhml2tFI3rlve3tOSrKeIxWD9P70wEfe8SJ6/MJPLqB+9+ChibGUJZcZ79MSo2j5u3APi7IPvBbU5vnnU3oHNXYDU1pQpsZPwllRfSorraV1v/13W5stHj9VkwYm3cencw98ByET5gQ2DWVEgqSQZ/W+iegWBwc5uL0khqyxbvZmzhy+TW1I+hoIly2Srcjlg6MINbVVTjlASA833vsrEPCGD77ExFYUQwAKUOIF6FvXW3dD2oF1bpTLHxbkz0VVA9WxfuhVvcjVostxdV5/upjFACCB6tETUrTDGiAlS0Hx65BiMCUR0W7lnmRlrUrfqcIfY6cSQp35ygIhpMZgX3rY6RtbC46nKErtVwLFwpJ3J8hEDGP9A/Dx+Z+CtpgveJXomxtfw9fArA6mb+hq1nksqNwJaARLJ/VZY6WFG4jw/hMMDuklD/JfZ+O6ypCRDJRHm2D2e1Lk0BEnHEqH+XpBnRnHmFR/DyO0y505deDDPbsz0E7/CZiG9orTjqbc6DVAhnQKweD0kRDC7ksPZTMIyiZ20yTWomRh05Bkho1fVXSlZlD1LxoOca5XabTnp/qX8K4K+yUYPVInDvuLxWKrm3bNlVdtjkE+uHisrhl8k2ZkbdQSxTYITpIWOFUWRgTZeTkcErRueqazvYAHmNGs1gEEbns/xpFHnrMJy85x/wkWTYwU60W/aoLgEZE5NfDomYxbWXpbCzgg9VCMjLAwBFOWFDgMPB4jnMPOgm3Tv9/P4LiadKGdGvmFOoKmDfQEvUSRzKsu+TkQyqSfcLBSweZnJyt8OHWIQdoFA+N2FSHZB7LQVZJ1UfNtAzajdiHpaStye81AS6FPjfDWakpxMTQZ4aNiPXr8Ba42lgP4/hCO02tnSI9XZoIv2EP7p+DQVKs7N730iQ8BxcrMXz/1ZwDjcXwARwJiTTc0aPKQICUf0EfmXlQ4Inkg2GKD47WC7gI7M9rANk4Yz0nICWYy1TKXBh3ilW5yxiYysS+svasiM0Km7u1QzL39BMEYlEy+dfvpdpSvm6t9k+GVXop/h6sMQflBnIkIrOZly7R9Pp1QQ6o+v7DlPNmA39PMlYi7NStIPe4jWuAjs+hLJbdVtZAb6dOKZ7sawcZTn8s42ST8qcdoJJVwd36KNPDuI9u63unaxradGfMEbDW+IsNLEcqdbrY1ocvuao7zUQSm6QJr+SqkJOYBN+wRgaWE9H6ETwW/kCPbNIzpuHtiNfLFV+9Vycgqlunfg2zGLqYsHO53pj6ae6M+Knn9zRw3yNpeRMF12APc/W8QdYrKXOWQH1qreCQ4x7iwa39FpoWXTaESF332XHRWzvDG5/KzZXCGwQrw3T2aCvsw2g9rhv705CNLDwSEIVTa9CJR74tdxFl3tPAoCOBy7rGV+WD+lbcvzw66x48UplzTwLRJXNS3ryMgR4fHeI0Y5ywX0B1pqGbWj+dQ2Vx7Ot9uu9IlOEY22XYVmIgYrneMgTbPAfZtFF1v91sXUd78kwE29frMjWUQ6UFg1BBukuLFb7ajZezNfzWg+acC5y+am+93S8Pf6U3V7mJ25sUXuz4BDyXdcRdsNMx6xjuxe3NcrJZAUdNyx98xT0v+qbTfo/Gi/EcQQchguCp8tbB7FQxugWzwc+IqC/ELw+0I/jqQ2KJezftH+E2mD3WegNFV+myZ6wMWNhFncYpeS1Tg5hZu9eCDKFybDlKOqB5/QM/nN+bZyS0U7nYNLc2wpmdwunu/8dDgPEIj+7pcspv4wn5/P80UoqS4X+Q0p8cISQVwh3e4K9jFQB5oocolWX1UxuBnl+OJ2PNbpA5bgDuvImLccyn/HWhGP3HwOjmAIjjMtXnmuTN0s5tVU5g5lCYa+JHVGwZqq+EGXgHk4PfNlWPLzqTU2KZKo9d32ileNzUSLycJp7e6WPkB0QYG7utJR+Toys8yMGBWZhldLiXkftKQNciWfLcKRgbgquBrtfeS6E69Lo71bv/DSaz0qNGPkFLoVm0xYnWefLbLTsLTjSNvWyNlG8T1hoA34UxOMHF91R5O89UZ3nM7NKBXlBCwY47Rzgei6hqyL5BpUcaz3YTqSwri/D/YjxoWDVIBEK+Qy1AuWU/b0t6PzHxHgZdYF/3J6mGgPY4P+EfxV/lxF7XBPhpXoJAUroGNoMcBVljKKm3cKT/+z2BE/euMOzQcZ6iyvkxavhSLChuKqwARbjpuO/QTFquk5a4MSiqgkScJuXWYnj/1VI604BceBRlN6Q8tr71CU/F35t9E2VSiKMeo/u5YVKHuhcdvAAcEy/TB72yW0GaQJix58XS0DJetdM7I0JAmH4zjBqtObq2CEtCkXc8+ABad4DFteu5DDxFn2rov85dAUwGozeqndCGgYOCVihg/Z2m2dU//0yoGNjMLHufVyQTzUgMCwZ3Uh0lXoorZg99+K9bdyhscXXdGSuvmwQ51N0dQp28gMms/hAMe6e8S0kNOgY+lgcUJoCz6O4VGeorrSY1bW2+r+cSOIKvjuwolKpxZQbSzblCW252IrvA5+yBIc5dwIzcThbQ7RmPqotdqOWQ9OYseNnCd382bfMTPdjJQgFVWmp7QiMKEAwAVgMa6TTJU7U9Ru7L2rN42hocGyci3D14/jo9Dm6fpMRLShlmkBA60a2x/ajjPjAoArq9muB+XAf4iRzkUs10QsTg8cuQy9TB/dWEnuhpAakmYii8VbCyqzlwNArhwu9zdQVu2678StDVjRjwnFG7oXqk2OzBHxcvsMmz33nqSU4swJdTCpy3cVj2+Yfnqpmo3u2yIBWiea8rtJX3k+xvN5ItS2z/rb5uajulASMsWIIXI+OYINyHEmDFUFMd7aXTB2EN1bpRIVga1Bzj3/uS6JrXD+tBgtkxJdqJyFkRtEr8ozEYpqx0iY9Ga2ITDynK0LgZWWFQ3tK8VHsjfWRC2pfIFj0ulq1tBAXHS6Uxnl2tMfx6r1aDJlObRlbjBbtS9Tf3jSkZsp4pVfNp8Fo3/D3SGUwiU1ECD/x0PM/pkcnD+v6loahw7BX7xfkMAz3Amw75nBXPd7+LBlq+X/j3q4eclWIZJDsN2beQgXAWtOpLliElwiPNklkEVb3hxuf7yvMwVIgHY0FcwCzftLaBbop+jMOyciYvMWftxCvv+QUsmqgbTBXfEmh0ro5pl4qGjcmk3G3YQhNGQn5qALqVhRKBn2cURVS2aazf+1CR9adK0IDLADK+5crZ6p4zk2xWBnE7mIqHXoPMd/OZE/cdUvgfG4Jqe5873vkGN4WXlbt/k4coU0tJWWbzKh5T8KbYAP1W6aYatKVehVkbxeiQxux9wa11S+H7kHZ9nD8VftYGjv5t3Ia6fSz3HE4kDlBqjFkJB2y1BU+/2EZHjy5vSYHETlhpXy6YMJAm7N56++LeyZCMIO8Dlnu5ajq7haMbu1XKCOjdl8o6uvX27oT9GdcoNy6kaz3jn3M68pKn8DOdhglFz6+BcsM5Yr5ME7psWNyY3s0rcrTc/Zp6fz6pDFda00THcij4lozdXKj0KinInavJfRe4WjfI6iYVlkz9x8WugrPI2doZu2oIhuGl/1P4ngwlO6y1d01JsixHp32wWL3neIQkLTmvkk9Au4aUbyzuYxrsMPkt6lMlbueus4ObrgIfjE2l66uhduiIETdFzyX459VBFsLxiiAe7hSpxtZ+scxVovAi04nXAVbsPee05rvifZFt0kNObX68LPsfuTzGaz3mLBCkGPmWBjZFthWepiGlbQVAsFmBH+yh/5wrDcUqJEzZ7H2019FfmyVkattY5Nenpa63hVfarH7+P7Bhx7FQP0f0qdxUMZBBZmuVvj9B7mPBk+Tgnia75glADFOHQMIhLnvc9+Pz9bKhL5+SROX9ZSe/S2xyngcAhKkVnbvMstpvpPZgEuC4Y6Bv+P0Wxq+PINvKWUO2TrY6vwmAk7K7LYLKKA+y1qt4rC2ayRgAuFW10JxCUL/8Y2ds+LOok3caU6Q4kvGDmzWz9m7MhSAbi8aMplL7ar8k/Z7UmS/EJYmnEZ0Culp34rNR21gqALqnysLaI8dC9+gip6APcSM1wZtiKBn25+fdj27M4t5Yz0MlAVmMMAqO/6BQZO1ivqnK3+J7pQdPJbIkQA8VoJA6LtlJ8EBtEzMiL2STTKPQ4Kg7bOkxEkcApyhuW6bIcL5+vzLN0aiA4SMZ2ajixWX4tDgVaNV7a9J3JUOMCzR1OuTaeTyRntbjk0jli1D48387KEQWxWOKeOomK62ZHJyRVPd08GlqvKAruCplBNFQrsL3c6rtFGrXiCuYJVZPim46r/gCl+woBcypMp1l6A1xaAG1uxOkmR9CMdk/uCagea8T32N17IGAbLmUVGGwQ+b5UgKhNRd6AiloOJ4y0ibuH2sJAk2nF5NLwjxfatWtxNOqWDwXsxnNdBkvyzbRcfS1POieBfi9ep3SKRQZ7FSrUeLcyEjtpcLRGPdi/v4L2FvawZrnc2ZiJFD9yNRZz1Juucbw/NyV0btOIqlA+upv1tnXHgGJscHoGeJ8cHRdAq2whceBId/DSc/Nf4CQewdCtrnsLyusCt1W6GhhwxInRQaC5Jkx0l25jo/3JVDRxF0yDA00izylom/H5ZxsePPvGaZ9EJi21Tqzi1aw9ztPqsgDLv0tJLYaZyACrZNI0+B9S8KWqXIKYV2hIPgcp/pPl6Lx+IBdTS0szQIBPstfUehmCq53N1FZZ7NMAClInhhk4xS1U3wiL5ow87+wm5ZOvrm6T2vBzvRTQrx0ZBKY+hMptBtseLwR3dKtQnysdmEL5MNNAosNeRnWkn4+gXXle+RMP35NlD/Fbi4EiGvRYm/hiKxt98nPwi2y8CJUmtRzumU1IwhyBwTOUvLCLK5K7vj89pJUIHuy2viYHLpqY3GWYB6dgP56/7QF2Pm8wU0RElS+y74GzqmFZk3js3OwE2XLWFfRJ6F5AAYw7RwScnX3JgHAXGC9eQw1aoVPTTNrNhonrS2d8KaldJNFu82Bggtw/8+R7RBebSbhIaAXEYMKxh4o3GU8PNOO1YXdQyn+JNQe65p/KyAnAfYMTHFn3YTRslTBCprppBNrJEAEMgLhq2MbSOtbJ52bKTM0Ud0wCJQiZwCt2B1DkoFXS79vtmdb3h1/UpRKMPOev9F+uTkGVNvVdtDXQlSBl3Qn2NwETVhNzggGd9kv4j9WxzdQm52LND1cPLt5rup0hcrPR7zOwYLpyXVCt0NwUDxYaqN+59Y+zjXjy1BblqXZamDaxFF7LJrQACOpNMHA/Ux4b6VBsYG+PmLJHdkW2J5eyisYU15iVAPpZaghsoCXpgBAE2CJlUsYxYNUXZpd0j6PUP856jyzjO6ynEhBjwLL346cGSc7m/5ygtMi5vGjX9mTSA5v9QOhAp4hTCaL1coarF8ZwS6JbL4xbkMtoxNewyXiKfEySKuD989HzweHQDofFAgXkdXI3/YbI10I5l4nu2SjDPAeW1tVsEuZibFfX/rR1q3P1EhrLELnDQAzeGpqG4D54r5nrUyaDk5P13ZZJ3ddEgXlvbxCDZiSOPBd43im/DPKvrTgBHEXg4LcapPvH+v4CaT0ji9PIbJMf6SFqlMyJoPypu1rWmAAJtdCF2qz1FDvMIEFPpBvR3Cz14v/zzmKxHf1oIto4O4a9BfJ6uAAaUFlG6dg65hMJtD/DXFuu7cPjfYOnlBAOvrrZ7hLRWQyTlCwYiIn0sfYHlmi2LFu6jNc/uUxOfw6ZJ6qgjGqGyWQywtoxDqEHs3lnA6/r1b3nfAs4jDqCsjL31vPCj9oIGinQThrbYKrQkTJoz/7cbdwtzpZz3BtPdv99q4Vm+Q9yjh8zF0looCnyrcEMd5CkPvkANKyZwjsziWoquZWS3XR8Aua43GK0VDAIyuO2h97QIKypmLKgb1JttV9KBYGwSlX/SP8xTocVSkveUQM1gx92QbSMH6FxgFVXv/886iTW7bfMFVYIFtj0Eve3FQTzgaL1GiCWc5sqUHPMdUpnSJI7kCRI9E2mLpgpdDzCgZSKzX7MS3Rciiw3FM6T59Goth1ayOuZjwuWBBpnOB9JGNcDLoknvQo+j9W1YHuLGhO/wGMa+M+FqJI/aFW0LLrVaRfEcuhObEJ/q2KH2KWdu7KGABcPy48dMV33r9LKK1p4dYGaJW7hxtn4KSuzPMQHfty9wB30u8Z6Is3gysUa3lgAfQyiwt8nA2VIMYz2C01rqMApy5V6k3aR3BGPi38tyybw6D1GvICVVtSF6F7aAIb+5GtV+7VyuSRtb7sq1PqQ9ErcJWFZ8ahT1JzsS23ph8HMcYm5/UB2fykz4CboPl+pYew8JZ6GaZTabUN9jBydDaugxjLqEE2WVLeX2+DG0I3sXj8d2K5s30Ej4Qxf6FZ33HNrvfR/biqSEhdhPXAnH19LRHwnLEG7b3KxaSWeH8g53OwHZbJMEwpy+f1U8aeeuDxBTFEEkSihZvaBqYIT+6VMeoICfU5EG5h116goPrAbAcrXCGzsjLUwLKq2JiPgv9Cjs9/fz4bk8JqJKgMOzKrwAA8yf8FZC2CDDiTnaed+c7m/KTeNoXsmR512T4lIlNG1OS55inQqqd2W3iqfLDzBJW/UwnPiCsKReZpJNN3+/uvi3x6XkWO9+4KaDxXjQgHrZZn4AtrsZ8dQYnt9GqmxhpsiCwAgjGi1GYqI88NJMp25MqA/MYP7Hs+aSDbZBny4WutYQlGCYAfDa1W6PvxC7FiztRdyuRHOqy8kr84plbY6iRu1PmrSi2mUK0OL7UYco+obJfuXX1BMoracptYNbID6WY8A2D1rCxkPhaSr12P1awltOLnXdrT1mkP7ZwuVLMoW0ykP6ondS3F/gXX7+XF4YErI7skG+03pb79X5On5Cs9xWJDOLEYN/qFJTm/AWDWFsHFzY8n3+PGmS5nr1FTlmp4BH5w/CfxPa3Pysvooan1QqosTH1l00O43O0pZsklxFN2uterrzcciZemyCQmbTYSryaz6zduwV1CVs9WSJKLFlLGoT9oXqwN9ZdToUoIwrO+oTAGA1mWcBj57WAXh5+DX6o4oz7dfV19CmiBztLhB/sKABRK36I72QvnSU9E03KLnaiUYPuhyQpBb2qyC7POT11VgAGJuynnB0XO3jC8cfm0CnnyoapGDjt6aa/NYNYo+Bpa3q9dVx/iDRaFMoCdhYF/26YAuBkB3zRaHrN7fwPcveLD7ru1YftEEDyUHQ/N4Pt5hw5M5Co394Ye3Y+d88Mpsp1M15qUJIBxDnQ3+TEWxCEWDpV89GwDrpRb5q5X6L/BzbrxKq2xAps8tf3+8o9h2AH5Bbh6qUDFG2zXiJ7te7xhTpLA19243FS9navfRXWpQP4zRCdzah3hjOIUR6j5BDaXTslU7mKzOOYkzKFLjfUN+IUt5h6U7L5BocAmbcneSXDfvxEDjF47BnDjMo2p/CznjFvJBESq+igC/A70Nnc807ER83Itt1zi0BQxD1ygnaI5S6DjpdR1+nY5rRHDhC+1BMrEw/tyc6MBPHbeZVHIxdfmiF0epRjqvtulFsvLLXYExBLw4byknVZLlGU1QXOqxmwyrwrgWUDrZweTYTYHAFN+dnjGaZiTqN/Cczt5zFmKXlXDWUMD9RnoG+Z7oEnWYk+kpH1D+43QvDS4LUPX1qHuuZG0LszuR04NGZL+vFAvByUmlCiKaVTVLtcxUtgq69+gSetXnxE1WnSDP93oAOuJICjrRO26z+DQfMVM40x4He5FzfBLn4wSl6IDkCqY6jBoLKPUm5ftFwGaBGUDG87qmLcdkL+XiqJ24bfxEajQ98ClVNVpb0uHWdYH5uSyf4NNL7L2S2amx9Sx3Z28aYjqkurP4+H6XlXsv+eobVb0aAxs5Jm214sLLouNtvgORJx9vGWnubMP2GNO1D9afWAhecQCcxugXnMEA9HqNKeG5uOC+EhEPTIcYQadqLzNf5yGEZAia81bKma3ynzkXqBtrClBWAaVLwKLq8DgtYRwTw83GgZLKsvS3piZq6MfTRjpuF/k2M51C26ovsWDQzwxnb0WC0emx2mOPSyhpJF4yx5upqsMo/8axP522vMAqOq4Mrd6t7qT2lI0jv9IiEu4clK+ZfEzZUJMlf8/Qx/3EfrgbtLOi5G6ErBa6Br9WPus8YIb4sCuZFy1k2MS4ZUe69gOK7B9g7jRFZ3jC3U7cZNZknj6e3aZ6X7U3pk2HxeoytW7PawZR1WRTp7BK6nhwDIBvvMDCSQ8KakfFgGbB+nrRcsDzLVsds/hyB8XUbszbT2AAFNjUqg7E4qIuWcWulITE9VJvBUJVCRcuX5H/73ZMunZMRI5DuqNF54beXKoaLLu7GfJY4QksUiPO3V8cQPp9/Jw3Sp0QY+Fb9HwPB9GVQc0BOimLQApazHvnMFNowl5Huh9LQXtthqU4S8Ea864/WKhI2TI3QAFqK21vmP1Qa2v6UD13clEgWJ9cWEMBxR7527HbvL2ebTWFWV1hDpzdituMODFRtUAf0PAQwXr8sfi/h1ntGHQoTLvTX0X/2unBqeBhGqAIECNUU1Iy2q9nkNWCMKxLdkdlPY+vxsyqRkioylH07WwB3CO6gT2qpcLAsLGJTrjWGJOG/SU2AqhZzMB294GUm6uHANllFfKsKfnz3zgfG2T4MnncwOSNHYvrTjSRWhmWGtAPSXtiPmwEc2u26dR8SWmlqcUwvykGAPt7Nc+yMsGZgzUmqe3/rHv07EcYKWtU4cBlJwRWSraGa3Ko45vzg3pHNyU23bwgmd1hQHnbBFLNIKZH7iSXtkxhkPyW8fjU6n1HI8Qk0UZz5Tt5CofnZ2IkiETMJSuypzH3PN2+87+7nClOyXFcnN6+YUpV9zLQLDTl91xHB2FJ8YMfricFoyP2eLdxJkdTQihTESAyG8b7TnQpd1oBqyU8ELUXVtAmwIED1WGI2qcM3hrTckv282+hvtFi4sA61BGoDs5Bhsq4F0hhYvwDVQFQ4XI+UE6+BOwE2v+3LJGxxwjZzcgYiMBI0UNGp9nJjYATRAceU4Jk3UlqwO0xCbHrYMfkcHrY+vox14Z44pbB0fogtPJIebzA80UpIlD6QCQXoy2BZ4hT2vzaBXIPLhAsExJGOdl0KqSO/HYonpTlV40Jyud23GQdjJlPrcJCqlTJtGS3iM+EZ8xKmY4kS+ZSWK9o7a29i4gr0mrvjjD9KgXevtpec2rXqw1vQNiN7RK0M/IdYbel86lmwGLXfkHAhoUEvfZS0NlN+OudF5wsnAHQiowbyeG8AEniOZzv2QLQXedYXgIknCupNU0zJdIkJhqWm5qCUzlrZLv3iH1DJFqbdmIgXtS6Y9yG8B0ISzoPlIw8T75KKoq2VvUDDACYa0aKyWYE9xUVsBLQZvJnHCm4ASoeE7BXWxZNtpOKIpVejrpCz7OjymXGa8nN3W8WaKfvupcwnNqE1JcugVTUjiqzruuFBM1fw6XRPmcYohX5Jw1M0/HIceE55/hGZYxjJ6esXvC33hqIPSVytvv0Jllyt8ypLNZlh900VztPCtpRl7q/Fxn8Xl7pAOUKlKvyXfg3kxQwa41Sm/FL1lsVuY2u1VhinTxhRTerrVxIrBg3PPKNQlN4UPhnm8ljRjmemj3AtWOWt6X70KX2cazjRJZb25JjE7fEQZkm9Y304Mw4OPTs4lVdiSjB7dMGZA8o7ppHUyrDvLii/sPkun5/HlpUGJULqtN7LBJz4reXnj+QEGfp82Lv+c6WbTrjBQP48doSwqs+sXir/t6oG7q/5zUoKiuD/TDRKUKrLV6g73pUsOx9WPQsMGKbg5pn/E348gezWyEPlXGurGaV00g+9r7tp4i+nCfJ8q6Kc2m1HEkzT4pkVldbnIMO+J+xwvg3zCO4ghOAWOOfnNFPCFfAUIvIkWySYUXcDcYEWzRm2lb7AzftqyTmhLTFnyrXiYR+U4lKM/Af46Tg/QdnYovfDxszHibGNRk00OUkn9A1SRSXhqMIuwqWZxRGpOxBJCbRZuYZI0TNkokRQBkBXLj7XfkNFEWfZRe95a8gMdq5ArrV6OTBL2PYqCII2zOI2SUv+7k5lnrT29NgRuPGHocyG9OAIPU2ZJfSXawedpl15WpwRZHNuBN09YxyPI89yJI8YqxWVFSMEn0/CKEMgi1iyL2/mo7r/wh0ZNQUDKgj88LsQguDGT0dEk5OKJcybAcYQHF3yUtzhsgt1Jok7TiUWl5BkTMdyOsjLk4CfLBNZWb/fNQmWxHd/oVp5KM5WlYF2XnSMoFgQ+4OyiKMdOYi34cRcO/gVDTk8H06U6uQwf9CGZeGS93W1LAVHanunKjtBLC25uIR77nGPx5VLjdTv7YLY+5tVTzjyGuVQEhZhiGNYYZ1o0tCIZa+ZACcOuGv6mI1YAjeBfccKUDcumY4+Gt7hT8qtnLI4IyzIYhSgA1WjkZka7R1/y4n/aUHuckTdJzLN9ZVYNMinOZbbFCc86b8OemdW5gPMvAwee4rIE84G7kYfsXnFYXPaTLXGv779gN1vggJFkKrws2V4TCd1Dt8SbW+ZspLxm6CmS/Fao0Fv7LyeTPr2/ezWuMhoMyyR/cbgYwgmLcecGwjdm5den2umWecTXiFZKh0xAUY2fMaBi7m07uO7Xdobv4b28TgL4Dr2EMwvdO6mICXTkHSyL1Yrh6b5vsvcTlP5k+dSb6FEj5+bLI8qFwI2aH16qI5ghpUVg6YoM+pRmR60VK2vTvsiFm+cxdSwuD1N3UQ4ygpuvH6MtfLH7L9EPcBqkl5qCdNU28+0kT+a3LhoBHJJ++IJ/JXQiclh76LMXdds4DwC674PdTzjDsZnA349afaOkkPl6/iXC27nXKxg5CrdMSTob2gD7KugHE0kTg56OZHpR2IAIOevxmXUDby1AGhj03+f496pyX/HJhONrPWSTk+VuemGwy8L0ncCVqEtm0sZ5Ve6ma8lIoHp3dvpICAdWiZJJAiwWWEPE8JkzfnB8I682MmHXoXphG9DvRvAgux3GD/NbfqxHNvHaYHJ7TaeKDjxjijPmDCGmk/oXS7BJvb7qfG/ByPRefl6uejmmCD+3jtEaiqWZK/i2mvounig5v7mJ8ruoDp8RrJuomiEPaEivv5VQqoX566JYPMMw2AwDPsiE9OzoX2ZgZXdMhkOtvfaEMzYOlzYx0WF06AOi4qTaiwHEYh0Wyg1yElXhITPeBcgwLOQalCsp+zgjLGjpbainZJw53GaawADhQTC1V1+b2XdKqI9L1PxMqHltl6tZXxZ8M3//VxwusT0QHVqlECEDpIA1RRLeWlsbncMQmm48HpokIviU151l3CWqNgXP5ff9t0OFUcjcZcQwvqMTzElMwASPJxVAxAf5+iq+fV3A2y5S/UfKvxTGQUdPVuAmNR8s8N6F+FjhwclmrFs1YtmWvZTAitrF9iRY0JImFOqDWuzGtrhcqKERwQaz2gH7yRYj40/BXmMn/jgJGmVtjslWxWwIeAGsn5ykCUl7N6LzzlfyyQQ1hskt20x3p4+umt+iVGD9eCmvO7I+w4r0nHf09t+TSKpab+eBqM/Zyc0b7ym9p/kj2g+vvQFXV6KcQocuFNsVkDm05hRdH80EmQ9ODOi78LWK1Rf6iOVtqkmROsJNm1xYQmCf3Hh/HcjCjikPRe8OSspFgNu7jgyvKvxjWXxTAgtEWBauRNl5ZgM+HoAy3a+4JWTjWC4QhNcjUynEzmtCzxWCaIYUsHQe4TB5KOJZdtUyMkAYgv76TKdwKB7VDl9uJoHespS1TJhBOqywqt7X+djFX6nrN+h7KNFM4/dU5mryIyTOG9saX5AydOZRysD7VBkV47KjN8DIZ2gbM8xsVXaAOXN6rx++lCvTBAY3L8Tyj35P4tQLbwbzvf622ZUX691dwdAuJ0eu2q7jPSi2g7g2ev6eE0yv87Mi2pcrvYjeMg3gxjf84XERvUSH4Www3u3LdLCXVFiEhnlEiDGt6bXudAIZ98N+nhYDtJJrzqqllyZENbLBa0uZIxxSm6ujswmFox6Reg2mzpCT7vUxLzJG17Ayx7X6AXkkk5RPNpAAUABpmPV540e8AnSfbIpxYB+SMu3LygDCMmXNsXt3pwmpvPeUmr52I86dX1g1oYshiaBuHECkYF6EYH+Klj3Q9/Wf9DuU3xLhnpjA5SRvhA5plLaZc66gypENH6L0Zjz9gmjHm/XLuvV09fwiNSuh8vqinIYWm9Im71ub7pLLaRy8G7UPVV4zlYqXGvR1yQmvtqNIG/b3CHVRwU2U7DdRNzD3cwgARsKKWCqkOZMJwFST/jfneyWKkPu2Ls3T/+ZRfOwaf1ilqTwPATKg0kiT/WGgtdkNRWeoZ6jNTScOHdBH6XvgEjw9baw4Z0R+THuQtL+GGBSCn9zqckZcIdKnTRWwE8XIbQpqMlHfzpB69mFop7k0iuvte1/XCXiug6fnnSPNOcz+M9f0tRvwXPN0qPyGm9uLBAqETT1xk5Bj0s8f34V1zmx2L/l4tUfa1Wo5ONeX9nXwQyRjuJrNmSSYiYa6zt/ch1WXhGTB1XTN3R9RhiwUK7BKTB3mjGSuS/RCzzlnEsPr0X1+TAQh5KS0Y9kwb1CNfnZq481RuXSOu6UE3GUL0e/1MrI7+Dx49DpC3cde6rFFC5DE5XJtLsKZhBNKucW3cZZZrkB1bz9K3KeCwYLeaJVyMiTxDFkVWtAgbCIcft/IweoM0oYUC9lIOyB2FgZlNCZKwrviLkbIru3UKj7fwqY2Wc56pvemIo7W6XAA7eRlnFdNFBcVzoob3mjBfP9hKz7H0HzyEvIl8ycpCbieqh86ZGPT9n+/IKqlqCCt4VUFSp6Vqtwm0pvAkcgumAJ9FZWJbmTcsYZFqJoRGNk3mi66IvAGGDue4r9rrAF4jGC+l/6R5suhgn0DSxqWLlaAREmVTOf4dyf5yxO0InegieBzbxtkpCsYJt/Gb/Mr0bQa/H4fHcGhnsu5x+b7nztL0EEun0svef0l1O/3uIRd5RLmDbjFduDTlEfLwgzjg/8WXzQRER+Xz1OAacktxXhDRTXIkTZ0c3T9mKqwBuHw5WxV8CToXTInS8d1v0TizRDqnr7hZcZupS1xNvp7U8o7+aM0Mre7CDJu9DGIUUyiEFqEIc08FIsKuKeSM5cmUqKAOV3iukfEcGfEE8ovxfA8y5uYVnyTY5OyDyOatSjLsKYbzWFMajqJ8vMC5knqbT11TVze7r/wNBSRjcW3Z7Qnv9KqBBM2zvLweItVqxqZ07mhDs+LbWPabVb4KMwoFuKxLfPthyu93GpE9yQqY/KPr2YuMTWIrsTiybb8Uzlycnd0dBD1SJAl6r2BHjpA0qs4XNwoA6TeX2b8JJA9Vt6bW2exXQwEpQilgaPA3L43GkSdxvrH6llYjXnKyteROnPxXheW9wK3VYUyQlWPeTQ9a1pUrK0iBwupBmhs2SpXAPMj+ZGeVOcZlIqHCLhtkBKcUO55q17i3PTsv8WRhZ2fU9BtAUalrpUUGW+z+WERrupDoZO3BXT3FLgsOHWlAuMX/UR2Ltj3EzVVbxQatD3VwuoqQhgIKVxaFlb910DRHM6CmKofVLBvecR82RhTNR7fbAcKbCSanMX0QTVpvHQQBlbM95GbgoTlrn1QpxXPHDwUejIhYuVMpzUssSatOxXqNPVc1HvNZa8pj3ya7q4NxEsJRhKdAXhnUGvtns2igdJMY2rRudGLAGZJD1HEpX+9C5xCUD69Dilwp56HuHyFR9/J/ltp/TL353FH909IGat35Ynui5IvHmV+FiY1/lv/IWhCT12CdMBr9/z+aoTMeNIPKf7hAl6y9Z0v4yAFK+6LwboJVDsa9w3QcZxZIAEz7I1+A0V6zYWeADonZ/fxq0k8xf9+c1uXwdkSCex+uFgfHTKj1nOB2ln4JEHZYYgWet/UPJONUbKp6LJf65FSyMs9JhD1owIqI13Ufmuu0JqwVmkrWtGAwoz90A8LZpxOnLiOF0xopfvccWqLdvoGlf4GLRjLExYrDWkRmd0tPIdwNlFJAIt3NdwYRvvjg16GDLWLREnoJ6B8T6GsFVnZh1TM/yhNNifFnN9TPCsatyZQCoT0Tcp7BE4CJwBKWQ/Dv2Te3kGWj22VIGZz22SCfGh+rNjVQIXRaG1UgAVei2AQlApHX2F/twynzHXB9/NdJ3rfNL8fUpqnVdyFqSDIn4hRiJak42ghdI5P1pcXtIeM/GW+eQPe2YXbO0sfh40QV//y1Jj4zhvD8MTB8CEx0IxZEwRpwLnnwrbMVYPnE0aD0und/VSk4Ch/tpWu6fY/g1VdbPNnv6diuUaRR6OWYUo8SqU+pn5QhG2soyI7IQoW/FzFy0HXRgIVC/Q/5kZTEkqKf0oMg9wolJxb8EpXcEqvUa64RrAJcygt0hNWn4yBjryKLgyEGHBZRvrPy44Ii1ArwXWsl+NF+NTy8mqskGZNqQ3EwNLQI0kOpnBgAB8YVoqYnhTZsdn8LydPVws55qNxN4LMAO0akyImhjYXh2pds3dNh4BZ68qptJ7LX2YlIxVOzcXJGmpqdjH7hL1cbtTgiY5DaU6mCDNauySHnoasC2i+nEitKvrzJL3dq/96qXXEnH4YYsaCJveUbv7+o1FyZW9xyIQIWx+CrDjfs/zclWqQHtsINSjw3+yq5C07kqrTfJsU+R6RsvycyryO4NEa5jg3KrzmYEhtV7yiZigjuVh43IvNPlNGK54r3GA4qvZyabgE35Q64z7GJqyOG5PG8Jr5Kou10gyGudCtc431c+a31MoEN1MN9vqfLj0E/X+WZ5c6KVZDseQOnahBKt3vqF4BjGgWClMP8ipMwA0mg+5NGNAxriYAh6STbb8PDGFFQTg98mS6hJ0ah8LvludDT/FlsRRf95mdWWipIdeAY7sQOqU3Wf4peRUnZbcX+Z2YsvUdlukWe+LwwIsgVpMhDq9wDapueZ5ozumnVGMqsCJ0OKpnuUJ5aDx1cKRV2Qh32JkT+UMmnSEtBz8IgBtGX4y+JyyHK1tX29CmZchQitIjuD4RGp08Shij2/VFzqqUQzd5wWrCm3ii9uif2hNtDlcR3E9dXPXBnGSYKwneEFeevQkDp4CGw7AKwWbkLZhUyutyBIFUoBGoH/mujaAjDA3kPqD6Q8Vi84VtHQAT6yTavagjtO9CnV98omUMRF8LRIntV2O2N9BadUP8d/vVu89QCJ2on4FS5DWSmjCoBAHnF2DURdlr/S5/GK4Jtj/rMWms4iCGXxhcWgv5uQJZcQOT9ZB/o2MbqweQXwhoP5IsTP5JfE+tsUrF7PAIY3tpQdgzjTqOJue5WXRMUjgzMua4J26Z2+dMolC9A0pcvw00y7uHA6ZvYpCRcWTGNLltcC79NwiIKwSAGOkvb3l3+lQh/V9itnJcK9fgTFJtzVNi7Hzl4iEdgJMajPFRhdrdudOW55gh/vr8oXbkNeJnqmv1spexwHeBZtQv5BmiZe5wm8aawurcXiV/ycwoo+TxMPzDSGSpjmChYGXhFnANiVVwxYPxO+Y1Eyd8xgTnc9vAca27J/FitPuwwZ6azqoZU0p+smv7Ubr8ZPlO4j0S8v1IxtlidnemgcJ3aIj3Mk8KU4egLVgaFzuZMcxrEFI+rQj3CQq7KOjv3lLldfPBgDIOWyzgH8fs5dISEE2iFQVrMASUMUWSPWaxTbWDGeM1P8JjHbHNjBtZRJdXbnxVsDiW8uz96ms9GtuBJkQar1MZ26U1K6kzEH7VEoCQOXwubOVBfqjkwqsCEQqIcuhfQ2p3pdx1GI5pwgo/SMShO6WAY9bBF1MVO5uACwvkXtoYm9gX2aQuLcu8j48P/jXPCTHjNLXsqSama8wMPAgiyqlADOts1nk1A67R0MwJ1s7Ah1Na22N3iNvsOsi7A8ZEmA+wiD5vQGq9oDPP/GX5IkXFO8HcA1SZWicnvvS97bTQ/XaXHLi4pdWY0Kx/D5t02ASflB255N96GcukDhc8L6Nw+0WS3Owr+GNSEdDVtbcrBPBx/trqJaVM1egP9NIMCkEH7C8jp/+OwFLWfLlCMGNWCs5NodtTA8LWH9vziJ5aBsn6359P2B9MmuVq46Wj7u85X6ReWc5DgcCcPOsPQJ0is0PyB7vqw0hNinlgMYYKCzqiUyzjk7eER8Q+N55FxwkVd6rTNUiwE8oEyt8o5k+ML/GJtbiFrl9C/E3xetZVfhMeP5VVEhSeuaPbwV0m0391XlcM74L5/s8/8TYAV9ilDEADFVb/rfHDtUVIKrikeM3sbo6Mp9tlG9PjBSkq2xLah5JWWeHq499tcalBfKsHagQUQPA4kQidNsZ9vMa+THhgYROP02DLheBKOfKHvUOClJMH/DsUSoItzz2f8WBp7/5Uz1HzV7M30xjOvcn+bl9S6lnFEmHZG+9wIHKQXIOvJgx+R6C3h6kk5rLUv+e5olQRvtnvxpl5QxHrP2lomN6qHeex50hFUB32aVlJ5tburdMqkUPkXVc6BsKhyb8hI3yF5IUxUcXrgcJEEmadq3YDVhnHXbuEbxajpaGJpsbiQTH05USflX3UIkVG62RmTr/uxSRxz7vuYjbzvn+69Cu1PWfe7Fe65Xut92pw/i1bj61lS7R5YuNeIEmWSXObGw6ZxZbAFOn0KN2Cb8YdsTSEmawlckMi1a7Pc6iea/LXfAiFuuphKXwM6xSwiew9WyZEEgbPo1sQh0ZMetN6Jari08czZVJjuht5ZTRiq2PUh1kwkeJyoMuAvi70Wp2i755sObZn6dkB64X7bF9jPzvTYPYz9i0rfiCw3B+lsCNMyAaM/bgcAiyvru/AMXYpnR62/ipmRuuSR/8jV62J2ieqxoqwJafJJz/yX+ub1ngOKXMResmZQMHC1vmS9M9WUB7W45a6xHs8hUCmlp8bUodwsOlCNwSG/Lo2xnVyiiw1+rDp6l7wOklAXJLs8Clo2oE7CcwJ2WCw5wr27eNfzgkzZpLHTL2YhUtJiPP7Agg9Aj850pAOFrh8phid5/L7LQ0kfSJ8qNsYTkLfJ8U+uUl0G0Y2T6Ut6tSOV/K+RnGZJmbl42H0SZgVdfHQCe2HLuCEDx4Vt3TyVDmUrC+XZW19nmpCLVZp8bMk0Ixshjo9albcrK4Idaz1tdXKfkUM5VSDlJWLhRCUHbcV3KKK+DPdz2pn2rMWUGhR/04uME4DMKNy3IGjYAFMzWAEBpqmQaAJkYHfk8ur8/dOlAZd6H1XU/iXtvSfR+H+KzjopvhrgI+PGa2HWKw2CuOsO0CRmG/s4oMy5Q2qongg/VrMTRLm+O0JX1Rj8fDAj/pQuFdyAixL5BX/mPShUNaTI3ajL7xFTWKG1OBS/dGLTl+z+W24YYk3iCOdFnUHPwFR9MZ7uhU9HwHv49imDrVl3TOpdHYqBwcT9ywWiELmq+j4rdvwTcH2SyfXDlb4KjBlHSl3dxUPd1IMMJjy2tTCMPOwotqozZdS+tyZj6gL3YHddb67TBV8gjEeN3KeiZ5b4r/T0d2trewCi4sdj/SvMb6V9NS+V1qJe2bRp+qxOqBmcQczzeBxbqbac1EC9txQZWoqRVCxfyBg+2CdABDSFptMr4qbbSMZtewmc7q7gf329pUFvc4UP/PsegWf3MhD8dSQww3GpHoh8oLN9nYfxgR6+4jNHogE/hoZjpAsPnFsxgAS+C3fCv0NbwZDfKeyLfXcYPG4yNksuCW160eB9bTzSG3ByDKL9XIZiEaG9x9icvanh4zkIKR4cveVu3Be8Od8srejPZkxidrqcPWSycJE+e5rbEc+DYh6KWECIPV3dOI2BN2J4YoJMtkL7k+qtzRq56Uu58EzFCDO7eqOrrwOXg42EBYRmVXFd0CeOlJA9XE2L7WCoAJUVm/QbwgkIYg2TR2qaZ73Z384iO6vmVY3stP+0z6zRETTxrdl/8MKzhP3dkVLStew5S33fKRYnje9K7lvRxFpmZCvHo8UepCUVKYjzDRPS+PSy6YR2uDo9Oy+rkbpqNfvkXapLiXRbNPYwRlwDlH1/v92uXu3kHzBnVMv/zRuQswtIAmyQ9uxF7m09E4SuQLVPGhQG0ELIKrL6dS92es32FQYbnVW6DFdNo/PYYAjWLbwN9zGUe9HjuMVxbABrV8ZzcLe7t8Naq6bKsod53Z1cidzTcu8UQJ41rzoC+DRaN9j4wfBd4vDmQ0bWBDmFPbPaPmCOruNUzhTdj8FzEq6ju5EcogjnZXWV4KD2Ul68H3MMVffXTXdF6xgarFq0RW9Mp11ZFOVRbf5K5hCmRV6qmWPc5Nw1NfgTAFSRPIlxtFje9ajLhqaroSNKDy5/Jz9G2QMi5sPw3GbT3NjGsq2TbwSMCX5oq7HiT6idlx7Z6UEkBelXjs7FIxdpDAIeEEWFYILvhHS31r6N6aIVDbrK7722NhwGeuJA1imNaR3p/QkKW8n0GbuqouT974EATyHLHi9K1h92BpDJ8cMRJ3aurEWKn3j01hmFBkhyKH543eB4lRdQt1NhTMcwwm/Ua2gdzC1l0pX5g1sXdbw2EkvJlcK/HI8BeMbZblsrhgfyVrO3Hv0q2njtznVTuQE/oMgAiKb3yT4kweNuCHyC+2YsL/li3MFWHDDTXDbb/HyBPRww5SfsKZzPD0t2EFXSdBycyrZ1F2kPruS4IBNUR13/vONt3832lSxs71mCSPrva5FO9xwvQX9Z867w3KJqJ8SDWXJG9aKXkz5OFJiIZew5GP5WQo4FGYZvSp1zVzQzJuWiGOkRwy+72r6/fWSXynAZqqEmTnIV3elbmZxGinmCGC4AHEMgzgjBfFetwCvILaTu8kPr+5hsEMw24rE9WhROm6jyZ87pewuYMH5TiRqWpjcEXT70flKqgfuJIzUpYU6LN494gU5SdZ3Hc51EkC2x+BoUJSAv/FQTORRMjLIcwUjr7v7oPvhj0AybAZxtKq6fqCxrhkCuVp5Ytm++PzLggwqZvXscL0cE7Vyu6iqHN+PvDTQ7SA/5ghmylZrW8BXjCEep0rjJrDDzBCKojCzKk1Mz8y4O9/SY/cAQo8aV337Ff/snEpks0w2OwJbJWimkaWa7E8mNRwYUHCqisO3nxAcFyha8rOlbaDJ6VLaVqN7/7puBbLyrznbPU3uPM7eN3BgRLoW+6xaa/bBNBzhPE1tLG+aikV6CCD0Zbv6unbzB2PW+zEugAQpmwiBnqywPP/xD0E7s6qAgqk9eVM9w9X2Kfll4SCFOFlLWFGkwZ1ysnXrmzzYLgDYt5LYaVerb/45JUVIFIS8pDw5dsb/62NwbRUR1pl5M1ombH84HJPIpE0xSYZdz+Wk1Dwar9lxwZmTJzryzBVl/wcjDKTYaA1tn3ZJKpj0bnkSHcPzhQR4xZ+gjTirmco4POgUwy1qp1SzIUwNx/QaGGU4RBaPnDhv5qJk2XIa0wBbtmhblJy89kH9J+cd+g/rvBWqU18i0fHpUiKvC++JZUSks9wy8tlxJ+oW3VC87Werz+29+XBucLBtozhKa26s06asfYLpJQwBDcfKNN2+Fpyr889x7n4oDV/qVk4pFyVde1uzapy2llrNf4NM5ri1jJaf0HoBd0N12IOBHWu9tOwt981mKlhvOzm6p8OcN7HO6aDfvtyxiOcYtsDzM3KPAoVtaA18X2cTQBktGSVGiGMJzu42+atL5YBqlSgz4M8JbP22bPfvzf+2u+bTkVNx6lBJA6l1exHV6UDbaVd+aNQkg6X4W0YClNe/ZCTrr2lyXHq7fAzc8mBcT3qjSAsDnlGcz6VWYKObWKcrnXWN5ruxMJ1rdYX7AwfCbWdekulKyMse55fwlI5SHsBQfJPexk8OktJudPaStfWeI3qxtFDOaSq4eUN564skd4DmN9hLkIBz9eaIprQEjCpS/Qlt0vOEWLaXFOSXfTHMiExaklKYhN0X0d2KInwpAuw9JkmIt50BH2GxSFPvNLZm6Km+F+lN6DyIPHvYh6UdknJg4mIQl/OLe897aDhDWVKiBKCiHifgHfjH8b2VE73rQ5faXCIGqGyC5qaIujURIuoAzRz4fvMak8No2fYZs2Uvo1peImAjDduADwV7eXmsH1oA6o0dQLtYzt5ISgaDI7wBnbt4h1hLXbUKjfeq0PDQQJ8GPylmxRGubMyzNHoelVHxB0oYMUncO38yrL0oVh4j8j0CxNe0Bv1hsDx2J8q/wR5Bf8DOE2I3H7gwQOrzhfFXQuicQwpRlKGRrKM0QiwaRqPkGmE5O5GP8dmfHMtBoYMUGrBAbE5Sx4PTrA23igSkf/vRW65b76I4+PCLGBMRKhnaIkDJFBvrfyLqaHO8U50UiHV1CAoE6C/Cq9Xf65sDtfAOb89axWLokdOs7Vei6JxPrdcl4UH1Io5yiEomUiCgkmRc4oweU2m8ZKfueaCNaxTDqWWL4hzWcVRFML/vEhML88bXMTnLDwDeIsfg9MKUyi44XbzhKnbGS8S1PT/GEmOYJ5mnyykEWx61wJC+lFLgQTC5WOjhA0BS0jPlsGEUlZ7tN/mppWSTgacVkvABfLZzpme1/aIlK5XDFkyJcUkf0iyCDAPA5a+9+JY95+Pw8fXDYHQV+HUFRG0NmU+AgQ6/9yLFnRsixGIJ5n2b6EI8DGm93gsI2DCmg0qO1NKRR+UfpKo6l586bHTk2ji8+edhcSUx2hDxPj9feqDC0Qzj672/mNGoirEnbiRLDi/jM4CrK8uF7fqvYm1qFMD6Q5bm05/EjSaqK3qKAafXHfkf2uP8S4HIj6ozB/e8bUk1By2GGYoo9QW3i3ZXxYVa/+rN2+Te9hOedKBrk+iH3FsMdya84hZ4gc3vBYAWHCJdtqipGM2zJ+lysVRhSeBelQF9/usQcdkXcdBaUcS9w8SavnpSHRiV38hmoHAqJ7EHKh8V8Pdx4lNghLYFj39AkgqYyfCH8YSAZCLbvK6KPCPnV7prHNlbaQtacWx1grkjaaAVZFrEvhiUReCag36JBWMUgdJwFZokyEwB3tBlrn63KsnH45toZ8sdyjjAxqNRYFHCrBAPO5J1r8Wi0mRYq8AI1N7vXNMiSUwMmtnkM6qxbrFXLIfMEvgoRIs57N+Coc6p/XRPMq9XQBLSnNamG5x6NJkV+2ZaJnbQzNsl+J+VmMwO6aVhRak43ZvR1qSz7p2kRJYH6u4k1Ha4kX8s2IzoFWw0MiVsXd9hOUFIeGe92Hq/KT/QiWxHeQWj+B3DIuyiL0mvkVVDG32WErJ8A8hRY5F+UVfy6nbP1EnKGCho8rxhO03GNk2yln0qVM3Z4CVierjXyRASuoRV8xhAFcn71/WTRBwKe9B26fK1pC4OyapfoVZ02yOfQaL1kaPfcL4TCkR7GxF3sgebzdIEwiMIJdfaCSS0FlhzLIRyOLwy7iVJtTuFDu0gJ8+Snq+qf1WAPaPxENgsufi3GCPimYU8kdcHiNpCbDk7DKKVZpJ4qTE9/ArgaQouleBtUOPB25hfX6ZH57KHvXenyEdxN8cT9Sq+kaFy/f43HeFDVgfZvit/hIo2DjzlQJiFbfmqCqt6cR5418S7sO0ke0qF0h4IQ8J28lZd2VBen7T5fX2kZrxnfqpy4dYw2Sdc5qGuvKbJaKWJMuEbSTC3G6c1VGv349N206oc+bKwPML9THGDwAwFhS7pF0Qrrd5n+UfaUo/oaJ1qt3P9scccmczN8ZXt8Tn018yrjTdF/aLc4Ym7CAAnvbaVecR2MZuWuiIel7shpHnpxr3hMfnVWmN5l0Fl50jO0zO8SAtHt9eYqcwgaCp3Yk5e2yYgSZmsUF1SW8mKzC6/vp3m/WOsT4qjiFqLq6nSfIW+iKr/QN1XQGhKv3Cgb3RBli6GqgfUj/wIN7/W7v6geqRjm0J9tm4pmaSzM8ckf75pVwP9VBEcLbm9YhcA1YrzHiqXCER1Vw8YDOCxNGrPVC7+fFu09xgun8BYum/iT3q1R88nBHR+of0N5GW3HxaeMH5th4Ifn7lWB2hCpotALdaPkHVibAyfr3u4sjfr3gLBt7rKcsUC8cLYFJ8p0twCsiRizEi1KNrcm6sB9/FI6sROKSfPJkOEVyShBrodCBkbQYjKDhamnBH5iV6WgtwB3upYw9DxvjjPdC3DJkPkQp9NfYshyGBRxoL8BwciBvBRhO+cbXxmyGnDFCTWkZQyJSnpo9Hul2JYLnpCmriLs+y6D/JL5JYLm1G5TCBy5hVti3oj3AnhX9Yx6CGAjvyM/XY67Yx1Oa272xBl6VDjX9tGwlayjU0MKIPuk6TNhfTP/ptuXlYjtnyi4PORIFZG3jstQOt6QeUC2ITu4vUr8Exa4w0FOMWV396Fo7mSxET8qU0s8/qi3cCYN7BtZSIo4xpdbEvyuLzd1yddPZvBrr/NFjSPqrcq5wvYAT+Z1TThcyxDzqWAGl6kGYB/An/OTH5C+dvAnN/xVZ1la+QepwXCY3BQjqhk2c/rwllLPf3LkQYZjycasstiH3lsbTPMSi2TJTwMwtGzbciYV67EXy2aanA9GYDX0SxGwQhSXhHyi4mECm90Rxq7Tf3JxkzynMQAlvKE9p0q9AiX4ari/n4fBaS93OqaGdbfWKf+8TSLUp5qZAKkM/wU1X8Hj/T1bJlbOYNbeT0I7qRju9gc7VNrAAWzMsB85cgGSOTjJLJ3oQjWGREdw0KXTDYERETFfA8dxFq+K+BfEMQyFk0e1jim+v8GBSmU9puCj0KQjMJuiOMTyvM3iep7v+xVcVwK7zBXC11NO1ANrHoo3n1hT6HX9dNbd5OH/SIGLEIATCGrMWF501wSc0cfapvJIEofleXxc69lUOwYdd4otyqEpUjbcOKqC6OATsxizlzySp1zKp1ggKuuCXE8OiDwR45c5A7LotJuOWikPT4JqMJFvVFghLrr+/MnKgd8UkML5MH5b/II8QDf3h4na+3tghaHqd+PdHEjWm4TXstgVHWY/mN/rxwkan17KODlsKw4w07nzF1Ytbyen9eKYMY+S6ZdP+ni1728vVR1BrVPgpH9vbZEHDTfvWwxbFwd3Ws0pTrovC55R7l5tWbQI8dwijlTQMHsIaNJE9KZDwLMSPHFKWoNpKyPD2MrsxdVCgRUBiNjUw0jg1xjam3QiHiXhtmSoJy9GTIx0wimH8biEvoabvFWhfPPQqUyzPSOhHG1ux3fcMqMzFncVFhJ6hbkptN1GFmLC0vhVKux4CwgQ3WhhZcQXHZqygHHq37SfRbEIoJSqhR60pS3OCYI7ULp8nqwHgtMoWAHzTUIRp6FXlMTGad/+mKgyWbGhYo7xGeQXez6ITXBDinPeoQ0lDTv6JdBLoIZgAuz/JUPaQBhL/h6Qh1Xk75XJ/v2ox0nxfmXqZbsrFuULG0Nz8etuw3q7WHU9n0i7VwEQavigYm6YlMkcTo4ie132PurX5gnPDdR5JxvRdt5p+onVws9AN56LhY09S+J0K2NauFF+9HOEUktizmuY1t4mIdmRXF4EwwnXGDj8HuKKNDu6QL0aqyafcg7eoBgoT2e2WdwVvP1k7rkaSrGrIXW5nFKLqhh1+qH2J+o4XtJ4p1zVfmjJzH/2XDMC+RM0tpRWpFPrfVMTVa3h6hntQ3+OH4FgM4iBNGWwNJRly13DAQBioDZoT3DM4ixwm0FYy41gCd9jfnCfvvetqJox20+5ih2KWZ0A4i5IFBXswbJMQQB+evyjtYTQj6sSLE6YcsIUXz12yDsbFgwiaF0elTy6SwnaOy1ffuhap5cIH4JeZtIRXWeoKAN+FrxGI8F20USL4b+xGYYmdfomGf9zPjty0gnMfhKQW4zn7fOpp4FgFys37sXvst2jgbI1A8QgL5xc38Iz2ugaUU4+2p+R1mdALnzqfV9iphP0CQ2261a8UKgC6bt5aQopUpIpGEVZJ9eDbKIRM5HVJW09LcNjP5oLvgvvjU/0jKHcUngNS1u0/q8sYY2wO/Xg9CIFrQ/KYZiFCYH3eXUzIPuG+/U3BIs1JBddHzjNBymMKjDFTK2Z57IloHD8eb9ONsln1B3oHAD5fd0/g7qcv82oz4dvN3HCS5B1kzDtWEaw08AzwUy3BHrhukVvA2E7W7v+O//yEIIhs30WRBbmC8BvvB41ABWrcIFFLk8D0bqM+YZuc1GtgFSZqIi1nPkW17fXs77ZL/OziO7dToLIjW0Jyp6ByUOM/lOSI7V20U0jkHpzuEhdxesskGs7fFQ4QiAqm3bVLSEXSzlb1w4aaxoXHK4To42ASu2MDCowAIareXTCU6r0/vwMYa4LyjYu5QOPejblmM6P58kxH7V+4CtGPmzbVZknKCuxjDYbxH75KIJOnq9Ui/Q7hBKVDBh69kv2KUHBnpNEZTxhXLujN1QpVBgDt1qSq1WqAIRQziQEaoUnNi01ls8F5OMjmRPcmiSS/AMfAnrdazGG6tst4oUZgNCD/AxHMRV6yMLelpCb8L6kprWp0izsWgonFIajL80HZ0oSi5G6NHv7R4LT7GbZtcHhWOt+4jCh2+nR8Xd0uuJsU98NWyipq7YVbJalZqUXBvEjkwmcaPNjjg0RpAPolVaeKJs2qY2q7FVszrgalCqBZpgtKTxt2cJnkhpDdS/vUlEqownckmg+1F4/s7t40vYK/h2JYPkreScWMLEXytPbOfsiIR2cbM/W+E28NMviydr5IYmaMjKgY5bHlh5fgyqAj8DVDpTxaAttt8eS3Bo7iU8ltpcGydi6SyiK5Blql5e0TF6zPV0KmDh+g1e4WhiDjJsQTAo+lOGKdTf7g5ybhgVfYGAHmTx5tHQ5Qq4BG4vQlBl0wusn7vR1ikBfFbh8rH38x05t1Sc+2iktuRno+id8o6CyptntEsuGRsJ0YlvbllHuo469LP+kPg9VI6qap8DIwSGeDfsl5wzy5vjfZ2WbH/TClSvZiy/KLs1vhmkg1+Jsi1WKpBpgOs6XPTUhb/VMAS9scatizh5QZg66XRxmomNqp6/9fOYTM95/+FnM0FywJmD3+0XlGAWUCIN6PvBNlm/SNg6spzctQtBNLlDnZIg46ijS6XgwXTC0Uut7fvxbSjYKz7Ijph7d9pf5+6N6myxyBHUo6CnNVsvKgSV2b8/WUJWcTNiUZDZaUoi7umymiDg6aecH89BkvBbqW2XJF83WsRBHkUBTtm+ofsiPRoCNwORj5Y7BMYwr46yl9haCgXN+Y2dBRFJGHUV3VnQjoAltr/sbH9f6Jjn1l7mawaY6Odawbht8z5VIA5WDHsEloroQWhV4SAdmmzNWEwCDxB78C7MJV7ebpFUcxgu+TcF6WYVOZ1V1k4rMKRK5LMK+NxgakfCyPvYfacuKXO9L+PHp2Q1Eu1mnGTlHHDwLO9lHBolI/TsV3gtbR7owWVJy2uQSTWMCKqLZx19UjXy+EG5r7orgLJQJFsviQZMp0NFj9y7cPEM36OxowQD0aEgQeIxHLdAit/uSm/ALy7wryjauAcD8R9TRwV47NJuRlBFNV/Ik7PoUMVEZoqJr0nDwEjdZ49rOQnFpbuXuQSK47MCbhphgzNoeVa8QMRLduVTqLg05ML7qXMwttuKb8sHJioG8oDhC3zEuPboPZMk1ngazviIV9sO/4qQ1qU2gb/0yEnGaCulGxf10Qlutok1xy6892EvUBIcSvw9rQcXEA9fkYjFQpixupjumA8KFS61EzA+jDeSa+WHTZVwTTMFQ9IqieihLal/JO0U68fW8K4LFhMECF/T2uCHXcGeM+P1q/6/GsJy25XCFQ/Cq+75QAsHCSNYR1HO3kNmn/E4HUK152D11ZKbzC5DUatTqgFaKFG5Y+VNbpUyD3I+Cwm31IHRHSBP5ivv84uSztYKP1YtQPquTtoH5wBYLy5Ywuo9VNc1326BlWEzPQ3GRspnGuaV78iLsFyi0ODRD8Az1SOmtMv3cZiBCYxuXYEn1R0Yno38QZs9t039ZMBglQCU30Oq0xlW8g2qY5eQPPSdOdYNEFFrDS1uEWYP5J1GMlOXmnM/gcsRUDiH5h/NRGA8jhEW2bwhej9x1gjLyNAXYcsrxbgQxl+SmAchTMo50JQrlI/XrPdIwkrSKpsnayBtn7RrBAfB280h+CM+48/zTOY+SkMNH6H+AnCHodRTblX8jqW5VbZORL20pDZRsBo1XQG85xRl/8yGPYsKpRG7w9COBk7p03IojzcVs+qEhk8keHBGzU+Lol9G+RP7suCXY037ZJyfdzAZafpIQQGqkyJ/NEzerIaGWVbEaWU+6pagYd5eb4Hbk2BiECcGS+YNa4gp8Teo792EQ0rWpbiWnU7n+MCAPtYtcNzZVndQ0Bf8oQf2WynB/ikkVPqFS2el94dS4gnGuPSUf9Tec+NhH996LY3UFWPDEY9WelF1Lfdqbg2FC4Ioshj4WxcNqJlj1t5pQtYETIzrVWqMo4BVlVBKzxgmtg18KNY/SMRv/SSMvN/Vjlmzpp2H5D+q10iQ2gIMLLtodIBiJNGj+KdqnLtiE1OfJ1Z1vRIqBl3a5GdJ/0xCToKd3BR0ZBL1IegNTP5pg8eWsHTCDKJG3c6HMkrIHBMFrkQpxqDbCrz2VIwp/UexuxSd/DhTf7nnx6Ze7/Zfsfnw42CmLiFXOmGWxENcDme9gxpA61hk8BTPDjWuzASoH+b4u0qXhdmr71al1r1FrfMKywJ+EOcpKMG6xpzdfkDXQAtOra6JqI9/zr91NmOFW/MAWTLr7cC+RfEtX+VtdZDLlJKkMhhQA7z08yMZm21QiHcbcjwsCfY5CQwlv9MCEtU7h2Et3PXwstKqoMM83pNogM+7Um97NFIb24wQoi0syHx11JOxbT+OYWCUD62sxTzytZ6E2zTNVyDNgI6HRtMChN7CMkydxvKo683TVBv621LwWP+o0fOcFgJJG6k2SxxaHk+6U39aIcnLmEAh+QlaJyp9rGWlGXZMQZuxwKAdDT2CDpsFy+CZPdZ6dzF7oTxWoU+Qmv7Rgnit/qF+prxpNCM+DQzGMpSCyJwgLXvSPAU166I11e+gXMUIILb//aXZLj3votLNZ+kcHNDXWj7nTovEfAfmOqW0Fi52M971V5hhEq9b5byfvM6xmesPkm7Nde4qBgEacqbtnMQlyMvSy61DGV9fB6nIJdT3HYOz0MLMQeI6lDyZ0PeQjWjfdi9zKMputQof05jw+0bYh37Nkt8f33yiRGwL36wNVaU6Qghuav1kl/Is9awCclX7kgsi/IBzp1cS2VXSAUs8ocsPi43LNdq+wFKecCCeEHbJcmz0Oz28DQQqY/yF1lRkglEBqmVxvQEAwabykrqFY/XZM9Y0q/6RjFJncQdLl+JaBFq1JplE+ygnvdQZ0Zz8XPLTYjSg1cnIplPZrI0MC2hlxKBc/8aHlFvyhUZ6Gh088fCJWhK5+o68vMbEw4DIBMffudcDXd63nN5NnswAb8oVdJ+T2yThC+KbWM3O9x3lwV3HoXaIJ+N+HCk8K464I38UP/IhiJFGV+ZoyJfk+PDBfDfb5KSswASBcwmnlNGZ1rLZfXwGLdUY2mwNeCxebqgDSuODXSdMUJ/ntfdD7FzNZJeIN/aL6plKoKmEsg9pXvoMvn8qm9ykGVbbPaveZYqhUKnk2f1W1Q7WfakZup6dkgcjTxkpWuACsapBrzbRogbIn05Y/qn0tLaE9kUaMUAX+kvY8/+vYzQNm9XeK6D3vwiIm/WCNufgOXnhcJafSKOhAdTk3e0OXj+5PEpzMNxKyr+SiQuQKZvxE06QDtO7BSR7gpTMkqzZKYUhkV8uuSpAVnMiVR4tuleZMsx5r5OyIAftYWHfABlL/yBmKn+vOt/QBKkW9vSpZW/5NbyXAUnjiCY4juLHcErb9kp1DQG//Pe35s9Ggov3JWPvp7fwtxwlOccxswDvJPteKHlV6DizNTM+7deys3G1GIoikorcoF7GiMlRY8i/ViE065A8KAyut4or+zuJwc6kgarnxvJHYxs2b8BOtvqrk1OoZJTJxT/dz473GPgIO3SAR3NPEv9yDEgqmb8UXq+NNivXvW3T3JkduOCnS4Q2uV2XnRwYC2lvZJg2xa3UQycV9a/NPdlf2XHqxxOn1rga1M0dHXmd2hHRXAUBy5UO0DowzqYJV1ZS2U4U3CW1poUG+RmMVWgZZCWV+8tODGqd/rnRsbQjKds5Vk733Sp6sTxR2c0aLISc9vEo3Y4ibDOyzDvKX+cPe9f0lnqVyKBFwINMbSrhYAsMRix36ceMMSTUS5oR1yyeH0n35aW5zYVKeqCktTaBxlZkXkPVEJJ5kdCgvg7Fmqs2v9RziNop54k4bZeU+rw4Lt4ehfLLhHGV4a0TQdW3YmVulzcScBrgkCOMgYlDSTLkRuIFzb/lE43xHEPUxZapQtdUkQEMjJtSPncxqUPnF7lg86V2SG9lzSSZUTTAveQ2gTaOXDCr10ftVjKaS9MAj4e+PTYVoEBD1L3FDsraqLCqVkSoSue/1jcWRt7qu7aBpjh3Rh7jNbnXPFJqbMciIKorf/B3g+p4xzRAR8GzgAKV5c3ocFQMXAto3n2h86qcNfc0IDHLOzXMyhUQUa6IN4ePdxM5Kt17Hv5X4CfwFnx3uRVRpaWRpK0JuwzIe0wJ9/A/lVQbpqELxDjtYH117CgeaLCpsqlUsjr74OHFXohBkKoM6So+ERZebtGUyDqnf0M8hPpzw/pBzlIlqV/+4Sg+yfG8PJFiXbdFUK6uuO8K/PFprUQER0UWo520ASgkOSd/8jheqaZSP4Vfp5CGHM0j0XOVRq+GOuHwvz4qV2o2+jNqgGTWm8rTFN+hKYtCOjT9muiijlvkuuUPg5QXd8QgKH9vlRTZanEinhKaeHDwbkQIiHRBgKGvEXQ+bnZYfJwK2f/7ICUVX+Ih6YiaEM4lIPYG3IOnCwaQfDmUyD3ywBjFAltcM5DvbERDWTlY/IrJSrz6YMGGjTCj/AC2BhKn3METOXuY5gxM7vSbv8Ve7GZx2/qn3fVtYF1VgqWroyPR0ZEbSap4SL8YPvOPcKa5lkUmea3S28ZRqDygrCkGGfpa63depm+kLuh7Ipwm0lBycU8tjsdwQ5l1EkgxlW7b1TAJgjie+MSSt/2GT89D2aN8ySJsiO8YKBZ2cA4gj6f2eGZLmCxqVr9fIZFmz3c6VRiJqTijG0FnqQA7gLuZAUgQ/wojoPHxv1000FvPew7JP5ZRodMrWBa4IbHlsEko9qnCXlUgWoM0xV0qEUHniJrrzkcVYJLR7iRHpwnJHyjn+5E57o0r2Tt8ScBsc/K4hly9hHuWK9Zu5fZcfbvgtbFHniu4I7Xoyoa+ZYkigSomYuJZ13t9Idr9gYrsyycREvpyyhOFDO+KJn/G3wn/hg/++F5EMnunXcHOEhbcAdAt7QvF2bw/pas4hn8nu3zSmrllHcRPtF7J0liUxxRbDZm4LULasH/lQ4rnrOZgv5toC2PgerXHWvSqw4q6+aqNwT9le6yGuFznlW/UrETbk9nz/d4swFEXU6sWHooFgiIc8BubqpYblPZCk0VnXZW7K0Q3+lOF8ZPdysqEeKiXOxhtko6HEY+36cJq8PJF8DJnxLhaCgLTfdnMhZvUH6vwmRDRWF+UkMXJqRDXlT57QK4UjptdvkjEBuetqDa3g61n7LRE2ulSq+IkDNRUTSi6BHMIIfmHkY2ARnUEQ0ex6WHUxNfP+gZuGklQEk5dkB3RlRZMi+D+KydAHJIX/HfJAYWwLoks8jpou5w1NVSzv9h/QBtBvd6i+FpcfX311lCA0wxPzE/0EVUFdQcMqisDeUBWwFMVB436NfmSoyU3iGElTtsROl60eWT0GmN5ERADwUxvo6i4/eUW+/7xuxMAIqa8JX6sBcYST/on1Q+WAfhPHxe7+KgUafW4O+OP0hivxIu3eJegPbaAe5y+9w+JXUD9MttnpCrRMSkkGgIh6UIT8K1rmHKo9WdllMs5dFqy+2oFqznqLGYuwe1JFXq8wBb2Y1JTlCfb/w5LsmBBML/vFMJUe+s+hH7TiWYIEbyy4/pHyqKYtRDUHDQX1QRfATTx4byPsmPq/W+RMKFXKZ0kcCgNoRrNUc9g3ztxkw++ohkQU3MqKtfwxbgm7cW6Ej17AKcFlGOomKjbGm0gIW6ggkZ9A9mrE6qG14dW6llUio3V6KuI3w7PksaKCFMu7S4Li4vWqes6kmbzbM2bfzuUiqf4vlnCSF26vcaG/4RHu+ZNFFQ9x2RMPCbiQg7d1DiRdephZUrcPKg3DxPS1Vcb9JTpPLyYfT5QaoCmjp1Ia3cNtpzkkXb9q31cyJf62owjvcZPqaIZs7nLWNaktNuS2lQaYHF/opzNyYEZLoEJWlK6/IupgoBRjuRFrKGQ0Um9MvN8SJLQBECdSkKCWMRqYq1ZOK+VGS9VPj/W0zkrnAY9/iVgPc3B6BHdBkY76EWrs1o9Uws7A3sVRrCG8O2scLO9Z+aOrLMXMHmQzRLjhJk0odrX3KA2iVMUfeh16Fjo1XLZIbCKRsLsJuup7m10d+aavZ1sTP+SUU8oWHycHKkgKxj8TwTyzGXgDhjPuYpU1z+RhLLFVeesZcKnxOG5Y0oYUYCfs2Zc+BgaRiJtw/oW6kFUS/bO6EpsfJZND3XRJ3t6P3wZGzS//G/l8LEiOm5l2B3xt78U4tWe9K6BTdPFeSKM+no/YsGW3n8OI9vCRlTE5rB9IUGY/hOWZfJNj9PLaumky0l3I1eFMklhGjrRpAYhWmG3BTbBO7HtnjLdFKhStLi3Ac5TgA/XPPR06FWIpFeZsWQliJafYtHarSK23GD04ZmEQXq4R+c0gT9r3kdi0NfTAKkACWhKwUeTpVqiyJA8Wxtrkrgff/AHBTCu6He774gOXz8slN3E6Mfs1cfCTDtCAFnpmgYw3f0nxyCu3xG+Njan5SuYGIPPjgP1Z8dZMHlYZaYR73hhWOtkuGhDdRRepp87kCWxYVlbNsh4GTnw2Hsj03CeFhlx/4WQ5UX8cWc7jX326ILSdVczqsp3Dd2YjTXckzZFOf8aapo/AITGiA2UV1Qded7+oF9/zx22XV20/Z0iNoWysxNUFE+7lGn7scBNll0ikDiMbrLdDULgLTWs+7Qz7bcDciOmWL6RJAAsli7Uzi4Z+/b4CP53yU3hv9/5ncJtAMKU3NDi+KZh5UUXvG/msnPtgAEaLRNNO+vfhuWxOueGNGlrCQCmj1NjkAccMq1wfNAlnMoIso2suarwwMmpTum8mLZ4U6dRa1YjDFv4BibLyiSC5e0C/dzBpCps5GWnAd1QW9ONaTDy9dRIop70tNcfIx3zCtGzsjP0xsgHbR7ccJjgV6NbR4mtZBQg1gEqPut58XG/uZAGZXeMlNQIBCPYUJPKrxwowDuy9W3xtgAWare7d7Lf2SvidNdbFEYFJP9VImRI6lrFuE5i8VsbU6Hna/IsEueeaPTyluicqqCQF6PCH/1CBdFXpLGyu2Q4EVn0hFMOwlFdfq1F5FWj2YK0wMhLNkZTerblV1/fMhTO7PSUNHKVm5eLssqQ+JvD9aa3IfFlkuIEb6d/BVMlpkn1bw+s8pUM9PoR8aEyjKpLZdowVS9syrQ/Lj+u2d6AqEDnyaqi6L7oH2TVz64iff6A9ONHxbnxKHT5wAp/cY8koge+LcdS4uG4MDfVmUqlZPbNLxxzTqIzJha0pVUn2xY1SAX1Rbps2Tgnlemn9py7X496gM69YN+btaHEVn+Th+DMbduWmHVhEIjEa+Cg93+4iFnxWNnw6QLBfGTf7vTBXhoiqwq2EJ9dk8RF9zA53CnHxotGLi+RUZxXcLzFI7YooSZgpTRaao23NXmdr/RHvCO6uu/KWD+14zCtpMUI2sZcT4pU7HtqYS5F0WAbI7Pq+IU+xEC3PyBmUCm/GXkKsWo/Ycwxq45j3eAPOb5xNj97dnZq/0f/KW51Sl/HL9q39p2yPRosahKGUigIbQ3Ft9Ri9gIIzkOqaijL1Wlj64t9z2J8rn0p58h4ReF2GP6ITTYJ6eM8MQfExakVk1rFWm0WcxLzkbx0WQV1zu8SThXqkpmoeKT3vXBbpcUEZ4FDI4NGKIrMdgTipzQFLPQNqQj3PJ5FBJ4+OuDjv+zrAbXEk8ONSwDP6ZkY/gXiU7CMS3U19Tt+1n8cXagXbBrBS+hI7Gpuv3uvqL5v2TMucqXTKZ66JMNIElK69PF4D0SlM4au+ZVyqwI1wMXhuah8V+pTD6mlZOIDsDQ5BE79qW/dawiABmoMPNflkrMet9S9kHQe2NnmS+1kCajqHVi1NqX3UTV35KMmGVHvqZuQ55Ujb+gar38dYxX2i0K9ShmXnhp4GMmZzz1u/Cxw8FMKKH2K25aFG1op6q7Lx1kzvbUl3662fiGqQTvy5X2nm0/Tc6DU0no8LMjsnvTqfBKV61RV85xHjkNcZMmqkctITC0nC7ISIJfn1PWRBrEIEE0B4vZ78+cvR+x3JxV6GKU1JA3U7XvHS8jc3u+Hlfir1nkge9vZw4bjA877AC64t8AA9phchV/Mj3cSijHkUN+X/CAjG23gQVrWkKEXm/IJXEe3s+DFVbstIhovPLKLDlo7LMs1tHFqwWDVXoLrev1zyfnv4lZEvYk20kaNqwYfJMqreO8oRh/XAppSB9L0VJZM6uFBtKrgzI9utiIgw+S78TEu5p8CJuInQsZpTqQjvJWP4zjiG8TV2yFPzaKjPHQatVsp2XbzTCQX9uqAJTDTUuVmrirId+Dt1B482YegzCQa5ErRaITVzWMhm4VSnK18EXJR1ZbYN2r5xR+oVFWQixJG+GMyNTamt7nmPWc/aa3Kjrzv6oHtuTxvXZjhecbYU8oT/P2kuVpFm/rmTt0sTJ1Y927fC3P3zky1XoiUxpNByARsiVmcl2x1rTPN4WHIIbCPUm/55n83+UXFvcnNeA1txL6pNM/+5QXMdzHnO3vgn4HD6wagGvTO1U+NozSGjixO09ugwAz/egfrb4sPAB9rf5rdo0VbzqcA2QLQ7wjqbTJBCEAP/PKEOIzckbJjbOhsKF+xtI2LzHGTHrZNKMDcPTGlrNTr4RKPVweV5FzLxikY2P/nhaIXFBkvfrWWu2BI2dvHxKCmc66Y0cuhKTXExJv3puVa1wivXZw2TM2bGNhBzjXL0YUxv9voGnloWFy59qNEOaywvTXMT2bMnfmbUS2yM9DgmNUXeQVEO37KVq4Zi0cWUyLDBTVWZozTuMh/qP81HND8Oc1PbEwGZfpPXlTddLpCUavbZ7CwomuZU9v7V1oUfS/nDRuc3oDdi/jQoDRt4hjg/681P3+exdf08bPnGwSVczMg2FtdRnoEGk1RJ4Fi5UI/PrLdLtTcnl9tMAD5CTL7oHFVntpsypPm6tDLTBjoEOWFlMgj3hAc0MMy4OMQMS9sm8m69bN7EtrpUVbNEmq9zbGVltllaCyh/nlifRoNY+Uvaxl7hq0L7vKUAtqnACY2jNDptpxfCX44SqdJT9mgrwmM2OZvQnbP0+zoQ0iewSelpFjlS5on4xSwNK1Po0Y5x8d5gS0F8FglCwVJrfpACqraxWwS1Xkh7efeMKFl3EJEfA86m3dqilvlgSOOZFz4DiSmJvITmXqQMTrp/uxtnTzYVIIwdELY4CVrUmZcukTSN/r4OKix5qqMJV8Zz1EfEk2DExAyPHxrtDB26pIHjtc8HMom2mgstk7EzX1afhCX9tISBkaBSdWY5uMNk1ZYi8o4spT0VBbA+fwIXFpTmAUNppLlcvQphA0IedkUmngknwNkDk7ngi+T9Je/nhqYOy3wLWjLjGV0VFAh+iIHft/Wh9L4gkKDjHmEwK4fHEq1COYrQ+MlLN/hkEpigia2R1VLrveO0UjJ9VRQE6up1ULEO/FH7QmwFvcyVsLieqME0k88QEh3Oy5ZdjSRXzPByJ4t/HNxdaw6H6wkDKiJ3331qBfW8682XaKmNbCCtbmpTXOwLdYHp0SVBhV3ZatO8LoMx/olx67AIQCL7ngM+8c7aRriZNwleQk56W0Y9HlG1amHckEVg85Y5Rf65Gw4Y9Eq6KiqKF1GmHlzyoCI4eyrBG2QVILXJaBi8J5/yXu9R7J7xq+1AR9Z/aGLeFi8IuGgYH4ampwLKa2TnP4xYr8rZX5C4qErxqfNFPHtMOM6eMcpodIB0c+qAbsQR6aQqEFkEVHxguQtNKtMpjQ87jeaiDN/Az+nni4/0TX4itCApAqdndzzuAEBM7M4xrMAbhmdZxo2XJX8HU/yZyJFkshKcpAo2ve/0oL82FQBIcx15h2N3yIXf22VNHsJ2Pp+sd49k3mVn7wuso1iy/iCA0UYYP5qAklffwTGyS2SM51q8DQFg44FF0qoOmOh2qigcmniBABJ0KHEYw3zbj9iisGNziJnO9Yctkc7NB9GDeMihDVDvL8TEnTpT8wiOaC4sN3bHDbUfBMts2vXCkUAAm6CQy69+B9JxpBggd1JtzAURmWZ8mO8MdWXAiGfcRCSJUpGxOAA+ak1O92H55Bh4gbRabu8Q/xvppJZKfYBZ59gtUjYK2lXx0Bwj+zagiQOE2hxCNLyRc71cCT5GThYEcTrXGE+2NigfZEerrSg5b4qRH+K42T3oNGpZpuQXr4y86+itL09Vd2opnL3qUR1zlCGTyDod0eCiiwxvInky2RSOIQDHHXM/JaOt3AJyKW0xq4znOGGS2yakUoFeds9sLQAHsUQcJpzf4a1nl83oVseg6kbIeri8Sypjkdm+CF4CpFkbkDQmBDSJ2RgpnGJ1dBUxsW6tnTHjGyS9dW+Q5sB/stIMl/UmL0bMCvvyjYTkNBy32cqFMNPSL1hG6xP7ARiUJVZb9I2KcPL5vefxz4MagDu283jdgwYL1Axfjv6C8CsLsiYoCDQ28WXmNzNt4JxMPgwwnDU3V8EBpTt72IgnNvbvV1BEsNG/rGjx3VqAGRxrvaPd9V5rshE7IYFRd1tskz98uZ+Q3CwrEGLpKtOCvQk56RpZIruQSzg90Uc0RKP6s7jByeAvx2iYh/8wUuV2XY6S8H4Bsr32dU8vHVLwNrhRQg7M8KkStNi1UwzdBthXrI2qwXqDE9s8eopRQEKJzOcTHWWVIQkFIlx5FCdxlHyjmmJKMV05bH9wRqiR3quYwdf/+HeoBLwbV4sCHynm+NfLkBkRQDgrc2YqswsKA6p1D2g2ZBc8YTnVk/nRszAaZgG+iJ9gs8+A5qWMZwFKyCE/R/s2O25fbZVcdR6dP9LvQRQKHkppHchCScFPQXSjzNOkiqCN11/RljWwjKNyOdSlSun5SNEJ5YzalC8ODVN0OL8sSE5YfkDjtt2ll3/KwTjPL1XmssoBxxVsZeDGJ67pIvxSKo76VcJIjmx/hnMMS/WQ0i1xmgqu5bnJnSdlvuImIA0sNsNutGy6xmm75vkunA4m5k3i3o2m9z9ITOcPOQs2AlXcya0QMHkUwazJwuyci+FXwaGemK4/a/2O3FPwwB8FEppHTntPESJkaSlVcHGyVlC8GjHCiWZRNCz0PbesmeXEU39ZLw5iJTR/vOEc2vFY9ZQXavMt7T+Vw3e6/UlKyEcDfnqTH6SGvvlBxN5NY+Rl4uetJrnrG7tGg99qKJzgr51rAU7Lg9tdTod2KMkCfp1seQF2q9yPBS0xY4eUjrmK2GW/Z2x34IDSegA5Pa7s8KqE5XEk3WXPQbIgDIoQm3lNxTZQXWkuVYaXhMlMmU4CK01x1nqFbkLQvxSmWftRmUTIh8pN4JJNHoehjWVWLcCuaXFO5iupabCHmro6tTNS1uLszBSEpYrQC6oPkwI3t3/HL+dTZ52ofhwmzg3GcBUfrUD6sYq3bU3wOC+cYfnu7eUkLen2YiaIK8GSiE4x/c+l6SQMixMwNrm9u5naZvNCu59ez5kNKHv4f3Awm/4ze3ylqC3c2ZVdHupxM27/9iJ8UxqCrqAeJ6akcTrBR5JMxGQPO1+5kEKGi6qOTDABU3z6WUd/KX6rEClmBnZQ46UcCAvAG0Bwzy0YyKTibnM8Dqvvdm6r+YTSj00QstyRZwZDxEE/yH+Lp6B6/ZMvM0N629siVLMSLXO/qqq9xvTyWWGfZt25uleZbmQTKvvo8ymdZGM3rEF6WB1tzzTVnjSyko9dc2/mUBezysfjR5M18vjxrjOwwmDC7XAo0yPxngOmnMvzKkDHiBhCUornRrj4zX9nJYIGys05K0KI+TeKytmIiVGZz0iy60oBj6CPG92sj0YSL/+8iosFjgCZjit79JqKQG8f+bIdgNqTpP2MCf/Lgs+dJe3QWeHP58LUh/9J/5VkcCITKndOQXm9/YZ1OqiW/Y0ches5BXv1WBrOPBfCuCXyJGJwAuOXsyKJy7GKFMSpVcA8LgYSY5A+U7CSFdbNXJ1ox//G0lZwrO63LfGpsGwX3jpRFHuk0CObY2f0YkdjPxiwLvApXleDmsBvEhK6lfK2cp61e4KTctlNzhGd6SOSof8OVuOsODTYngM2o6hJ/hKuCuND7FfV8isPQqJf0FlfZNuIERQDdt1riMk5rigSy+dNikd96/vf66zyzLg7eFHI6tTJAXpV6pRzxqq+e5fe2oIObO7QKmbEPb6FkSKmwkrDw1p67zfkuKd/cTDtNn3XUK1KwmOdMC+nyAb2jSxB/fLXc6v26tGxZOlvdYc7UbZeim2YRQCLZxUOZfbIhbhBcGPDbgftt3hwOYriVZ6FsKzK+sh1GAjNpwjNyJ9VMNceQ9/zgIu3q/TEJu/KJOrWtqNc341CUMRQ478AO3qxIweJHa7uolNl2/Ld6+/UqsGWvZ4IWHy+P+k2M4IQx7T+R1I/AkEK8XyLAe38a19MXbX8QOf+S1zG8u+F+R6Je+LEj8Fw0D+Vk876uCfhCJ0y0iKQ6rTjOh+t1K5y9Yq9IEDHdqOBgi3pliuR+Y+/AuLB6ep/PTimPfwIySPvlcD7UfKT/Guy8qbZaNz2csMeSOG9NvzJO5BOWzY5O+Ok99aW2CqdTunX2mPdSrn6IidbKVlnrD+AOLpws3aAeQq71H5khC1YoKNP0WIWaNolhj2w1cQWM7+S0v9hDjc0hdhDWRoB7KHt3Wllq2DaN/fT+NIbsc48FW7vm5aIxFzfqD6sMHM0UTO8GLFUJWpC+uOmOgSwfVjTJmiFbTE+IFTSRhQCgfWmRw/MfwVkU7ssHkmLyihkBCZEhpXo4dzq7HVWwQcoMxYCSV7we5TR3AKijOTDBUspLF2rrDYrCo+rJtJPVEK6VnfaYy8uuaEX0o7qWhhqLS/SQCJHIPwpEHTkf2MIKeO2YDn5GCWE+SrIBuoeEIszIeWs9c0/DjH7O1WHpqpCqVfjCara1sACivsxPZjQ5ZtoDk18b6RWvSkCJcjYZ21zVPnDewsBKz0INLQg4J79SMbvrd0jF1OCU/NkrJMn+wxmIOMmRJYpP63akTyMkmQEhRG+V1fEd7EnRQsAyMH5+wZHXX3J2Hg4uct6kzYlMjogM7KxA96D76RJb4Pj8ylV2xeW4IPS8W5zgd0N9Er6m35yVJIYV7WlN/r9m83NlZsKUnx4wKNeVJp8IuAIbSUgvKJQhQkj9fTwADrw7Wu88fPGYkYCPvEkQlf+bFfW8DhOsXb3XPKPIC85L4QSFc2i+jhUcE63BPGlPvoXW7/Vq/2cYxZHrx3yKKVcvl4MxMvTpMiZyHT/fx8n8whGcImm6KyRWtzmMCXtwJ++1rG9ZY9qS0nmTTV7BM91RzgNX45jVsxILBlVni7O5G/buYqY7q7i/gZWhQhB5uplpjrbIbB501gItmfiRWpl2bN+G8nGhv6CPrEuAohcjmYha2kx+7kPC6JmMUHg5hZuFfdrswg3PYdRJ2kOfOf/B+alvF0dqSI3wrf0J+Zw1Cgw0nLQ5WlKkDJ7NPCdUO/4FMyGpmXviHYHWp91SaeTWtVqq14gU1NTV8+5mJjiq1k4yYThNNZoTepLM7qtOMfE6nlBQflU2xn9noSUyygsOx8/GbnmhSTaG94dst+YBU9Jcn6aeTewTS1bWb8YIr3KtAJSwAu6DKHG87fww/I41GT1oa0yCy9AIpdUSGq+5gBjKEpY/Dh+3ZYP6qvqCarqzlziij84lkIqOpAWlT48LibGfO/zszaRg+u/+5tMZ70pSXjCjFDNvS07o0vBNE5//RwV/Nb5CmRyJhN5LBPLt24oeaUD1dXrKzFCf4FfJ+LnE5nTW2m6aqbD7hzzDHd53UgTkCnxxim+hLoR5KTvqsaHop07ke+6XpPQ6Ql5ni8ova5wtYecivYEP7aaSEPDJCMgVb18E3gkQob+oVzgBrjoDe9FTh2zmH2B1AaW5Aq8mtIA+EJidv5FLrtRvWbgx6i4fWnMy6tfXxpveUgMeNve/ElUmg0ckaAN4tgqRYZZdDUJG1D/J23wt/O+km8vrY4hzM4tRfKwW3cSgOuEX1wb/ngEhVmEf7tpkJLKjLO1V8/dZVF+iUCUV+w9OQCt8478kCDPYFQTX65PW7+nmGxSfs6cTrSh9LclyZdwmdXjwOhuvwFcI9jg1bWCJirqUC3GHvlUBbCNSBHLnr0STTxdbrJ91mWOvRR9zUxKH32tG3WgUmixUgci4a5+IeeoDAHjBQ4aIrq0uRCVSaSxjaZzwF8MtSrBiVKHxEsHqQayl6EOf58AkoUUWfM3Q13r5fHUwFkU8+hto13Wqk2kTQtnJaoiPnR4GzC4QFs2dAUba0GKK7zSKniPsxzMDpNwbsF/5b+QnNAdYjPi43AFpzmMKlgaslT6domyIkOPzzQSrF65SgPJZr2hi6CFiqn+0VLx7VSyws3y5xLSIfRbMFl8ffJnN22x9D442YETRX5DujRMJr18JVtcX6Kk3991mquchLeVsQWWeyWmAyRLR4Jm+Nw1a9zZsvM2I6WcHQlxDR0OZRdzcdmzMtDTf4jPDQ1nZ2MUv9Cqs+uFL6FbNjrJKlPQLIBJYuRqXD7k0PXqzLKeePNoNEd+j78idpW/suLhNcEm8ky2R3Xe0g4Dcnnovm3iU9IBP6y3xeywRUqJPND0ASIbcGViYjJcCRKVoV4hWo3IMidRDkriOhfzCl7Em1dV54TIrJ2Cg035TdfXCrepgfVCOzpIbX0m3jI4QlMd744e0nYm6DxyR7mwcEbpSSJvk0bm8Ej1QmSL/nR+C2Q8uDboMoyzwbgWx8fqXaVNjxKjy9gCfWHSi0nD4fAoRHPGCMO+DnYjJtPHJ9u6t/uFKRJPVpz2EpBiz91hnam2Xb1jxN+Y4FIlgV/zzos2X8D/2q8IAMGdpgYXX04zeG4rMh4HQ6irQb5sBZEBza3Se9h9L3lf3jY9ISuAJLu97idxWZ66Zp0Bmz7UmPk5cvCEf4ioI3jyKrmb75bRqCr3zzJAVUJzl5k3ECK6Ro3WKwobLwni1mFgGMvGIlyM4rXK2c6pQH0A3Rf6Y4d3Zw3Gadb+jZbdGaj4sN4OMqE3djFkGY68uinwJd2nzkWRMsdHUuU/GT1nJm1hyvLrHc9unohhtffhjnU/kvjSERk8Ha8nU3wnAJ7IV+T5azAwdPxhNyFwvxURc191fhsaD281Cbrp9RxFyAOVUBxBU6xXVdiN3Ex4e341lKqlGzOyOsvXvIHzwsU3A+q2mttY8NN6JYA0aXQ8ZRs9yNu2CvCc3kFFBsJzbrtWUVfdKaAwO4zy0VFhk/V37daPe9wttEOz73D4QrB5r19Ofhyye565nelmLoxtaCOZX43zCy702oWQ3OdD6uW2RF8VJLr+wvRQ9f54KKbiHNcgomurOnK1GxAFbavlGwFIBgSxTpPU0B1JkNMF0OEbmz+Frh3sqfNIP9iDzRb+U3247IWdcLTC4qcHqFSpNCAhkDSJzCgxopxHcJd4j1xo+3nqBKTASINbiXcVJ06nKIVmRIc6Ue0pD17ovZmioOicVVyI4VqsEUpDxVPc6E1a398ncyJgrHArJUoavVDYtQwZ3MsiI+Jtt8kos3TKPpFOqr1vYOSN9MTCb9wF5qYu+lqnkp6hkQwLiCq1mGudK5mnM684xCq4oPUx87Pmnw9y0wrb7EeO8S2oVW2ymXvkjpzuNoqHFc0AMKvuxoRb7K9+GxlJkty9WRF5ZCqGpx4FOJUAvnFbRK0u2uxWCBL5Jd3rg2DsFasZVv4qS4vbKpHcMLSNjP/DEA6+DnASU1QgadcPGt3eb9/mOsNKTE/Rb0E5EzH126Xz0GM/jVRA9TH1amGaBNtkj0br/caj84uR87Lt7n1l8CVBwWtoMhxdYx8Q5nnwrL4iJV4BGmh6BfvbWhCxj6Agc5rVWhf2aYn17uqLn9QCssFjJqHLXW2BljXCe4iLaWmvGGSyGgkDdFsBIxnxG9NZYFPvVWi0TwU4MUVVcOndMm6vmEYO+ImrCtA4KQAj0k/hyHHufOP8TySCJgh1Vmjx6Dxc5INwrUrpeILHtVw/zJQ3u+4Z8LQPn5uLsdzuNzAMe5fLQ/l3Y5j28IN228arSQclru2UbrC2DORde8Oic9vGQ4xynTbd+zAq2UDynBX0BW0ryIzpw7Q9OXf7DWMn/6l+ISrgvQqBk4hGaP/Hpf8snVtB3l49kTUJr9UAgzSw19psxmV9SmmQJKTOYKAsuLL6edfzdt6G6c4YU4VyWYLsKd9oZYswCepU12SMrffgT/MwWWXBpdKrUTbuxSbcASq2+6OCYVc48ViOItwBSbiRaaxrtDp2zqnErUa1IUFSEE/Umu+JiRW4qB5/YRzms5LxMBiw74IoaCwNRTjROWDGCKtKKtWc3XSxcNQU+tDE5ED0+DXFwSxdsCy0KIBufoEggsvU+Vf0RIsLKQKQLSSQrVLEh6mEgzsPMR3Qy0TW3qMYHEM5kQhubvcXBs4P3FPbWpCIG7LHvC1ajtn06LiLmfWZxPAPmhs/7z6Ti0FgUzUqePZDEjRssKG1zBS0L6mtj0omRBsZsCGE63Q2oPC5GAv0L0L2SFrCEc7M51Vl+Ktm7IS8L+62b6qivsmQUrngQbDszO5yec3LQQoq9ni1KUw1paT3l0g6RO+a0ZeMtanAbAIQNVZY0k/l2yZSI2bVRHNOYrRg3qgtGqUyrCgpX05rqWOQtNhMc/wYbQi4Z9a0TPInfHaDeXQQeEtGFaatpCs+/52Ed9FQdiBdBMCUuAGYxRZlBCJdSE/5g+GNVPC0lMW8YWoVc4pzAbg3e3R4UbXthJFPqiocsfYRW6cXURhgKVcvtontR0h/IFTVqMRtlxYI4XCsw55igl1M0p93QZ81hvMGhYdwoDpgQgnMvZK9BWXfv2slVFeKScH4FyYprnbVdoAJaEwLojTMOLCtgGgBJcSHvPQo44amGm0DcotPGQe4fnY8icYSOEoTVde/+sfv60HkhYqID4BvXgDahxdEYPw7uA6xn7aWvoJ49YNfXHNMfp9A7wIW40CCc48aNSzUA0Xskw/9ytxJwJht3aOGiKWleh2L/AbH7F0pT4V6Bv2QvDb9EsakuOlLCz604u/+KAIlqoan9gnVXC2bqa3opXhHsB1Fp8Olo0wHlARNRgP/z6s4rrtWtSryV5MB9ZrVUbFOGnb5afokX4hC2vh+peqCKYpPp2kS7mownc32Q63l70x21pUXJF6cNNtXR/ICLYTLscAbmmjM13idekXqaYEMzZaqYDbxoMzvIO5Th8UU1rfsiqSiuMjyJf1e2e7Lc1rNZdu5uwOyhod8IKxTFe9Gy/tBbZBKkCsGKLllJAfzuBhNLFUFMLZnnUlf/owbwMSAYfJtYimNxum54S7IYDl26apZ3yJAuGhTiqQD3jWWw62/wMTvQl0hzeYkZ3Gw34aKwf7NhBC1u9zLozYWYQ41RpFO51diAftFfd5RAFzASk/UyjiFS3PDBi7tJzWvXIolqQRu4b6solWL7BpbMYS2fN3cciqrakri6LJuNOS5f4EhYtJHz0ci0kID/K6+Qt1C8TdMTjQOh7g3dyvrrQ3HyrJSVBNFQq8lt0WIV5o+dJyaxuxqR6X0xpyyZNkRXxz73208zDnYnLRuDvdSaRVi3KuDfg1CCstCVHbrNuG32/UwuHgziT33xwwpmhB6Nc034Bya3EvFJAsVldvHiZ9++Ad40cA5ULC5F6XJUA585yy6xxo8U7Non+BidRvgTZo2MSvvvveCHnATIm73SJVKZumzWE/N7mZvZsoYGlkg7TNBatbmQZXXmfAiJ6RoJIpul8B29wNxYvKU2pyp7bmvRtXOiEqJnhTRE9T8e3eI3910UCGjG+NO0zSkR7c9KVuD1J3g5fjbs1MV2uydgeRI/j42Fx907M4dSrFBc3JEHgSWVaI462CG7hemHlIxDAjDGO9Gutu/54aVbQ6vzx8F0IiWjs+J9aSPnOHbCyFYmI11O9XUEAlI0KbyaDy1f/FGwpfyRVY9OEnjPdIj/apRq9I80WGA1rOmxcUJQMeSoqTcn4xE/Wz4RY8jzJuhPTBWIdtlGaSZjT6Gjdnu8g3Pym3Fbh4O6UxWBiFhpzFI7SxmzuB5vADjBldric+/zVrdUmEhK1h9FWq+ScoKxYMwdPo3NY6ixwHyQD2eVJe59Iam8aY0+BVTO/nc2htNibUMkUa5izfK82nZaJPoP14VsRr/ZHRl8xob5/Dgv2V0MpkySG9HlaWM/uyr/TiKyDGH4Vx+A7wI8msHkqYRjhD8Dtsd2WbM4vH2M8TzmC9pIi3p9yKKuOhdp2xxGNwh8hwdCzlhkIoUsRnDzir5vKstUyoflpKwd/jD7AFcNNzjeOODv/NdJlJbAo9Xi8Qrn4oBzF3K6LJyEWbMgnseisULvt6Eb15Yq614NuFevaH6apJA5zhCTik0uyCevO28Q6a7irTOkWsTYTIIzLQIE2utBX/4LbZHc529FdRPaSjMRsavNGw17XLmpboGaiucFPCQU/pPb/f10G6NGIyfe7hqSBc252ynfFv4y48jqdwqRNDOc8NLaXnbD9QTb6R+cPaundc+TaR2CV2qannp5dkNpurjfx2yDol0YGR7N+SXTVW/elpcnG/nYSZw2A/gvPf8EE4mwX/4hOuA9Hc/GegPz7nzQkmicTetMmzAt3kVuvQpzuHZyqAi/SeIu7Uad3tBRTBxhQY6ACbTnFaNJW6MlVEUEL0m6InLwim78Y/6iO/I416eELlF8r7qE4EjAr1CPF2aksIdWnjNag5LlwxYb7Dn8Z9NC1G+zHBzrAzDbCtkTcEuLR1Jbzx2v/iZJd5az5nUAOTXO+DJ78QBQbDww2EXpyfTuBbZ27QuKVUnoXjVWahZ1RVMPdGLjLBipXSrADchYF29h7AAPHxmINn6aA7XaXcRk/Hxe0503cKwDufWnEcxFAgYuckRPWqzPMX9RhDfK5QbsxvudvhcNEa1U7Scap0smwJMRpduzFD797GQSLHTE3wqJ6V9VYRo4Ym1015VlGDqAkLwdXpzd0YY4utr5Y7w1jnDAYRkhOXNxOJe00NrxQ5Oj5Amw4BJfEr+C/TIOWHUUDWSRc2dBAfIZKOR7Amb9dhdeJ1/0NIoSsrBQqqi51o67MeHFMdrk51OKRejy84b+XxbrxzI3AxRDvBgk8xZU+OWIBzVGkARmEp2kWPDo+ql89SulcMdW2eMh6KR3yNlDeFPThadrGmqdBt7klVJD+ObPGq37ogtQU2pKBTNSl99TEv0HKtGzNDbrto1gL5vmbkhMXXNrV116nCIOY60JdfvqBrIRE/RFLH5iF8stOsZDVKTVSqx6PY3RIUeF5tH3zIqw5X6+0fNG/E4pNq6CTpCrxtj6VSRDNzsqVM1cu3qytifrj6yz41C4dBfjp6u8Ex3OpeIhfZbo4HzyBVatPx3kPCOF/3IDddrh2wszttX56OSv//EsetmYfad8A4dHJVlxldXGRdMKD/kh34XgeG76G7r5M1hYPbOWvPsrtNlEpgL3hhYdRJ62TKwXhpjanoWYCRFQ17EoJ0bh7k0vA3Qn+S0FUY+3G3+hom+jAtr2f5bLtqxgDXZpO1+dn0yS1QfOCHsFuLsRUlSdXTT//S4U5zrrUeEUre/WLOYIl778rTcsojiae4lulCspoP1HnDVoZMofNpiSzaI2jIlsJxcbgaCfHpLukbs0MF0iJ5slSGlAEgCaIqbLfJAVk3WjHDeZiT4ccZ/rPlzrShM9y6dxgCDnmrVMeRURpNNVkVOFacFLfWpNYuoYoXzWTWerwI1KQfXu/cyzWkrT2Mc1Do9cGbPJWMJZOBP7y8Ro/kEb8ZtIGmMmWHK/r0j73gURxGjzWiDq/DPNWCqRZNgbT83svjZRE1ozMNIxuzcuR3y8uuvEbsehmHJZYc4EhZyTxXDOCkNBUSmYEHP013onNacAi8KvFtrn7cpUSFum/UiilDyW1jt4tmOyNhXC8p7XqtuSuNH3n8YGgGbMclRU6RttBkjk1MHRul4ugpGMPC9HP0PkSnld2s6I86ULrw07174sDEwJoWZdCusyq+xTDGqygCbrtHPwjsbT3QIeq55q+p+kmIeqh7mK+iWNJJao7yMm516T2389pzXP64r4aiGjwDz2ObCiYxXcQl/2KjcvQBW/3hHxQVOw0lR+QbvVYzRil1DuNBE0vnGfAx05zoKJkvD7Hrh9R4tYBc0zs85uN+nGFJA7EqmL1NHygEtJn4j2aaGarSZ99V0hH5GzTctRgCCG0vvq4ebq7xu6LUFUkqzeicxy1lYYax+YpQChBp3UqWYURFN7EMJLlEzCuJg/p4UzTLXnbrjWuWHCuKjtqgANUUiBzV5ydHigTJ9VjGxu9tRBPzCBRPZgCZaAY6y9PGgm0yquhM+aWGJnr/nbtloZlwsPpYuYsrF4n92bB47qgMh5KbXpY0aOjZct5a4DxZ2TKhtm6MdO/CCfOai16JKvaARTiXcWO7MqbGN1mydZU9ee8IYSJy3RfH1cEuDujtV+MWiMcuOFttTk+31TgcGODQMy2U/k/4Q9ZhEHlt6eyzP7Nkfu/xwwz34qn8m0A3eV4e2NscwWLzzxQ+bptGsSPUfj33jLiBT2Drg1yEV7y50aCmNCVx5+IODAss3sgiTJ3msA54F4d/r+H6R21eDGlKFEAzC9OjDnvVHPdJaQRnuBEa99ui139RFNU+RzFlRLalHm7zg7wJmzZFMm7VCdaOICPbnkm2090Gn4oiHIpkM0CUKjyMBq9xCkvI5lhgCoM5A9s6EKQOvGL6EAHMGfG5yYJMB2gM+fnmg4dlIFOQmCCSdEOfor4+Tjjg71OuXsVmXbfWzbSfJfn6KCEUR8XsYIz4Q65h8ur7OTYgTFxzh0+1aM/W5z7yjDZuOxPMvYCkfslJ4Jpnd5cG930eLl9evBcZ/R5fw6ULU1u6aWiirmfN6ONwpWOslNjuhATyFwV8iV29ZgGmO9xEneGYh4csPDanQdfgkXlIFS/S2XDzMAMnEngTeYpaKAwvslwRSWmyqNP3VGeAg6M5sXpDIt+stnr8FuaPxU5Cxrx+ck3Gq55itrSogEddMAZ2Zn4peQPDjCTQg6rB+tqH3PIFx3UOC/CJ287IVhZkVG7wg/4eXZSDZOhblkZ/UUbeB2GrHkaBCufDgqCh/Av6M6WLIDP2a1WOWLKNDjS9EEkPS/m5V1qa+5NosZxgazTgB4V3Vp5RUw0Smn0PH6TwmYzJpJvivTEcoqG/xxjn05fZfy19/8BdiNKa2GR9xe0L8nzG05J6frwuPiHdlMOhlNY7sdpy6aGeXdllJL9WbZQGiTvlJdQ/ktpHPBlCGy5eYXmk+UVjQQGrx87ds3C9fhm/uj5dLoIxVFr6G4gMmiZRGm7lnBBvl61JNdh7Mv7qdm+o25R8SgJ+5l+uEXCvAtun/5X5MWKCCZ618DfqcNvxcaZXs0+6zjtrN0JEM/KGn8cOUaQh3DoVR0j5c2AodGHGsCnqNK+TgA2MucObquIEoso78LjaPikRkLQvLl8StyOMXQbxiOEE5wMGXZQkNxE/Igzmb2rNdeeZX3KMuhqYuZHshs6GYF4KSxTxwfagJuuPY00whKI72D+YvSWAc+L6wF897L9n/ASxm1MlhXKV31nw3hdMSLvyFWcAsLwqieMlIxta8TKL4JNyw1FweEc3NioIa9F7bcEdp+sSIzTM7vlWn1pwneRTUd5fwHhPAm3CK4cB9eEG5wYKrgNL37m5loOEVvTI5OUVDdEcjxW/tnQdoBwpQFLrqOwk+NvpxwBuOQcJiaCkZTwRHGe02Bx4fISOalJJFq9GKA3hg4zNmurETfWXfOje+61EP71vIH3uVjmmiHcrUjCA1pN0B4s53SchwVYhoH22gcwq1hFEtM+bu/sZPbh0E+KHWxhhGzpfAa1/oI5YXsZR8tEYXEIH02QXP8ymrQjFo/kcKte8WqzPTHvEEf4l8wIff8PVb4jQF5O3Qn1jVFEvuZo2x1cDsnM4GW6wLGSQ7gY9jYnHBNH1J//S71Q9tp25xe4C91zZO7prO1sAOxiZoX4Dr0A5vaYcW/SZ3Yn8ylXakTMWN6Dmpl/eMurAAqnac5nQIbzt+rhvCuz8nUt6BFZ6P4uWLGVhczVBWwIgxyAh2ah8F0l1rxckZOflDGtgq577khY7vxlPJczE9dUmhsEX6SryrPhoeiuhkJBmExCaFAuGt/7AnGFqXwyRqOaQzfM5vgJJs4DIG6iqX1obGO4PojSCBkXlV8my2qGTO9A0eCiEmBZANhHWgIxpBBaPrmN3EH2/AGCikRyvGdOa/8Vu8thU+AKqJz9YqSq075fzxXKmJF092EIfEHrhN17nv/GDhssi3fomUP6Otbj9NhFNtVqqLLDv/wUxonSBiGtagWm0wSNAqZO8i4stwfYdNgl5WiIRpm1AQVR0C02aytQRn8b1DEs/ZkESwg8mnGH3lIcJmhixK9yKhpoW2aJJs20Pnl4WgD/nJ0vq1GFohvz8GhD2xsTb6ZVmnl0fppqbm50Urse2F70a4RHUSE+7PQVyZkSBMlUG/CYR7gSbu455HMyZOcCKZCe2I3UeNvDrXZVzTTz+DGtNNcSzZ8EA4F9FmyztVvYM7nznAk1a0T8eRCxNf0evMcpJTeHAmjfzAcoGbk33EZNOLycdHShBW/wrCSf+HqJ/hGvU02YLHrT9UWtQMalBALfcE5VQ2wS65mG5OzXrwis3O+4PDY2y6+ZdScziHyqPG43KIXTKBh54hebVgpdLRuuctEQrPuotjyiV0fDlopFArdWPpgNbqlJ3vGMJ++TA/ImIuvXsyq6a/8pkD/uEeGXuCDvMcLC9LdQTO06TfDePU11++ku1rVelYiX9FutZTAXcI8dgPw20XLnlP36b3Aekjq4ysZp+TWvvR8edNGp65t1JGvFEWSZGhKVLpM0yJ75yxToo7XmZy0Dvzf3Egjqtjr1mOaWOX4J0jGQDcwBAwEP/0LaKgUgeaGBZgpeDzIsTi3Ap2LhFk12zTc6u/x/J6AauEetlloyAoaHgRc7psGOpVaXS11Se4v7v/fwG8FIfUeQpNeA8zmClr0mEWDum1F0ceKtJ/ogm7ks9kmaVdCMLlaLyDCDS2ezNiE7mJ0arXgdjh51YRIfD3TtE9xepYAakhcZZf1Gb6qACiWjqN95IjBtxlPzBUC32CveT0602sWB/JTbhxf40wUAaS/m69GAqIU4JQNTPQDTpOn2fJ/G2GWgez6mHxzF9j5mEOKc79UbGX9yh+3oe7n3MKQ9gKe9J4AymjMyL7wAc9b3S1w8VHPPF9XWe7hApOg7sFBTQB1t6lDtoNy+g7GSik5el4uyYH4sQISsCULHHoYmlgwZfEHpcPMFzdnBhM2rxQwsj74+8DwQCpksc9VsmN/55B6deqwr7KV6z8Vc8LIUtd9h1FUdARIacdj17oNJWsrXtra2QZK2snrIt3Aj9HjQbWN/329rTshuSVLVb1rBWGG25IDLDHE6RUDA8S1XtXuwhIhSfza+Q+R9vV8YA5WKX0/bp/J9BC3mBRnYNP9awP2zNdospDX6JiuTWTAwKuNSN/+8Xf3IBFlZogPfFBhvzG9Hk/upP4AwCfjuISmvTntYqE2RBeAv4qj7FUAd7dH/eStdW4+ZhTRwQaBbbqxvWGVfabYf0cstqQitP+361n0bp5/+dEX/jNl3CB7xIw2zGekvPc3OLqU0SAi69xuPzHUzn/SJGXEvPOcqq5Eo4mcEBo6LbLdP+sQrfQCkGpzUai6eX+yq8fameASF0OvgpQ4/RKCstyKEh1o07hdEHlTTU5KJUiek/yW8DZwm1Q8q7Ora0uYtf6uauf31kyMJuccBHHI9QPUxwZ1xDswhNEfTz+l/JoDOD/WFynalDpWzfbsRDxX5aXVd5znTo9ieKJTELfec4jtiRoaa0GK+Z7JmFw0TMTrUTcu0A/NqqrGx8o4DP/0/VMoCY14jjurbuPBuJqwIgGpooOq9MQ5vPaCDmO+g8tgy4xsbNKwA7CoJP3X7NFBQwCn3qgZFAEYYiip5a+Y5Hy8h9H0vV7krWQwSZMHa7FoQVr5qX7ZHWH1WT14M9zLYv/CmVCewvQ5V2+OYYhCSPIPzkxgouKTF8Y78HPxaKIm1zaIz1PqeAlukbImkcUDpm/EixVuFKNfWF43udyg4Cjf2VPdK+P5UPSz2lGy1++tC5kdhX6TZl07lYoLTfkT9kzW2QHYgVHQTdr6XIyW0wixVOZMzDROkVnenNeSJJQ6ESIzWJztOF2oDC2D6+NJef/w/BIiG/s4D2LlCg0BOJgdxiMwWv2GEK/ZYL+kl38OEwJPVFEDgUE27fn0kHv1KHOuH9a1TJ3xUCqsNFxQo9/y5Ltjf6/58bLeC/hUP7rzzMVoMrxvcGAP9xXL8C5f2RfgMwo3zU0vBKrhU6tGfYuVy6xCB48A3+ixCQVyQbYwc/tY2gqLvW1bH/L9UK3/VoVLnoriolZjA46tUYqpkVv1lgfOm6KQwFGPcqHab3xxs2+9wzMC7xWIcl4bqGyECjyOTXSz5UQr0ybJ0e8ATAjfTXuLU+E5jFP4NWFCz2bNG47Xn5dF7zQtis80tLxGGcMRUhTaC0+ItNJ8Il4fgkQO5YJGiZVxj7AxIOlwfqODhQsv/8iBxlC83oVqqKnrwIW7yfwQaR8fpg+r3kgcrDeaiN0CDnPo2OA0wOFf6aTUorNIsN0JzAj4gRlWOny7m1ZHVN3v+KFCb4xw2Cox+4Pgu20sDsBAwPVT8MIh+osElxVRLj3PoPrdLUA35TiWNVbM/LCSAzodb0JZOQTFEddVTRvCXDSxgXVCFvWsYYEDZFAyyYXri6mApbi6uNphinPV4XyUIruw4k6Sc3jbq0lx/ewiQdie+QxqhCfk54s/JOZRaB+gW3cvDNLkK7dZBFyzYsx03hjNE0huTWhzvqWVHbpWD+mBbkU+fThInwEHTjAeu6xV09KQ+h8OUzs69Ag9YNckfERveclyhbpaCVQvH9luyf0D+mpQPyqONcuFyne7Yw+9CEyJ0+18sRZx0Y/METKfQp41A5Nc/ubZS+3kLKvnv08F3psLKjRZxOqATLwsCQB5D29H7sXSBs6ZnBzbhglnDxEYC0hzJ//nd14ad7y5JluNCHezvG4j636GuiDq3lLjK3IPNYLUdjvSx1Vwg+0IDuCP4XIqVx4YoQ8s9Bl4nDrYB2QKqDJlzmq/UAY+VZuyjtYo0tK4692FP0R++v1AVH4jzO5jitcwuX5zB7J2qkyxtwGtHNRQSdL0V0sRi4Gsvv2wzJvg+4c1R5VVj3aUXDj3WIyObZkPVfp7loJQZ61YHYP1S/QpQuHd5Vkp2PIqIfLJqVjHzsAiSUVYUbgpjbisb9QhjlQwVV0tsr3Kq64sO/amkMC0IgoSxQnVbFPcnErwOYWgGN3QgOwkiBs5uybrcxDLbfHv6cNpHTK2X06B3xHDISpG/R9g2SoX+vTFEmKcH+yx8v/Ss7AcaXJc5SI3NGmb3znzueIhuB+Xc2GTnb6khTTqeE799EFR/WEa1e2zUpYq4dW9R5ywFx2l/NrCamctl6hqJN0Hbq+5/x2pKjz6sm0XVCGunK0CdSMBbB4u/p8jW/hK75fz/WdPTYiJgo8G6teOBwv/Fdpcqi6VMWK39lxnAX8VlmmZWneIuwKvu8X/GW87j9ais46UWUnwjMQIMv2yo67P+uKeg/yfhR+IgdypMTFr1As432LZnSrM3LBrAk0zy5QeKHEpnuNUZ7Y5i3olCr4QygZRdt1WYpWVIGO8RnmF5lgQ0MLSwfN/OCVmyzNRF4qtDGrybTOF51ymwGWceJdF1xaGgKm2BP/4Va6IUcOckh8M9I0YQN9gvDkMDaefpVY6GC8cjHMz4L/gwAfV3G7dzmtmFM9/xsH2ZXK638gtbGSjtDiZEozZ8A3OJN7jGwe5roAZwbdX6VQYYG2gxFtP5t0QMT2F84Sew2O85yLdY3uaNeb1EYxXZI9pRTYnJ4mblC0jiWmCHR9+NLg1cUzk6gsajgaC/IA4+4lLsMLO1SUkPEpgVQAN09FuxgTVdZOUuqlDCdWHp1u7QL5b63rJoPWe5kzAVgnzC46svFR67GyB5G5UKnG5UPvUCvl4L6QPsNM1lZrz7s6GYPmxdjhoGTec7MAq2IwUQYuJ+2bSe30v5RRbiwJE0RwvxgK9DwGz7cyaQ+bUfNOXeAY2otvxSzzLY/PGNjsC+XyVVwBzz5OVpvvP49Z3+01r6xUoBzV1Z1XA+amRG2w3VHKsV26iStetp6h/VkBSVpPTyOX+IKqdZ6cvUIRx9hIua8xruX+iZz0D/P28gvm0D6AQu6a1q6evUuH+zYi77NwesRIB0TLdisT5tRW746TsFPzbk4fEyk++1ZFSvQj22txzruf5Ell5pzhIHYdzfAnYjasSLl4pdHrz84bbi1AGrni32DoZCxd9N4EYEOlQ8LoltaTs/Fvf2zHudp5jjujiy0hL1NT/XRgZa7app74AU/j1/Tk1A+H0zu/wyxmEIOk0JnCra9O5w+3xWa90LdrTGf56jgdnhly5ySJwfDYD4N05y4nTZt2C2mZ2DPkCj5owrcFD2+zoFsl6BL8bepcii2bpRCMd7QGyo04cK8BGz2g0P0K2fKh/RktrrcHlZ9GW3OnyvFLAuV7jJRr8ipXiNRsPp0mEcT99lISjVhu9+1B9UPBLrUiuge9mD5PZNyPFOfM2D+HOwy4kPusplTjJ4noJQhLLV1FWswerwYXf90wp1Q/DvYdV31cV2fj58YxCQ3UeYmPCrUJQJ+l8t6IT+pXnm58RNheEjnoBjfB/1fw/LYIplubN6v6L32hNYChiol/ymbT2n6KE3/xya2dNcW7oIVkDkqmPeNHd8Lh1YiVNSZ9KI1rTYnboQf82kzXyKSqIEz5tmI4BmZTZO3BgXpGQVNBwxiQRY1FV7SpkMAxQihrjsveEBZyaG4wwlHSFHi8ogfYEOD4WMH5fuFn2FpmnCfszCx52Fgmw0fNlZG3432OKtr2CQkCPLdEGy4uYJw4rOBwYi+kzmG3iUaTvoVJzIptIO7HHrJhFWpeGeUaJHbFoLtTqhIaITZjWctWQilviGyHNcx6eDj6+0pKDguVmxFs/Coe6Squb12zRSbHXFdKoe2KjpIdtr5589OHHAPuLrfJUHk1VEpfaZcOrji205Suhv2ZxVgJ+l5FgCDv0XxmXoDD72DoTIRTt6NwUebht8WntHzYlaADprttHJ9GLw7+AaRNSkGM/lTIX+09u/oLqrOkes5dug0IU11zIbAgjAfm46T9qUMfE66L3saW4I5G6zrxJ3+0r5wtVT8zOyxyf43Ka8zJv1rxmNf/VL7GQgs9JpR2iWS7ibvsRtf6JSRLWpPUVfrTyJ4qCCmLGkdWYQyruBI4sAEyQDHgSbweuJU37HOPYPw6O+Av5VhcVNVg6/boYJ5FhMQy0vqqPn4PIwltdHaBoDo7f4zJ2jw2z/U6TLHu6AGPCPQf0FzHfdpUMFys+wpHmOLXU8SksIooUXxyD/LiP1I8VEvF8hSJ2ojTS3Dr1KSN6hU8qYznEkoR8lHhToF4MAAl1bCJvb0cQM7fjLQDbAMeMl/3oxNHgPI9QtGai/7Zocc9KUYKWIuJtp2VS53K/RU5kgPh1o1dLP4YuVFtEM6/QjylQEA4fA18Ljq7hHGEBL0j7gBBFR4ql6gDGMPC9BdwbacwGLyKETz646L2xgBXDbOTO3wFOoBxChtPIazIDvs/EOThoVpGf1Fg4RPhBxFDUKRIXkjWuwiUpho4H+fwIGqDmMokVYXUDTSkwvIMMxalSiH8qPOwbfKUxAycANnEKBSZzwosfGWihxX6cZ+zWk1rr0u5LdLoDvUx4F231+TPJzN9G7auMFSGB18fbwa2N479Xw7CWDUNc6wsx5cIslFFcF8mp/goi4j50TbCC1FEbRadRbTKL7CtATdCl69l+eRZTmQV01tEHAUKdTW4n27qBmhEHv+KcF1jDLMcfaYQavfTCzPRg3zzYo+jNmpgZrUN+QFpjF5X89qo5z8kmIU2mu/3VH7ApYZ+/tzYmD0FwuvISSdiDgpp+pa3azzDA99bHv8ydGnn6e1rfAIkAOdz/rIHkDo0rLvEfVw7ZzeaFERQH8b6pOZlPlj8XYR++8JqfH59rrfjNE0N4ijMyidO6POjRDUQYxEbeuLrGJSrfNyEpRiAlBz5igIR7nVAuKBh79neHYUqu5c9S2RkmAGN5zAXiTmluzFvuWha5yx5mtWLGeIo9DjjyHWU5va1gxwwhrmga2dnKQEabGR4wgtwAqQQcuR1C//pvVxILpi0jOdp3cg6r6v0W+R+T3CaQaIkNaS9sQFC36FZ5Ej2aqHsf3iwqoukmIY4tmM+jDLA3zbJtuKlst4thjp0UuySd2sy8lcDeBsQOXczI69+ahk0ub7kBATBoGXCZjq9hU+tNjElOG1YpvNCrPuTeH3u6jfTcRo+awtT/EsqrUPQ/7y89iE/cx4r+rI4e1eXNe7gqCWXbcIVG4n8FYWm893xxrueZ09eb6z7dBucxEpGJAxHHCjTHpSyU8pdWN5WrGsCAxct7ZmG9zm8pavfgu42w6gE0lii2Cx5onOZgO8aBn+sMVHDqxWqod++a2chK0/7bfTg+qFNWCbVc7h0rWwW6HMIN1SwZQCCDs8aby7BOH2hke2rp0kObvRi13B+EfS17ARJAZa4HDgS5xSkU8Ff0akWvnDu/L51hpred2QmoUxqioS7YB7Bz0vzHzpt6rCEU7/Yaxf6HKfXPOMn5BwR9YWe4Cz5UQVpEIaBUTkar273Rhjc4FyF9+mzt4xy0UuTRqevNQ0W+1Kg3TCmZn4BoDRPA0qbzN7NIOL+vrhGsJQxrheYCT8vVOjxRjNXrra9SAXLGAb0lMauCaJ5TFbJaWxT9HBVHibbsQWgqGspx7mIuPYw/QPVds5rpVJld5FfmawnNVOl7vVXaZcAgeq3klCGtnVVgDY7v9r155RWEMT1HGvw7h+9TT6tGeYuqKhCYY8r5wzfkorJvgrV5xVKtillDMi+C1UkwxrrUHamVUhGA+YCBv6ey5z6Nb3CZK7cTCvLhIkTMnWj7mGGD7/6dVeYEYSNFxn7Gn4Erbr16D9k8OqsZf1gLAjPDpZc6dmDFc+0oF47wLFPaVRTWdNZqM/pdxET43XjQGJN/0ninWjUzPjTYA7E17ViVJK8Od3mUWjPhnkn7MBz+F6UPmOJor4YQLHaYPCUUuZ1DzjytNo07ZSv+IZgXhFgqBU6xjeO151H7yVx3ctWaIPbu9ZtmEqbbxQPyJ1EiDlKaASPyQ/RW4talBq+xZ2WZyxyiUci4EP8SLXtAWCdcqrYOjX7de4zMTL1ZFLro1zExYdNRvZeyIxRD2wbmqAq5CdtyJTPxkyDHRmRl5+L0aoqhIwTvb2Z8bTeJQamaSqS4Xt14H8MxKG+yFhMGd28PASCvP160/eI1nTgdo9dFIWEdlorkAdof79g5deB3giJfD6FeY+frd4d5u3Wxe44/JrMXyOToBj3pfxaythST5DZptPMd830W+pDvszNdqfrIwGP+1VfbPJ1lNlz0KI+U9dA9LeC/8vEJBdprYByycHBGs6oY6r5Sqzz7BtZicP+UVatPN52r1p60ywdEun1N5ND9aAvsI58F1vVuJDT5Crn79ehPDbJm28OCbqTmWxpaddxDHV8nBLDVxXb4Xs7neDXbIyf9zW24GMs9ZBE74jD7nXC5N6lC0jJgd66CKDmPKToxYANzNpOrt04FhsCY4dvGGnmH5BAvG7aUQ6cN8J+SLhooFMTjehkP9WkC8L4HwaJg+GoGyRvshEX6eCphK9lfPJKEEY/R5FNFNT0PS5xN3/KIL/iXSWDCRqjhmFINKoib+ALHwXaq/NCLQk80s0xFMqGABo68biZfk5OcqFD8UT4085hNv7ONvvipqeh1DwEzISmDrHGa06v1PfvW6LrNNKqaKGDJMWbSNvAIEnyVwAK6xW6yqQMgr5OWaJuWrFuoi3fbGponVrcSiHUxPIMal4hTvEYTrlFLUdGPzPTwvRVoh1+VcumhmhZCFBghZxtdZd4XdNMfBj574sDFIR1+e3g/E57i+jPcsHUvBeiTMogFW6lGPKR4GqEBCdUWNkV5+4xBXXjVgQfbiVrfpIOXc/oAyKd7auo/yZJ918u74f2zXB52vquWdmq1W1nhSgL5FF6MaJpTDH0ungzVe7ZgcmXLkgpxqP4lekce9fW9J6wb8VfvOArqFgXFseyEXH9bbx+uH0WjRH1liUCPw72T3sFCPQMCZAvaT59/Mb+e2dY31/tCGTgEEn48RoHc92TalRgoRYKp1e6rZy2slrk10M3RUJbvlM0MFpsr86o25TViHp0L39Da04gJiP9T1kgd/lLtQPAVDc84r+plEi/8X3iPec9zjplgyxFkemB6OAd0Of/tlm6LQr3CgxghHFiAxCi8N1r8UikZavZ4YlXNy7J+EBIOk9UzNN/hN1wa4yUSapCYuZbD8rs3ckyaBqwLKanP1bAHfneGovr7IG8QNK+qd9iBB8KVscBfXft09kpCyjp+VSTv98WYuwFxT8Shu1UTabvmLjF3V2M8SOyr9od9hScUQcAPEcL9enNN/A8Yr1zlsMimcra0o1ccZcrHW1FXp7v9EEMsTRZsmVHkxpVzttSzVLqVnpAOzVk6meuq5AMq9VvVixlZAj3SmvpC1zf+awEi1jH019jRW3InxD69Ftsbh3AT9OonlGyzGBk2pE1ZQuILmgbFmQCQVLYFodHRfhHOVZgh3m4JfzSq6Mv/K04hRs+ZUpfMEOQLFdSn4JzWxEQoZUID7gjtCV2KrDZMilqhzksGCVfzLxpOEz4XuIXOV+ySR67k0+frJpgv3Uu/bkxZRBXGzBrm/pJNqY9jklqy7j8/T62ljJ5rbTrUrxxUtsjfxOevMskBoBo7z2SiqVgfwp9ZYLEvH06xoGFwaoPGusZZY7iB/DYjlLaxjEVydSeOb+LqVSGoKmEdZp/yyA8hcRzDq2U9MU5Z66VVWYnQJ55JDOf0KLSBZNGlS6mJSaVCiCkOC7bntM5AfHAin34brgGloMmn4EXkEB1UgWWWnUFJBUtE7PKIP3y2PLrToDnRBvPT4P1A1UvT+BqqWDyj/9c1RwHvoI70ho2txn97+XnKt9MI7GzjZOHGEkZq6U2xQGyRL2N66uHYT2T5+MkKP1H/dEWuBj6UVCpnpLS1SZ9WnGJFsaZLiXnQGec7Kxb4LuOglKQYZbmaVvOMUJfMZLSEMfvZ/286bUuWFOuwr+3Y/NwQs07Amdb9GaZ8njLhDpWaNFfT9bQoex6R4oSQKjfkGxNv7G1RKNI9WggEbXJFsja4ZcSoPrtOHvabucYRBfZQZaNWzUbUBF58m1nvkclX0iRS8xIml8XzQk0A8UsFS3pyR/0DzsEBZghFmd+6X0baJGwr3LcTyjwbAnFWdm3WRtphFzMrIIdNcMRX3tqeswkwOf4W65uvc6g1y6WVjRLnb0rKMm6VtHGZN7ECIFHtmVST9C3xjpa0wb59DPGjR0cd0hQ/p+oM2nAx+aHQVoUZXL/847NcXJ1029zpRzhlVTCHqSlUY5NkxK29ELpumO01jzQLu21AxK6G8PnfPyBmUm/KsSx7FMl57Nzjo1NumDEivDcrJ0i6fOvh13jd8pJMccgXYKLC3j0hgkgXH2vkTi4B5Bh9jXWP9nOOHQsE41XlvFPJYP0vxEJfCqzm6eF3opWOHGoNt1fpzwCjqk+3Ty/44x/Jr+F7+6tnpJs7uFCm8wWE/cs/24UXVj5IfaUVn1GtOZIwqBrevs8n3XjgmvXYICEoa+psFPlkuwr/ZiZw2z9HBzvZkmJtJHc2eQIVjKDPO1wpa0LkyPgkku007tVkufMbXY1t79FoNH1WSZvX1xnMAjIK4vmAr3Tnx7tKnhcsJCkHoP6AQYBaXE08+P85qafAtLh/REbGrlFRwG48f/pZBYEYkswqpCfhXc2ECyZNqoVwhrCgBMIf2oVM8FT16w3xI9JqTUyYkQAXqskE/XWlddSrdWinYuKcUCa2+FoNqFkmT56ZijU+0StISxRWjTwkCsYab8rn6ZVlSxtH4OtyX/4cL+nzAd2dnUOZiurM0QMXeuOWcHrglOT+9PuQjOUle13fH4+3tGXrqe97WQgqWlNZuPBQSevfgvQs/9lNj5jLmUo/YdNzIBgxBf7e/5wf6cpLSTAAJUJYlPtg7ID3pq4R79ebq1T0Zk2JddJKwnmSrlMkGrjlC6kWi4d10QAgZyKF4ZECkQ1aNBoAPC7/a/9cF5AoP4a9UHYLmw5QidihWqU+AvN0yh8kJJ6p8VKBbwi5JPtkP7W/Y/cGAuZtwuEEqMNlJJVN+YXYnfcAZRxQ+XHj7Sntmt4H34wTlDLk344eeeejSy8Ns3c3rYaGIc1/DIbhgrsxFOr+qsZBKBTd1U4sarEvYPJNai2J3WiL8EA49o8VP2LyS2XoEw4LfpuRTGQSe+tZmcOvXjeWS7Wgqn0KCWrGGBvJ5Sad08DnlE5DclHl8dA8h4WyRryMvPCPMrfiE0DzNJrAVFaKiHH70v3y8aEbfwJLDvMc9WYAHv8M2UeGfNZ2RqEBfgkUwpEXjhaEIoYFux7LA7yZFZokmJYdBzVO2gUxP2UOofiG/SbH3D5LMYnJMsyhjVPe3gbJHcNm8o9yHOFTgWknLA06sFkq0O+ZaOKM0zypHiNq1BV8lb0wQPajSyvgsqQHJyR+1nLUb/nftON0GjuO28+X/wX8OJ3IQ9svJ/oeFU/sTPm2rqsPVr0rbLdWb5pTZpDUPR7U91Mko8UAAHVcMFUslOEWds+dBy4cVUBiVm/wDegKUbx5utwbuoSSOCVY+E3PDSOuq5hzQqtRs2z/FGgUir19qfdwRkOd+0ZOvxo/vyzpY5un+UmKQsmSpCKVcRQBeKK2MrvJf+FXiIHpFUgzJ+5TGbVKv8tbTG41xp/o1PfjOQns7hmfSf9u98cNpznSQRMxOvqB4EikYepJg4Q/9EmMhgmE4hHANOhMC0L4VxVxxZhl6XLSppw6DuFTCE8o7T4YvHclXpdqaKtk8UAzCUJA5/A8YS+9NvEO6RN2DqbJzHGlWvJIGYpXKcmHUlPCvdoo2JH7tGATAaDNF6zkGgT9017yooLgpHFHgMVOIDwUsdoSgmM2Y5oDIczCEBfAy2q3ZxSb1YFoXoHtHyTsLBDtQzAtzLiWzMEdWEuguhyYiINfzL/SpnJ24KJvgpmmAxmA+nihRQmO745EnttDXZKMJjhDhVQJTz/+L+qKWCxqkmNGz+d2YxUarKmZyCYMF5+yw0x4VJZNS1iAH0p9dIE1WmbjucukVUoo6S482HCWZE0OCl3+OH2wan676fD6Kq+FqeIqR/owTer38y/Gg9dClQoPjHw3gGwxD3Ox03/ionRlMXf1n9xg6qGja1OeIhzIQKF8cZKM6/ESFcoscNVQ8afo/JezKMafdCg5aMpkiQqqVoMyytgf+FsHN0WrCMP057ts7a4FNFVIE41Yv8eQFdZa0Kw1mQ6OJGnE2cjBK61NYmHtRH3sOjxKnEs7yGtJo28j+RI/dkuPOI25kCtpFVUcyNERJMDH+bmQws1W+CIiQD0B2DlbXxOGenJQJIXYPWfa9r/UZmdz28v9UX8ReJB9Fv9zg1HyALaxvMptTay7+BSTpOkLzUFvlRaPzoykw02d7OtoD0Bg4veUkkNsMCqiE4F72vd9KPGWebvcUmvuuuwTBMVdvwarAeyudNXwwCdeAj+PmWFzGxp+bW9iOBj4yY4Ltv2TEEQ4gBWIx5Z9NsjyOQxxZ4DQgcC/39jhUfhWkJKTcKlc5sSNaqUZphc2hcaKyVtqg5CDY2rodVDytkE9TLRxK/kdj21FnWNWV3RztOHAN5L8sKQ+T5ahvN4b7dqqc1cX/df2gD207V6KDhZoIYrGdkPVSd3ketbter27nPCh8L9b3hUF0324l3BfP2WkmwMvO9HCXPBD0e/2rZCuXaxkN8VjdL3/fEzBBkR76vrJITUmI5taai2zfV8dnYTsut59eGWuFvt06M98JqjMx9+J1eedRklPgoC+PihJxI8AbwDO8dLbnXJM5AY8Fli8BM8Y2v0M8rVpKBq6gSJSjLqHY0Cs1tELXL/qFvh7q1jhAMhnHMz67waSbWtWlZuIlARWkQbH/GyDHXKfKzlEDjeUaeHHQP3nOGEK+PkXYKdQvNjwwKVOX7Sm5/N0zInxuer8YR2mcqrirtV+660Gxc4P4pcJ6NnvYQZhMDagkCTSLCU1NDRdKfAe+TJYnhSuyOt+qAtYwcPAMqV5WqRL9FKT8DvH1YzBYcCP8cCgmGkV1WphwsrVuT3mieew3fHi7Nyf6c5zyUdPwWTl6jTCnCcmh9wUJnZVFShww4W+z/ma2tpb92qNqO5dNpyKLXvoX3tty8dsvuWqQpkEJhjBKg7CswXdBcNwFj1dq1HQIlpNzpi4AbNy2gkmhgSu5LYn53Rb+vVq4pL703TAeaV9AiPDs8q1/CSeL28kGnnspxiQeFcEoznFiLlBccHGzDU4xC+TB46CW1R+vmGiYkYjFoawzX6uX3bJRMyuFpgXzdORnvKTHVWM33y9u8V+YnesUjwo1I8Hp/BzOuG9AK1/Ee4ZFomI0kWCe7fDdQ3SbJBsW8hGieil/sLMHEjqTebt0/oEjfGa5kQfxMuIWYOayDZzUJLKPtjYQLXpI5Gy7Newntl7/M4oewbufR44EmmisAuugdt06z5yCrelprKqM44IKBMJU+f2wMSzQQKMsYj+aPNtz8yOmdY+z+IaLHaNuJ4hH0xGC3uTT6DWMR3d/S9i42hiO+UTg9lDux/QR235OvFdAQetfga/DtDPx8UvWCxeaOatwd1lADblVDz2u57NYN4Jxx8QOlHeMVdcD50MyMfN3kyMFEEUuUiqPWQShPmexrbKLDNrgkcXuejPose7NXNJJZqD64jXNbASLiQwz8Vzqwtaxx2ihi5N7cpI1q5O4O+hsSUTdvkgiHf2cfFj5nY51OMRqZMCztohP5C5Z5JTwoLoI/7sae5V08AESKEGpp/nzfuMY671u8Dktn57wpRirv6yZjGoxqSy2gJtIp0LsgAROWh93ov49fWwxz/Bm9WV5DWVpLGZgyvqaSle8n+D19ug2iQBnN+//PygnTHnqwHBwlvvKJ/BXB45CY3yMjwM26zo8BnRPK1LeNJEtkv5kHw2vmjTcA9Ka8bpiNvYyKhwDpdnmG48KjQrVlBo1vmMOkS6u+pxgA5ic5dtqgfLmRcdq5yoLIbp36uUkffnH/y2uQiYcZFlJc3pCUlhrU+QPUAH3QF3tcSeF6RArdDeOgZ6qr9klS1aQ6Vwmld/tJpyNCP58/RAWrx1da9mM2Dzo+yOwyGDhCxg065JhWtpoA3WjoiQGOrWLk3W+fRGmxKo8HJnqecqduTgwJ3cpmBmLnHFfr+isDv5jhWgVzakLnWRhDKOtyXo37Gdy7ey04GVNfiewh+ocDk9OwIaPqOdsKfNRpHGiM0bCvtBTgUVNT6DPkxm+LsS8oOGBGBgQ3683IHUxzfayPrW+YC2Xsr4AKuJ2LMRSKlOFGpJr7rhv6DSWIUIFkKnRqX++GT3r3+lec39ZXbgzPOcQwoynjw9/kK/9JziP+PgkSGS0QDr0dlVCvjcdd1ioAbVa5O5XICMu03A+fI+sHp4yWFA5UunmReg5ZknJMGNopVtalkVnbLuqe+yOfWVT1PirigeyTbR+LObpkaKhaYUq9oWO6ikrAukDKLUklLGwbQ8g8VcACwqEUWS7cvgrVJGuH579Xl3M/ILeX8xKwBq9ayTA2xCTO89P5MNc+XBKmUwaWYEzdcUhzhDwSl3DDY45rFZcaGCA8dCIGHXW8rB+UmN3ifmYmPb7tA2mnFF/HB5xOQxT3RG7r/Goi6ENKaGbZEkRsBedNWsN6G8v10VmLHEJQ2dYlrlORUAnq3AKoRVdE8FE++fKSpPBDTY9IiyxGeXMj7ljfSvMD5qaM4it1+iJVSsVPT0Res8p9//PudJqIJk2vZbBIVS+WOUcM1LJSS4FfS14ClxVRUWsWBA88rFIb7p9btULm5998WAxFoAyUAZQD6J/NbXJtvgiHST84HfWEiIaeIcgT7Ys77hIidcp+kYz4bE8RL5WrRLd+2+yfVi1NUkwQx00DNCqTUuCwRZ2FQHZXY+Ml0UPy9W9YHUv/9jkk7pS4pSY6JTyqysqSljqKaeKAHe6kPIIQPybtnPACK6ZcL3i8dHz1AFD46kJ5ln+md/dDFy3VR/rXytyt4aZCEzr/sUe2dHWSz43liGup03PkkhIoMjQl25QEGGlCldmxP6hIdH3zuQXsMjkyeTmvnnc/XD4wPHbQx7X8fHW3vPwzVuDK88qvub8QuRZRow3cx5/lLjgyYIzHe4sV337D7+G7sHAKyBPEyncrp5bFVeZi/iGqtYs8p2DaO/8omrXwhXy8361dAn4QquuGy7oja6YWOG/s0LZoxEd6NU+wGxRes5iYGZpXdY9xbf6rUdrgnAugaR582rghGi7RbZ/7H6vlpQstoTegq3P7BJk6r8Nd6hIIie4lF4sNZRiDPKj0s4IUanAX4YhWc8QvZLP29gx4F5/v4PDUr+LAMycJQXHvvguKi6Wq414MXSI7TIE6WvGk/AU/Vp4bAJ+MUcGJZeIuLw8JIdQBJe0wOci7zAZDT04iQ9+5SWKqAYDoB10NbxJXfhyFV2Lh5QvwXpu0eXoLEKKWFeoLFIRhUm1XsWURIT+wo0AgsEVgiQKUksV8xCtOSDquZTiNWRAvz9GveVv6HUZuUoIaMU6O9a6CcQBrRE4fIl0g1hbmCoy/EIU7F7uYE0Ibeg0C0pYh+NEmsLVmJE6MdnZ0R5OCXWbfj2v7QnXH0ehFTJoDZMiaA3FMAjotBFJkVfQF9nWbIgZiWKR8ozM7MbPFebHsRodUeuofpgGNp9YxdQXhGjL79KgSRO+s8FaGKlk+oj6ww9CfR9ogWozEpt979LRoclqgDPdb4CNNE1W+oVjvQqHUo+sb/WL0hWTKbzO89PokOQSvgq6JPzbDna8oTkhvkRC5HTaRjjv+V5upuTZKPPOYWphT4VltOb4s7XJfOi4wi1icsrQWcHTvT+Ea8UKOMjqQI7YGPnDQXpNJn+O4wIGO2dKkyE6h9nLq8ypuvZwWqI3JOt4lfNvkv0z9lI9ZPEqbl3y+7sNqTJUqV+PdQX2EvwQp0KNca2RQx9S1zDgvU3N8BYYl31X0P98S4y4LBl9pQwFwQ1We5RDgG/3PumBx0k/neH/M/gfOOLhZ08KBfvIVzyNl6tiKLY9pMzMiQP0jFtRsxzqfWoCDCIlfAPi5JJ8bSCkk++P5z5Q5YoLVZviihz9IVaUW1tOWflw2xMV++xpzj5PGsb+syVzTbDJz1sKQxrdU67/+aqI6F9UAHZrqccQZv8qyxfjV61B3x2PIBVilZqWZQ2YRIN4JvrJ++a0DqbI+uvckbPT84Efo7HWcDiRNG5FgoTv+wNglVBNABv4wojCvKxL4aOuHJbkclS8A6FJ/+iLlJuU7Pwk8Ex2kzkIOOtZtoUbClE0sRvXFtsIVyltfiSPYnHKgwSByH4BZvjLQn4zpI+1jlEec1dxOTgicAMl7xZxc5ZU06CgejjZIUqLDF0CmqIqRrncTAA481/CPeF6P48mG38MQ8ARevo4dYd8jrbLTupTEyiz/bzpiTH7al4aS1W70pGWsDi1VbUV45YZ4jedD0CmnjPqxyRNugA6otIFVpC+pqC/AtMs7wNEQRppBtosSX5H/W5c9BVd/APJoQZ/l2A+WlPMLITD/6WBNVooewfi7VEtqW7E1lwu3tsb1CRnHXaOxwbfD7j6/VbidG3u9rMdZ63JvYri6RsD0Yovi0YVokk0d4ggTdXnG0V2w3uL3D0ODH3oqNJXjAyeUo1U5XRz/eEDDY1sArPgCZ/Q2rqddc9ssMtOMCe37YyNejC+lDmUY8AcBy+b+n2bZ3QbtNbrGESJJITbijFVbOUWx8tCh+AV92OMkfKo/CxJY1cqFP29gi4EJsgDk306tGrb0qHrSnOIMKaXZUM0L+J1wizinZI5v11IFvZzFAEEdQo4Q1igExFQDJ6WFGV5uO4WVKIL7W6f3csZCg7XIA5M8I/Fw+UVuvaLJhBj6T7jNKHxTe+vvH8cQPV8VckQJrZwDULPHYW2r1QxWfanBIVcsRl8AQABn0zSGjfKLQdUWzSl6n7OFj0BRTNOze3brQ8RStxUwMVjqUj4S3Io7q8XGgJgm4UuwUu4Odhy1Use7USdHuU40wXNbe9xtwx00obZytt49DjGNmy/Fhvi8cXShefJSZ/rFa804li+j4EO/lHJ9LLYvGExt1t9cSoVJ+ZMN1sVKMATjvqYgbwSzGm9PHEoxoDRsAqobyCXQK/w2Ub3dV+PN753Bs25ZlW6OpxP9vDnzeLldONYk5AEHuIz4qA2iQODDxx1WE1J6zyfXzhlbRXdTz3YiqmmPjgwI47kx2EDn6TSbSJ/jgOHRv5Ug2yWrKxBdYtFjgadGeKOksJ4wo27laTjs5XlDwEQ6BLRGeAX1e4Sv4Y/fGZUTPBFe/dWFy+Bg0J/Q3wddePyfgYDSwnjv/0i4iubPZVJ6FnkbY/z3ySfHyhL+8a4njK57IhiyKNr9ap8qyTk5KtnTncJmZUGbKw6ileOnuSVHeg4aWl4KAPFffFFld4NhL6mO7F4ftJpJFELAXvQ2EqehRmRIGR6FuarpWrRHQl3eZY/TvvaZ98oNQCpaXSleQzFW6NvgxMcoXZPHIF5gvaA3x1NB6GI/SHVIIQBNu7EiSwkXWJDgjFe4+RHj8ael2JlSiLN6gd06qS4yQJgOMxK0qJBRmEUGeEF6ZWAljfzJJ7hoogBR1IYThH6sMzH61os00QpNEbc2NCF2LmYCakG3/uUjyyKg0Qu8L0pfIwiJ2uhp4yoCwGSv4POw7Tm7fEeoDhlTRNt2dEV+TQ67ebK6qWNqdtnMP8T40j9wW1/5BinBbJFjNaPVqN85jzmZALpOFMcnSSKsQHwv7IDoVUplj7bQuJhFmOiAwe6s+jttfauSggIS2Y1TE8QTElvOGCAz1JUFVZ4uP5RPR8H0tKaWlwUXjqGiKUoAICVzxV+6B08ykodAaZHezjHHOBYYOpeAl89kNj0woZiBJHb+1TK8rF/Pvyvhn8ThnF3VCgZbVthm1fZ+8bYZH5y/jlerW67CaRUszAfXs7j2O+iSuKn3qlIlIKWfX7hVvCbOikcFVx03wNzmBkwpICf0rh7DHyvXKwv796n8d3fvSgc38DBAA7u6AtUN2SD1krZ8HOCvH8WO6k/9io9qJjf5dGEL3nbfqgZ9DPiBJoxHP24H9E9eBEZoydbmPxmoot3sWiIrCUAd1ZmJ9AGEAH6snIJuhSdroh08RlpFC/VIHWTqKHYg3dVOacudCChDVeyxxSKlPSdqdfA04SEJ3tZl8qkCYQN+b5SS4u/y+xIH6oZGm3P1qNiW/IuHVbo+KC78m7mK+3fAzKVc3y43q9wTCDp0LNkRSkbEmBiYqgPEGRzXiGP6z+R9/gIfyaPCVD4Jw3+WoNSeyWvdenB4kznJM/iMcKbPIGxYx3VXcUISO+O9UyAopYZf+yVCRJvO1rT0gvh4Dpp7Wu5geS66/G85OIF4XwAlOQr/f0365VUfxUMSFNJGmTdXYagPOSIYNhVn/uA734aPaVaRNOwsRloWOxRN2wRm5IuB+R5xxLGb0XwyWabG86GYmHkQN0oiF6vQWJRdj01jOEpCi1NXoNMgDQjqvaAWPKy1gm6ifDMWA8sAkuCNXlO8i/C6IFJwG/dRjfae+vsSEpiR+A9eehAPEkdRLVCySDLoCG8WCTvqcYFbvjrhe1PsEnlTjur1gko8vjzhvTiGrHo/TCClEDsleQYVjfTbrEy9uTKQ9sgxwgXd3sB7CZ6hHAsrEH+3EAcYbrn3+4Ct8RcHAbgfwCX2gRR6LuEUCmeocDIYqbOLnjfQvtBdBrdovIlIbZjDpv6Knp2bgBPluIZdd9lRnLzII2AQgroiyTJ3zAryhYtdZsq32f4OwIu61Lok/R4u3RszEK9PkG707gBKLSNa6AjK3W4WSBVwEA2fdM1/Hk9BV/gUL4HQZNxNMYCohokofP4otWw6/uaz3zFv/i/3hs9ARiWiTi4DBXxIZQ1bG6Ci6B1BxtJtI146h+UVRGPGpPl7Cm/9xwHXZ/PASj+cQBbQcGVA/d5+OE2bWfaVHJb3wv0/DEidMmKLrqekbeD3h2ukRZ6dypNtyTRfnTM9hoRfumQc0jwSLG8w3zFKKGfY3fOSoTXCWVwAYfdKGz+vQ9+T3gWJUESKv6/73m0PXqViQ6LVs1YgCQ6igTGrR/keqSxBUZAsscI8hsBeEqQ8slO9U1RNM2X6uSTeLiQYtwBlYJDCOVyK+oC0BBLnpOf5or7UwvYqjhsaUui1m9c1Sm+Ljmzp/xi3hEnNjd1VvfWsJgNQ4BZXFDSix21y9dN/tBIiKctd+DPW2gYIAUnhNmcqGe/U+iaeWPrelP+O1PjXZgezK/d4Xy7hrMIOPpoPy+XPcx7iuZIS/vxmhHnvNrQ3d8gIRPI4WyFNBiNmMJJHbHugYeJ+Hw3HFvczhrdLJCa9/VhzPXHiG7GNskqxNoQCMe7wwDPQlCzFKNAqIuFhFSlslee8rBaqdioXChIh965xMVGV4woSl7dr/WYt2JFzNgSe29i4YObSXU4dlJJACJZalsDCF6PP3QrZJ49j9xpm8BWYfnYct0uyYrYFXSyEYz6kKnWI9rRU9DFYwM7TQ55zceR8YT3cFausmsak6hvkxO22HHWBvOn7ZYwpxlbCNl09/67xtki3kxBmwLkq1V+ca7WEd7Ok6R636YlmWOWL0M8IxTjVQxqwQgbKjsu7YGrsCGF1OHpffULD9OYhy6d1Xy+EUgHBeQ+BlkmiKN1uK4T2vRfv8/17V/NhmIFDOMWXAduJYm/Lz7IIXSDQ3rDCoI3PA2unHuX8XmeQHJh25wW5i5dOU8JWozzfELYVJHdRo/erzDCpnVQaF0iEMbqLmqKGkeBwACIUopsaG+SX0EzpuYvoTTtgf6L4bzM7ntwRtHKhsqcZOIqL1wujzuo1yBztd0uPITVfS7rTdUcZ4u1KHx6ZZ4ESHZlnScr9G5p7oIcxFT52Kp35/rUI7dMBNo82tP4CJ0cZLkb7LHJ1k4X3WKUj1D4qNQcgFOzpx5YFZBxP/4WRqXwMCNtCtxVviZt0EamdqyyZftqFz5ysrfCpJipTz5nhvwKfe5+OzeZT9d2JlZJkwlbNykYpClrECkQ7oI+PxeteuyqNTHmNlaQveZcraxpeWDPYU3l3Ib54vQKeJ11Mv1VRde/j8vcskhQKqsazcuDhGwDyqYSumpUcD23ye5iuqtzmkpo/woYKxKcSHyFtoeCqbiGO3ij1/Vovj7qfxlCXAS88PI/az528Dw3jKUeIe6X77v93Gn+regGdyFRFjjcjLx8ZHpIVojSoa3VnRNjNEQfI4jMBa4Jc34Ce9WF/IG781Z0gdFzBIPwNAupKFaZMJVBQOlq9UeuWjM+ihfcx9cR46/f+9jw8epHZsBkz04MoCYmX0qE9xcFHr1aHQZGqiiFYt1avXpwGVCf1RyDTxhoyaGae1v7tWUH4SRIcjyVHPGWdyvIXKTyuo/reCSZgE98edhk342DdjqZ+HbCQEylWoFv8RK7+ybEO88+aglQv6A7QN/17hFT18yvXe5DCILQTzeA8T48PCH43AoTCwXEGTcDnXbA5CI+HC0Usuq27eY2jZSvXg8F4IRhvsj0/qrNTJucZiNv7saknLa1wFFhQlqmBCvHeD2+d15bkFm+WMYu7UXoKWF5zHHOy3ri4oYcUB3r3Q9twpVFzRQLe2gDYO1T/y8g3ZcOS0JKAmRT2NQhlF7mD/tGXEI/MqAAy0OZJZK3rEp8mle13S6S2V+135yrsHYKfFLgg7/m+fXPhMDCT+dAxGdhvHI+wsw2lD81ekqJ23WvYbsIXve2yYlPIZSpuD2fNHN1Ks+58tPhFMxXh/n8QqFrmwiByNL6ct+kDW6sV0TderCtfbe17qp9STzDOCE4fStac72B1AI8xoShO52gHoKci3f0EOu0VsqH4MK2sTzMtEKUqU6OKMXxvOFvb8xe5IuiNqewDhUI+wWAr6gZJ95Bk7URdcsUezLxVBEZhvLqXsPODGbO1YEAdTZtU9KSHpJmKoTag4RxBniCa7HyYEhFajtCMoBoJalz/JnEo9Sgng9mfaAx/RJkEnCQ+7foeLK6bjjMJvoRIOM8rPlOwEoeIX0tFaimY8J+SswuVTsyt8IHbrfsiaG8P4uMpLDmEDOruO3kfXWz//OAr7CE8ZpLXQ8F2NblvDMsbor6UdodbYKuSDENJAZAce2pcXFOgQOVubEcLuPBlySDhiqM0/BzFnuBK/E/Oku1tIWsbaWdSOuuasF3230d1qWyCeXkJvJORdwBb3avOhu9ogDb7TwgFK30M3fXACtAVV1KrsdZI0yY2J+kCOFVcUgClYGDhMZlPhKkRUUy5FgrFW9v36mvSn+TpWMWPVzxR/BBStzTMJmmCo+cXhnpz60yfB9oUhOhjQ/eACYut9p4TE72Kd4Xm3Oo+ghchhr00YJJutwgoFt7TmnRuBsTAnHfv279OfeN0o5Itjap8CehRMs5PI6Gih0btwKGPxOXVJjZ+Urwl1vuIm/pcI0fn6vJrC3442idVKY5XN1H3jXeGnb80quqZ1IdlZMVbbGdDr+SPahxiKTU8IyU04T77UTUfXgpzBRZkLfBGdUEn7xnYZF8h+f+V3gLf4futUUx9sEgg4geaJZqAhAkOgqRrEDa5dyXGhG9cfIjKjzIVez55eDqymZ9aJ0gWTxV5w93cdwof9HDQr7bFyWuvHC5LknwKmQhT/mpm3cckigcXCPLIgzMd5Zv9ghygzp8pmyQb7sgX5hXwZHyYSW/opoRZxNA3UR7eWcnBIlyGgFo55aPx76nCHqDnIm0Utzdic7Ahhde+PIf7GSRhpEo5w+1rKgVUlj5REEFRItwcthQ9pucOCaGxc4aqLmceiTuUWrLUHaiPKHyQnPtZYA22Ery0AhgtpZIrlxfR+8pFlBhpN2yR1evCh7YmWsLIfAy0sAiOpttZtSnzXTeLqUJrN33irqJzgiojHvBJaviErktPTbDFUTISz53DzbGfXRHk5WxEGwrmi0aX0qoRDPTB/ubAWo+9eQKOtiXbBKgfbgZ7coG4X2OnQJKBy314xzCujfbjhvdvfjMyZ0QZ+lmxdooC1z8F80rYgQDmnjcAIHaCEhTdWO82vXtCtyuy1Rl5SKvCqRsHd7L/cW6Dyaa1f9pUpZjIUyP+lsTkzxwD5hAL/BK53gpfMLB6AyTH/kiKtkp/fpwRkGoZgO0fyR+BStULwJQ1bBS3wHY9R5KU04mSPN9d+J5AdoFDSZAkGechUlGfh8JR9/+GK9zhi6XUd7qVuH5uehX2l1XVploMdoG/NfA21mcaBcuumMPkxBh3XCyBidnG9xnnDmQefYDiJzrQ4A0Ja7mfkjlYGrlGohPxs6PDJSblMg7Pj4M4CqTXJXS8XxTZMS2hVv2siMEFhVBn7ZtMFuhd69Ya/ZYgj26W78oyNKAicpL9gXyx82sK5Q0VvhacPZTUQ3LqpXTvQVbMP0p/2NDDl/gf2v/t9yhc2Ey44FB7ZN5Byo55ob21fFAARPrYghQymVbfrL3eXyupPVLskOyKUw7ZHoZPgXGC5K0tEfEGquUyt01yBM2vSjcjxIk3AtN0xgWGkldZbkebNYKyu+iUuCqpNe2lobl2Q5lAT0SCEpJd1UyDOE17kSsk1mzjKlzEts5kuyY4z8Xp2FkTNPqOT39cln3KkYUYRCXSLD+4WEMMlcjOYyjkkozWocDqP742L1ukyvvqtkrzOghTqLZ/5xqOOnXL9ZC1+WcVpz974VnkLIlIJeQ2kNH3sVhKKniicU9fKAodvs167HqsT08CAwChWN3xGOxMFuwgfULJ/AEv1DrqxkgIzOD6NjqtlWdaF/6ruXIXdQv/jCHXLTxdYbZfEiox+7Rg1420KudlzU0wzDorK/BDchm4xcCQ/J9bUyCimfz2MTTm19jL2TNBbcCEiTisnJ+1xKgWBErK+HoVTyKZIlZ4dz9rQEbepkDDxfi2lCX4IO0En+/wfEiwvFBCPwoXTTG3i0FUan3noISB/3ftXLThwpLVyP534afvhx9XrZ+Np9ICsQQ/NmywvMtFUlujMz7t0SdGTQdEt0YQIeGUyggYFrmMFfxvL4ugaHChfoS0G9OmVI/oWTuV6SG+jjpxjHKvOZv2BH7tQd2RJEZ2Ly6zIGG4QF2bAHn7zk8mzqcIPvOeAol7+NLKYPmqeiLghfBBwK2i4xlmIn9O9dEy8Y26vwI10uucHoXdQlMNSoEEdEjSmD2rTYb5oKzpyizawecnHCTbnwyn5S+LiUahJZOfpdbQ5PFpUFC5lS0MUAwRTrg/o8FFj3/RKZjR7fzp4dCITm8hjqHYbUypdmLabYutCrr/tgs0YcVu184442VIIIR5XdWIPfXPptDiAICtUe7358yMTmx7ISL4TBI5r2s9yHBs53VbHEe1H0mKg+XFTUULLdQ0mPlRoND5u3zOQR+emW/Ql89L2XkaM5m2L2jv1ee3GYiQi02bNBB63kQ0VUFbNxJ8nUW937Xf7p70PxEHb9uiVhQguXreMCKS160WI4u5Bmkl8YwAg5nKQyMJhZUnwoQhvkpJ/Oj7y1hKqcoh+lbk5rGgAswe+9N6wLSJIy8D9DNNvy1QNcHhx0wgwLSP9/heBTm0Pl+msg04JXRugOdWhuMzw9UzkO5g7mjq2+4LnJ/pZyN3GvVtI6netDxKjjPa9v63rnZlxqvnRuSrWrDYCDMLLIZsg9uhVdBuzV0+SxbHxU0oX+1b1lXZ+pGMGGAjCgym6LoR2w8tRAF32Hlrza0JSIngxQF0nrGqalnff+ESTbaxMLHrCYZ/tjexVrbVr4wK0OOLlQhs7Vcj2XuyvKtCee5r+iH6v0XLR8ap1YGBvhCdcQWWDcbRXdpfiogQWd2au/sPMNySQDj7e2p0fQBtxaFxweMphYr2l4CeSsxen00hHhP37/1AdbMzL8cvfyG/yefNO3NZaOW0doctGP/ogtaRJaI8zCTTEr0gHgSVU+g77uFMWINHKji7+JDc6j87Z/jZFnJTNP9spNvx9XLEpyb0eLxzgfRxhK+/v+YuLikrF5hxIApkqHDW7w5TSf/57fpsDJ6maGK4AyB6Q0f1oQMeD0Yz9Zu/awptt9M+r1M0gLS4+Ulki+69VfBDEj7HDsubD5Qz7eFJOlW3zK/zH+YAKCJaGuYrj7Q/pus1u9yKVfX/kn+C5aEk/cCooT7QeP0+HL/xHBa+mPYvup9TtEShSIAbnsb6nAYBkc/bItaJMebomdapdLrCwlOnnFuvnaqOOezfusXS/lmzSeZqfEc57dn1onky2pdknqZZR++VQVOrV50iF8XKfSlYZI1u6VX3n7+Bm4MNJDrd0SvfITbj3CRSdlBgk9xJX7gwyhqf7YlIyrDh364uVEVb9BiukjKEeJUx28UyQ3fO6fouaWjw86OBu5LHx9Qp9K8Y5iEgJYdq9/5eQkc4xu2Fb8YdN5lkzegc0rILZ/U46afuE4TpcT/0O9PnSecqdxE0mWj3pMN4K9llr1Iwtd6CrrJE2cUJnXp5yyfyfZQYnGZO1jWYlW06u36D0C5PhXFQRtEdfraS7B/j7ulr+4ivSeye/F89JsdXN1SlBSgeqfpfw/pyr4vNsIaYNyl0nkdKrLt4Pu304EBRSJJNjWb5rsgtLwO7fC9iIOPP0ce1cvdsruLDnjpdsQr6tULltc0cK2XAPc7B0wuHnckR+2C9fOpY3xPZLG1thpITGk3mJ+zONBJHKiCCw95HY7n1P5yWu5YVKyx9R5IXKgxhpLnyWpqbEqWJ3SXftIGxZfbZhvG54gene8WCwjL1eV+fMRKaLn/BlNGEti7HejldtnKRCCkxWKGl6LnYBV5WuWJzrc4ZcZYgS+C8I87mgzT4VH3tKmV2GSF1pOty07Yt9Eyss92rTkR8bN87hkUJMWGnbb0NVxY17uuuQT3iyJXHLt7WdtD0KU2wUg3yDKzYK3P0GkDTlcC3Kv6pgEMUgkdgWItk1x82L28SQmhepXHpkWU8O1kQsvSkcIoIccIkG6U74OAyMAS41vYsO6G1BvJzca3X/iIJrhZDyDSf1Y51nc3B+zY8Q4datBBkwQamgjKIP9W7asQcsMu3XqO1CInxWR7awKsF94/KSzVMcr2WsfY8CsZsDwg+gUL3q6NpMBSCAFwn8X4O5Vwttw9S9lYNLjdt4+ScFKLrMfNH0oCQ+tNsPhQV1kSWZdKTSJT90VDjAhvGTo/FnYYmH4qUzcI5wjSRVvAcGRizvgP+tNGdMIFbqdiKW9qF5mTJvQq4iktLL/96FOn1X4Gf1//JJSYwWxnKxuNPyaiUZQ3b35/tSsnWhdu/L8Qg384KmDqFqvdVHynD23Uu/Y9YBJUdZL4FfWm4Y9+k/TtJkzgxl0i/T2U09oFBOM6VCyRJS8sRLCyZ5QYvZ/0LrWBviCPrFLWQ/jC4PKXQ8CImqBv6Cg51n8Bs0WIwX2gMCGOVQ8676joH7PNgVsz1prL5B9WbvXhCEkBy1kruR13wv7OLdN5Wv1v/9xWoESdF7zi/kmzAuQRhkiYpIH1hrEd0p+vhgkbt8wM4aCs1XdYHM6ZeD/UgJTMgWzuQhIyQRynuUvFohR0mJIVTq7AINKq8pAvhWQqc0tq1lr3R2YqeAvToBwCBAMT0ywT4rASDVZbMi0AuXjHVTePxqvt1wCFvpNg1ozyZpzUrYZJ4zaB4h3kVldUQOT7/AgTWdQO9oCV0OyicIWeTsmlS22wdunvgTRxXyCQmd2PcnVH5ETlRWfsoblZn9+LDLM/Elyt2+ncg4dIST8ZCHLWYc5qkalChFKSmVnBhJQ27x73K4HJ6TqL0+EIvSN4BaK19N08VkamqJ15Rd1xsXS/DHtFt9Y1kRDKLaXMjKCW0qWyMNaljJCla1pVwj4Oj/PoUAyoXbrDrk7iZ1x3fVlo+PeAPcjCxc39k6FyVY3spGuzufJ5We9eu9pt6ZnNdlK0/h/nldx/A8NBogYx/E4/GysIHEuYQsjF6Zl0jPwBSOu+93rsTyEIXifdze5/cI33iV4BqYpVSwhaS8ZYmFQOvA/L8L2TvbUYOvJeJld2KFaEthnQwTYmTWGZbyHOYtLTZOl8M+15xHczXTgikx8wwRG3oKQpdtTEwDQMS21kfkFKjP8nrTkZ34/RWDbQw9p+LujdGbbWLxl+gxjm0SQ+U13/y3F+jJ4wnjcvosEgTXBwVvQG5jgVmI4vrMdQY1RBjrB+XbAI+fFGkcGgDxMLO9rgADXBNC/9HCPQrhsxm5bNU0fQ4QtuBC6qxqE1+S2AgCrcQerycRtCcyv4o1aLYi1N13toZkB+QraHcTmCT2FDbQxM5Icp/W8+g6mU1NnRKLekAU0hF+Qdx2YJg1OGXaLUTzkmtXlO9fWGjjnXfVVuJkBJxjT3tR7Wv/raXHgcUdsoiNres1BTUgMebEldWsYobSlHuoq89RI0u7Oh196x4pPjqBQ3m7OHxlmRC4WCr+c572dw1XwVpL3KSerbcMWJtgAMnU6EbIaqhjbb7EoX312sWEcpz9WXTJtopL0mFvOq8+ico0my+Zxfz8/V7oridjtO/biuPZosaMtL9siICUZ++PkS7WWmROmQjtohdixmTiu7yEZLMv0DJ7MEnx4E/v0shP/zWCiY8xSItLgtfd2loz6pHEE+dl8aGg5z03qBgx0rHpXDggcLpRVCz7+Bj8DhE54I00N1HaYaM9OR9eNHyv6zIfIfhy/JMZGLQjteUhDVYZ2UynSqfuS+FBwG7+Fw8+wUHKrS3biX006AkZuRJXVsbLinC3PKZi82OM8U8BQufq6p6fjYZtAHU63gOROP58AyQxBigmqTeAYOqHYlSxYzUwUPX2hOuettCEb++K+ZdVu2JBkpeK74Cybi/+Az3bkMkafyh1GT//8MyRIwi6JVv6b0L1qlWcMKMwec4TD0Mymlhe3vO0sxZBLdfn3UIJ0DkPJmqI4p/ZW4Bbk7wY3UQXqB/7oK6CR7uRhNIx/pS89vAwDbBgoIzpJYc5VuFi+MLQWscyvTIRrb6d3dq7H+uNAgmfDL+6v6HxM0PBoxTcjCt4mTWWIeB4/yQI3RObytiq26Mgt08bcwL0YENAVgNXIzoWAXcoQsuePp0GzTIgzSRHgUOTB4zfut0SwgH7bha56T9MP7GYtjE9JaM4FllJe4oaI2XW94lYCWIXE7syr9N/vWfxnRLHVsg9gcL31x4DORxYkR+ii53j2DRZEpqcndhWeyy5EW7FLU51ak9iMhe0c97qPXIXkFrPOwiFlp6adrXDCK3B9TcjKQSyMZJZx8YYnW5nqKL++j2KiYqaCMWyy8cDYO/ke+t6l1GdqRMi+0tQi/S7Ttii72wkQDbeA7dr77fZggQhCul6nXCmJDzJef2fhVvmQAgiG65cfJuurcJ2436KboB8xMRLogzMO2ToMFt03diZDmB5GmqpJl37Gvew9JwFkgFSz//MdXHVMjmm5pCAQSylemMCUc8xZj51WHZL+Buu0Dj/MIey33mTFwzrIqa7WwKBbifH6Cib08loE1/dzBBFZzPDdAuQOPEOaBpPgyQFHdjsEiY8TE9d/BKHgxC+Ar0HhB7ulP+5m4CLvc8ekfxIVdCnPOjgYR/2dabyys78jb4P45SALaKiLpkwGMH2KpLiYk+3gRQ/P59SAwm+8iZvmz7PY0VgfHTIrE3aQ1gRpAmfaWIdpryh7HrpBS2ML4M/pTbr18BYt7v0C7/BkFgINknak3UAThJzSOh9+uZlH17VonYnmp4SgjRyWBLnJeGWM1UFrv+HLOIUrMr7hyQFJSIDFOGU1Fg+Z/WNJYfOElYHnibg2LXF3+hCD78Qf7hyw5vGR14HSFBlRnWbsA6WBFNA/VxKwcu+fhfj8XNJq5l2pkoE42fcIQbREGcPwe5ASe9tsU3onqhTyBf8wJ0kQGlxy4Uc72WZ+9vIlzVeUKARnllCUtHZr7osvsl8bZ5RPoFAJP2GrpdUbqw8icT86roOsFqaGokCtlcMBR/TDPec3ou7prOUAydNNmcC7AvUN4Jsuqww35o56pJZjGyZm1tAqu3Fk7RJBv0viQqZicEBNYff2v69XR/03IR+Eh2vTDgDSJG6AR3V2HzQC22X7YVCFaWYFtgdlap77jcWDMm9Wjd3zZXFMSHM1MDaMvJsAvYp0Ab5lcksM5QJnVsvSPPMqDRaiKBYczISsT00jdEpVqCGEnRNHGBPcPHKyUzBRmuIFsewpiJs6puuII9GcMWVkJeZ7FPJ357Q579PJ6u71w97+bgPSHPmbMVO92HTmDzsMRCNsIX1clrZOydRsIRHYcOv4kyl7lS9u/avDAWzi3v1IbPfIIBjAnRnCtulyj2ZatjDmLDQknE+OzKkArxIlspUXdkhLXJeHMuozgX/SG0dKNVktLrejNcrCLu3N1rwi+RDuhhK2fz4BG3buRNb3tpWfNallWix86wZZ3OrTeIun0w8wJ5P3euGKnvvzuub7Fh63+allIqyLe/AZpMTF6jg/i7uuT4dLf4Y8ktAzrOQyMEGv/8SS8KV7i2yh5c1DUgyAnnqMREQF63RHEa9XJbwGEvT151o4OmV8QU7t261O/R8fBhwzukSZv+WIovskaGefEJ4ht55Fa97TDnmhVQGbH2jk4eVGLmDNru/bb6lY0I39a7Zq09tTHubG6yfE2IS1f6vzfz/q5x98u04rdZXBkBxtUNKw0EURfsgYXDY1XJO43WfAAT8XI0SCTUnfhwb3+8djnNd/hkMvVGu4DWy5cTT814M8wsW/9YBq3MO1ovg1Xzqoxf6yLgTp+wBD5gy1ZYCqNr+PL8ML1lowsuj4k883blH7hUnQDdNplw4KdfSrVVShKtKgvN6lTG5tM9l8yLiZRyDbOSUCljALC27piLniuIhSQKYKdIhZ4PahlHMS+45AFJIdjDVbHDLPrRp5Dp9KzQR8QafbdTjQDny86kc29aEVtpdQeFL7VoMKPXLGM2KihB/ul4KjMLzH/kuHEiwKGZh6xXQB+rogzXUDVV2TbKpzRwagSfKm/uVxsupGts6pGKhi5ImzmqTol0m+9H7TmfBnLX4He4gubBbqM9K2lEJcRtMAJQucyvXS7IvZ/5EAH45wEj5X5W+7/xgxCSdGycyQKm4cK1DgnRbdVnvUsm3uaxUPNajEkipYgnHUE/CAn0sVdKZ7/aho2Jr5Ih7A/Co/D9JTnfgA59md3QkX++hB2D6OisSKxfuRclJLYOW+2yV/feyPNvm9Tu/qaqQrE60s7kdG8koAafMIdIdRLTbzs6v0hasF/X8ssHVoyIFLW0x2FHByfIFLGratAD0ImLo+jc/9GUfZkz6a2U/nEJmkGClDIIN4ywpPNFaD5pYbswFfiO9ERZZwH8zcyDLcE1jPvwS0ZR0TjcVDs6daxQxKCxYIOZFAYmrp0DFBOip2WRwYGMoPeVCiQ27CdmVQ1LpEF8GXOLo0OaJACqP5bvUaM6cWDtJlqEPqXuPfARUQ2RJd8AyGcxSpkJOOdPo3HDdCaohmEC96NpRr/InFtIptj5+vWEAyGAiNhVRgynEHMhojV6hYKcPTgHTh5RbmnBerKgf+x9W/lD2ZMg6QlPdodluQwoN32LA9bD+WhHXkg5PKCHZe1UJ7QleZigc2XR4M0/hdmHehslAdgUWaxz+HuZX8fC2o+BLtRhohZba0fUEMJschrKPri8GGQ7njmDpEUqZ+5HTzf8mpClsq0Vz5bD/SaFOt9LweiBzf4Tke2PWztut22LimnnbSgStWRTp07ZOPzWBFDvi4+2J0V7fLrwiVOdSs5cqZTaq0mJF/iiGw8KbrLWk7QmZnanDS4AqKq1WR65rtwWjLDOwx9OfOWKFcaPyBiZQBqJp83RICoEH0QaAMJsJxYXaz1FVX+Jx7ktrRj77DOftytezRUb9i01YAe2ifa4HcJFrJYM0kZgKr2epD/YISlMGKcOgXo/opcB6eNQ5L+iKL6QXQ/OdpE6llWeRmxJBTbym6aoCdTn7qCLC7Rsy92E2k41UHDa0EE5AYR8AOfzZdmk4snpIsAAYgC+FSpJ7RM2vEvyQ18XrDT0Q1eLFhB3qT774wUSle7jKU1SRJLVkEvtW5XtEeNgPIDmW82VH2v3cWJOUWcJJbmxLV7ln1X6fv5STgxC6HNpgWTeFdohW887ZXe+iF8HrXe2STiKXpvJtUXV41rzvJNtSlDnBHmTn+QjGshtKX2ntQZid9xkMO2iLD3a3mgxQxDm6cu3bxPOnLakuVCkXqM9pa0oAlyUg6Ahaz6Yh57302Z8CTY1jNfcZNJOLDBnYRqim1N35TYmDKOrXk2yawqZKzVQN++mhwLDUPYUnQVhcjLOLyc9aCZGtovOIb3HX7Rigr5Z5PS4XJN28GTjQOkH7ZZcyQmSDQPPtnyOCVtn7TZWk+YUQqpZye1DIO/+0dIftoD+bo1BhnkJfqwUX8V0e1dtVDF27Tc480ZRUeeQ+pznHF+CBV84hKVVmH2Y3FNzDqgs42VlTJEpH04HBAjjI54u93X4kSkT0FN4LO0MpuD2HaasmGiJIrQ1RnXGWBvrjmL2lLJ6AXSFGRqwCs+8VjpmK6XhlsBswhHiLjV1C6VX1plQxAotfTDqf0xac8g1MaYntc8iNlltnxt724I0BQpdSnOp3SSw9bA3uYPPhFlCDq1wGWlHdi/q00Rs4BCUfkyAzZh+JVt4IdiqS8WPnH5iK8YObgWVbhDq+SgxfFbWSgqy8WushiOl+PxDundAos6vzLE4DA8G4V1JxRm4LfvnOIi3vu2D3+i0mq5V+qbRcpL7NE0Wz49wwaXeq0RqVXT4DCMJBc6IkFEed5zd68Si8DFZQ1N/Vqojq/+NiW5qUhM9Vk51hq8YpDERlWtL+ikdhiS1a9WsPEzxIJvSxxN/A//BCkYp4q3E6xM5NgVxbWjWwBoeWVie5PS1duE1HPIuExr6gFY03ro8URUYBQc5o9bKyF+TtDf5ebrHrkqTjh1hhvlnK6N3zlBhictm5M8LmKVIDBntqcI6IetH8hfYURgc5MSlKHICN05LpOXmhcQUEu642D3l1G7+b3iO1QSTJVvCUBxlDF11DSIZtqtFQLc0eb3Rlqw3P9esGpERbSsfu2c7o7mBXiQc2PkFJL3Vuhq/ZvnYpSqUuuZOqpIn9jwQD5WlroraeUVUN4mabJMldbhmm/OAkCZ1gU1Dy9H7w3V/uVvzUWNUwn9J8JzbP4oHYFx5gxq1h5T4bkEPBkZNpubF1cmp9O6WxmneTrEYLtgb10WvhUiOFRT8zeShKna4YWIwHOuz3FCovd3Bbi2P1EtpOmhWe5/Qb0iLmpTrJ54ckqlA5m7vtkDKxoGVtbrUKsGQGDz+XNPkRHdyjdEtoXe5CgWYstRNczzxv9Y8zoGIse5K2SKFmO/d8o69eBy44nbrM4iJ3IQcpyel84tU3xQyhqm3GY9Pfz3GAnbTrrpSmXQgkWp9EJZY8CvLPSDs3Ro/VXwQIdScXDW8e0PjOBH9im+AZ/sxtOGdccBjviNi54oGogEzv2lJ7/ZIGEiVJpsgZx726YJ+86Hf11gk/PQJiKpZUDkKQtDGucA62PI57YxhejyHbh+2dHxy8GJQSRHAekp1b+4XkhEGVHrZdD1NS/dNUvxBUmsbHrDzF4XK5t46VufyOfJgmlA5KL+a6bEToHG1C3DLtg+1MO3f/aUdgyD9J6NF+58yGOa8gFwYgD4funVSaKxInqyjLO6VcqxwsaSjuIEdxtT4noKhl4m2hBTr5FvqCHPYIdcPc9m2IgjPd8dSMrA9uwn+CbtUu9lY1KmDyRV6IO05enPEiAKadjeHu4Ye779dq0HcxRhaccQ6x9/XbQZIClTd8Ok0sjADvAnarVAbPT3WOcAWmKdA13cUnQMXk2hJr0p/STfifilqRioLXrMtGpGyurH1EMwq1MXgQBeucfE3YrhDykvgmhbH6bpJv8auLknfKf1TM5XLNy2MSLFHa1Jmg/mc9ESJSnPFRQ9DibVj4i3OGi7dnAkEvtWjOdJnpdbzLPSVVimkdz1ST7SLkMWGArxjCsQmLRZyFK9ybNj7EyHX0fjqK10hi+AzMt62Rfx3wUUu0Oiko/cUu+vdBSPnbFRr3FKU6HeAlA9ItzbN1TKa6Rq7gGIYTy9ez9d/oAZuCjZg5bwXJu6JlY3Fb3v7dl2bNyVCR3P9vRwM8XNe+MKd00HZ5uLp/0O814pSk75lErTmUD3lXP0hFmyh1dRBZ2q/CWFs75Y3yRA9S4GuU7HhPEfXcXkMpwtCSr4F3NindZS8avFLifSc4Dp49HQt9h4fD3cxnwHQLeUtzYvboCGKi9ujyhXPpS3GTDbGR2fFNiQrU3KAt0qs/1z65jyBru3jrF3Y1dExqp0X30LC3/NhaIiUJqQ4pUQmc7CHe9Gq+8j4elWuCjpWJsQPd8yii/+8TLGikv6i8Hro2z4ONSPIz4lCEAon4DeWPF4WP2qxnJbZBZL9xQQXyAMwkvxH34opo7TgWsUaaUtegx6IMJElmcgQ/kRTIF8gseX4RnLOghb4HweAGzKJoFo9xluM2t7NmISjM2t4Ft/pnK8KT1ZS0LI9q1MkhIZRMg2DuufNdtz3HPXI7jCEKyEIw9TYOREq5cWaNQJ+eD3uwMht3f9fXIhnS7GDzWWF8n05QD+hxHyOWPBmKssbqxF73nRPOsYNUvNBHjL5zdCIjJqR1m7xHfsvl1PTHhpMzc0/4ar5x5SoMsL6s4DYH7BHbJwhX2kqheM9roo8nrTRayTT0Roes1HBfQnO4gYhaCDOYvijiVr6H9vvkIMqVMZ+GJglgUdu4cnaNKEldjGmuG0xf0aZpYJtLV4R/Nxp7z0X6RdNInYOQqFt4hsT/66LISy0QrVce3sycGsbAYp9vEia4ro7vICuvW9tIvuz4Srmc+AimWEB68T9CQVrd66efCDoaeDKbwnuFpPLqqqK3R5lwREajc29gkE0d09ASib2hPcCYZQk+4pZpqg9fAYZCHfzPV9VYyeQWjhCJ8kM7jQtsYjMqv2Do0Ayv8K0lERHxXvGsBbjVWrxhWcimMUOF9GdBUgkHEZ9A+fDB2TKezvorgfwVq+E2Jo4AUv+s2LATakIOdnipVbtsQcCCQlBQ8RebFrEO/8El5lRStqA3jPcNA766Zv2DXZ9o9ZqGLGAgPEHBK7WaeYn8qiOxwYb+8fdHZ1LIRedUxYxQVqNV7mQEfLDw+GkEjFrfpuPBl6tyM29ypHb0BWh6xgAUdgeCPMbX2FyiDbH3yo1PQpAfVXaHgUHfTosKs6eT5iilCoE/wfCSYdh3DJKDbyoFz0sI/MblmMnqX7I3uWsf3fYkWr2q8APvKpw/bOj55RoTUygewYxlCH8AFzQio1puEvY5bBhsiZsGCxpbzKot4oSWY/urxt2RYWlDk2Qf983J51ee9xKKjik/jewosMqMFf37be58gkclt+Xi7AT3UsyUGhRQCea6yXAexpwkQvA4A0Pqjc+unLhSHvRssQbJuFUqnCry25oJu2N4dkLMaPO2pgwyddKfOuKBCChZRwxGTh/Fjgv/nqX1kWKpSgVJtB8EDep2zVq08y1IlJFpoT9N+ApggWUQhqXMU7bButIVZO4eDYHaA/uigdamT01/WNM9L+QxiifFdXJBjcqVDRy7aef3Z4bXnEPHmbkrBFSJ4A4suT+9H33yw2rgmudaKXQcNNa4kiNpdIjocNy//3INgNJnR/yGavBjma+L8HYFAuEKv058CM9VQR0yK3LGeu7FykgdYmulSFOz/bLILOkwPUZJC4WAQjnGVxjObKlauuSGeG2QVuUhl6EEw9tmY68NpRZ2DJF0yZGEaJjJvDeeu7MKNor0HyX6C9ROkWe/hVjWtFdMQRolGwkAbwXVDXtZ811XPiG3TM1YS9a4W5aWQheIsQNs/E8vMTI2PwgKN/+KitkjQ3UQ1nYKEPoHqoV/eUob+MWu/b9eF3Uci7Yv7/tw6eCu7ZPpuYg7Wa2QSMDEevpdk94JJvKcG5aMi1kH/s5nXtRL1zxCU2P4h/HuUzcguJknxDTD+93P4Is7lmo63xRkLpIAU66eqyyXPzRANFBtTJbGH835c/7OWzzvJl/eREaR5x6WNQE5hyi2QJ28NYAofY+DCt5HaqYpOxlJFP3QzR6+vnZ360BSiOU93285pTq9QFFi9oUn0D3DA2Lc18a4jbRBIpInh5kD7IiZpowAbpy8aOiq8z440FV0eRMZUgFe6bRVVxXqi1TqaxoXQIG2am80oV6aPN74d/IZqlLWnYcxvF0tQe/r1T9WLEbutMkT3QfCYrROkxBugNf/tFC2ZbmnwPLRoAwpt7+Hgn9B5fCyWGhZnwoRoqvCmWqR8gMRKPD3LaNn8pO9Fp38E0zof0rCCBC2BaRCWmt5UJyvJYcgQjVPVMmhqShM9Gt4zZQu0SJH69bX8CMOhlPNOANz/wZjLza6DRCzafjl6iYSI3l16qbbWueaKqdRZc+NGWdMzkI/b+K809bW5l9qPUpouUq8Yq0ZN9TudE0o6Xt/YozgPzVNSC9rRnDAg/1zgtEy459yNp97dbXVGkyn/3qVu/22DBhJfyaXi5Acp6wkp5+9gFW7RWEkrUQ0TcfHo4mxeh/uyYY8wFa+XPp9RKsbT5X0DxsOuW+YFD09OQhfwgVamuxA70xO2CsPabc4AkpKhL/dKItF3fcVzDX+jAEQ+63KIqLQ8x5zjvrwne7htvUPlKF9Pq4ufoo2A/gDdyx20hARuQT8xcJQJQGCP81sBhOW4ufMxwHdqE5cVSTy07dsjr3xjPdI3WxyNZsDRs8n//c/e7vK4Z8lp6LOfFd7Di2QUuiUXGgMOZJpxA+GFTVaUaJZQh+hfB26EASz/vbR5eWcGVQnk6WJjHgCrf8Fm9aluJzSoo/kh7oJUrTxj870YVetS+fiAB8BxCsbKDK8m2Ln+RKEoP0tic7WR2SLfKP/KqOH8zkdW3I/v61yWGFFgC27nXpDaRvtOeYE9srq1EXN8vRXbAOfOvyfSYTx2HhyZ6w4l/lzTDlyN80lK3GQkvApBBBydNri9Q4pbY9A0kJW/fYBgu/dUHxpEvuc7iSp95x/YYBZIUyBWs/64jp2HQN4zO7lpvrlqAyK/JvdlQEcM0mUcTcQY4A6nTpw6heToP9FM0YPYB20j+uexbNFAX8zqnoDLblx4kk/mVrLbbbGz0mUOjalzmeM1LpYddvDdoyAYe8RUb6dVZ4MmSatwASOGJd+7g3vFPBAt2ZhH6/hE/5eTohpTpEJqy8LU3B7pRcYnXZnC2qdikNJCutwW7LuY2ABiuZke/vpWNX5zkxNgTVWG22rCmuAOE8OsyWprMrcPWt4Aj2ybheEmb2TjBbu6NS4Q9BxwlscZMZivlmizXY/HzFqx3QjdSdnflLwRBssVI4orf4XbrETyByxIPMLioVgXzSRHFEsC+BwZe0FEscGpLzA9EXYuYdaNVj1IMS9iIznZK9n7hM5qS9K0q9qVj+Khpf4t7675TtQKGq7bQly2eMRDOqbAMjhl1hddVvFF8Z+12BRAk/rVEOdHmCaGdKYRIblhZcfvUQyKFjggHfbsOsWNtszU8N+adKvH878LA5sUa8ztnH/tIa2cn/S5LpF2vZDiz/K6kBQT5dzJSj+1KXiqyUZVOWT/kEqyoEqaHiKU9WfoMH54Yut9tW48ZkkaBCNmjiUIiHpr99I1q5uzqXDKGcDGyoMfi+XlVbWohvFa+Kb6RvdvYIied9yt5wOOr2MKVU9yTEajsQ6+033QUgUvorOyWLiCoPennVfxbZwXRjs8QlouDRAEfmkfXkExx5Yej1YZ4vB47NJnKrnQpFeEUS6jB3acKjMoKjFvZ4KxXQDsbiXycwVXN+BXWyIcmPy4o4AlsG8RDVFOZYeMnVhn+rqc9+ON8/HM8xSdny0+nmFx1BLKON8fgRrm6QNcVDVaX7LcKMmQICXO+UsxATdx56KN8bGwZI3yeIbZg9DaaOqOXuvuFhrlFHYbBudHoVd6yd3ol5AwZViPq9ZMCTtRcaBzZTQ6jlaBswgKOhxMwEtKLMwRMPkx9dfk85VPrvGNYUPSr91yGXMCK3sEGgwdJArN8FMXBCBUZQu869dtJf75EBFlYtKcj+TAHKBlWRCGwNoqcfuG29Qc50cXAS4DhOO+PKkSjaFPqif7Q4VgnijV/UkRNLZwlhBhqNP/H2sIrL2O1TD/NivQ1+3Doyso3X33gUWXnC2BM/qOVW+/1bZ98E/0BVOX+kSey4yiG9xVywitIDYxLkvpuBwDNY23eNIxgU120nabV9j14+KOzNlU2egEejloWZ+3qRBYyTc47pX5BiGZlBq3qZqwulhS5ivof8AzxG6bM2u1tWefezputY5ansnfSVv+BPMWLUnxag83XUZOt2FtjW7u2JtYdd87ECxCcltqSMMiqq6mK+ndy5U5k1i27BXAE/0pchqpqBqMGGqLWGtKloWlHtUifO5WAxEg4gFZUZVrH84crce1RNV35eH69OvEkU1EKzUCl/MFa3S5xGC0vtR+BJLdHM8tFRUVVLl9tTpxRANyI7TzjJzq2ST+FhIdo8fvZmy+IqLZ6skLs4PCS8rS2mho63oJ9B6qA8l2JqMiSGrovRWrN53QFKuFljsvsko92kt+xIgx036F8mElQsOTk+g5LFCGJw9ultuydtCxZwslc6mYHk9yursmNv5msR4uOZzESwc6neaZU8vJh9GvBfrPMHQLj4tPT3F4TczNFvpPpf/yeIBOuGRWtGdmBO2UGSjd69cxoWYGr2+tjRnxilI7APgcePhkhUdv3VggRY2JQB1H2lpgXH7kxicWjhLytC/qgq+RDg+6GcmA09AIXoiv7XpHHjjWDt0T0ShS6ZkmqJEJLNlYA3qyceEDpegKXaJCJfsuKGgZ+GpVyfVKBWatJPmDVEqFT8Jf1Gl7D94SIqgWkDca14SOVXJ3mrEiPUrHHZGQKYF/8UQYJ7oqgps9PruZsMMX9aibW6kx7xd+jpupQcQCAmm0qEa+StcYz8Yk09BlBev34xMB9qDNt0dh6riudUTk14DS1YK3oBLV4/rSidFxaCbUkrhRJQJEJHs04qNydd9u8QTctp+5VfpxmZHe3nCQ01DjsJsV4HLqaCSjnerbyOjzic4Kbtx/kXEfxTX78XAobH8RHfzlqhgddwijAUBkwBbIu08pAstTWFNSXoJpO2FqEfykXoZ+sEn+O6w/A5v5jdRe2hs++Mz1mjmOF6tokKb27PW1Y4cEF3yODRna1uGSeB5gdceQp9iDLnVFdBaW1RrwayHWTknUH6HDfq7kf9LVXBYMTx+etDFQvD0opX4ALqM5cdkhhtDjH29MJCbrs+kRUrMIUI5dNI6wE6h36fFJFHwEcYDNZUNt2DcIO1frudxbCpEJLnyjlbbDkM5gO2rokJIcXPXRYlEVIVwKh+TSlS/5Lv3BYKkLtrVrGQ1C6cKYFMRVlYqRbkbIkiOBeG259Fv/j5gp5UAvoa/Jo5qpTTX3ICcWdc/XYWh4nFLKIP2c+FjnesyxRzmCtllVb+mstwU3Lp6B6rk1tiK0uuCcd+6DdARp6xaQkVLpa0G4u9rwsku2ZuZM9sbUH0b+cFqeDrJoRO8gRAmuDbgU0UGAlA2J38KaBcZ20s2ajKYgZIEXsi0uztEtZDIH0bBRntFpOrapGFNfpGykfe31PArkJoHj7Q0/HcqxOnbQDAhF3nali6f/7DSfiNAfO5TzvhLkERNBVCZ0EvjMdWcfniExi79ArNakKtJao+nO0iAqFXzSUQt3gh/qzPJ1ZGBgd2tQvm926DArAG1Pry2rH6NUdwyMGt8DWfCW4WrFOPP1a4AxUzGHbY0EAPCvMmXfyXJ40VqIy001w/ZTw5HRcysvSy/h1imudSYZH/01LidPaGrx0JTVsTqrxDqyJDnTpJJNmn9D9xbVkVAaIAhaqJwdWxu4ni8gcSg5Zh8ncQHhAfSV8ux3w6Bhi1GvQuQ5LxnyAkWIJ6jrqZLWR6AlhP5A5cePrmV2g6OKFtBt9NGiaqnzJVuArujMvqndmc0nisWOxhrf5F5Ni/roAB6e688QrtU62ynCFaHEbz8JOZ+tswhn2TWLa+tYPUDxishPy90nsMLG7MHVRehyTFppErYNH2VPmQu+vjOPK1yDqMJtYin3VpVPdmHOrNy6v4pdkPcgfcpeMhbKZLel0yvJ0a2RrcazFAmE432RVzWWRx0L2LeTrVWZmdJCKFQtYYjHNVNL4ohNsAwFRV7lM2k1G1WdB4+8n+VeRztKTSDxuKOpcfES8LmO+KG7mdJacuA8sjBMf3qMtVoqpuTsXNEApz31PRZa5AioflXo8ti8K7VKIMC8LEjmyBIYU+gtabcKIo+E4BDP4UqlecBknX5/yK2THti/S4ZmGuY8rIWkUeZXNqmTO+VR+emvdCi1FLAA0L3AgyaDVc11h/xvpfob99YIFUq3YyXk1tswiMPElA83ccOoWlwtFURu5TzoQp++lj53PvlzcO8j/NuovXGsLGVUHpyZZTLWEb9m81yyIYX3BtKYS1zMW4Hv1eotkVoSFlmp2+CBDB3HJqs5LpprR2HZAS6Sosc2KwUOvn4tNwJlOGsnUTJu/zsjqWW3soFCjXuikqJ5kGOtmheTb3TiftjdKJhCIRr57qjWVM/Bw8qREGDyO7Lr95le2I+3yvZqLdpieutUhK5qzaTufSLuxuLhi8AT7JYUvJszweZNy3aBgP+YFsh8s1nr2Vyy/4UEIrhWKaMhtd1u/dX+R/NHBhIUiwYVqoH4XV/cunagPPBEcRy1Gq6d9Hbz8+TL1hGD0JxXqFo6rDBMIvF8PNU13psay8bkFciIMChPJ5FF/friFuXrgmLqSBW8lsS1h7SftS77nZESt8Q5O1L5XGoIchkZZpnny7YMuRESZKBsqcB1zx/DIp6Qbe+RoGJYKTcrf0jMSGWVKpagoRWFLQDeQ/HXbLD70tE0K3PlQiwVYBnRhL2Gk6OvuqfnozZCJMlZ5oNQUCelIr+EuJF18qsPyz1tRkVRBsr5GKVUK1M4OGRoi84I1Lg2QW39n3pr7xJUc55dJYMSXOdoT5hnY74idNvFtnujXWWEVBlKB3hk9LCEuRr7ZcUmMgEhy/2lfcfObc8mqRZkzzfBCGHa4HO7/RvMTm8IBSEbPLYkQouwXsYTBV2TWYYztcnpxyMYdLsfvtKDLVmVcqWizTQEx1S+pwKlkzxR4s3YS+i0+Qp3eVKAVr0E9fG3tWwa0Anez+G/jqBZuytAjMFG88AZwM+oBcTLQZpaJMhswQKWunECr2PFDIw5UQamGkt2guhpUclCHNJRk95WJ+oBeItc/xs69IGcG46osQZ9G/NjMGrNVl3nz7o6pkmlZ1vYINWov/H8yDqHYihBptOkEkSZnXnBtjtU/CmHTG/ohtCPNpRUU9bO2SIpFvKbze3YS2m02735Ty5dc2rzU0ml7Y161a+hZuSRgsM1sxZc6tBXkX8Cs71TiM9t+kU8S3VlL8MIcyZBh3D08OwBkTwAKb9D11RjMwO9Ew1jGQTE9uhJ2iNsjx6UMauvfEImiyTHemCkeY6p+XeA8eFNbNuB+fMgrXEAW3qA4T3+s43fELcue4UHq/bmpOq/JgriP+xAOt71NumYggint489xrPAbk52DPurJRAfXLrfqpoDHciDEhHVkshNYzaZTVFNnwurNfPJxANFEM36I4wtksFIJuOaPP90w5jaVHdjnzP1tozrqsPgjtAFqDDPsILDFjROfByEVAk2S4RfRMJizy0aAoSkFRAWvNPbrLc9by85OU6+rTxiVtPcnkWOdXypUMbN4A0KYauwYEP+jT/sp+i9l/JPbPFlr85WrJwI+nZO+mtv7tfrFWqG7aG6O3ZOTRgFtI0w8VqFr8uhtA14uByz4+c73OzDiDjEa43ExyDsRXuSZzKVIQbnyxsEmfO7PqulsuH0Vc/SkIwoFaQ5/6r8nQy2V2Sb8N1NclQwopJUNV4fbMAqTrITGdkMuTs41YmBydWBW2yvQfF3I5p5NmcZnxDZog/95qwX0xzlFC/hCJ15tGyWZ5+TUwWuUkVHFOOH5FQ9qC0HBGKL6x0uFhobUUiA/eTtzGnWAwK/4eIS+y/owxwH23AxmULN27MItKJZe4OLhm8rzWF1sTV4bjC5KVvf6B2mPQsTjhX9e7YcWzYK/b8t+xm4Lk/9581hyOEPfxfpjppBna2/ULKOi+kTwBpJYSHSUgWzmw9YpdPJNcUnou5Rwukum5h3ABc8sGPwACEEtOd0fiGRQnwUdk8qmoDSzg2pLZ8r529kswLyBKELDlBacodFZoxiCylGbrNq8pCFhO9YJi5MrpZQGwWNZ803HLRCGXqs9CFIdpmV79eLE/2aItMhRMhM/FYLFtWa6CZkVl4jfjNEr8CehyaTZuR+qYjmwp091mf0HcKeZ10NaLC5pso0YSk2NGBAq4qvN9i6O4AVY8D7cdyotnLhXuG0kHE+ed1vpc6fZHXICi6fNA1d0cFoKTDEu061vDuTogZ4h/vCFdLcaW3rDfvH+0zrKzwwBpdv1TTQXczv7PsHb8nGJlxZ7VEKK+pzbxLX58mf0AiYPAuOdkLqLig5GQ/iaB7kgkEdCySn0HRhZTo4qWUsB5dnOimsEoPBtj5MEh9YAvMxDHz6pbGwn086u3U0bKbp/LamWs19Qis7JKQDXXJppTEby2TKLpIqGoWsqI52l/F5hi5aJlVdMxojNY3O4rmkWMsqzGORvQrerNgI04atdzyRQmFosrsh0Sqt8dJ/Jy/O3qXbv1u3gshHVkKG4OeDo6fCZSFg7jqFMTWV1jNxd3Iy12Ch5lMu6YoIQ0w+1gcZQllULcbQKoh0laPaLxxeJOOFIK7bpIDKl7dk1xbGjWi0his/DBDyswBB1N8df3yWWwdW3MSd31fHSHw7h5pe2jv9EzHfkE1omIsfD74jl/xeUGOqNpGgj5vEqhxUe7Tz5l+0Yh5tXfPYt3Geu7UwwgpaSRXRP+8ZHB3RZqCCQj3AvzxrTe/kJaDJMpZB3hU7sEJjfP4npWZqi2Q8KZXGYayCPfYSxSlWnCD6a+e2L5qF3nD7XFfLorR9FsOCbjY5mjEi4m3ctaaGNomYeCh+cp74mwCzRFba2GT9OUKFOIDscV6aazcrFYyit4xZ50cVkOwpl6sHp9ErSlzpwY/rqiZu2B4zV8tnyEILurfPsw9EIKVrn+bzeZrNN/lh3Ob0mMuBsSY6TUxF/9ZsCRzNBBssewqJ+WUCgaU+v6z2hkwxpJVELptQr/sGe/r+P8dTaQU4wB+8AsrZdVEvuzas/zmKpamdd31U5vYLqpBH6/cSb+PUB49AphDTfYY1B7KbFb9NFDtx0RxElBaDWTz8WEVd/6MijN6XWpAHkHxxyp0F8BbI0NC4vit+0lLugHm4nPWgTt5ITS7mxyahD0YXOx0+qGPRecgrxFusrNqRKxZFVa0Prq87LiC2ht26TfEJHu/ZuXyI5k74bvFJnc9DzVW2cFarIIMgA/2D8WkkbNa3jm+kMkmeZcO5uOYGaZ3RQScOBEuTLdUAqPo08k5+nftCZhUQPho3S9RkRwP7H++6sfARPaYuSK7ZayR8a0hGByVuVHHVw8r/Q0fD1HwyVA6Wvuhrx8j0ofGd3ftFXdjySCYp+BdgR9fe5mG9UFCcuI5y3yoKx5VUeRzdm7jQd/cRjvV1z/ctaCG6Z+7ctXePnOmiffh17Re4bVJy9tv+UbWhhlwDmHONdmON1baZ6adSsMRKYfSO9RabjuOSKPLEuP4suf/+6EKQZjxtsDW/ij5S3hvPy7zr5sYcE5jYbSHn0bxGbJe9spUq8GG3wSM8uwjFnfeVJVz5eVP9ooy/aG+3fcwdxFUvHTAgaUVVCwMoDdc5vK16H3qztem/kO6xBPcX915nDSuwHgANvFRgmhGFrKALmYSiBMdbelXy3t+9cpTWhi0KuhlNcyOlQiXOoaAwSI3qC5tu6SbbQEwUVjtXgsvkjgpJ3Q8oe8ZXng84U01GeLnjQjG04LtCtZTOzcY0StTnUtLubKNLch8Zo0lDebP+KYcKtZqgSou+vO5MLsuzHO1DrjC0gjXjpcQdC7PhEfO/VNcn80xNGmlYjy3ZC/nYcpVokfrUPWVF71eUuu2O3SNOqL4QYEtXcVGjw12JgkVtu0DCU017Gg5IP2KGlkBuEpxy2q1qkXWy1W/FAj78f/74Ec/VyAvrmmGdFgV9k11E2yG2QDTVkkf6ekym5ItR6tc0dmYrhBuY3+E0y36gGhOyDAF9TNfhjmF2BDPeZMvSJLQxoc5xdVgQyVoB7GVme2XMeRO1QPCatBWzGNiJJ1E5XkWGTTh+R+Evh2+3/C0IOa1h4uIEzJ1WqNVlpqPG7px6LAUTYkETF4yC/Anzy3xTIRBwP7qN2Hk5P38Pgmg1gsgBX4yKdq/aJ27QLTIlNI6rwH5mkwFb6lX3eiwkFvf4DJ7mrXOaKIMh0D3Y0M0z0znY8Mg0imWkbrGeRAk07vF2BGjtE4baWluie0w30vcvk5EMvQiwH4pxAZNaegP91/fK28ctyhs82L+Y3+kDlNMyffjY1obIW2kcSTL2hb7Xs9y2GlLpSJnjuy23P8Hfu6yeJZpCBMJ+NeGNcvZcH5GA4667dPR2/vNoZchQRCpE+d0aWTrU629LS6Kvo0cDO8kaJVdP2ZWrWLBd5kgsBHKO7XuIPZA263KgnDY/KjcjMpb6jm9JN9y872NQ+5qoBqY+3RmEfGU7lTYq61iNgnLGMcQpmNCtKEzrd4J7tSsyyBhj27G0EnF2RiRbjnqWFz9DnYWVBMlmRb59zQ9n/FDbCAviHXbjc9ndKhAJuOkTNBhVC9sg2BOKWTL6sF8HPmycLtT7RgD4Wd6ZIhSpModwxRJOt95PI3JeF5P81cwToDpojm1cBD7/pvvSrQ7AJ4WZNfKG2zf26IMrAasv57/EOouni3h+2Y2dcrVPsDdQYNRuPfxO+DCGBz6e3gsk/NRt951AOCPSCRnHWuEOb+nCq58XWaYI1gfR1fG8YTy5z7YMGd8oxPeBLyp1RpEzAkQhIysdIrNJ3THLpxdK39bFpXG2tDQ1Fn+ZMURZCOyRFGKu6Sr69iTQ/AuGOOcN+qA0biuPTHA3eE2T7mfU/sX166Wm1RHNwo/GLCu09Je5/ciVbsY+KSIMq2I1h4+Ui2pPZsTek1Eji0dtUZodLqjRJs+mCQBlEjv68cIs81I5iZpFZ/P0A712YINLkGT+2hJ/NuPTAhke+vVERa5NDv72NjPtC3+gIaJP+vCf0Mch3h6hr68Lmq4HZ7/BYnBFMDgdU3VOGHlnIRcqixnyVisbxYoxmaMW6/T4rV4r7urZIgU/G0xAC/OKFrMBG0W77mVyud8Yuyk2Win9GvCnULZb/NrPvQvCNe3Im7RBatZLHVTJY3jEU4ZgV07ysc7D9zkOr82pU6yYSYQ3/VyngFkpALuolB+WwWedswkDwPO+GUJmabPhbTPq/+vwPIsvvOW9d0ZG6DlrAhXHwgmNPUxmFdd/h/6WA3x4xYrrHreiM+Gri5k7lt+RTDRPfRZjFcxxh4tdupBpX1lLLxam6/zlVp5W59UF3xvjiuGJW8c89i4chdAqJ2PM9u4SyFod3da9Z+UAPje7b0MRtbQQUVfs6HwKzjKhnnZo7rbCRLC589ECcZLBGT7JHzqmmquWzv5+tg3tLefeCAiJRYZpc/n/vK18KAMKMxNGo1TvLG1cIAL4VkwF3fXflgZN7tPZsc/Zkl0dxoloAb2gdZpm/m2gj2hj+AKtf89qHCzx/lZproqfWPdb2qxQRCh8OqSi3fSm/zINrR7u6RpGPf08yHmVLVTnME94R1xgBKN3MnSXnWgxSqzlaczCbwWg3BfvH+scRfm1XZCAbr1clQqBRvOiu/p2tEeBkanx2HbNvLkUjHD5mIQral7M1g9SizgxMSW4/e0sXd1E9wSa3vbFv9O1YnLLiHL7oVsoO4w8RRXjDdJM1zUP8eg9ufY+162zs06yJVOSwj/wIKFe7SNY1owfMTjfrLF3ydppWVBbHo4ZN7COq7E1n4u77xxLq9yn6VIDcom/DqQQb3Wn2BYEKUZRTSDDz8AmC5zCRzsP41A41xC9/myOC1DbF+e9QaZ5kpzA6EfTSqGd9eOtaAcN6BQzP6tt+9zU2y0a6I2Km+6980/zFMb3yR032lc3moQQtYw0m2wKzoF8USOrJIc6z3xH81Mxs6qfWYcKUWSs1FhslpChBXX43xT+Y/5/SZ6QS0KxwcPRdUVxLnCBZFRh4XH25MCFLcwJtuL0Wg+pZkTYiGEawV36DXl+0M60MvHI/B8gP23wuFfQYmoZQmqJptW8kFpyL7Abu+KqL567CfAeZuvhN9CLa7woBzQT4smULXViQBPsuPb6R+VOydMm0KF/97dhI47ffQJujHTxe5mq/Od8S1AOcI3q653tay40pEuQLuxd0pSdiLJZ3obcPAL9TXrHTle7itxj2Van5/8oCBReMPJq+4heMtLkgse/WTu2xPZT6v8/8Px/yCMNqk002qtmBGLqdYYuSl9+rJpnDbdTvQ0HTckADjvTGYP4nlz6N2Xwf2n0v1sDG/G9NlA+3qZP19JHzQFgcSdhsjhDt8GBJ0nmFtPYcIsYUy5S2xcReIZQeyVtH1v+At9iNNphZM42pGhx/Y1xRPwy7SZ+GA4JR4rkj23g6FRWtpVwry9yuU+msbHBtllCjc3lwpoabr/ztHPEOOE+3ZImmWEqYK8undnyS2AhQ5EdOPkPfUGBAny+H658LnYrv9u4VcO3Gk3ehFge+O34KDTTsMHnPFTuzeAbL0d+nnPu3TRAGN57/Xu4grQDmNihsVsSqQTZC4oKRl/GIRt+8DWF1zMG7pjqOrqn10CUExn7BaTFVHt1f1b6aEgGXvbxoZQ0CBA9AehJdHHDCy1kIuHHjcW0D4+iChf+9mJTtL188pHm7551dHAWcX2JDl62tAfGAdhkX2/VOgfiLmciW/QUJU/OFXEktYHNH8D66nxFSgrT1iv7DFwnvTEHJUnBZ/BdJ3gYPX1bDBJs8SbpcpRMde/cERVXNhinzbePI3HNHaOtkNaWV4i/fxl14JlxuxuzRNfBrsfoFOxQiOdZSOT14bCC4P8FoDe//Md+UIbZi07TxMbDLo3hDJmiXQ7d43oIp0BbJSK5pk0QfKPoeeEfo3Y+PJhTcN443X//NwOPq5EM6cL9XssjTS+lqM84Zyi2HrKvy8OE/gCQqsWBDTzHYHGt9LDIp7eB7fRZt6NXKq9D6Pk105bwdp3fGo4GDrsUodouHeHhKVDIYigNSG6p1WObqj5fxK+C1pGv7/hBo5utFRTHkPikewT6RaBATEqAyFvSvaU3OdTV2RL/g2QzcXBqv9gUC1gnmW8K2TP14bK3TRj5TV7/Rm2FLwtveNBKez0xFmsKYJ+6ez5VKl17wyfMErvvrC0JcPVGvxyZF7tyHbU9ot2ArDIQwgOTCAJR6LYNsUjUbOr+ZjwneABAFxt9hO130IdG1wRyrONXKsuhcTfBbJh6q/rTHwJerQrLzlwLsaOzxPM1WC9E29W2rO8RnnmjsuFr1MzQZSY3widf4BkeRp9ePyTBfnyc0it3436fSnGifwSo4v4i6htxCXZnsKKP5/j43rqLRO36z6rvgoiq5XA1c/HYYb4YmT9ay44i0zMkrrSazi2A8TuuDOGkU8VjK8LRH+jLa2N1X0wr4rUNeHIJ+HT8YkZOLUSfYTl2YxSoAXxNE+gz3SOfPU00+b6OYRVoP8P0stDvGQbB3jF76Vx1DOE8ALcXNzWVTjWTkqIJavoOV3MGQKRratPEYB2QEVWlA5s88g2vJ8RVz0HMkyc+XRhoGGVarFvMYUnnHPwWupyolKzshrkIn7GjN9zsabV0tE9UOsks4BsfdsViVj8u3ANbdlUMkM3DWgdd2cBK4Q4sErsnShvPoI153zhcAHrr0ixo4cxmpNHLnFDQIXStu9WYX9ACYcRs7pJCAQTnllFwpiB4CCfUg72RTKQ/Ad3Zf7hdg5bLd0eecI0wlRg6Q9/pgy9bOuWkpJZUn0dlyeciXMPo5YzLJo9MsBzlx5eveaFODqLJjuA0TKrn+bw64SMXPXrELFOA2sHuZdrMLbcZs7R4rBGEZf/SmqCEw9WmIWF6OXrhXCBi/dSbYOdsFLFyDareIiVGopac73KTMDTROS5bCKrJC7ratqsItey3hNUNZ+uJBupO0vBE0WLsMlx2unhXqzM3KFch6y0WMpCom54rQHocHOjTI14H/E7XAzA/uHcO4PvxKUBrBFjcGrmF0NcynWDotd7RxoDDXzyWs6apNlyEt01tnM4xxZ+zdr3OG2etxKy9nFHMEr9MFDdZ/7AwUuhz9uAOhiL+wECOY4ZXhvW+1jLRmFn4xTmKYpz78od+ZzcnC92ok1ssrtw5VMy4Y0PzQ5VDNECMuvnguEikkND1gl4kaLDdLp2u8QHuF5rAtNE0A28qLiOptQ/qFI0TC4/tDjOENcOOfCVj7WRTMUS/pS+8nrTrg7vWF7MQu49uWmoyJduHxddpH8Ey9JxLVNc+pfTAY1/zcDpLlEo9IJGQZl5xuCUPHFelMXfy0fb/yeVN3SdVZFRsrteRvVxIYzt9ld7Y62hRj90Qj8KrL6hG31xwCjppEN7Zw6z+yHHbbC/bRrXsjAHDjfmou3O+BwD6VpQXOG3cCwJhKQrcOgZdo1S340C5h1JlA6yY24t1KMNKHC7pe0S9Kh3yFnTG5P6DJ8GjZRls7CuU6aenx9PNnvthIemMvevu57Bn8e3ba4fR+9Dep8J6VwkE9jJg2xA2d/IWMdZzTpL4BESRpQscG2lwwzmF9wIr789aaGhCCPRTGG8rdXxAGBtzCx9lVXIgjmy9JSK8+c2Nql+JskrJwtIsLuV1AsFJFs1P8GW3+xEFugoXgw+WkXUh0IuHsdmJ+i1fYUaFJfhCLdrWQIaG2bCgIkApqzsxmKOPbwoqx+WHikqdAZBH1uMVdvW0OnY5vmAWY9eS1p64eYrTCAEfgvifVIvX7fVQWBVvQskXu662mSdPAmPArMORCAs/ktUtixkvXRiomAdoWFAspJcHfJkyIgt2x7fB0/h42wRoOkOwokwJm2qZUgZYdHU6SZmUhTtaw2qa9FUj3KCbAbpnAWLxpNv0PXs4+Gsa5+5MMJqTYbAUVZ47s7S1K6tJUo3j1OWNb3MT4o6vdfTftkHFqTUssSArUhiGQBg3vJ9IDy5UvM4HovLpG99+gTmE0sKwCskOPyJXygjwVgCkrSjRMunPVnh+oejiNW8e/zMpGjlpWMXNzfm46hhGymFDx8EBLpegzZvvT9doyfD+6VYuCJIyHjNWoRydYWfDjTdzurwkXjo6eMArBrpDBqKtZgtn4lC7qBJGG3NKE/+hQJxAPq6eCr51cv2DBgFKLd+n3GZxryhf1AjwOAr1lN1kBaA1Mx2Fh3gap5HOg557O/yu0iuceFf7XNV1Bb5/uJMC7kVqTWfXt7nNQ80jiDyliNpWLn1EkGblyuEih9/M4is1c9sA65gYlfA63JbrtHRxor8Sr7pXpHpjDnvMB0RLTmu6+fzg5jNgFQojHTi5eu6fgP+7vTVgIt5WhgcM5CNRHsRIDGYD+G8LDSUHAfmMpt5tmwoyNAqbXGq+uiFb9B+Eq/MjVOYO5j+KVyKpKrZ8sWixL5P7I9WBAyWXZkZ2A1uN9EN2aZCZtyBkCgtymqmGI+hjJCSKvHhdYy8p9L2jGepZZ5S0TgI0cKAS/t3EKrCWQtbkBUF0gD2UsxfM6qpuhy7UYHwCpY/3SuVkM20yEZZEsQYNmtBs6fqpcO9/MmyvxKqsBQnDNx91oeSfThaSYfaT1dVeRTc/t0p8o1UlOZJIR6i6E8iRLUe3H/kNZ34T2z2vLW4R/LoH/c7D9oKf5yx7R0D9a5R/5Q0bJ8zsH8FPU6pURaQDduIAtVFR93n8G3n00eLUu2YW68CfA0GJl4DWw0xtZ/JCcAfJoN2hx15eEVukp1jQyXvydHLLGG8R6kCyofmGyBDxBpzPLcuPTZIoznTWFKj2luEl6ZY4JIcobi5uW4jmA2cZSi60YI5/shz1RkP86hVM969iOB9M7BIT6v+iq356AeyrbB3mrA7HhcgqcEi1flhyizoPlgiASHycNTv7QCj7D6LtrvGxy7OKqcbgU4mFkgBR9yfS6L8MfE6rAWnC/QYNxyBPv2FAx432W0du6sRWw2Vrvw5uEZWjTVokFAFyx4fu25/kOfvQxP7diwzzGqP+MA7kCSAfRXHWrSkHqXdtpFVTbV4KKn/PnLDDZjvX8liKsbqcwxi1rEooi1lwFhMcQfdyAQdgSrBHJ1099P0OIZItyjYIlFLlx4SJ8OM2xbda8wJGTNTOTD9R5NhXvQavwa/6NZInIpIPAY4n3ggqosin/oggpEVdYtumFWjoUZb9RUf+NCBpTNzGlp6PMlJSYrqfwXDgqbe6CFB66il4fWffLh6GXvK9osEek6pam3027bLRNmP4M2A95PphB+TJ8E98p1N18j7rcnx/XIks+AaVvPiVB5e2UQ4d1XWNBJ7mHY3EuA2g8ztMSsI6vRWzKOKCxrwdZvILEgOYl3ogC0ArigNoloZDNNO/gNh6QtAGcSi9dgVmLuFbLjY5if1TzbA652H5BC1goOX1otWmqQYGkDH/7OVkrhZvfV8/R8pYbjxxE4vG446vBtcNVizAPDprkx0NZnqXrwDIWGyAs0vh2oaQLWTclwBIr7nwNqnEz2Jml5gitLuc61et4/6hrQ0hkZLQeKLCOwycPIHAIJaCM3IiWm8fFbwwg3VWmVVqYnKUb8b47YyqXX4jbMV4ndqRB6TW4mR78iRB557LjEeIQT3cWS0wMokG2SgWpC2CFOrOwc/sY2v8blKoVPBR/jAkAQDvbB9pZbmCwYoFjNcsD28Z7PQtd39rbgzha5fxIWqy3u9kqh1wO6d8hzh1J/36Z0JGCb0aK0LjnznnMyjQglm1ahN7YxtjkEMko+l5Gu0XpQSIBJxyEnqHUdGi7y1aWGVWyiJLxvf/SvkwVxspxIff4jUU+nAXRtPvwekm04Fmbb+NfW2fca2gL5RvhiZpJMpxXaYscNVSgdSLd9gHB6q89GRRBi+5eqvjkBQCVtQM9HlYmuwKwqUD/MpjwHS1Oxup8x4uBPNLe33RHfT7YrojKU8rvtM/Aij/t+Q47oQSKhJG/pRbuPWJ8+9q6r5+rgp9hmr2b/GL1JIxtCKfbfuEQsZ1jS0tzA6JdsYUB1r2BEcx7YCL1HGbCVLjLnUoFDHrzARCtUsmehAqHQd+8GtQ76IAyda0U6TVihiOlV6uNeolQIarYcFSX1Ant2tI5y7fWQ8oValjtp7bKO8fU5lmxLDy8Dg+52Xar+6uww/SVXQp5VkDaURJx8IcDG1MOTmLOLfuSGHcKuB/d6j11YdHXA1wygQmYrhBLjyQOqseBrWkUgHukBz/NrFAPwsTBVAu7nC0jSGWoFjSutW9U44aYPr9UgYcjmOJCB5Ls6nqrgPrISPob2YhNa6SHE1fuvO4ayRzcwSZBY5pptskZtU1JfOzljMvPUWF27pnc+8OxSgTL0Lzt+//CZfmNxAlVi0lvs34XHSr7ArUyFWPBsS+cEehrF44FW2pRoDyeD2JZ4YsQDpVRNqcEcHhDP4h3z7XVJZdpYdGfq6TAj80hoFZrWOLw20ApZzA78pTGjCqm4HXOHtn1Hp3h8GRYgyO/NlDcb+dWwZpAQN7fqBc34D5tJWRECvZ32qnEpS8xGWwViKqk85eVoNNQqqO0SIO41uvGa2fc/5dUKlBllksunteHaHIp78gDS4FbVo42CynMXfOTn7LxA3cdaFIjY5/zeVb2plyCs4wS2nPeo/8TxzEYH2bOC4ecHWBpBweVFHVFNA/H7r2bsVDSwFcbMlkIY9w7ujpKEM7F1NrHLHk33XD9yM4NzntDFws6s+/pXGVEstjFe8eufE+W9atL/VCu3644OaFrl8Tky7KaHTPCqJKnrhdmyjIGaEnRdLNDRONuYeMUAjzNVtqNUR2E07sAPC/uuwmYl85eTSjU0nu5xloUAc93QAndW9WbQIeZ5CKAFqp8QWNjia84uzt/QY16BRsbSlXkoTVZbJehDFBsRXw7cSAL5snuK/887mNJYRzVWG1deLHBYob/fKnok70rDIKYrtKoMts/N+wc6JsB4YsMC6Y5772uyXEzvLWuPxt/N6DVbxy8gFVFL9nCIM74Z5u8owJmAT81PHUxJk1MhheN+cvjzxE2M/T8o6kTF34NYcH/NmhknlcKj2KWSHoeKRJ879rkGR+TBlQVjMg+MEtfXYDGEhKztDMORpMyUZGJc2yL3IY8vU1YwOXK9oR4Hj3Uyi/9uo2eCxzGaYP95swXnp7Zyttjqu3DGOIWd8UIoop1eB+/3WHQVURhZtnTdpmxGEifOlLa87MPLDVRO3Mo/U0vi8mtSg+e+/e9VCWBcWjtGn31mGj3Bo/0MuePG1Tji2bMd8Z7G3AYxPj06uFycktk02GZOKlXLe9ahl1Nb6i4TkXzv3rxJNDcUdQ0Fk9RdgIJPq89dMuq0tTX5bQOqXrUvQR7XIydEne7081B3JGGCqF25f6ywOT6RX29nXXumrGACS5ruKG2FIRj153ZsC+klUxd4iacr1vSxynyy3J5xih+gFuX+kHjx5MQrp5bfR/c9spoMwBzT2Q8LZGqLdqh4ApG7EZFv7lDGRCF09rFgiHUioluSpNt67/LA++OFduNTFmcTPJcIDqJ947MgmEjUv32vyQXef0/sFJlQwCl4fdsGjdQvJ5UanEOvtntxXGZ+Gj9YCzpVs+jNwIBlstxsO4Nso3oxv0Ciu+6GHN5e1GBudwu4gCfPsWLmafL9O+itxlpVz4x3E/rVKnojViea0rnwg0yMLlTeCzndgmY+pj9JCObb7obxk8pbDb/090qsr8BKZC1kvNQyLuu9i2g5b60AZeoZfeWB8056Te57uHt7OIRFlRmVnl9kYwePKBN5Fzs5+chVlV308lNbSKzMcihlmZHAEVo92qDBuwduzZvzGhe60sCfGvX4juiT0USGu9MtUx+S7tQZj+MHlUxINJLlBgLZztIik1W8uDtMjbVtJudRCNfttVb9lUnO1poBn9Ukb5xWzI0kaM7t+DXdmAqpmp0ZrUgV1ONKQtKLgytXt6a+niaCJBacyTcmngU3fXT2+zFRvAwu0fr5Bpx8Ed0YTqilBfFzti0k0GgazYqATG3U8PCQcL7rtVwXSrxEwOLFBD3QHQgO+s1td9dm80IZzHjCEMR7IXqbL3NI0+A8r53rXcef/QUQux6DnhB/dhtCvkgCy21KXEgSKMmmJo/639F0DMcLQvwUsb5mvQBLGG+fQ6dFMVi5xXMRTR4M4kbfCfSgmIzu/c/fg5cJOxcf5JQ0EdJFrFIIcUbPqkdo8fhOWw8zmTw1KQ8VehtQiWfKQ8T6mXOm9PBw0OvkjE1mY8m/DPY3S7aDrBoPA+clFk3ytjHcdD/x66FQqLx3JrRjWt5oC4aH84wQqeAF1vH//QIiWIh7eODaB2mbKwSs+zbUxavmUu/Sv8A+Bg/wZCq9v8GnZ3NlEycEn92my0aLQrg8kM6mBhKDgEO7ZMdel8g8zhmNVhMhDudVsBggEHMpu0xudqVrZVGqbUO9gjqn9DhBK87U0EehLAbzQKrvNWPFT+KtUsQV2I2TJwiSKt/7TR8qyCCLZEVQPUB4XukMnmjR8margxqyXqmKiL4s/6XVWCs/jM9xbmay6AfKMglGJGVSrdUcuKTW3vQnIh/aLoYx7hwkJsuufwpyOgOObp+LyDS2YsaaGwdbjWqgdfdoKKQ1JEIV9DBnfGuPeaUIBrwKZzlgph+0YozapgWed7uzkj0zyFC8kTTht00zgFgiBPIrJxSSxs2a1CZJiHJnqnmoefA/GPB0OKyT3608m43JwoqvIUCPL1bSV94W0UBPs+zuXgJ507t8BkRk/3Rw3eEoVRC7dOj07D6wNKCrhcRXGZVNv6+go/7xcxa6589ZFdSUS3QqkeE7Wjp8EtIr8S7zvouCimU0Tb1x5kOzhipDpVdal7/tj+zpjLeQlik/ASwiNMAbtYDvZ/TdhhQnQN/8FK7PAXkglkhaTXac6+hLWquWuS569u62YT2tXG5NK1uNhlobqygAEFlmsBDydH0OnZk96o+tojvVIZC7qflbNEDmoQmOQZuBgnW9dI4NlS5pK5OvwTEW+3W97i/Dtkt7QQ3418b6OFg6mlzb920W9PxKnhql8T0z/odf3wCsmKEynW1PzOC6F5dv1Zsv9Sb7YMJlkZySZ/BMoUrr3Q4HmJ8e6rKwaJCQvIgfCeKEddr/y/XLv/35rkrY39CdXdmWwOuKbhtEt2ZA0Hegr/6sD17y4e4xb2GMJCwovXaaoER09uQY1hXg368S9Riho+9vxQnSk7u40jOk3M4nxq1JrhEfOhELnKn7zTI0F9aUG/Ps65eqeMO2HjQKdL1Ym85ZdNKDLrPOcHhHbU0yZpuHl8HogxRAz1Fep5KikWfxBN2IXJluJTHXKc2hrpRvzNSiUIkHDtWattU25iZb7lHdbTOD2Fjeq0HqdhQqn5YapEIwL/ZQLXIgwTAGlJWc0hLyVcui5WeOcdXjWbcYVGfAaqNwwRN3mAhqCi2Esn7ogONdDpeIWfPC1eu8P3LSIyyN46G/fSld+NYVkYDLFF3FlAdooILUiWfLYoT7ZbV/y7aQR5r5DlUPNRhmJboHtvLh9ddRsYaffjz3+xk5PGpBqc/Y6Aig0YhE4ot+jh59m3ZAZAZeP6vM2H+f8UyZGJfBdcuISXDgVJVb9T2XFrou2aHYGd/Y2BAOrSSFvEQFjDsAazfY+VXZnszoSpI1VwAbj3Hd6ChKv+JIBp/splPfmuyFTVWRN3NYc/APjS6TkIT9rQpOduQCovKVFgV5WCZO12gUswvt0WBbRwe5nsoo1CQPevrHngk3lW6ITaFlwgMMniArw6zv8SIJYPMCr/JAIiDVqNgtqjv1lTVuC5UoS97HNvf2owUYJjP+AkntGDlFHebigfvFJ95LfjUE2Yo/AskSPT4oOGTBiYeSyWicTrFrLvQytFEmrUfAb2KdiEmyE0hNTVq2SeLyWBfZWTMaf2pbzpBzpxOs1dGF+feyfuOvDeh5oEshJ3XkZZs9hiWROl5WMjulPjTMEtrlmx3UL749IKoOtzkl0E/KJxC1drkUcMCbJbD+/wbORCvVP1xgXrQCWLnW37/I/8DD182ERJHpLAzitzJIhfDpkKXidLo3ip2QhBKxlwh8YGGivT7BR/eUeCjaoroxgohmsq6za3bLFjK6o1o5G74VN82LUCYpyMxcPmM683dG7mfDC7UQOoX25lY+BZz8LqXufYAyKJtYAUq+4q3TYhIfT9Zj1F/bjQiHScIarXD10DOMXvdB+NXF4/CaCmq4X8+flu1fd2gkX+3Y0wAi5HI/xRCbJDUnAo8hMFVgoNW1HomOZ1YYgztICDkVCePpVApOpOtmjE3hDrkM6w8Fd51gx/sC1fGe87TRfQLdUUu1ci7iPrFv0Fa849XOdbSnVQDVlV0SNG5J3RhOU4pzC6cKSvugjV0iXM5h9A1iRjtXJezC3tcPQmelk1qxHHG/24yGYTnjVePXiTyOZlTfjPBUkx4EtWJp3JQ/5CmmwbLQoxSljAE3Xj4F28sxKk8a7UZenXHaKeY48otKjVcQ+GnFRTC/0F7mPGE1bZjw+nfUTIBfknY54QbN/+/a7rJEuCtHR4bUAu7Vv0OpTyE2PNYEm7eF6WuoV/2cx/dq+TojFWjeeg44WsXePd1yWlct+HAjsOhNtYVWIhvVmEIyWMxWIqQ2wFBRZ//nshyo9W800kbFsTORtBhgQ5Ntl7JWszIJTubS6mPt6YshS+ESuexVlPQ9A6n0ytT7pYTxUf7mJy/2/aGhPwz5filk5H6ihsrt3phKH4RGlygxfYAkf4KoMFFF0tq2zSRFQdxyrrmYSHbSAVcr0TyZH8is/AxHCXwu2xqO61wT10IAa3hC7pUViDTQ7jf4Zj0L8Rm8Z7yZvqpy+dsOCRuyrzKnoYq49nyaDpxeswRpQ+x9/Uy0cXXicLWLgALDkTgF8uPeuCIBqxr2fREvBOROmcxNm1qA3kPKSM6Px94z0E69HFA75omjlQpoOLHRdrvdic/gY0Z2TipEJ3vJEK9QJK97yuj5Sx5TgEncLDYENGjrlg6LvW6ITS6obUSyaz5zCCZN950CNfZL9Dy6vQrrEDOO09WxpQikqoWU9Bo/54xcN6iwMZ9NF6KT9aVNZIDPJFKSfKV8OEEbPYPqR12smzqh3xRFYC9n/zC1H3H+Hyy+rVHlJarxhTHVihM+DpmB9dPDiPdcgcSL0bqEzlNP2pIx1xsjmbJ/Qqno8DoDJQRE/HQ7I+BVUcRmPnacGmENJCXQTBOn78SRND5y5iHvM/Br0n6yv8/AL+fwUj33ClpDfeKtmWY2wPvJTBljy4ST6eG5lTxm6eRc2SOC3K1asTVZuWmTHs6pySsV5EuPm4VDp2eXzlE7CGWqpCVysss/7rrttpW2ZsnBz9QE7AE70KeLXuKRrYijTXDYUyCbITJBjPLEl1z32uRzc6yDDpTS52vws+j/duT4xyqK6YFsq20l5YZ75Grr4L0o3c4An7qPV0iKAcA3pvAkg1YNl1ZhWIiA23dMWeRJjXtCr/vGnd6Oz2uoDIlNkifze56/NOV4AFU9HShcgdsLkSFIslnrrH3m9WJ0s4d1kzpBlYbzmtWovqyjm+yFHWXAoYpEvTUB7FIK8XjFtPqHmdBoitBeDuNRmcz/kWPQ3d/21AvUklDfr4fHSpjPr6pO8X75Jc2XYpD3oem2LJHK6h0udOXbHWXtbiZfwfQ18/h1gtSCDFRb+lJQa0mf3Dp3kJgxAzV0KnH4ks/iNthz/JTXDxRPprpJroONdWlw8zqcBd6aXN2IjZN9z9E/xLeYeA5TIO4HT4xJgDninDZ1G5WtPWuSvXKC6k1sKaxcVqpj6/eHiJBirsyj9HWk8D5GdFvqIaw5IWYicKmSKp1lNW+YR1eTDchAVObNLH0lSDAklxYTjGqDCn60Dq2EAptG34RLpVUEg7OxHYpoRIrFOAs1VM7HkuY+jdP+BmlP+58fu2F+c1ewYnZHb9q4QA0MCcrK0L9u5AiV2WVQFHFyQR98p6WqmKwhUo0ORh46r2BxRNER4wnKmA0j2r0pX9E7QlxHPVSbM9G848ndgKGOkSYa/XX42AtK6h5pJHhqTjr2XN/VoVqPKo//D+091+MvEDTkJh2Zdv+MjMvs9DFKg11VfHoNH9HDboQoiz6XkXcTRfxmREV1f12QeAcfMihYW1C7nDqBbbHWw2ZGqej8EpDJuXPUh9YaQwDzuf7Et9zx/L1GxxNfLxz7HLdHjsLtFrsTbJxVqqV9PG318xNvILlaIbDSK2prbVyPKTbuTOS8xFoo9CN6Rfp5jMVojG2Ob4/glFQusTi2Uz8C4SKftRqErOC8TJc6UY6KePmWsmFceVnotAUDl6vUPzYrgC8gQiFeRDpdEyddcqjD/CWXiNcMn76zGpMoGlOmYdajVRddy9PvrY8wtViCNjeCwwrU1HcG6OCvQVaHECAkMR5i7UbEgiH0C68LGiINFIeZ4tAfZCkMJGvQncBAr1Eg1qz7JZGTq8JvILyFv0FpAWhHFmx2hEOA0fvrwjOueYVXcamTAR1lNXiAi3O0ZmgeiYQ42SfW97WFPeem8hgvk8CN14+OfNgq/RVMO1+uknUM4BJef/koIFe6wDtaN0E8ksn4xlz8HOqWGusLh/2tEIwKaH+HOKUar0XNH5L2Sb/AWZnuK6/MUzSZ2Fu2jMMZAHgm90O65n4FPrnIP354q4O7B2GziGmiTHrIOFhgj97yZOxfJQ32e04MWiD+QoNTAYXGx8J+IeW9j8Df9x9uR1waxTHlZz65p57gpC9hNQ6DQW5Rabi8rS3VYGAXuMbYeZhah2yv5FmIBVYvQwEfXkf2EKPub9uLKO8SgKcXPvEIkLAqrwXtGz1TyGC9vRGAXj/ZioLDXwcbjO/kT/Xp1kbSILY3/tRuKuawSmCuFAj8x+eJE8Zq5MAY1gGnITtZ9bUoiFXkX0oq4mcrfx8383mV0gA+6WNUoO0jelO0pXuQ5IyIAs8asGlPgMexjxgUjBawBHa4U9jydqLC8ncKoIpiFkXMu+y3HIB1KBW8nGn23VBSGHos8aSY5TJ2en/eR1aWQYRFOoRWIexG9gyMqM3NL30yPgdqGuBBHaVTobwIH9RfUA++3TDIv+HRPB23hfpV63O06BGk7+6RgNL7fani+F0GBVk7MGza5eJ4OTZAMFq5jYb1q+cqo120PetCWTNFzIfE5w/T41/2325gGrq3V6TB9LotBsBkkgyMpGdmt1cvI/FG3sKe9JkrZZMepTnd+MtJnvTWWl+GY5m3kACTp8Ps/3M9PtQL9YyvnZ9MzWlIspy3ZpSMeHnRY0Vd6Y3e3XvsAkdLDzrOUb+7zRJ8uOPn5PNOBnF+4BeLzCKIavhwC9x1tvs7r90Q2cqCv96bQDn1tMMyOseVqsJYbvkUcDDUOB/lp5U3Dcd3SQ+DDfNtxg/dnlOgKqAR8Yy3tc5ef3aGra5cUrZg24wwUD2b8oIOgklRIZ4pnru293m6fyp6URxXJn0W83AxMvfVq5IhEDpvy0hzGn1DsgXc5Pl8BrJNLV6C0ODihy09NFFLZBG1cVTN6Y62qRCNNmwjXkG4/BF9Ag0/88IfEBhv8tdBWs1obmShhgPxda+F4Xq/RxWecBUcASoPKazKyjvKh+LFJZco7nqBn7k8J+HY2+E6k4Tp3LKW5PXIpSrcibJlsikQVky9bREe+L9UCwxseb3uJ9Jy+iccbYF5SjVyvWymC43a2LQRf8k73kQz35u2K4NY+vZJacK5z3ssUOiDDk33OWuxxqKM+E7cQ4y+Kjqe2GX2hFeJ8Ja2jUk2zAKLQvsPfdrJPhDWotp4QmV/KlzUkaM048QLW+/7/MzUsbQJRKQKg9DzfBf6aDQzXPISLuD++q8GgoEzn05Y1Tx9ISI60hRacDP5kcg97qxlcixnEHLDb18mpIHEaWioQLn4N8jkNkoVez5+EuEuAey0/vtEsAecCpBm1MebUSW0TDD13MUSYyNnQGZ5dSf678Cmet9B5I7AZB9tmf54B52aZ0dlwKWEuPC6Su5XXdNDfmwFWMTuR/CAu66zP4oy7Fowun4BQPIZmHs2bT1fhFxCWnGeZh7kfEMDxxcqXc32O0y5XR38zPwHEVFarN74/TiZzuyw7JuFf4j11gS/fKZuPMemppXJfEfEJH7KNzdda3vIkWz97Gpmt/KTgujDRVhi61ZHZZx6ocTp9lxJRxOuZgVbhbeFRp8bxv2I3wN3SDf9i1kYsSofxo+K4qenqsJfb9iQLd3VCakxAHCFS4+2DLGh2ayJXhtrntDDI6L+1wnw+oH7ULvI34W5Qa+ZBcRk+Pk8ZgfnZlMRN4xFnanzPs0x/5o2DsuPjNho+pk3VNzKNiYV8LEXVnAwomrH2BYPQ5skeVL7E/vHLmEX2jwcxk5qeh3Jt3gCjUz2fu7H1gXyhc3B8S8JcqmPtx0ngQNmRBBgdBJlaHFHV3IffoXrlQLer8wYiHOB7d9E/avLeLspzudYZF80cWT3Ax+NQjFQVMuEcOvMgcKevusqDNOQ87dacjVl0Jg3VUWobl5BHCcECotTzPkXdt8LWEzYadGR7aAGwkA3t0rUkd/kDJmRPLAN8mBrRq2OoQ0Q4rBGuMeZdo3I6ftfU6M//8ljsBe6NSfWR8eFXj1WZjm+ndB0sQM3mIjjx7lRrjf1yWXg6tloJprIALsekj10tOSKTeleKJbKv9oEvzU/sO3WIxQotBCddQw3cZ4G6VyylE6JTLhX+5I+zIB1KE5zqFOXJuCFPep9/wZR4fOxMEWKc9LLZPcolHPn/8Htq43FRrGwL9aw+vwInlMgpqHMHvdTQDIz7EqO0RJwk3IprioXum5reGtHRoezgqnCPi6NRbBoTo6x1q/FpUEfxYg9KuZNwOLjBm6jyWbQH7bqmk99JEGqAg2Yqsb0ZHG/ta6LOxr/UfS8ZSotYy+s/K/2Y2y7J0OcTDKX4lW/icVzFky6sM0l+w7wI86XiGbXjVhn4pLx/Zz1dQY/mtkIvLMR+aAEtK9eCEGvSw6gRFu+lmmW7oZGh3O7MiNuozqj02XBGdI+RUQO7pAqwSz3Q2jjepA2NSN2/6ZuZU2FLFN2UzgZZVSWxQlrn9LIQzOyJn0gCzT+VC2dFZF+gGqKxDlRdgyg5roaUzb/4QZb6L7sj9Uq/ZtM4r8Sd5VsYZ9eA8Oy1g67De2OBiVcfHOlBmv5ND9nT5A2qWJa9SSI1cF0X/n7OrQOfHQ65Q88epwEgmgS5n8LS8eMz5PZ+MZY9Bz50su2P20yKkhuwDhJHD2ubDqUfnv3lMtZkI/vV7AjmQkACCuiWd5JrTaaKZXBzSPVfn0d52OolyHiQWZAu/vC2QDF5VpGj4De3HXxZFigbJToeVv8JLcWK+mOrAABGM/J0xF3BjPXmQC82Wqg0wzWrMw+oolVAguIwjrJuuyDAPPJet4RalfeP8aketiR33zDNAMyJDti0kA0gyLv1Kw0B41iNNs1F/VsybN1X3ccBm13AOfnhtxkSXWuSp2RHNzBgwgIiwNetDmw6UsvVniqInZJJUQRP2om/4AbUBTKnQUMlL7DoNyF3NZPIJUBBwQyYonLXOEPn5jRQwxerjkt+zhtsN35lKnxm8oLtwfqe4rJh8vAUUVCIYAxGPWb0OHGOZTb5aew/m9uDELIbZqyprFyE8pmZ486nlaI4uj9lgqgf62juKMGRWlXO9TPFKyixfV/JMkXbsu5QTr8Cod/gBCUpWr0nAB6Wd5WXN4wQ2lfKFWgnT4SIdKU4ATLR5j7vX8KWgq0M8z19VxFUYdH9qXX4MIjeIfIFWN7MS6PdCdEhxIYknuJyMFuHJFfQ0j7aynU/T57Ex0zqyTogjrlgYEz4Tu+5OkBGXx9pZBdppiJv/OSZpHeUEgXdzJ8HxDlzXnD7LHABTlGOGnF9XcxnBgl5cm2eE4gHNLZqaCnJqsyx2KqPmQ00OqUjEzYHWgD3R1k26ukbanINcKlzoasqJbaFx0zP7X7gNuy09+qyXjPyd/FsVs3wAGGr3p9VZfZn7VsXqFBxEiuup0UG5WKdoX92JxcUK70foyyir4oxcL4g1euCsERf2/0KPywnuSgHi+klLaRfJp1U4D68fZSI4Y4xRZAqBBzgETP3QN6400s1qkYlplTlE32NWq+32pw+1OrMKRVFNjLzPk/cMjyZ3Bb3xS4fVb9PeGLbI5sYuvMUyTfkvvPQFgyrGcFQ9e68sthDBfTkHYk1JG7YECNvNeOeJz/OOOpXncvRKDKjhXDGWTMT2+Gcx0K0rvv2S8hMvFgHyUN7jKLDUo60bt5LdBQKu3q6a6xqtXGuJwPc9ovaxdu96oZ3RI7DUYzvhua/1Akn2DdjOZwh3476f4jy+qeuQwatQFdgR4pkk2KblAs0l3Gxj0sboXQALg1tzQHb/bSYjqWX7dTDTGYSkinRTr6u1Kl4Dsnjn9vtnyE11ApDLt6Io7vQq3KMoVcwrocPIhvSnS5MmGMoF4WztsYFYduX5Cni9u5c37mR0BoYigEk9uOMFPG8OuIaU0QA6pj1uIpZsl8Q8KhflJXaUWRs0k3fL+vuJpw9QMkOzl5vVx9PqKfQwH8oUR06SJuIA4ckrO+GRrF2YMP4VrhakM20bbASOJojdc6gY7hLC9/ppqItKeCt08Cxu66Ma09yFvuVuIK5sQi9DYv3ZO/ErUwA9gT/bazn+Ru/5LuklFB3OhzrTULTQixOhDJKQ1a581wA9JI3MetYcIizrNV+zyRk7uPrG77LANXVZgwncfsnhQoJjeevyCwlZMWsm8ylAoLiope94dqebY7BlS418eNXs98biO0L9A/iUbZjzceP22OGY8izDZmlCjmMnU/ibHEbbwEmIClFV1nmgxQIJt50DKYCG6Af/50oCaZuXMgbgJYJm8Jlq33cKsXnMSU5s5oOYFj3EJA/XnF3V5NdoIyFra1+3ixv5Se+6T8xRIOjfKF83h4Z5EmW7jg1xNRgY04vVBB6Av8Uuy34zceRJfxDR8valPsNtDOzzAwf0wMjIRnPcsgg2yz0HMxW849VazxjmVoPwltFIumIL0XgsX28F4LlcbojPZw372APSiHRi6oICZA2XPPr/PG2005ZlsJ9akzpfIiYf7RERZDTQP+EUH4hWIbZ+95mKI7TVjAhit7hhmES3QiJN2NzaDdTkiKCPx+CpyelefvHGS9IfSE++paTwRMUoGxTebxIajH652n5q4lUin5pTDX4Blx0g5yv6skv/fCJf9+YOoqYWVvu0mg6IjWa+/OnzPc+3YO3BS6a6XCu2JIyliaItndIR/NZgZw4jO5KJ91xvfqLq0ZdtK5zxQ69oq9OoAnnD9N2Rn2offfArxOukEcpZvs91s8jeYWikl8UzTqM0y9bxk0YMjMufrEcJpn/wpmLTuJWSLrdyP7fXuYGDFcQx6XNYcUDufLd8UVPRJjt3cjPDnTK1qxo7Fj+P8ckTpOcPZz13gDUjn5slKGYAGriNkLHwmOLjBVYRryCMPqsxtpcfF4RAPLf/rmUZN4vhp1pbk6NgP5+3P1AoJJCE8ETS1uzQ2tBE/xAxMgpbSIizuij15TU5KhsvNm7+t7ZOVDSqes3o8MMIZbHhkfp9pak/vmJD4JIhbsdUImP5SKcSjhbvt6I368dQkwogdrkEgg6RhFTOIuTGv7e/ho5fWShljys4nJ+Ny7NFE/f3oq90LghUcyxIJq0dQVKBWlhKqpN/phkmls51bQKQE3Z8ed9Qru1uTyyZkHAX+2zgbU4tuGsBaHminW3j7WwPfsg5HoRvdcC+v8xQodlKKtybatZv28NA6GSUIsWhgBVMfObb3TkX2W6F174o9AAid2VKB3vkX3Z06M/CVtxOOK7jvAKUhiWD9NeeB31+j61ttaamJmWzDiRiu6GiraR49+oNw1ZbWvq8TzKkTf9Rnims0KFWBe+A5xDhT2vSHuYVATlHHccmYdUReZE23EQKh0K455WojqecBqDs31xDKnEDACpQRpyXd1XvXvfJi69QimU/sMF9SrkWPojGB921wEL2IAcyTV+kAiCEBeln3uHNZ665eS1k4nI954s8hs7avwCVk5yIv/psuazvPxOYit/3ePAkpeZMMfCzmaI1xgbh3kePLJzWK7y2qAFi9UhL7VX0pq9OOEDCoeKv2FOWlrGcJnrkIFoC1b252xHdIuRiQMKtWmgLYACavg4jJBvq1AJgnB0m+U0lxt+9G7u47TH1jrefQP+swyMsopMw+JBIG0lxC9YgrwzRK747w162s84Go2+E/NoNfYOYfXVZ0YK0faX1AEpCe84E4XLcD3HrKsLVRoBIydVgR8hAvKIGpgo4ZhyWo+yPoD1/91ehb9qlRgIZqefoTr0MYh48gDUHPWVdZYgj2kWuMdYiCJTQSm1QbeUN5md76K0BqhCRCNVwxqAhYXlM6Y2fBQA6sWLKRiIngx3dLkcwJiss70/HBrI/f0ESWqHJYum1BrHzODPmOlJSTHigKNVUgBs+XjU8tMbRgvTIst/TptlvM+l5vYuKeSuKimd3tE89lHCwEUjYT6cVvf2xMEzwZEx5ZArkUe/VJvXud7Pir3ZtkFtHQO0AVAqkYtbZP0XHXa/zanF6MO1SrCRqvrd3xZHhdjsSvfZuoJCheKxUwBg6kh8M1Invj0cQiB7LwvN9cXFVaw/UEuwsljFEtYCHDV0Z03TgS1f8T9ZO4aVHaHaWf7bcSYh3AAreZH6IRSsWG4M8BYY/G7ObMwMUXR8+1DlKUYy9f/eo9XhXimLSkvbVJ27/6dREQlwCOd1sWTAjVg/lMCJzU/Cv//9ehRAMQ58tzxyfjnoZbb/IXQhfSCoMOECQml2HmuL3/m1MvIBRawflhuX5zVn1PPrRP6jn+H1EiQRHbqn1NTEfE9+cXoIc3+9l3N1vF2eeD6R8BXbj0dxGmef3cyd0dvzm4udnl3EC4F7b2k2DPfQ5wm5Dp26KZpDWlKldrE6GOapkVH7DKePFTE1knkeRSG+hvNMoVFB5PiseMAXbX+zajvimGQTo2SVuETB1WjqI0+pzAGP+ejk745t4lWaHWlz3I19dpRbSlR9NhiYHnGOE+pot+aJojJxNqAiiO9V8pJ3CTFA7fAfDL4bxYh491GArn8aqvwkEpbpMuiHHUV0jZcHFVZPza25wBB+t8Xcziu8VEyVuqzUfeVIT8DTK0rZitteQshAA6zYDZt8RUT7t214Wna8JzthNbme3Hv+vZrrG+Boeq5CXSWEhkgk5WbbncTsu5iDWHECdyzxswXNpFqzq5r8rowe1gjZ98D8GgW1RxD+OMrSm3N/O1fZDkh5gaV3XvX0tr8trxLsNuu9RbpP22vK8fJMuqksEcM1r2wpki41OZHHfg3gpQioci2+nnkASEyitqpn3yw2/w1h4buZrXb9tIsNVqm414AkHYTVv7XtPtb4b1CyE7rtOgp4zrGSV0Zsr8gyrSQutEavYtys4vgUMPBZ8uEn5cvBQT3VaPKhQJgT1MJHWFxYgkaZkNJmRXDmPB1w9eKN7SkFKXkdqbVBd6pJHcOTUJ4q7SoY7lpOs9LpIxH+YshLxwNX5nvZRz6Oijf3lJYekBrcr207ang88PcJQo9ESorjjlt8/iuFk7jtOMUQzWiuO53HRsYbBvXlAW96eNFFbcrCrYiFJLzbjWYsA0OatWxX0Y7QsfVy73kGFXguiZqz+EQbnsRc0UdnLxiLguOGHVN0JtbH4mZt8gj1HoTr2io0BVgXsBTA+PjBlO23OkYmdjSqVU+wJr28x0QqlNbqlE9lyZ3DOZxMZqnVs+bFGh4ce05l5Vy5CslJ9zQP1riaSDWNXn0AFNhhI2hf8r+Cju9CFX4vmZPfsRPQ9awtUPWSsqhF9JmggdnwR1WxxNk+FxZ0wmTbUa7AJADWGyeq0uYlgyIqBVuEwaF48o2O9SOtSX6rwZ/E9T0smlQmonqUzwQp8qtZmubGmZNiqZsrIVRmuEpRgSxBX1PxvR1hancuiLnblbmWd5J1CDJpEcQd+0qJ93V/dLD5vbKyCPT2zx/nmRK0kN+qjuBP8E1IeEdFUrEMpaXIuvcEyVhp4yX80oOwdX3VocgxlRZ/v4rqIaihBujNf6Xft+qJR8DeapACiIt4cdKhcgI6sMBaq1nnahT1T0l7gt36rPwn7+bMaRyVJUuD/ZvkOzcuXnMeEO1+zfrgVr4eq+NyIIqcbsNN0a88JM8eLUROucXD1akEDPo3p8HB8bzPTZCkd/l1ni1PkkFbJDA64GWvvTnCR6T9YYCVK8S2HnnQpV9WL6iFztXH53lNAOm3g7KYNBVIdQdHhMvBcfmubJDDsVxYN07+SnL2//ONFg3gOQzDBtEBHL1SW0urVUe9M226QX/pSw0wlVrAKyq+j2JAqqv3pk+aIwJheCRUg0HbMe41Zd3ZMD/Jeiuaw/bppsMB5uEZt8a+6QYACyTB0wYbcqrBczz797X6mqSV2ZHiBlKSIkrfortCrTIPGo268o+hjOQ2DM0PfnldtPX47HrhT9zXmY9M07XdXxFuNnDTJZTdctTi/Bzp/vPJmHO8NjmBZ3yQALWck/mVImYcDvC3rC3AeCQS3P6VgUAk3sKk/MAdYMjPpKmNLFt1CThYHX7R9GeeoyLmyW/kuHmSnWH4x88E5fdSHnP7GS/ixvgsqgiCBkc5XLjlsPHOGUN+VJudo7Cv1CS8M+5lkM1fggvCtZdzhLJ2h6mEjuU7QHtA0W56+j3FU9mzsMLz8FgKGKzsF+2wvW2HBEANNLlx5X3d4M573tpEVe9C33NAAwEEySrt3TVT4MPaMXSDRtzYwbxmBkMru0Z7fJX2NivADZIiQj8aq5wbFK6RFoK7eo0oXwIPVC2vZN8jaKe4trnN6xQnEsCNlLJe8UjqewXrNSXRos9l5Cs0f0GHzzY0Hp6JGl8k6JXs4PncU+Nqtl2+JyuAEPcWBj8cSxcHdMYOvu+GPpkqyXa75D2n/QvW4egmJem0rUoY1yAr5CpDYSWpHGefdWjtuZ1CZbRphO/6XVKSRlJjYUepsPXh+89v2wJdoyZS3pUvp72ougch7tjArlkHlEHXlgyBCh6ZNHwn78wRNqTFWNCp3B2gcbEns+YEHY7HmjYT3sRZQQz1SornWBbL5R6p8Zopky2OiuBVEGcPPr7huxeI/AB+bmoRag+CqS22EpYCgzVMQmc+diB8kNAmZJ2Tv2qBuRrdUgeZVmzgMa24E43kOY2Liu9zNK33jIRMYoi4TGBIfp3fFhyEYtcZ0U9H+cK4rM+/Q7tMYppZwuvUlNs49K2Psy+sbGhQFLb3OGVejczO8dUe2PXWtrFs8mYeXCkXgFTnkdl1PIHLx8P7bgS77fDazJlDOlpZ5UjavX1tejGlkBQ3G05dJF5WwojP1/yPT/CWrkolsMHQsyzLEhIRTjE5Qyhp813EntLj/Fe7Pt7qe1PZ/4EmywyPcIpfIwMtg8FOfkT6/QLxpK67JwhmFe9DdR2/mwOnzD6uov0uP5gxs57Gu+kLUFJVLVe6LQrx3U/f5/D2JoLG0N2Heo9iEs7BsaQ8DKh2iYI8WdsZM2FpEruSuF2jhUcG4FVMfYT9k0fn2KsamU/yPVS9KHJPa2BZS6dIPHnpNp6+G6lEVEYAWUaIaw9e09uaYnojYqOoQ4N8WLtVjo3vyarfiJdXdFbErbepH1d/yKtubGBtHeJ5yTFMKnakxeXojyjC85ZiKEK9iv9B1qOLVvdP/gT7yPQK3kA8ZS9MPm1ISo8DJE2TscJ9uXNE1vRpg+bl4bvfQe9F98ud2LbszuNDgAiTuGYvdrd9xsbLoo3/xFi2fJqeiV4gA/y64j+TJ9bN+AV30hcEUjwAOL01jMnhdiK4e01ZXOwPXs7u54IwP0CBDQ4wRF0AVMuMU/te9vhX3F7rk/+vqtnRDFM1maGvIrllhSPT+uWI/kbsQNNMw4Af5rGukLar2HecyUgQVHcLG4PiVr4tZdb1VSaYPew1GMDqjMEBCHA7ECVoK31U7sQaxVMoeRq1h7LJkpmUTNLK395zJAHB5KJxyJZw4OBh633yuW+VWOY+3Oqr30iRtxwDpTITI1anVIYChRB5P0+fFiLP68jOArmhU6dualFWIEVHM4TPQtahZRVJz+qVL2TV3671Nxj8NZBb20iUeD83SurFfheGaxdsWfAflpYtI1z+bvdIkLd/4iUYP54M0K75LnoRceT8Et57glqxR49sGhfkPdguWpJ3ohMTlH14nNsgY8ltyhwTqLEtcMANHVb3S0R+wPYHE48KXjvbXHWOCOvn0eCLSNlXz/bOHbzkBhFXatgVloKX7rTBmMjHZUy741F/UC5f9/wU0ku4ZXXiRwSJRpauqndBqQr1eLsnagIezGgjefSEDpAjaFg9oPEfFY6GYqdBbBr1rknqK5EasYojbJZsG8v7kdj7t6Bi5kK5glp+9aKsFXEwEQ2WRtmYqi3jHgxxcUL12mZL6c4Invll7ttZUduk+/s+RJTgyCaGWWkswekfBXx/v0Cq10UawI3S88ZPYmQsl7BXwG+SUF8855iGktI/YYHXvbVyFXLQ/SaILCd20sqnbGIJvFs/hR+CKcHRsd8Z1BTqgL4kQfroAFF6gaEO7r+e/fqir+JgZ9aYe2R2HhNfcU9ImQIx4amI/+Ct87jel22gMZiTly87o7LrLoqhYGCGCGYQcjF3hMpHqB++NdVmSCzT0is0KHJACKR4cVtm80rEx+KhMLeGalBXaLteKJrd/kh0WfpHxrk/BDFxMIbhMYu6qtP0yH2qHlKTo229MJB2Qbcz0PflfTH35WJxOKrsV+nfDUC0VCGlYR6bmI1kAHiXg3ZiHqATMZoFjxQpGKrlY4YAaTKLVtBZoYfMbACbtvtS9aoi4v5FHV3PzsGhaY+gbz/VSMopJ72J/RZJt2G+rwQ4DC5CYabXjRgnXyoJhaZRLWz3K4fzNgC/AJvYNLNjWGz7hkOKGkgvT9dvHXG79OxswRN0aErxfdiHpefk4Im+h3VuWrP7klptrlLEFd7jez6sHMTQnuXUTMIusOMXguqiRcR98Nkli4RztFaAAMVdnk2HOtb80yKbi/WE+CB9zT2PQi4dp7WbKuzIXheE+mGNOP1KPt+yr+osw19zOlR6OKgXkxeGhfSyWCcrk019Tvh0Z8zwPTiky9U+U8qRo6/tFgsqnhbfP46JXOsSDxCR5nSTIj1LQHwKDZpdMmDXjHcQj+e4Fy2pY+jrKeemP18GtkT1Tal3gEhv4E/rh1IRkEqW3BLjygo2txX50XJsQ/0NZr/dh27L48H01RMUpSuw3+Cr07FSYUH1G0JmbekrdkR9bJQ7EXVHBkMOGGsZJzXDIj51dc3FjBWsHMXDVW47NhcLjWUtzLam0ouPifqEgxcW4cbQUUr3xh4Zyqp6SiYXHV+Y0SFkpQLP+oqNK3wOWnu2sNElhJUUzFCtUPIUOpI9LxYBxivDQevNSymSEZSkGKv8fZH4lZgUGIIjCe0vB9CnngfXx++gxKA24+EUI1FUdlimokiyVAU1GS9lBCqPpExPyE481mX2CxsJH6i/tDE7T+KMPM4t44hDX0hnB09htReiaABqswMI+63tobICXhNQ1O3/NH7g+9zwTd5FeBnSPDWNj4sIUqr/UiiO6EqxZlmZYE+Nxs3T9W6ucq+TukHncDn/w4oJhxOhJH/DAQgdAxTcDS3XXTYqO4tc5Irxr21nSVapEa8K6Iyrn65h1Ex3phc2Vk/mQwoMQAWQP5j9bgAWKLgTDhhGqBU5LjcmJTmH7qlLL4R9QHVYzW/T1V4lHx5S2AbOXlY+bwR35bY+72FgMtQ+Llag/Hu/tFyOhEMUYl3mbhYxEj1CcTNQZx9UZrlS0YVBQnP/XoxQaKHjEnteiGeysI15lu01xKBwujDILnnwqdjp6LkM2iLmmj8ddHupbvHI5/zmU8OwRQRYA6rkNef4sLnaKqPt9/pUEOFKw7t7qyW8bsAjUw8wizS0lw6IK5DDt/M59GK5SH0OAtv2Ejn3VWnkCcR13DnPVlpfYVHPpm+PJHCD4MvnPE8iSrUTw4lXP3nvJQuthw/353oMhp5wjxTBu6kaEcqdHuuoKtFn35mnebRRR6gOExYP2pZDu/HDweTRn/xAV8SKjtxloG7+ctQkPIiL1DjEAohcGgjVvnUH9G2yqcwBf4HNmzrqhIEDCkUv1me5Pgnj1T/eY/YAYGgs5SkRYRbco9KTEjVX4dcd2O4P7vWCDct9ipxoWaXEsMNgTMs8ycoFLR+9emdxyWFW59ivww0HvAWwpzcun4Oew9aDBUjGhi1zXR3vUt1aUkcogQScFzn/rSZqs9idPrz5QHuccNOnoeg8mc5QAjZdmfc1+RPyqjbl8S0XwEVBELoW03W8GwfljVm3Xzf3djxEFB5a/LJjqt4b0AV8ZTfVc37ryX3CDjFHwBJr6gS6TJYh6EAj1SFvFMQDXLPgRW0wM/DaXbcyPHwCXNEknUvocAbs8xxJTxvC3H8E5iIWFYpjJDSucyBM2I0Y8pgMNLZ/Ynph7UvHXk86hwrER5ZLCv1fWI/+GrA/YQDkX7vd36di5JtTdWFULu7J8PusnTGQ/xMcfh+OPVvuUM7oTjMyYxfz23ofvGr1knnKvkdNEAx1+/2dPrcPeJCQSNcgACzeIxX7Cdh/HB4jscKkFrlWzLWffQEDxjwuKx3KQf+ppXoSoDjU1WBgLjd3Td/VYqFXpjPaXwhbS8BRrovlzYQbixp6FHm2YAT5g6qF+0kuXhrnmFSFcF3HIHxSxJynLSPmo72ckJNifOuMP9FDz4EZeKSlhvRYzl+NnaPmF0zNv/STDP/lgCPWLzG81latV44nO/B/yxZxUyCQTNdV7+/kmiYbwr7UdzgO6PCXi9YQbPJZCxNnpWHldwOrmjOiZ5ViE5UoYGyU1ZOuksZCfMkHknVeSNIN6KMFXdLPjf9yu6/jykhu9xRjrpWyMaSXaGJ1g/s589mpAu6wg9K6+DhhsJ85Aqeubeh8bY5dWTCeeoh+CeuFqJCDj1bykaBFywaJ0yBxN2eDzOhtOcWbR0n3SOTNu6j44LP+7t0ianT/a/SWAcQrfKajRiGzl5kU/DFbZq9jdc1DrvQFPClymoJv/CiA3a9h1PzK5pWug3eUXOlsdRxH7Dr645O6lz4BUL3izgPU95kWNZKxuHUET+kqmqkOVOR/A1wxvFf8iTth8UhQepxQBkg6tvcQfBRoKLWLchu0ddBtz25FX3waYsJy0IDUpSMhN3DD8Z7umFQerCXb+BShnf2CYPAwTf+eJkWDHBd9u504qbYSo9+2ChibFSsPPQah9/9xOtpGpj69fh/qzfQXGG/jNkiakIDvfc+sYziv/9pRw3mf/FYSj4fsaqLEB6EFOFSj3cL+bZOqn0ZIQGz6ABF3cDLFE6Car96qGtCGM9J6WEyOdC/hJpa5VFRYiWHw/EzLwcn7+UnLmXooTddekESZKmcE4BZDIlG1bd5m4OMtwk+/tGJB2KaKKjb9ZCXg/OVppOgGsyaBA2IqSJ6RRlGhQVScph8XE3y8xgG3boLqASoaprX4Ak38qIcwUTv54ZkmPXaWYuZKMm9DVYv+3GPAGCsm7uKF8SrZd6q3nKKWKqjVEmOhwt2pJ7vPhGmRXcmWFLAiigMXSXSe2FCdBT9MdwYqt08On5IkSmZMLGoxdUGZlVJIN0T+/2U3NBGgB0xeG314q/QCgjGnQ97A24x6MIIa45NJL4hkcutDxk7MkIjXb5bno/DK15oZza9OnSlVWoaYwWObTXE1TcHWD4WlfK+O8A/uEkzspHbGcEpqodUmCNjxilzQI1cndUJd2qIUAvH7y3K9zI1T1Tj6I/xZ221ZPjVsKfOnX2bD0WwCcZFDDe2uZP1emlym8vEb5on+5+IyfPl1OZc+9XEZdZNdvkeD31dnaKTaSQY4MoY3VdpT/b1x96w3ldJ47dZ0MoHvxSBrwVsaU4R7rG9dWdPJQWtt3QvW0T1NiTP+Ss5b1E+eNt09ggDMR3gjfHcnhZvbsoWp3kf+aV0EfM/gn/Y0xf84b9yoGR/R9zS2QGSTVAKh3pbcQF+oMtA36/5cNUOLwWIx1yp6/Wq5mBdIB89gbA+IwEtizfvpXINErZx+KGXOiZvX7TO1V1g+CceH/39Q6B+QXWsuGXfgMQEN9aWt0rHBJA8WJPxu5GEVdcHaoEzW5/S/dvIh+7aP864/JRoEfYYDUvjBpWU4Gsx65ckjOfqI2DnspCNc0afttF3NCyQKE7W7zvI3PuoBMea7bMXpGtCXUNq9Yp14uvbJGAsoQPG9YZCxmMT6Rjn4FpujKKfgZeW8OTttCyIy0NwlbuNbZDoWNynbRG378Byn3qLVlu2K4hp4sTka0C1Td3WCOLsjWH5lEBRgqniW6X/RstIbuWnj+71cp9nzxXIbMae+rAyrAYasAHzWsxfD3nQUGXaehiKcILYGTO2JKFS7HCuVvC3JempcXgRdk8uuC59mugzt4gQ6JzyvmIzh/LXv1EYwgYoAPSgC6E6hGRZ+RmyNru2g9aRPmTZ0qYi4hi6YClyW1IxuSukprIC/CROVY8eMPVQrcPPgocV4YU0MuOPcUCW4R4D0OFxSfcsO31qivLvVDzqFTOKrgTpiFp8DbGrJKxFgH1JTUd9QyY1Ay80dsyzsX6eCNWzvqYKIPigr5e0NLoatC2XDZf0EHnSAVTsSyPQZguYQED1UsrfvIdYPNbLPsvkLuIIiLKjqbcwg1a9t/QbTguq93IBxYrGCFXld0fJzTikLAQOJNWZ+GBQBNFvoJvrVrTri8wY/MFXUrDaRzSBfo2qyV9OR6j4YRxvZO09E2sGwEvlsajecSBs3NJJuY6bWqKaV1iXje5viKCrDdSaMYBRaZHUDV6FfLkzPuPDegZyVENDKqBRGL76E9xMix5ISIH5rHxKoyWcu0nrvEc8Jay0gQL7tkimC1nKYy1SKo+KCpOsZdYIl74jy8IAHlvfLvGpm5RGlFmcPz8hl8e0iGKrjz29mGp3PjM2HJZkZ7CK/r33X9zWksB3HXtbIwdD1AXiWveCPf8e/6W/seM4cHUsolUOSjVhB7oagWYWGA7Kwx6dJ0oQ2dEj/O1uvqm/P4vuEm8NrNp5VI2refvYrYAZQDVgU/YAeGwOxYhFzUZ3M12X2/kAQYC42xxH7PwXjwTXwoXJhi9qbAjTBM5HuF7itKudDn7Pk+kiOjIheruhf0T1+ov9akrsIStncZYA0QvBqzwgeaHKahHr0vbWKYWJnqy2wtbtJOKkKvkGLaP5QPuW+b+T9df0uoETHjrSManasINvXkXkj97FPxlKRLyhqPRD/Fv+WloLSp294Fe1GFVacgS0136PbZXgWNnWzFiJvE3Rw9InoLHQibWa8xSfVmMnXioT5fulReIYtjF2n1JRf298DMR4tbl5q87JxC1gUKee6zHixn7L6hCa8jFIuCzGK+JCsbr+aYCDJS9w+UM7dpUJs59a38mTJ4yy8d+yr+Bxi4aBCvrXxQdl8N9yWYcnnox9wZk7p0KKbCZhds0Ai3us96QnRvt8RlBT3FuOY8m6fVqBwM9JTbPMSBWOjStC1HNWPyf/KC4I9uJ7dzb68kMFaBfErju7YhNGaFe1wXS9wRCxL+Hj54FjwXsQRTua3KoMxrN8W8ZtmPnPbEagpKy7TN93RoXOR/15mpjioLAjJ/ZfW2sj6bddRFYX3VbgUF7ma5Vo088q/CwWfw3Kpl/hY3LqhY0R455uS69d+IyJ9TEXR7/kYD5pWzZt96RRT6nvy9ZMJ0SIq8airD6EF8O5UsAgWMaqxILGv8HifMSXZYjGU6Z1EtmpXsg9/sL6xq8/3R5vyvrnPeB1oz1xc9ud7L1O6K4NkZu6XhGEh8KTNwlZU0X17Fvn81AXy9YBdyGHQF7Ed/IQmbIlkEMrQQQhJt+KUUa+sWpj+mnGWZBxOGLWZQFqnMXIgbWpezuezrcuVIztf9BZ/BzVZhHPvJKH6HmNdfB0x8JTFIRoHmKXATDzTtz8Sk5/b8HK6nL7bwt/vj7eydsHp3bKgFw5taiYzuaqGpbeU8i+0SXsOdKoKsHH8sIR8rbjPSlnq0stgFCwip/a47XS9/VlvoYvQdFolwQLzbj2AGJWtu0mdQmvm3P1uP/F5ntn/jIJZrDsolZk6bQ3+YiY+YqjjXwXDTggzwvbKRyLHf0NtoEAmRgUIq9ZlVNEzfSDS1oHD4qyDdB05N8QxNZ+Ssv9ptaJJTli5ZmOtotccA483blHph6UO+KOtKZcpdEDVkwPDMgrmGRhql3nFPzudV6kUYgm8T6NDvjtkPvgnZgT18o8yPRe29NuEjcC5u477P0Cd1IegSZoCLFvk8nINTql1JvZS1sWYnyQrJkiN0GK22Dbh4PjUD6wXkuKlheCepPb3tkzU8SFN3CLe5a3PCjsedwA8OCiOPmfDLf52p9ckfQcxQpXFGUq5d8nG7p2+vmI6wsWjmGICal7Cp1eJIB2SAfDunpaBZ5wiu1RAM3Tcal2FLnjAWLBmZDnfvx6sgo9MSObBHHeGYCw1YiNn1/mJqiaJk+WHcfh12XW/mF0tQ1tXe/1OCkuldGitsuRiXRB/7yrk/4tfZOxX0mEiSDu4akM/k6n2zI1yESnQqgbTcv8ZiRBUNyvQod2zP8aebTISgF0okIOjcKQ6j+86gTR0Xq8JSMDkn8LrIqX6RPhYHn4aec7fYK3yun28aN0NBDhjW0ipfQ3zrtYIg67kdxdiFWBlNMl3xo5Qmw/vxjQnpVdwQavZ/M2pzij8BEEAvjwcQcHn2qCdTS2woyOhDcOaftce389bda9aRoqRIPzMk+DfaqVE6ZmXVvndKQBmuO5WamDJg3D7imoHCDhjOTpxzIVd0A9P+qLJ3WDD+SA9ExzpZkRHclfUhAhjlXbkFuadjqzsrV1cEafsA9SkYtPGylR1n5cuZWdNhOm86a5GNqkRmYjzMrugK4yvB/aSnrSJp3OpMuUwfq4cJ3Vk6eqwMZ5i+IcHq0cAe0HEptBhF9Q7sCniNK5O8FpXCu499KVV6WoM/TOqthRW4gWbZdYNNxPN/zbJVjB5qowNvoN7V0tOz8fS4E3LRgELtAGMtuImSHrbCjaSeGMAYB8MBmqdrLc1HYgUo2DkCw3h02jIFLMuQ7QNP3bwWRE4iafOGP9IadOuapw7bPsenn7GR/Pg5upgLVIe/nhOqUqQGdMnrKkRpY9UJxlhfctIhyXzSAgzDUaTFj00w6c6Z4IInier9/yvoVp+QCQmi+cOPeuI6nQs9C+ADn71YaUsKxteCGKoiAP5ihvZK5TOQmeEy0/TE9jT1NQ3euOlaa+zfMzqMvr2NOiNW03kVHRAyecH9zQVX9FYTjCLqkwnDAYZGj+1BNSGg8BMs+7aEYokfehJbVMD5DxAvrNi4lUpT5TWf4Xe8llj3UUXYTcW8VJMJmS0ezhTpCCtdyrlv9gPDQmePyaNBzbivx5koF/aMxdXug3Ug7kPqyl2m12rA5jFszE+prmaz7pvpdFbjCm3rlQ+YL/QUgGAd4xG/t9pb92/yAx2haaEWuPWKVGBn+MbKqFQm174i1Rq8Ca0Eu1Ns6ONOI0zObjdw4MBR1venZuJgoCLG50BiaFWD3bBIY99XZ40OznSx+3bRNoNPAWG3K6Je1QpQ+lPj5WQKEjd+qxyuzOjhV41gXtuv4Z+lrgT1DOEfe2KM9uJyYaZFj1IoTwLQfLl60eMTUHl7Uj0nSncx0eM7UJDNkNvQJFxhdAkLyE22mPte7BYz9JKyQoZRIZD3JHSLbO0waQypDXCSfYWCHnu9Qt4t5AH0xVSacleh+5lFG2LIzKhaCwefeTi0x7/8TxDGOxab+dQOGrxg3D9Fv97ygkmMUI/KnykmxEbITUnhaPuzaI1f4SccHAnQU8Q+aTqPZO3RAC8F56+fedcisuOiF05TCrsyUjnHr4EBtj2ksNdIl1svzecIysUR9o8ZuorMc0jRHNQBSd5+NaGEP868ARaxx3xfxguddTA0mJWxnJIktyv5aqgKUdstHka0oMwzE7wqhsjGNUZPF0MWD7yr1Pe4XX/sSQjIbSGpZ7OxIbg45zhm9sFm/pX1DYl28iY/dFaCxyKBAxLzV4actyvzM77iIRE/UtizO8H/eiZSBA3fIhWklzo2wmbi4+D0NE1v/eJmxARG37dd5OIuwO1riBoqyEZTStz1a4ZIicLD9vXvVSIMmDnO50J6uuPcQLCZPfwAIEJ2ZVvKRrBnjsZ2IRBtn17p3dKmJMwQUwFUGeDQXy6BhQv9XQaAnx74IsJcaQEMFRwuBLo1GCJGmPdyz8H21X7k6hpXlXpjLFOF604MpKwi1rzfeATLfTwws7H2cHwEDib/liQleq3oUbNUodCJkoapaCywwRVP0ghu/K1B2k5II/UFqlKYtRGBd1cwgsyjnG6CQS4pIRhp8XKPf9730t/vbqGjceiAwnNKfllf+bVWGL0wduIG/XIwS4SF5O+WMg36qUh27IxDpyu0jshnzQdstxNQJpTR1TkJFWbzJrWoXNSR0GGcXITC63o5oIeTwF/f6d0jLR22gBIJmGMeV3DP43cgI4RZdSPgeK1H/c1bNM0ugsNrPAlfiUXt79oDZJzDYmCf5rz6NZ1nmM1nF+jQQEA5G7G6CL9GaKhDexiuW9J4nYi8k75q/GbrcNgNnj7aIvrczcPz8mul0FFJekJ2F6dOksWaTBxBehAFQ5kbjDgLr75fSNFveBd4aru4gxdmOEStyeb4mQq+aTTaEMM9MqQQJG3C3yuTo2mEhlcrjofumM8YWtIc0uVAvqH7z0FaIiNS17ZGSsjvymJbkBhaOPludx6frDxiNhSapHGkSBBD48RfNf9W+If4q9YY4t4Ti2UrpLg1GM04fL4HFd2RxGaQ4M7CHvhy2gnZUUlVza0IqNMffsv1mSAWFkKI+A8iwvbvyxT+g2X6ZP7qbuBI8Q7s4ACIeVxpM6R3DM7qjEKmysEuQnoZilRS4cuF1eTcKyekw8IyjMNSiPtqa9ZNO+X9umUnNkyi3pWYUot5ex9yqKDaTt4e6G0QkaTLz1hKkFT1JGYq1P8jlJqK6X2fhI1CV1YlrK6JckR0V++TAulcMwS63Vd+x+tQnmaCTxLJtRjDG2l6QldmduJEQS4I1b9UhhlPb8qZDohC17Nl/5q67xb1g6seHV8E72rQ1L4Y7ecSwGU/OeEGzo2yJY4YsJcz7g7tKsYapSQ6yxmjRH9rcCGWMPzXq/1AHa6WNgDMqjtcrVAWdEIdIL/dHXbgSC5o+syTQyFH5l1YbRXF+tklPlgGCn11gvEggkJQOObplZ1+Ou7p5VCTqfSldk96MCNc5Sw99xVLLpT+FVkXhC699l8oUaa53JHD5Iq/RkGgnG9qTrTHEH/x38RiZfZKNZdF0K89CT75a3LtxloK5WNUZFuL00s75mdVDCIsbwvegCSLF/xl4Gkj7qdKxQStnAuxQaVeHcbK+yAc/HyNOjdY8PIuTdBE40NAkr6gSu0j6aop3hY9HRjFX/UMxzw3C49LUX82B3T5kf4k5umqGntuUM9xP0NJADxq//6QAHq4Lg5nXUEDJFTgnPq5J07YiWpeaDbNlSVYq/bOI2StVKR/smaOAp0CaAInny4IfiLyjJiMAshbFQdaS4nf5Ubhuay88+yJOjsXtEVHP0vPNelk1y1PSPYuQf81yIWktiUsBuo+5gV/k2qaLh9tSTg6E6KfnH5oqAJSGTuAZr6NF+wLBTwzRWaFQtSNo6pGPvdP+vgCLr2ytlFKdGMUZ6d4xqnKRYZqmM6xI/gcE0zYa7PdQEm1dSpRYo1RSgn2eV5Lp1uvojHHwsAjFxcSjwisuGuSuVHiAuXjdEWWSrzFmXWpdBsXqNy/y90mJoRauj8os6j5psnxDdARuK/4/KQN9RdHA38vuv7aPkyDmOGUahY6mf4XOsHfDCNbO8ujzk6cRGYKZ3fpacDQcVkkoI0TH0Uois+NCPU0MBGw9IYzZNQ3Lz4mvAiED7OPKnM8p9AQcjR+rjzuPNUVKYu5pAFMnsj5xiMIHaUK4I9r+0PJoFlSjlk8i3yh6bYfMm3tisD81b1OPt2NR40WAJh9CO7Obc9TAelnbElp2o7bMGTv1oBsY4DrD6fIQDpMvcP2+X+0JCBvBSJLOmUcdfybSAulrObFazK9AI/vDzSFUdZu9ULVIHYO3JbGTKo9LKLcwgqyn76PV/eIkSxDn87Coaaj9CFcZtCH0KslE7KyfSaoVulb44P57qNW9LnAgbEODbpf0EvYzpcF1aXPKHrAOqGhShz0ZcBBILXYhgjBb7fa7YsZVEs4uxPZZhWqrTMieihXISv2Zwt+e3ebMRAcLh2ab+48bdyd7Hhtdfd5tWqI78eZtUQbmRkFZN/5G+rGmBoCx2DUthg9G9VAnr/BtTQ/9QjZ98+/kKss0hnw3qTrMhH1pQiOs4Imu46jDI/cq/iZp9qnffA+yN+v+Eor2IknsNk/Oty4hNlXDwbgkxhDvRbXs7VVmrAYkQEZmMRPW9DL1V4Za/6jlDRrZex95OURqWZ2qQVNRZlT63AuphkV7xKBQrJorsHm3rIrkHebE7q/EmKAYthrARd6uvSuPDZ+tNJ3NwoxYknq8qicoLWVIfixBQUguqh6GWltUVhwgY67iX/S0G0UIpQgD9qwUcCJin+4zSw9DGMUZJhmbLV1LUQLhtaFwFsrdCqFmHwCzL1NTgkYWBXFguG9cnrfdBlle87lrJQJZdbRPkPXYe3jh+Ri6VEnTERiIwV/Gw88IbBsiex3Bq1qZTCRYKrNqwjD6br0X1OleqKvP4lxDbFPf6q1fZl+mshxQ0CJTF+YlKU6Q7VcsISAEfOZ/9hDEL2ABIJ/TVN3IuCBH7yr+OIZ7iPobLWeYeoZVmyqA958S911UjjJZl4IvnvOcGXfxR5y+DKQCYWXDEeZfuO58A8Aja3sfiyRUkIh0lsPFyp4KAVgB4PUJACANP7+QSFyRC9dUu57H2845Pvq6bR3AJDx64JtK01+aX+x5m6jFNYWHroOdfivsQ0PfpZ5/N74bPdRjJw4VlokCsIPhwzAbTPaMy5mhhzigkPkpsBrjnkg9BZRc14Fy96zrXC+w8dRf9cNUo6QqQpgxoicu/9pFjkTq/0nL4kQH3wa5igkxkzUjBS+KCuyLj580biog2zwdoMquL4EtAXASAnjqTWSX0tEJmdyqvajeDVy5fJVPGwRVaEMCcOLR7kg369tjQ/6k/FL59QbsqDnZCgpVyuVgvNiTcYk9ugPHaM8g13E+ZBbi/ekYmsh5Tj993rgthOm0i3TvX56tnfOIz5xcr8XQZ1f2VVrJW92hi3bcqBaZoEpJX8EzGGqSASuRHOV3EH+53WOosM59cjZbBWNRDGG6RhZZrdMMULwX5sTh5+nPF/6bdyH/fkQY1Gv9jGy/pbNDjOzzmGwG315Zg5jQUagegxBdqFRKILPbfKUOl4SMdBzVnHQ4Zi4vG8Tryp1zwSPogOi6xdPbeHcZH8yT+q5Ox6PfNmbGrUmy/O9XtPOPeIPBB1P0je6k4OXFoVT2lwKouBzHkD68atwSuCIgfgfRZ1Aox5NY4Ct7ftEf5V9B6LZZrEhA23fCudNTF+zwYrnLeCEr1GDMHf2Ok4ZfYGNZ3s32biBgfA7MlM57evC0IPtIJirS5WVi6n+HZ/jV+pmpaQ9qW8fGhrPqy8DyqkvzgnUagF++LvvNgcZohwF2G/WX/cMWunC8lhNhOMgerRSsO8A/txlJwdpXZNufmUgiSwGJ6Tpa5XUe+O5A0OEotSwLOCVycucRt2DzO4qVo9EsMGDS0zeticI8/noxx4kaYzoe5GB4iknxRjjuppda09pe8RGwYPrUFSX7PirO7Kp5g/kGuPUGmHn1nVDvt3RUPcuL7dwynOCmtAP5sMqh92rvZwc6QX6oX1dhRXx7XCtDcH55z+4+P+K2RSQLqJpOznGZREX8E9Yih/sW6Sd+5pJMJloTz/6RaI0bR462HYLJXmk66Tbb0pOEJaYHFcqeYSGXta5dtAtOvjnwMLVuNuQuz54f++HP01Iqznz4dP14QupU1XTjk8NYTps5lSXfLQa8SVgPLiuvuA9tLExmVmy2j2pPKGWoUi9LgmkH4Zn15TXmWT+XlLgRZnqOjhYYt3WR9aXNgi1eOlvop5NohLqtPi1i2xk9jSQZTTp5nwXnFhY6UiWyXypMNW1u1YM/wQYLjJhb1pjs6ljixS1/UtPciBbGKrqlTrERdikid4kx0Nq+LZnBn+T/qWYL0wvWfTeoW+OqIEddn81SDYV6205Yrm+ORLijpLuzJEliOhqic1ed85Nyn4JqUW7AD9dGzYpPDKLQZUOQLfIGjQRQFv5mpB79PbfSoTK3Y5x0s3JbXfKcLHSWqyn0lpoB+Mz1CuXlwNVboJGWgLYGv15x5oBJ4N6OzVtjoDyhPJn/mTiP4YyfUnZ5AVLgYDtMKouGfX18+Mja6jRBO+BM7FziyeoAWaVUUdDIrz6dvwmfEqcv8yLxj7WpFiOjE+o6IidhO673bFMVEiw8tnCi2ZUkgkFaJV1u+rt9F2AELy4g+mEesGOPqtXBd83eIiJ8VR3Tm5GQqNpDZdlhMcw2scrQONQlmRp1Urz6ekFB5uJ4Asno2W4n6qZfgGQuonUMgmjwLM8vE8MbgTqg4WKwaqr6p0ef70HkOZhTZu1zXBbUlm8arAYXgnOjQxnnnc9qRRmYxIbevomOgdlL1Yltticpoy172DSaYLUTn1nW+5jnYHO06B/IeKavjcwN//x6N3CQJXCfY8itDVNeJe5sNBRDbdSfDV+ZdUti0IPevFyGBekOuGeGxOhN4xV0MSygdO9XJO0zIxwkqaduQpI3znAlIDdlqKeZ0Ukd+IDk7TvTcwbxntaJ+DnaVUBhSYBQ/P8S6Z1EUQZ26yy1CvcYL1kQ7aWHZiO8TtNHD4GFSLDc3TihNOG9Avm99T2a5nAVVS6S9whYO73WHdsH+V/bzJwK+uo/VCvH/gLWtUOCvJnLOWjI6aFGj6Cwypes394dUWPd4DLDox2c1WQpHXNTWtTR8Z9fSWhNKWbGmmBFTwBErpKC+oLS9FZrUyClg68X9hGWlk1VsJ/c98WruyYgJW+VuGMam8FHgLHyrgAaWG0EdQUgjanOSdR4JwAMjZjBFrzO4jzU3YrYM5KHw412Y9F4OkeHeXSI1vqfJY41ZNXjtwqbaoCOve4BIcxku+DHzWiWWDHhFniUZ7jWfH9NWCVv5jwhusbylBMGvOsTbvWumVMQ4Y2skZg9PToTzYTtenG9pIAqsRvtexznaq146oFrtQQPgwtDfY04bNRuva4CwSCrJHhXrHN+AUknrJakHFujQ1wQ2/RnD2s+3IZPZJ7PQFH9MtHa3IQqpDshcoKoa3u/6TTgHwC6m670bEzHo6mwe3fJK/giS6zwfQrSeVwjtgVP7SZY9z8C0A8k2pvGb4sGBT9oFutiKQ3IaooDuXq/tfRZZm357bO4IjScrRu5NTeu5LYQBiFlv4IMM476bqG+JMAhcJbcdkqQjc9HvLuS0p2bxBu01lZZwKZckyNfPlsbOxpI3OeUVn96dWYPVBbgnA51DGuI6cjLSx3Yxoa9gSVuP31+i7ehGV+l2l3Cn1qCtqsp6DjP2HPtttc1QPj4ICsYctLPGA+tWpDk93xBv32EeGLbHLzfCPA8gWvIlK43hhc+eRx8BErcqdQpdS7xb7rDl3OoS/J/u3E8O8E7UTudi9zBfgoEj0JOw3qoffLHV61FxcslOXKc/aCAktuHQrk40kE10eni6h5Zso05pAAGbBhK8jtJ7uQlFh3a3XRxha8zSDkkVYJ+zjeYpOLBbz6oRcRnTnQb7N6HcOB+S7wsL6NnXpGndjyqUbthnpOqkSy43NLk5LLCx9Bsc0YUvL+jeiak142tr1R18wf06MD6a1xG5O99HLd8ZwCdkwK3cdhbE28iT7ihr0GDAbvZIfVsO0XtMBT0rZlV0p94hXfY/0cdGedgVr22a1kHix7fIapfNwdU7j7uk2g1HObDAB2aYxRv3cLQZEGedhH5eQxjFOGVawu+XqgtLLv5YfjJ/irvnr3+x+eBO4yVu/CMn5K51zRV0JewLNR9xFvooaSY1VxRj5ZG+WpHv7lVWbg88KB/HwqdK0o4+R9TezzCOiWjkUalGPZux6/5SJZEeBC3Nyn7RERmP0ZpA5Jbf6i0+e29grkY4uuHoOvhBp/bdXa5Ps0NJnGxmYwHmvng5lTsdjeFUSfio+xb2JDPbK+8yBHjQR2p5xw+duh7O4XxmF6vEWJkFAGbovlN9YJlswvRR4nAwSv2UxT5sJ3zy8ah5rlqlQ9dqMAvZE1zyc4MCHJuTWaNxoD98bA+HE6zNV/q1wVUf5yjqTQdTbJ8Mdd8QXeqLkoCC5lrdEvxpGydrFzBGtyZFdAf8hnb3xoFaCB4eNWktcmd1jUifecFAqr6goY7U3E47YuvGl/EPMssVfg+dnBIiow6wxd5G24OaA4zvseNAHucutYaXchQ0cPdjfXdIsdNpbQZ/LMdXgUqm5Vbw2F2UNjtx7rNEk0uzzwclsUPSRwEv0Oyw7nsZqd6zunWvI8y1j/RI+1gX/AqIjq397pKtXeoFJfyUdr/Pqkbw8ikGvpQvWXML1vpnCLPScUlGCWbVe1IRxJ9UTARyYtGIwTM4gZsxSKnMRDrIHYufSBsp9JCkVqW2ciwa/QIOHcX4kVAbvHJDNUbR3JEm3mW0+hUT4eU9+CM+Os7noljuB4Zdv4+kB8yjnbto8iMvyYy+qpghl1wgDMfXT2tBBpvkJt2Qk4qrKmO8tv1ynzBx56D59JcCm5Ri7twcu7GPY0pJfiAzicnxvIICEzVpHgZwG/GnDLMWEhyXaN0NsJvla8ddEflbylwmANK9DCgMRUpMqHSOf4SvoYFImmifM7ATg28Hc8vjs2LAD7K6LOkg3cR1AM2UWUtngXo2usPyVZcKB20B7sMftKyhjpDWmaWEXnANIo3KKQx5jmc34yKvIVeqYAjPBFsuKbetdbagi3P6L7SewUU9iNnLDAtxLD9i//8ICOCwDqYvtkgfo1vF/rgdwxzfXroDYZVgjnSd1zZD4Ffc4E1wZ2ej2+3PPchyFn+7CkzQy//45oJMXP2seKMiHFN98RuD3AQQpypHywwMlA16A0wCMWDhLSlAs3UAdCBDJlh5Vl8kVv0x7LwbVh1OfhdQeJ4dV277dj29EZjAhSB1Wvkl8bUdSPrLrbk8WM7O0fcHmyy4oTv6h8Csna/Gm9gNmPiBP9eAA/xHVqGIgDoK+ZMOBtnQSzdNJ3QAv8UDb5dHHSnA6l2ekWKe2zoS1if76QJCJ6Agk2egnukKFlusW8tPcPhW8mjmPuMuoBYaoQGst5ZVPGFsP7RPM8fUAY50XoZTDGGBhE2FavwX2qd+Bi7p8HOv9a4O+s/5ME7k+gFY4z4SjlJIsJjVvCYUAwmYL5WnEmgtFZmHlr9pr/TYsW/cRm/JCm51f4FOpRcEDyta70pYzqd02xqs+IJAxrLeMU7l3aqAk8ahFEePe9JQKwTqb+y/h9E4vJAw4uwNMWOV9ML8b8ChPr9FjVewT7q2zfEdkHBpTOJdOOKffpk/FAmlSfRY+HaA24w90swTY+yalPqYbY2n0qtEmtfqwM2gFpKaWSQOj2s9t5FG/yXJko4FmQ6jqQYblFR6O/LUKJi30tuUBwDi6Fzg+oSspZpqb4rGpWAajqjCHMvZWMQFFsLogho3YEeU7Z/3BFiLCjs/x/wJcJRWSK/N/DUTuhElbkVbYirlHc0pHewQZDZaBAaUPyZ0dH7iThToXbrnDUS4/7B9vYuyWqmAw5gcli94u1XUlPHQX3u3+H1ucdt1YrR6lczxYKg28bK/T9Op6q+v75zGhFsGogcUABb5e9QbHs4LhIqh47qSUG+2v/NMqbNtedfz27NrMG8XcTTpgyz/y7+Z0LRlInThj6CVOq8zSNUE7vf8WoEcz80SkJ31MQd51yjrnirZTINHCGAdre5PLYxUGV0FvFHDujnHdGdHasHnsShIiSue2Q12R+4+1ZmR/X0BTUmPW4w1xxBETLuoV24RPT3T4nYxu63KTdwUI2wCG2G0Ajt+d8IC17oTYwF8/h8fpWM3RxT09u5i/+ySPb+NnEhD49WslKandPFN0haN+XNTg3gYx9mg9XUMmFjyhbV3ccadzU01wFfHwIMoJ86orLgqu6+4d7e+d+TW2xOjFfRM3FHGPJBFvSkkpsVb+VhhsY+6ExQJk4IXiWtyjl+KdVk/F/AiZAtXGlrjFMD/uYg77CiPjOzYyKMzTXSr89/hNtHga9nBAGsivzimUDQTg18975STZ9C8h3i1w3koPlLeL7nEIjlRTpClELnVpcn+qqjRuI/ut82480ZeyG6+b6UqcHY1zMLZd0EMH9qARcjCMRirfVAlcMr8jdZGZp3mFLqUC5QhtM1oRg0A7Bmiqp9uF6KRaPcf7jphTORdav0RTzzQBqscxQzClq2mysDE3LxDKvCUgmSIgLYsrVCy3Ahc3kjV8i+XUlUQ47ZFjO9E/MfBycaRLpGvlQe+af5Y0QoBKLPeV5LhhKb2Uql1fW9TaQDRwU7GXAhHi4N0b9eFptcDCis4V738u4UiCGNWfFseXbzZa0EFkD9kpQ60b9crq3kJxj7K0dc90EPRo8ntXmKZ1VfUe2a32/MYgdTJD6rPQ8fq0AR6nDNHIfGmEkBVr4Wu826hut3dRW4CChcy554KOHryxQLv5/0iU8znXQz0rhXH8oXup0Y5puG+xRbWlKBWzCq1O4e6DJ47MtUnuXUaxotYvnm035wOZu9SqGeun/5tw27xi2+WnITzQVxRBcg6KIiqCr5h5Swuhmq4QjJCMYciKddfi3UOCmbUOGh8iJvwJ4/G1zmLr+mE3xCBTb40xeL5yp4OFUSHoBMQ4u04HqySO+tFUm2eC01nNwhgjHgVLZyA+z3xYItOdlqM6CIrRYDLsagwk40ULvBPmdO8+BHwPeVuSMb57Jr3yhUYmKNgPBReto5MMxnwGZmAn5laxvT5JW1Kxhkxu2bNt2WEud1A2oR3C3UkFnvmEg+Fnp8F6uFIsd8eShbY+ixysQ+IfQW2DDk69QD8q1hHm3TcGI59C4dlA06yQsq432N7jkLVCj0mrnZdEgDi76JtEQkT0i64un8LDpsBumr925qDuFhqLvKgOsLcp7rHdQfWAGwkgXFSV61jBeTPRBnhb0pFduT17SHrfas1vZ1Zo1qnNFf5Im1qS9jUnpo2bSm913w6s2IGM2XsrlU2Vvzxk6YvQqxw/T6p9f8wkdtdrhRcZZihhiOXnDScQLDD037yba1N4oG8LXgmcRTzgYZBLCAe2yie4mRKUh0OIuGuWKe0YB7+WOIn85NgasHR/8jRAVGZommgDbh2uui7cw3Ts/iIMbmq56roz2489eW0hfxxY1+vFYJiHTT+wQ8eCmt0WZOYdq2P3RDFsd5O8KmsRpCQpoPdC8iUnrs5V5Vf2Zh8wDT8DHc4IlsIPICKegA2tgxIpvhT8KzXruefkL/wmVBZJ4i3+k/yuTdnG4XRUXgv567IBzjLr5Ca/pb7YeLKF6uE7krj7ZvuBG5coIP97V/ann5E9OifhMuRcBNP0psiwxf6op3LDPGKgjU0KlAloKX0c9TYJPfUw2oDbfvTTJlL/w9ET3j0UdcxdsM6dVWIkCS+9AJabo4Xc9olh7rikr8/re/an8TgVy4jyWjbGMfhs0+Bomps8V4nB4pTygKj9qbU//Z2wJRMBrIGTzFz3YhCggM6SyOClac0Wnc48ULR5PcAdgpHIBPrfIh0SyYMUQbKg+aIw36v2PqK3fXNJ5bx4h4M5qNpajdr7yrpBjnfUY4BN3uRiP4WICobkjfkh2KKCGzdf0WJGHHYk9S8LdZsIkXChCdz/Y1w+IS67UOaqEp5kngHzdr8ksfawRZeTo8TMjkVfYsGznx1LROMAIETgI3ndZ1X6t+Z/CQHq0a/bBFXVRWqTPIIrCGQoZHKrlSUm3QdTAPfhX+E6WJzYR9Qo98+G7xdS/w4b2+G4SySdg5+usGFbSi7AGXEUz5pA9uJDiM/cC5IndSXTYdSXnWl9fAe3duO/Xlm7LnTfdvzGn/eQp0979kLUy12J/WIZxM3sdQEf3scf7L3PV5t1NhVpumWft5kKxQEHziL6l9aO8hmFEhoyrHjgvYHS7XQ15M9rjZMmbTVnT+Ch481CXTX6UOG1ZXtNlGljOy5amZQSft3STnXYDTyaxysqGyAPaedD2gvDFu1vnevAsgdbGM9Xi1fUNp5254OEcaaXv30dfbxcuJVp7QF9xiLFtRIQ6dU8gmL1G1HATerESL04c50F3ZaStQ01qD6z5JAyRXLyDnD+Zcy9/UyPUSAHp46ML2X16yEl2hKFLWe93diGYRTpQO+jAiJrnTMLEigXpgAJ9txJmn+EGo4PgQEPiB2kQTHRj0vQ4IRsiqBU/DiHC4ZGnE1ZHtADKah5lKFoXIDXHtmiYHyjwgEnByda7ziTue28mG48zSrUEQU+QqiidsJ6FQY3RUaPMOF3ytjeJdmXO6j8MQOtUzkMCCITg2rSGBFgjhpMrV6NsZGP5YjrY+zFRJOUAqTf45WkJmc/V4X+UZF064K67eGTXE4fK3a80y9ATnWbemSsrZHZTCUzvyayz867ZoAV3mukghZytl8kLL47lTJNvHeTkrrhXtC0uHWUlVrzvZwjqaeF1ajVpMOO/1omL0fwTSHUSg1abc9/rlKS62nzMzZmkYGtevRlYwGejJopRUYrEWKIWzVVxRKVqHASFKwaV4HVJrJfVL+Y0PStBPhN23A5MCLD9kenD4dHOuGdUSe2VgeVTHgDnFuk4arpeCD7ghfRH/U3jmUQrvmtsa9aKufbdygAQIYG1VLRZtsMgJLPMdx/PPSPR8mikyO4BIwwEhlxg5lDqzMEfVlsL3KqPocXk5ZSkaEQte0+boWqnrBK5W4/L6GKlsCKniXL56ZHdGC7ftrVx1ilijKUHdmhvjn73O1BuPwx4YT9J/hHIk5UhKOhOYr2+WHfO3yVnioFocAUg7O3h2rzz2shmgxL1GrLjNhqKJz7TbunJPZ4l+smtmCCma7s6EXSYLP0u09BXwXzKbgYrxAz7/34UwaRWj7sQmw5PBURbGKv5NjAgXohkL8AvEdj543VKzcrT4LbneAH4CBDkCnmvyGj4HxVdtGFdMTVj1ZSjK0qErrwb2CaQovkVS5ruG/a2Q9QC+YLFklD28ubwfHSE7N1UhrmE1oraancj57xS3NIFgccySaSj7HFJDKii2kHMy3v1hj0ReIdNk5WfDmnB9A9DlkFz6h0+tF+9kW/DV6Wp79KMsfRGmBKyOuAO3MIcIVXNRO6PXGxcBNgvaVtNOUXtjOfgYYosp3WRYtTW4pYJ+9UmUeWgYO9B/xbMSQReFStN/OcE7IzZpw5TqS5x7/0x+LGZVXAWO6W0dtVQ5BYVSuI+CKhTxv1r65JNbQxzLfsYzNquzAnjamW6m606flL11sNlAIO+fjneB2z5orxSPj6QzoCw4CWWvVI1GuAov31VO1kdTy3mxPACopZgbpE53EZFwR3S/6LfbwBOD6JTakropEi20z5/5w6HAbCql9xf4dNY88HEyfDplE3Km2806bnKLApU+tFrh+Nn5AsGUpDW/A6aOweNhjj0CwTx3gi8Q8uF2m5jqXzd0hAI5QwO0IDj91SEySt2FSFRLKaUJ06+g4R8IIQWstZn8Qwlg4xzXX3VpIcgU3Gi2d4vEm3fKuizuNAfoZNYJDrIg7ajtRH89B+CrGVvmNzTWK5YIyQkdd5fFLR7PRFr2Y1dmnqddQlzUbYb48IYofsywzef/B3LV91g8NjfplZqE5Jc7sUj7LQY9XtE8hSIMGct8wMLx/HuGfnaqxn4OnIkOyexhxVYQBsjmLlDYKOiUrQjaR8TBhR0e8RPjPMoAS6WzJ+XZt1bA85SQ1aa5TaHo+uwKbMfUFkYn6/hxYAkfySYzPC8Z9cEI6vCeZf+C8A0f+nDJOofxaMaTkXnSaIh118FRp66dgM556rLA0ND87pu+ergwUZ9GNRuOIYEyn0JYv/L24jSnLPn03cLKe1w0wIC2sUNQbQlIE504fs/7NrQqcNcDWKmtG2fH/XtJsdoj5guIXugMaHmFTzvNTY8OYrzQuJhR8zlCX9yasstPd8IxqXrpEChk34ONL4s8itSZtpIZQxNiy50jksaxoocRx8YLx6Jy2fGilO9VfYGa2nFlsbv" title="Mekko Graphics Chart">
            <a:extLst>
              <a:ext uri="{FF2B5EF4-FFF2-40B4-BE49-F238E27FC236}">
                <a16:creationId xmlns:a16="http://schemas.microsoft.com/office/drawing/2014/main" id="{6F7438E3-5D5A-A1D6-9736-60F5DEC89FCD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 bwMode="gray">
          <a:xfrm>
            <a:off x="338395" y="3737889"/>
            <a:ext cx="8228111" cy="2622940"/>
          </a:xfrm>
          <a:prstGeom prst="rect">
            <a:avLst/>
          </a:prstGeom>
          <a:blipFill>
            <a:blip r:embed="rId19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AutoShape 4">
            <a:extLst>
              <a:ext uri="{FF2B5EF4-FFF2-40B4-BE49-F238E27FC236}">
                <a16:creationId xmlns:a16="http://schemas.microsoft.com/office/drawing/2014/main" id="{BB5116CD-7B9C-D54F-F457-1FA5E4E346E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599" y="3276599"/>
            <a:ext cx="2138117" cy="21381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58" name="btfpColumnIndicatorGroup2">
            <a:extLst>
              <a:ext uri="{FF2B5EF4-FFF2-40B4-BE49-F238E27FC236}">
                <a16:creationId xmlns:a16="http://schemas.microsoft.com/office/drawing/2014/main" id="{D5F8584F-D759-74B9-A60E-FD62CDB0D3A2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56" name="btfpColumnGapBlocker704134">
              <a:extLst>
                <a:ext uri="{FF2B5EF4-FFF2-40B4-BE49-F238E27FC236}">
                  <a16:creationId xmlns:a16="http://schemas.microsoft.com/office/drawing/2014/main" id="{042C9AA0-F8BD-0A07-3896-7D6F58D4F2D1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54" name="btfpColumnGapBlocker895994">
              <a:extLst>
                <a:ext uri="{FF2B5EF4-FFF2-40B4-BE49-F238E27FC236}">
                  <a16:creationId xmlns:a16="http://schemas.microsoft.com/office/drawing/2014/main" id="{39AF743A-ABD9-4263-9CC5-71FCC50A8389}"/>
                </a:ext>
              </a:extLst>
            </p:cNvPr>
            <p:cNvSpPr/>
            <p:nvPr/>
          </p:nvSpPr>
          <p:spPr bwMode="gray">
            <a:xfrm>
              <a:off x="5825728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2" name="btfpColumnIndicator970892">
              <a:extLst>
                <a:ext uri="{FF2B5EF4-FFF2-40B4-BE49-F238E27FC236}">
                  <a16:creationId xmlns:a16="http://schemas.microsoft.com/office/drawing/2014/main" id="{F5B6E5CE-E423-A740-F4DF-0985C298B88C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btfpColumnIndicator912975">
              <a:extLst>
                <a:ext uri="{FF2B5EF4-FFF2-40B4-BE49-F238E27FC236}">
                  <a16:creationId xmlns:a16="http://schemas.microsoft.com/office/drawing/2014/main" id="{9327645D-76CD-1510-38ED-0F9B00B401EA}"/>
                </a:ext>
              </a:extLst>
            </p:cNvPr>
            <p:cNvCxnSpPr/>
            <p:nvPr/>
          </p:nvCxnSpPr>
          <p:spPr bwMode="gray">
            <a:xfrm flipV="1">
              <a:off x="636627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btfpColumnGapBlocker421156">
              <a:extLst>
                <a:ext uri="{FF2B5EF4-FFF2-40B4-BE49-F238E27FC236}">
                  <a16:creationId xmlns:a16="http://schemas.microsoft.com/office/drawing/2014/main" id="{192093A6-041A-0D4C-AF12-BBCB58353B67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5" name="btfpColumnIndicator728106">
              <a:extLst>
                <a:ext uri="{FF2B5EF4-FFF2-40B4-BE49-F238E27FC236}">
                  <a16:creationId xmlns:a16="http://schemas.microsoft.com/office/drawing/2014/main" id="{3384ADEC-310D-38C1-2626-E565E5ED6FF5}"/>
                </a:ext>
              </a:extLst>
            </p:cNvPr>
            <p:cNvCxnSpPr/>
            <p:nvPr/>
          </p:nvCxnSpPr>
          <p:spPr bwMode="gray">
            <a:xfrm flipV="1">
              <a:off x="582572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btfpColumnIndicator948556">
              <a:extLst>
                <a:ext uri="{FF2B5EF4-FFF2-40B4-BE49-F238E27FC236}">
                  <a16:creationId xmlns:a16="http://schemas.microsoft.com/office/drawing/2014/main" id="{1690E60B-E8F0-F59A-4353-9361E907B47A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7" name="btfpColumnIndicatorGroup1">
            <a:extLst>
              <a:ext uri="{FF2B5EF4-FFF2-40B4-BE49-F238E27FC236}">
                <a16:creationId xmlns:a16="http://schemas.microsoft.com/office/drawing/2014/main" id="{355DD49D-9FBF-4FA9-E750-B83BAA2D2FEC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55" name="btfpColumnGapBlocker401695">
              <a:extLst>
                <a:ext uri="{FF2B5EF4-FFF2-40B4-BE49-F238E27FC236}">
                  <a16:creationId xmlns:a16="http://schemas.microsoft.com/office/drawing/2014/main" id="{12EFE0BB-D90C-0A12-DEC3-DD7C61CF10B9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53" name="btfpColumnGapBlocker670224">
              <a:extLst>
                <a:ext uri="{FF2B5EF4-FFF2-40B4-BE49-F238E27FC236}">
                  <a16:creationId xmlns:a16="http://schemas.microsoft.com/office/drawing/2014/main" id="{1A68AE28-AAE8-9DFB-FD2C-DB5BBE0C4EAB}"/>
                </a:ext>
              </a:extLst>
            </p:cNvPr>
            <p:cNvSpPr/>
            <p:nvPr/>
          </p:nvSpPr>
          <p:spPr bwMode="gray">
            <a:xfrm>
              <a:off x="5825728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0" name="btfpColumnIndicator251522">
              <a:extLst>
                <a:ext uri="{FF2B5EF4-FFF2-40B4-BE49-F238E27FC236}">
                  <a16:creationId xmlns:a16="http://schemas.microsoft.com/office/drawing/2014/main" id="{0128497F-1B5E-BA99-3BEB-08BB64B6C260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btfpColumnIndicator184195">
              <a:extLst>
                <a:ext uri="{FF2B5EF4-FFF2-40B4-BE49-F238E27FC236}">
                  <a16:creationId xmlns:a16="http://schemas.microsoft.com/office/drawing/2014/main" id="{873CCE4A-9C7C-C79F-7E5C-C1DEE5DEA811}"/>
                </a:ext>
              </a:extLst>
            </p:cNvPr>
            <p:cNvCxnSpPr/>
            <p:nvPr/>
          </p:nvCxnSpPr>
          <p:spPr bwMode="gray">
            <a:xfrm flipV="1">
              <a:off x="636627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btfpColumnGapBlocker708390">
              <a:extLst>
                <a:ext uri="{FF2B5EF4-FFF2-40B4-BE49-F238E27FC236}">
                  <a16:creationId xmlns:a16="http://schemas.microsoft.com/office/drawing/2014/main" id="{A191FC74-1AB0-1CF7-0554-0DA1EA9B14E2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4" name="btfpColumnIndicator935463">
              <a:extLst>
                <a:ext uri="{FF2B5EF4-FFF2-40B4-BE49-F238E27FC236}">
                  <a16:creationId xmlns:a16="http://schemas.microsoft.com/office/drawing/2014/main" id="{A7F44A9F-49EA-62D1-E077-7801B9CA62AD}"/>
                </a:ext>
              </a:extLst>
            </p:cNvPr>
            <p:cNvCxnSpPr/>
            <p:nvPr/>
          </p:nvCxnSpPr>
          <p:spPr bwMode="gray">
            <a:xfrm flipV="1">
              <a:off x="582572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btfpColumnIndicator354037">
              <a:extLst>
                <a:ext uri="{FF2B5EF4-FFF2-40B4-BE49-F238E27FC236}">
                  <a16:creationId xmlns:a16="http://schemas.microsoft.com/office/drawing/2014/main" id="{C9189560-2B0E-1193-4ACB-C0BEEA55251E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1034505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verall_0_132119032871751368 columns_2_131703628512209970 12_0_132119032882091462 16_1_131703628781553552 10_1_131711414733451698 23_1_132119023857318334 </a:t>
            </a:r>
          </a:p>
        </p:txBody>
      </p:sp>
      <p:sp>
        <p:nvSpPr>
          <p:cNvPr id="10" name="BainBulletsConfiguration" hidden="1"/>
          <p:cNvSpPr txBox="1"/>
          <p:nvPr>
            <p:custDataLst>
              <p:tags r:id="rId6"/>
            </p:custDataLst>
          </p:nvPr>
        </p:nvSpPr>
        <p:spPr bwMode="gray">
          <a:xfrm>
            <a:off x="330200" y="1270000"/>
            <a:ext cx="72768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Title 27">
            <a:extLst>
              <a:ext uri="{FF2B5EF4-FFF2-40B4-BE49-F238E27FC236}">
                <a16:creationId xmlns:a16="http://schemas.microsoft.com/office/drawing/2014/main" id="{D4ADEA4C-E2FD-434A-AEBA-7D67E565C2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"/>
            <a:ext cx="11541221" cy="876687"/>
          </a:xfrm>
        </p:spPr>
        <p:txBody>
          <a:bodyPr vert="horz"/>
          <a:lstStyle/>
          <a:p>
            <a:r>
              <a:rPr lang="en-US" b="1" dirty="0"/>
              <a:t>Paid search spend &amp; CPC: </a:t>
            </a:r>
            <a:r>
              <a:rPr lang="en-US" dirty="0"/>
              <a:t>Only Peer 2 is actively spending on paid search over LTM; Opportunity for others Peer 1 brands to start investing</a:t>
            </a:r>
          </a:p>
        </p:txBody>
      </p:sp>
      <p:grpSp>
        <p:nvGrpSpPr>
          <p:cNvPr id="32" name="btfpStatusSticker447446">
            <a:extLst>
              <a:ext uri="{FF2B5EF4-FFF2-40B4-BE49-F238E27FC236}">
                <a16:creationId xmlns:a16="http://schemas.microsoft.com/office/drawing/2014/main" id="{43A17444-C792-8F46-D763-077CC9F12EDE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10102664" y="955344"/>
            <a:ext cx="1759136" cy="235611"/>
            <a:chOff x="-2269853" y="876300"/>
            <a:chExt cx="1759136" cy="235611"/>
          </a:xfrm>
        </p:grpSpPr>
        <p:sp>
          <p:nvSpPr>
            <p:cNvPr id="33" name="btfpStatusStickerText447446">
              <a:extLst>
                <a:ext uri="{FF2B5EF4-FFF2-40B4-BE49-F238E27FC236}">
                  <a16:creationId xmlns:a16="http://schemas.microsoft.com/office/drawing/2014/main" id="{842E1459-736E-90D7-EB2F-A00CB72F6E99}"/>
                </a:ext>
              </a:extLst>
            </p:cNvPr>
            <p:cNvSpPr txBox="1"/>
            <p:nvPr/>
          </p:nvSpPr>
          <p:spPr bwMode="gray">
            <a:xfrm>
              <a:off x="-2269853" y="876300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GB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34" name="btfpStatusStickerLine447446">
              <a:extLst>
                <a:ext uri="{FF2B5EF4-FFF2-40B4-BE49-F238E27FC236}">
                  <a16:creationId xmlns:a16="http://schemas.microsoft.com/office/drawing/2014/main" id="{CA65F256-00B0-5761-21D5-02E23ED391FA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69853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btfpRunningAgenda2Level596989">
            <a:extLst>
              <a:ext uri="{FF2B5EF4-FFF2-40B4-BE49-F238E27FC236}">
                <a16:creationId xmlns:a16="http://schemas.microsoft.com/office/drawing/2014/main" id="{4B20A0A5-CADD-ED54-7B6B-B4FE6CF903D0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0" y="944429"/>
            <a:ext cx="2463844" cy="257443"/>
            <a:chOff x="0" y="876300"/>
            <a:chExt cx="2463844" cy="257443"/>
          </a:xfrm>
        </p:grpSpPr>
        <p:sp>
          <p:nvSpPr>
            <p:cNvPr id="41" name="btfpRunningAgenda2LevelBarLeft596989">
              <a:extLst>
                <a:ext uri="{FF2B5EF4-FFF2-40B4-BE49-F238E27FC236}">
                  <a16:creationId xmlns:a16="http://schemas.microsoft.com/office/drawing/2014/main" id="{F7523990-9FF9-2AD1-E51D-A3A56607CAE9}"/>
                </a:ext>
              </a:extLst>
            </p:cNvPr>
            <p:cNvSpPr/>
            <p:nvPr/>
          </p:nvSpPr>
          <p:spPr bwMode="gray">
            <a:xfrm>
              <a:off x="0" y="876300"/>
              <a:ext cx="2463844" cy="257443"/>
            </a:xfrm>
            <a:custGeom>
              <a:avLst/>
              <a:gdLst/>
              <a:ahLst/>
              <a:cxnLst/>
              <a:rect l="0" t="0" r="0" b="0"/>
              <a:pathLst>
                <a:path w="2463844" h="257443">
                  <a:moveTo>
                    <a:pt x="0" y="0"/>
                  </a:moveTo>
                  <a:lnTo>
                    <a:pt x="2463843" y="0"/>
                  </a:lnTo>
                  <a:lnTo>
                    <a:pt x="2409122" y="257442"/>
                  </a:lnTo>
                  <a:lnTo>
                    <a:pt x="0" y="257442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43" name="btfpRunningAgenda2LevelTextLeft596989">
              <a:extLst>
                <a:ext uri="{FF2B5EF4-FFF2-40B4-BE49-F238E27FC236}">
                  <a16:creationId xmlns:a16="http://schemas.microsoft.com/office/drawing/2014/main" id="{4F4130DF-5723-CB32-78D3-9596BA3FA9EE}"/>
                </a:ext>
              </a:extLst>
            </p:cNvPr>
            <p:cNvSpPr txBox="1"/>
            <p:nvPr/>
          </p:nvSpPr>
          <p:spPr bwMode="gray">
            <a:xfrm>
              <a:off x="0" y="876300"/>
              <a:ext cx="2409122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paid SEARCH</a:t>
              </a:r>
            </a:p>
          </p:txBody>
        </p:sp>
      </p:grpSp>
      <p:sp>
        <p:nvSpPr>
          <p:cNvPr id="19" name="btfpMGChart469693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dJY2OMwf8mgoXWrd8S3Dpr8K8e5QDX9l/GOurOelpINCJLA3EC4Lci7vMC6fiShJ1UHdlzzodfzXVhfa9I7ytnjk8UxGhLoYCoYswL6v0jmUqyjtlYKGO7KNrwdR3Jtqv+irS/Sfzu5qGHNY/GWRzcMCJB9+nhml2tFI3rlve3tOSrKeIxWD9P70wEfe8SJ6/MJPLqB+9+ChibGUJZcZ79MSo2j5u3APi7IPvBbU5vnnU3oHNXYDU1pQpsZPwllRfSorraV1v/13W5stHj9VkwYm3cencw98ByET5gQ2DWVEgqSQZ/W+iegWBwc5uL0khqyxbvZmzhy+TW1I+hoIly2Srcjlg6MINbVVTjlASA833vsrEPCGD77ExFYUQwAKgZZalc2nFskCqpjP16lOvthPiNdTvSnNqAYslviTA+beBp9v9qpilpZGl5UOwKVHPMt48jrvP3PIJk70R3PSnLYl3eGmnqSpH6R1o/NI+jrPxKRUafl1FmsMG+FQVZ0sJ1x+x0VwMm4gOe3NHu+RyaanwQp0QBLSgQI6aOufciO3CEL2UmhnkCLa+EHwwHCI4uuVsN4AND0q0NKcBh+HJaAe1zjy6266eeG7N2/B9NK2qJ3jLFopY/TyJBHsZfeg7Gpo7Y/KSgSiAOXSWCB5RCOgByHzf/ehwE+UB+9j9+CkyfsuGPKYiE/iTwM5NdWArDLMk/g2HIOef8MZl2R05PVPUtAGrUtLvvFqm8N0LNxk3x3DMvvuj84nqtCAVHQNpzT9e0M5aflHPmUFh7oG9rXWxqMRGp3Ctu6C5KhoYNKBML10ud0mfHPL66fs1nkHq63aFPKV5N0Wu+2E9OCcKICB57ZbNVnKD8RbpMm6/p3PAI5dPfIPfIqu78pdsiTLsxHzX9twsqV3mmZYIPqAWmePYaPspq7Shp77WWdeJs/ihsW8peCzcnpbvzPeuxqdMktum80t69u6qnyLRzot1Lpz6HYRvYTKwUtlMW9wFWoT/PaazqLI4SHaF/8+338gvZQZxem4843qzvAreXhAxO2zzhs+SKgFsYp1ee/Yk0reHnDA0Q7u2N5CXEP+rrXEwBkVtJKPta4bwRHSPwBK2P0kF+uLGUsvdzRz+qXeN0Np3oGvvOK8lREA50a+IEQLuWiO56n6fFcGwxednArH0+qmez5yZFGPwl+KMUR3DFkX4xyWxKKMsBtwdbhUVutVT7n0j939/f7N4J7XUxTJTr4vZOIWtue0b4+lz2r34IeDNhmvy/3tZCCWLRrcsxFkYudywq4nOT4M29g5S60i90i6lEa4eWqViie/GlnriSHTgQ2yixpErvP/V9GdheUKCp5CDDDo1pDpgiR4NkRBkftzldEaj+MnZ5CW+eKdq89sxowrOKxNYQEzTYILnX8j6Hhi1gNvHlLtwYaYQ6vnahdM2KpNVv59y475wGdxb/N9NwTp8x1g6U8WGao09GlRplMpfgnqlMmJMvXBHi55onB292u3qhtALLAr5WWsc7RId+waqXCRbkEkXb0uPS9ppCMp6T8pko0Bir3LVsSBhcdcjbeE02QZokMsfO3ZSq+lsYrifdanUoYcul4S24sQtZ/1ev4JAQXSTd5cTXnl8Lc5cg/3GbeH28iOc1OhQ5ZXE3O/1tkz/H7vypY3s/VoY1loqevVf0PS5v89Wg04pvY9I/JVqlP4CdFQo+27/y4giLfbe0MrTbu6bRzeNi/+eJ+umIoxiJA7E/YRA77SWRlD6aQexkR4LmQcfCok4+l9U3yiUTY2PiaCbjS3XiYVifKpkEMTO8Lda8HcV/tbH8mBcWFpu7ZcQguULdBEpXH+ii+/epOOKQ0MJh31wcM4Wi59ORb3S5fCtTTv0VHTf+YmmZOtvtAIwyvHTE9Ty5W7UTiMM/aj+iJdDftSLal9Baj9RoZZZsr2yKBg8dL1Aiehq/zg21zhkcblzuoZ5VcuycP23/QQXRUqhEV7a5yOh1MPix0HkYxSwos5zyyqRX99wE7ua6k22+zLr1pfOsHp7547Z/3vhbsKxAZcfAQqkqvXb3KLukBuQ1xvtTP5pejAdelOqUbb7hLYRIRXwmTs8ImMJ6PllDrUi0NkYk5uAGriM//yxC/5/iwoqlAw7gQd1PSdopB4GG4R+8fY+Cpyul5FccFfLN41FQBFD08oY1gMoYy5DS3AtJ97SJrekUmkH4wtux3aO5mJUE3vF1PfamgwvRw2CxBc72zvPkWqDOw8/IApmt/s+ztcEl1avhAdKSmMqx7Bl68tUIMsacTH1vlS+rhHOyTFm76uDHyVg8YmxOT1ogYlTnF1A1k8m7e3eTYiGpQPT+VnC0oCH7YQwwqpoBlWP+tG6xT2RSMQQK4TNFol8K6nhsNOZQ095n04ZJgTC+8lHAwM9y8YzVRWqDeybpSqPfFmwPSYj6Ly42m8EkYLXOJkW4n7IGAknvTvVyPenuNrZVol/QIRBAt6d7jubEJSARu8dywWF0GcGToiExp0HHSWgLP0y2gNTrIo258kbgFlap7ouE2SP1DItNEIqcaGHXGRnDBJKUICw8pXi+K/dNvDg0rLlc58xMvtNL6msywmtVcwI6mjV/Ji2X/o/khAbJjI/ACemJl1Ka4/J91PYO3YTmun09nbskUcZ5LwjkMzUlyU3PsMfoL1QnetKDrUaPTIHzjwe/4IPgBStm63zxwVIxzubtOuFjZZ6RdbrWqSTisX9LtxyYSF4KkiDYuVg0IioroCjxLIapTqfEYrILeGr2Fhvmqmp8h5/8HA9Tzbkqth6OIudwIcxeM42eHcouHIyuhS/wk1xXODRKpDRsgNLEolx8Chpaj1/QRTY3bux7fOVlkVzwR3vjkph91DUTVmEAUjjS9BtTL/yjqnG4RXN9jvIxFTnAXChz6dOVyWPc5tqX+IF9xZTTFVu/JDW/JoFbjII00v75EKoW+tWBUSac/3RPDJfwt88NRP9xG1yBoWkxt15uD4fC1bZej1kmdkdwWNb+BGhTVK7Ln6ZxKVWqhmn0lMw5B+ZSNTbs/e4rwHDsouHLPtxSKpgqktlmYvo1i9I4Z1CHACmlNnFJqTK30wRzGJg/DyObosIrjfhJmygEMJ9o4iKpInk7/F+iEMun5AVnZXqiCrJ47tZNj9CYodCxu7va64Zj8GTbk8OgRZasQ8usYnEaeoANlcJiHT3+72LgowF25o/TZvShRovwh2azN7Vc1yTRDYVG+iF8D8ex51zF3J37dp3kH8U8cHkn4VsFhTLDeFfHO3sZ07jSBF4IP2ziVISNSXCyHi21fG/npW7Fp+Tjbmj7QJ1xybDaNVHouJ8Mn5L4eYmHRGxQ/tfLLeJaDSNJ5StAT3xqxqmfcEmBK2ssfIt8MtrlVxf8W0ROp/Fkw/05bsLniU+q+wkcZFkwf6Jh/i6W4LmIO//2+BYIxvTfA8r5PGvpwcmXE4f4YgEysw/tMKImWv7z15o2NoxaQ40oDphqsCkrvj5KxjSgOC5ilzA1z4wr+p/Fg0v08k0E4vLYow0zHTMEucAQEOMf8/nlg+61/WSuSkUiO5HBngcNKBExMIwdt6oOsfm/zjl0NFQqQjgAwbF/t8sY8CdheGRLZPcKVp0EhRbKapcL9Rh7cG0unikNR5RThFnSFTG9KzQ5PMVZDMuWSqnUHhWxCio9UATHyPlMeZypNcRT4G/QYsCV6QpMKte20IFGWQwKu7Rn75TXRY8Ihm6Tt/R6TRCQwuA2Z9vWNC20/V/MoN3uKxI/MueX4/TV3i9H26Z9BRBugn5xj2AlXLlSV0kZllFCbsweIISKGOzYLJZ/GCQXM1+IdDKc36vQBFfh3B2XMVSZLPosSbSMRflueIAwNVfo4CEEL+CT5R99BWodTWwblO8au+IX8Hly3bjsoT9ETswlEQr7y2LWNFEq22uPhp5jQi7dbWbToIveROuTm1p46U3APw9yKcd+/xBN+5SptWOjdRvRxkKY1za4qkVYuUm9WhuYIJNjA3NIqm+b7KvaP980ugms0ygBVC1zBpqwPi3evwD1kjuzm7LiyjUYoYgitcn7rnwjPbo3R+EqRok5+3CoFWrFfeMRHv8L0yinmbI/K2Bru4U/HllhHtQ6plnONkPjaEq8VN7QnWQcZxBOjocOTc1BapHIR6aheetXAEi9AnWWDClFLTjVKTn1DMx5Oyo1NGOdV4tAykGh43qvTPA9MJuiR4CeRh8wZAoli1BYJcH/HemQVCxcydfBr9TLB5M4900G1FIgu7cKKTFsB5f44GnJlcbv2a2+XzoLx8hLK7a6t9FioAIGFhkcklJO4Jnm2olVkubpEw8UmHdFOyjyqFlqGSKUacr0g8+xE42pGLjcisbhbv0CK0vM3YlbVFvzkjCDlsAZATS/JVZNDYsZrBUVynCf5UuTgOBBMK6nbpAUblgr5fSXrNLbZxpXhC05E37rJa0++EGFUcdi5qRKPDDvD36ivpZM1lfSZI6sbONlzv1+MPS7NB20vK18C+igv43kiyJzjlB9qjTatGL5tIb4MC1Rl1chVec0bLEwO9I4+wAQ01maU2nq+dXAGLAIdlhLqyCfsF+xXAkEP1B+yvanJgHckoYKmPvEG6EXnEGRy57K3WahRiyKNR9Y/F11S0fQZ16fwtKPNGzG6ePZ2qLmuMwSnfj4fknYDiv3PpluZ48or9yWOoGzDu+Ro3DZ8jAdLXUphEyZksy8OPZBQSl+YU4mugVelNPJXhVjxUGjJBC4vS49GWCoA8Yb0Fv6Uvx1WRIWqhLFsKKiKdIvoWElHPgDl1793E3NlBOcIHJZND2vwX4WVnjmh7+kHUbfmfCXndsnqQiOiXEopJrTo1c2pTiNYV3hCKDZwFt5l9VTNNb9pad3MMgDYG2VRlQv7bYhKB9DruIL++rB/+wkzBak7zHCo1O9vRkr/2TguLKNx63xaN9j0PQdeEK5Jgyf8Pxd16LIWAHf8ypyh33ICPIiuEuoEpXDXdrhgL54FaUYl89UJBpUMEn0FXpFuboWtxzB9smr4FuF1knftxSn6pqbfnT+ZIErY2ZkQUVmDJ4xsZTNOQl4xT5rMI1cNmF3B50ZWGywVpmMnZLwohtZlNAD+GOQgYA/QRefEx9EcivkxJ4GH0mVg9pLz8MbV0QMxsX9gYUh/fV6uVXNKSvK+iUrDI2sSpsQTS+dMg830MXTZOrnjq3+mw5m9UNc7cwDnVFqwMbQyM1F+2szJsC13ns45T36P+/iQtvqZdNVXdONjH+gnvpPPQxRXuANZBhM5n6jaTDMtjfEX/Z+1g9Dg8rSgz/3Z7GrXdqSHl8gqa4im458dBSIh9HcAWWgEclHBxsraqoY+b55E6ecKgQB9WtWWaCgpAadJ0b2KBm0Z8KgtaSwCSFp2J++6ykZL1bDyojke9JZsIgNHqvFFUhiJ9y7WbB28bHFFbk6P6/EgLPiCOMbMKY/jPPOuzGNT/9u4Xq6EGyY4kzT0/opBxFFxm4ZDBQt6yUTm9yamvgpfv1h3PlfRUeHIdibEdNzSJr8vH6koPr3Mx+IfVyr9hsJYuHYvM/atWnHCFHjvL6cI/j1c5J1i4l87Ww56n/HG3vyuvO2bCP1JAET9/7MhzfsM1BvTiEG2+0ygpC/AUBDRDNqD+aDDkXGMil/rXGkztx3XAFPnzkxuOEZHXXQ0J1/F41Qv+QGWU0rnvLP6/hWMVpmUEbF4x62bOkYZ/3PlcQly9vfMHEl7LGa+vKmJPu7c11uYTXxV6kRp1/vkrn7sqjQwA2Kt0ShUlLrAXRF/DAeWUgXeU6J1RpyObE5L3Ppy4Skyto3USgHQcwiss1LHuBcgdVH63eas/Y/PgJ0IICpr6+aSDb/fTU09AMs4f9MvDCzmU1utaPSUYvUxPG3+ey+vGeGoW6+pWmc8aNZ78fEqbWq4Qllw7JW6ExDBq9UD66S2Vga4I/wX1wHlopCuto/4UhSryU6BFXT0BB7DZeKz/MNuCeA5pAr2kVspC2wyxWbeepHTp3bMOCRvIWHuNesioNYtVpBiQ929kap6QdOtO+UmheexG+pCreRyYA4V5u2Y4ETO1IATSy+UpS5KhNk4TdQD0neOJzvARKR5Ta1VljlqYQ00Kt/j5Ddifbj0B/57Iuyt85e1lsOeAgjVpxHo1FGZy9n/LGWi4bYts9ES2Ww5PlmQX2wQVVOjU9C9nu8JId2EEhIq5T5EJAqi2GCF8XfGzqEsPXJ1V7tSJGeOj/NU1U8POTXwDDMiAvomhUg/Av8KjwBHz+befVbonzUhdpCXg/wsDwSTRw6ZOjM0nJhPBLTJeNp+K6Aa/allbJ6PQXOpIytBiARdEj0OchN5uSgkDUHY+Yfd6ZEESWNfzSMdiFvQsZxET7YMq8IQI/N7nMdox2rmGOR33+ZMGz9m8+6rpvuvMKjvRYLgi//A1KjaH615ltRHRtQFpz5XQju6GgqDtiYwLPVZ7vv81WKPbhwWC5Z9028AKDwCzPY2qeZZhPTxCiKIZX5OC2seN2EtZDTHN1sOqEmUa/Rf0FaBA4Kjn4o4St9SWAcEyffjO0gecIYYZIP3CMLtfoS28SFJ8gxh2/tA0Bcks9K4o16TNZgYaA8OyHII47/S5O+MvdYrsP6gs/G9xUzCVMj9lNhx6rcbOUql3SF6IvOTtWKufcQn7DTU8Qr1ciGHewA16ISfu/YGTdmKrizfKA2UKCPH1PVsc97egeZlcT0QEnYFRdVWNU6RrDR1fVNmX+BE0Wa2oI5LHgZW6fSsLjMAiUZcAPysQdiIq8lNnEfIkcBn0cNQ9hi1CGgbw8uLHosnv3Fv9CPswtC7jG3EgUtU/oqsgYjllOa3Q8UnaiT/sHl475wpIBSE0aoFxREkkHujyjkifCf5fwppuBHxM759Gv6kseb25B3tFdk8LWA4cGdVDdk1q1bo3Chzd22wIeWmxjFRiRgfziFLvaLogJdWM93r3iepDv7BC1YMDQ6XrLFJaaDIIx3GHziW3bm8Uq0s/jebXNuBrzU+4UlPWgxmLapNW09VUhEluzjOVEe8nU/L/BE2LPNZN7MUOH8kK66xtn2Rukx3FnjgqXsfRoGq5Ae09nOlArqZvqC3vxmyHOXCz5Pt0A39R0RiTS054WIIrF/8n09YhOqnmZwy8aCBbJY0WvdtNEaXOM3fwnBqjZnSKRmJMNNWYIbKlpDwLHBJZ6G8hBF+EDr3tdi/BI4dIaSWIPVKVD1oQ0+EyeLnZ81YtSfQL1CK+vecRyk0o+wwHaOY0Kdahahae+KmLYLWDIiRfSCDWSr25VeKqhih4Bvo/N0NbA3Kt6OLszUYXm/fxg9FI7cyz9ZskcxR3+soGs3gBZfbRcT6TeT9ilDWNEYW7GqRuOhlAsae3tsZQyWP/o7AACmHTvcPSjNfeWQjwa4A/mSN7aT9CeOYoJgtE7RzZSJ5BSbLBl7H1OqeLOptxjRineE8X8Fmh+QqxFgBT8I6WrGpTxIUJRQPHD4b8Ff6yCwfsg1h7FTX6NZJty9r74oBKfEWooNjrhOCHSXVeybyjWpmsyF7OQqU7mz7xlYqPKJwhwoa3LDl0ibcV2bo5rsfv1B7LeU880XXy3xAePm+M14j2e2FHMrAqFxGEKlqyfnUS3ooQB5jDQp6kyt2B5ILfhH3wW/+lgdl6Zwv050ZOaPe+gk1plEhgNl6h3JAMrg2GJeQ3XC+GAJTI23VZcUBsb0lXRWtuniUPKMPymwa9l+1D7u9kBeSDCYwdavipaIkMj3lJ6bCUvDktEjuktdvh67C96DU81DKz5KP52XirT5jAF7iXZGL1wQND+UYPvItuIpCnIYPsdE7rVs63XwoRzk1HSNkusrTzxnpCHCK+ZMHjVbSL+bodwzM+70fnl1rNRVvS8tdPsQY8Cn0KkgUWUs8jpYCurMB2eu+RHLz0kvJzf5g+KI5uC9Hq8IORZ6wnHv3O50WNnx4yEmvtefzXiHiX+jQNYqjmus7Uq4AxuvIkI0IlRHEqD3LSKkAEK+fh+MXjLtpwdKbnteom9lShYYTFSzPHrHW8QThFuEWcaWNE1S6rtfZnLnp7RJ00S6XC7/W/1IABml5cU2xHryH7lmMn67wf2DGPk2F0YFS4rfXgxlPXcVvIkghYvJiU+B4vj+FUwE/9qiySdMKEnjhjD8M8JUqEnmzk68jfb/PuKktrG+JIA6a/FELLO1C/iahyYg2YopCmUJ+RF4P54AYhVXnDUcvs7TBYW33y22uUH4Le4oATF3rk2ilp/Fp3X5Ty3m4dpdT9e4rr2bSffD0xHCq+MaJJWiOmVqw9Arf3kfvJC0bTFhnet+HalnQsNpvgWj1BTfvJvtUkWSoQxNgmJikpVHpQ0IgcCeWKmyI9Tu6y3Y31ui7sDO0np3fNyrYzOdbZ5fKf0PDjlEogRZLM5we/Ie8VhtrFXTBUCfnPNUExIWSPixE3ndp8IdyxVwBfnJ5TOU/0jUnoBR5TCuM3gfeRr3CHMSGHMlZeP/CU/PZECNalLlAXIq6o1NipBggBNiOGC598OXzsfKUFwF8YAsn9rPlEGs8z15gMRPWuLl9iSrt5wGFUMhcFhGofc7GLGocXnish9vo5n4aSOrnXKctV6M/xaesDjSy4odCUiML7QkCln4xltC9c3OxVppDWed49iwc7kNmVE9bQQ2PN9pfxlw92oggZVjjBxc4UkXB9KjuFzl1+sV1ph+JNu16QjeSGwenwwqNhM37m/7IZu4H3u2ugC+RIZBAILx7+NlG2c8C3GvDRZ71pN0gcmNaXufs7woVZXwdm/v13WUP9ijxTGk11FqrBfq6wBVStO812hKogjWMlQyxfiAyr69XnLCLdArMdrRXTw+x5sDcX1VqK+izJ85Q5rV5xO2ywhMQChrpBHUqY3bO4jvIAepmfgvwKTQveCeTXItUWgLJatpoC/XAnoD+rV75d6CObhE28SEwgDDxnF/SlvZ+XfmBc5ikvHvLamBZA5RkgbfeVYcOGPj/GOV1kypZhnO9YEn7qurLcULigYjzR0//RbiQPgkUlpaH9BW8wKqSnuiWVMuD9rLlhv8jAxlRHcNkFkmiKo7JLpS1Ws4Y2MylbrO2CbKwFkyFUSCBLzq8NMM/lCLBjrACNJFHCfexl8EAaHTGYiyBzMWIvGIiSOKN5iUGpGKifMM2LHEnT1n1W4qZ02iMWu8kmmbFx4UGLtw1G6/NYJPGWCGcPJT38Ya616Kmwn8UUZ5HA/xhRmHVFjESKZxmyKKGlIkAZXbyGwd9nKRbScj4oK+7cZenG/Wwrr43WySt9Qk/X3xOXUvctmjreltivx0QbVdlknb3k05sD9V/zXs5V0xID5DCTZrx0roYNtWvaobXvTSwxf954oadlQcdJ+xsQuWk/kXKwLwtGlV4TZor8KHk/850dlEHrVFxEH3WR4IHOWHXRuJd0UsHxY6w4CmoatT6fySBIzB2TKcBSMuP8a2ETK0vPm8gAJITwyRrCDRhTLWy4lohofTyWGLtnv2CKySFaSjnKI86j22nMJvHeOaTa1UxjjzreGsCoJyqTD0CGliULemDMLxr0j+IU4N8KJYKg5L33ay5QT118/oXYZaP0JiqAgfim+I8MKCEuPud2L5eJNza8CpLkkY++82BQWQCE/L4LmEay//cOOMtzeaR0D3+IG9j6iWhfXEK6XL3zvasiv8FNoht9k25v9pJGN6NCesEJl7wALPAUp0ehs+CvSTU/K6B80DxYyYecwadmI3YUn1avgJj9qZS98pqiHp5VpIvB0Q3Ud4gqdhda0HlNfN2hj1BUXIVnuRoyZAMi8uYjrOf8EFvBG/P22Ng7hp4KQDpN2n0JsSVaOJZE4efWtKSj7Q8NeJuINbndk1OkswCnvNz3KhXO6FLlHhTUlfEudhkEggIwO+Xi01JnrxCqrjoIFoX4Rl1jhkv4iL9rP1lL9TxMfXYuzoP01BgyxHBfbHzgw+oDAYNNgCJCrexYKWJLf67vhfAr8Y9iDrHBCm8KAHYG9w7mEXHQsWu29vsq32J4sen5LjPcTxvBPiKTVGwZiHZN4JuFMU0M/9xJCiEWN+z7xAMIciiquczb9y9rAoHQNZG1N4bvx4g9vgN2LFbrU941bO4cCMPobVkL0yxtzeqN0OIrybBVu8m5nhZb7ojUaHYxl0oq/G+98xNwh8vWumZ7YW9+IB35Ka3QHghrKtbj66JdEgw2tBa7qxJmIta65vtYzuA4kkQ2npuNu6yUDT6wUAK7hMbCGNSmYmFXXI6xca/oXwDnWtYrdJgHj5rGiWpY6mW/9y6gM3k+uHyYE3CB712N8oxA/kIWYG0ZVWVbRAgyzd9ke+KzWHuy75k8FONeVk7Z9cvh2J91dQipjvCICwY+cEQeEG1VXvP9u1W6hXj4XTfunA8awTPcHQtGY05XnrLvOZF+Pk63IrRlIKXHEutowmnGF0gr9ncYt5YlURjjiK3aezKOOHj7umu1iquns5ipT82Hq9s/meE5bkkRD7j4XA7mMpI5zcESSF+7n5iiXJpHUfsDyMvOI3lhFOItFYOBSWiwHI9OpCJxM3iTW1FefJ3gWq0HJCETjbqWFb2JSHBYJnoGQhTl/VTGQCv9NifuoraZ8Cu/8yURTvJ5RUr8VMurT38asEb7dbYoE3A7Ig2yZPIcq9CzYjg8tQOFZnEPsCDbZd/5zwKBm/XO+Uu+GiM/7/p9R9Jc6fZfnmr/VJdAMwtT2J24xAd9KYJ7WZoUpXzCETrqCC4favSg5da8rBJVDpXgRqpQAXv8NILGk1/Ti7wYeO4p+prFlNGXbbO9iLSw6pLGhWozODbjjYkwDrAtietrNnPr9hPNEHBVsf7vlu16aeHg6OeN3+7jeMVPOwH5FJUkp0kXLm3Y4dbDA/4vQS+1u3aGm0VwaLb+DR+UO0HNQskjmKF10uP9f2dV8wwo0MnzfbybUl4zzPIEZNzgmTTfYlPbZ1VMX1/U9cAehTPgNUVh4sPab45pEhaUvZdg+Sy5q5YK/X5XBk4C/u1OjJGQZNixMGxNS46DeH1YR8g3khjtgULEDNSV0dOYctjFw+/htoCvwYpe8m4KzYgu4kkBTXII1aF6wrDCvekz/sXV3SxrXtI5WXGTK8uVMgpaWO8oUXzdf9Ft5lyWKmFzI+rMulF398LKkviZUjqRfeLj5KQ58zNStpzeExIxIk8K0+hYRy58rYm5b4Ka39ocBPZ0AjGxIu4vaF8G1beinvwdZSyL+dMpCxEvKVzRVKlhTRrujg+c7lIUhFaPKWAlekPe8JLetaekvUsx2XwiRm0znO1OgWTAR2DgblOeheN2Fbtib2tu7KQfxasc94gxIGl7yvRGQFvDB805VVkxFEuLwFrBjr17uPl6+4VScDHrKrHR3uLdDMyYMNXTp7s923dU+4Qge+VT/L5kS/1Lcrdv8lzeuEwwmI7clDQBYvaqGDoDyaRUr6uu3mYWUzeJ3y0RSFH5ZbW/LMfyX4zDoduS3m1PGhekL38PSvvHWTs+e5PGb2pxd5uDMrHFSnRLLlifaic3LD6ZCetnBv6swt5EtNXC86LCbIU6kZZBIfpWQXv08ludWUiu859tRgxi4OyhZEtmHoWS6b41sSgE5jx4rwypk5RlzJ6OgAuaxaAp0KN13EUzagBxSNOo/USZDuXH33qP4dVPL9CDgKqFQGjDYs7brLGGKG2VEpFcfQTVOoHeWfHqXlB6isB3CSObECPG2iIrDtkjlfJZgW0Bvz4UaVc5kIvtPI3n85NDTMH0ngwzCLsdXaukxL15ztRZfwQpuvBQ/R2PypYzWJko7+dC2OqawLdXWTh2fkwki++N9wKxOl+KwN7BWB3ZreZhGlvVulpdlCygvxvLZv6imqawS5ZynyrOD9TAJJIMYs1qXDfjHrGsOkaUzJzwbXpa5vFZQcPPMCLDNrgYZK5FI23l5fZoLx7SNnaEicog6LrKJZLvQtusxyoZRG/GETHzLFU+R0qIkuBUqrNZIKvQtTvejWd+FMiuWFH1cG7YpTpqBxVBKi23aFo4Hl3b6FpP53BBH/cfcvVtX3LEC1iPnJAX7H5orzbgYtjSDIhBBQwjqcpbwT3cNAv7JUYYIm8ZiIKiARbbGY1u4WtAa3sdbLT6CAcf9O3rfBV9V4vPVNy9/9yTStnY2VjRuxsL3VFm3wvvyFwQwwcT9qESNurKkHtj3OKu2jknGdWa9vTQpHt56ssadcZ+WO+WJpcXf8kqJUbexgKCTPDSNrUiRtC39m/T/cw8PpHWm7IpWyAZGptoZCtsNfbCNNksbvdbDVESbvrPkkiQcn/zc777s26b6kI/nsZLOtwSbeTfHksFh8+iVucncnTpmUq0I8Gb7+uCY1n4bYvjbyi/ip+QcCDP8rEIjau2xQekqaVcQ1/obDEXm4v4dZ5RDD2NqSgbVEDgeFwrFpmwGJDs8upZ2SNA3b9aoCQtrO9rMyT+OpZJLwdHxy/8GoZFdgyWx9BsMJ0y1GesevJmR7/lev8xhATd+zsLEZXU7SUTfnbonIDkmc3QjNRyMVno2RvVSUY7Y9Ys1z3zawyZ4j9XjaP3hiQR1vsPNYMUMWRunnEQOtB23uBoFI0Jpih39U6XA7arxjQRG3iwS4ag25AFH3m2DMXyawmRt1JsmflUMUnRoSvdmaRic77BsySX55hGRqTQUKlKk6N+mdY4bJvug2C5ZASKR9pVfgmn0KihdJxQH80YnRe+JjzZHUxb8qS/rmVGOFJn4VCg+lGjXuhh8O9X/04/RoEBh8Y/SpUPGJf6LLthRw44aBmabpkgMHpwXTxfqg7d5EB5VrpY8I2acDQ3AvsyRTQqmmL45BxsYBJyfWI4TalrM0sQiLAe2w1qPXrZ5Yq4orGqWc414GMumO3IWWVwv7GfyoM/58dPqJ4BEnr4vaPAcSqlWWA0xmPG8vpJB91iJu7hDViPXfYA+/59Ts59Ldww0pWhh+SmY0mfZ9ysBoXoaBKEr/52FVQgncWpxOiyHTKRy8wv8yTo6VCf/We8UkCK7ZCmD2OZCuSt8J42Szwb21a9SMw4c2vTT7uX5KW6Me8zP7HgqofrlDu7u+W+Cy2t8wCM0guweTj+lVlUfOURtcsboj/43BNWtW+b0PO3t2mVHrZUYtJ1oUendW2bgyu4DIkKZS+eg6C/udiTeDRmB+7cAf8c1iUEIukRQtp9nw6m4JAxcOCO38tXmC/2zS24BQHG+HRMXF/aNmTFSmephTV2Z4K3V4M71iWH370V/VBUPyerOTETdsiI/3fD87Xh0Uob/vyrJP7WKCaUjuEXXPY619g5tiha0OU+vjFoiIjP3Sa3jFYGNN3eZ9QgkX+BhyZOxaz5yjq4PHiwaZYxKzHTNgRapzennrPHguZdJk4Q5v2npWMjHyHodTtIMbgdRncL971xR+oKzF9SMJ7X8DR1ZY2rIznjpdD/jrP2VIDa7EBJ4Wxh8m9HwEGULL24BJ+ekVZXyGaCw6p5cIk6COr0kPg7OZgeY0T9837GFn9EfWr5FMgCzBVB1L8R3CUB8FZszjAEFjjc3NBwzLJHzqc/z+it0P+hhbGtvWFsQW/uX/WhnsrhKFE1LfTTQpra9SiaxyphUCbGQI3UcjXdxjoUNL7NSxsaZLDIMpPQPPs8+NVz4X9jGWcz+AVLLVB9OZMzSTzInGgq7K5Z39+d+qAfZ0AE/PjyZGwBqxRIDFcGgMifGH5EObP6IDv6vhkNqrDLl/baewDLJdD7SmGm+q9lc672UzPCA6edUZvSKv6+xBVB/VT6FEWF2piuz4LOrg6AIoG6ikBdjEXIN9oF2gvzsXxorFtdrP4E4o+0pJ+TO/A3SiDkIG0JxFQSX0XexbWi5Rp+F9KUS3ijvoHSCSpWD5X3+f06OiaeGkDGNEe/jbFnKQt0+gInk1tuDNzgybP7ZgrAp+KYTCPfh64EuDPCCw6JU1b9tpSYQ588Wb1dB9/sh5xb/JNk0LsVs9GtnI7eSq+iIF6gnTnH5D8eWo56FiQzSeCG4NfzDvofYBB2bRJn+5a0ERMBtPzzRBOl5kFguMA3ROiNfnK989kWpb8N1f5t6ZKDLUUuv0a0VndYFkmD88KApUIGhPbRaK4kw8AmEdfJw+Rt3Y+3sQZSvTtWXe/SbWtodhhLfZyVCZjZyXFsBrPAeW1HHU3Ts6UqsEzLmcKhtKVNIhxqA9Rl7E+Csf5H+e+fjylgs7mQVu+CvDMA9LJFWJp9rPEh5cOXAgvOIj2LBJCinSx7iqO15EfURp9l0yp3k1s/OwQYXYgOzNH3OQa78Oxzz17ifCyS01iCdQpnkZL+HcRFkkByXE6uNuf521ldTzkqlyu6HKMeACuws/mlSgpid0wepz3q1S1XjhW4Xq7DCU2lRXbm2jMnDz0lKmk9dJX/wQ+9hKy5oxKdRNl3VhduyArKMBB5NiSxAwgWUoXemKYCBd17jv+0bFbaZHRiFq/We8VLD5iT0i8RanA1xs0+XvfVtuSNrChGUWbPSybHUV74eJY1LY/oJU5iUeJx+xWVl5EHc7jdhv6zRIvCzm6WKO5PilbCzkQShMhLLcpXoPOBnaFpUQY0SrOS/7EKQ6HzClQkbgkO4LJqnwNBYenUdZ9kuCpaq19qqBTKKEqCrQ5/5vrgGSyCIL9hLZt8WxgA3//JEwdSNRhEkiSmFU/Q4D8KFGzXVgV4JvatMf9KxNwLH7sEtzJl3iPxkj5HG3SEwfEZqVv+NSXfa6SAN696goKXP054/E0VyqrwY1/BgMK7wxfvsmLKqpLiIcJX40R5nPw+psnSixo87ZEo0KZrVLk0fMx/Ugp7bky1xLj2Lq3Akq+q3H4sK7RikMo7NL183Ba7BES7THuBz+b1bAXyqVVIpEkNI868/wJZLJzX8wQmfecdlTh2DiAnQ09ZPvM/DR7IaWbCMjbDuYCLX6H4KLNGyf5j8hrTskU1V2Uy2oXqxtTO7npI4ahmwVhwTZmhyO4hAsjgM1eQyvIz2SS9O98gJUujh9kwwGOm1+TkixYi9dxBG4EJS+zyrgq4xub3Er54mjgWwXsqWAZ8bbr+jnsPHgBCes2TDtX2LtO7/Fg+Ba2VnMVVsU6rfoLX/HOCATLppYCgXS4xkEAVqWtZZT7sDVBiVPlJyjwVOvm+NJkpWmLR3IAJ9kMlUZtWR0+t0ZoAQeajnTJ7f7WB3WBYlC58LYTR2PCtXt2JkxAVexm5MHtwjnP2X4jcQ8BlOumlxWib2tO+ooD90iihrvNGYw+bvAWkwEsPxjgYeXtYqKWP3GiWI3hMoZUE43muqe7wPVhFAPWHPTkWCbAvQRR8u9DVT7YsaGS9bd9WbmWwE0yIWyLb0kcMUXd+qMwKWgvr1H4AW3ocYp+ajX804pKIVuNsN7QcbWzoV2Hwkc4RCDymz5KtWKl+pBZ1+VuMWlYtHSx1lWSWIu5WoVWwSY1WpQrmsFsz9VzsRseKzyES5cVIcQfeW2TEywAEL7M1gfoytgjqr/0m81nH0UDW8exhbUvMIVirCo1GKSb3pQ4DSbkVidoEQgljRtz9pRtUdlyreJXpf5OP+6VRfmSJ7lemZP8RWYJUQLnQeVyTfR42jCdGYA2PZ9e/ERGrlHPBuBaaNZp/fRTaZsOoXxfho1aSlyS/mQ/EVEpP/LSThYjBauG6pjO6yX/5LLJW5maCatSKBcFMZdbkeERAsX34WI6NLjFO8NfJ00PK0LyHnwmmY3fQTFzN3Va5k2dn/twPTXz/Ti0uvgtM4JeTfif55BiGV/RhUSGcZEJK8/Toz11+gkNrrWO+ryvU4U7c8Lk9n9cpBSBs35ykHK5faBsIv6mL+BkNB97tnvGP1JPByDL+3pC3DqNw49I4EFZEkLwihSRWs0FoVwTTYk88nX+N6tsK1AEr69DP7JiqUG/KE6k2WOtloFcHxdhO6plXCLURlp01QDcAzDF/MGGJ9PB5i32WjVNMER88gIoFNFkRjSyJXwfQr1mQEgkS+24Z7eBB0U3pv+tihf2AL3SsWikIP0lLYJSn5BhrPeV3UAlyuGPt5ywFPBVX9svLwfDbj36myaN68twY4FJ1+mCQ/TaO37bZTgOeyQuXeYmY6KVOu2yAt7QsEK2yDA+tXg2z6/Sh1lXR2xL00rhw+pgq/NsFShE+vCGz82PbLK2Degci+7KB6xSmLpkt+mAMTWjQudNXVURkYbxWx6JVbv/w6DXmdbUJ2k9ZN0FcqNE2nHGCtEBfl7GelIT5LPzrWz8/HYEbNWej0YE1xjTKXuASTnfBFpulZEIhhhyuB6/afVJDHtfMpNoLTrP2ygYQFsxJ2kedePHh79LZS/vJv5tutsXf+dMX8QN2uVNXJkloE8tG7V3MnKiJDKJtOpVsoNjLdXmhIFac4ScaRdcOr6nxxNReALeCcpVZKP8uKBgkbLXCuffXF352X7znxGxDBTCPKr4riYRMow2GC7lERKphlIgeUKAN53bvv8dMmRuBfMcpxD9lPhxXB/Srm9PaCJX63mBCcp848UwtkfTEENhDzOjfykTGl+Hwo/NX8Bx5QRjlh4OTKu0WVcc8JtkwhK/hk/joj40vKlTVsIctlEpMNmrAOdwuWiXwmGVg6ojMq/I80ImAbUkwMTja8+6rkH9T5EFW1gq5sWTNRxlz6SreV6jqe+DYg1zq5SvLqhspDKMqIo+iBQSGhfCJ4Xf4mlyFtI72wWrRwFSzFsa5Evp0QrGhQKSbc0fGQS9KUBeMdAeTqr93nHgeaCWoGQgq+24LBTqg3TCdBjShZLmn9GilaMwuzvdAATxQ0P7q4na6P02F6nQLNsntKpbW4ZZJf5tk0eerR2DvHMIaHTzwk8WJBswuafdH8zM50fCoxTxMSsdNu8FhkbgakEvgQEWsa7BJ70/uOwHLcN4Fc/scLdpNmlwBs8HQ2yIDu5hNiDNBzzwj9F240Ww9niEzIoADWgilxtfF+YWFLfUdlPEOE+yrhU/mkmwalsGOFwms5aBmgWfDWpfI0MyZSkPvJC4nih9YNVAE+eCCrqQV5bkcfSYECnamfkOILXh3BZxJI2bB+Yg+QpIPFqyg9WuCEzV999QOeICXfK4n7pxSvLpYRuJa45oxVo/mX8Ptw8FdmED4ObMEuJnpn8Ur44NenhnEHpsWZKbfhmmysBOndWFcoV7TQ6IMOdXvMQ1Gm3G844lBLsH8GRLLXWIDfmFiX2bwhYCBpkQGF2h3LIsFQeXOozkmIxMsxcqmN8mSeTe3Cxwqco1etI9LKJvJIXd4CRIFbZPGxLMRdTMP6oXxsA38HL8Lu0JXGWWiQLXnV8KQrr8v0oW8rpMDps+NbGP4yaloL7xiLNqYVnHL4Ed4gCpoAdr9CZKn2TilejDhWgmf52ziYLFrUlCxQKPchEZuWHZNdti/nPJo1ChWcVhyfZ22DZpCk0aB/vKHM/nUMG6sahWAmVJyA7PXxJSfLltZjtIFX91BzZykMOaW6SxiJeum17zGbXrj0jsI2+KlvltaS8JNBdjXtY54b/3LvPZ3Pma4giJCU7B84v136kg/qIIUx43ySBg0NeZav8K94MyewC3y5tuPKEJSQo5S89IzOzvCK7L8KMQM5aoAjHodMIPIGAGVuEkm0YQsl8NdIbI67ClOHnMR76XS1dsPJNBygnWm8xKU21WwWvK0Er1+L6D6Sc0vs+ZNsVML14zbZ7bZX3s9+mvksfd3pQivv7sSXYdIBvPff9cUBrbgLQqltvBVRGW66cJkEWX5wbhzWd0s9QVEDYAttM97iCjt1chxhsVdI7ebUsHbyR80n7BQti/Htuns145wYfij/hlDeZ58S2M18ceqBfdD6kQPuYuU4vKk64QItPfV5tSaJer/gxqT6tlUu7OeKYIjBMJqY8sWNJkuPz28tCVbl4UbNMeBHyhbLkXhTszVpxrkrbinA5bptaY71DKoSi1c7YYqIkQFcSqo+RC+qFDOcRcUgurndW62dajXmi64o5SrA7jqkULVlJYPzObGAB+Ermg+OwGfH/mPQOcSXf3iSuRxE3fXEByF5g9dM3B+JPC93SmNiuoftJC5GpevyE1gL1Is6ksjkg0XONSeLLr8jMK/zqO4UO+O27GLYUb5LthSDDFWWs/lct00Z/XUmZ/VJtoNdyFVcXmlW0E/aulFl+Yr2AJdWCYylBwooJpwCgwCar7uv3eAkRxS2oLHNb5JW7L7kisXC7KrIwOhQX0oFi+d1pGj7XiXN/EJ3uYXAFRcAcmPuArzT86hkpZzGYWr6QIJZAzlrra5HVMXaUb6ZvbTH8VthmMstAvQ5R27f06PWzhEP1Mfybz6hBczf/W13O9nv6ecHN2+3GqJ/mqe3ptsco15fXfEKQrO5WDROrQXOU5ec+r3udWIFmx5BCJpaqoqTQ9+n4KCbm/XOn989AB7+R7hAaSP8zxkGT7ttjibMJwihK0/ynqsdlgS8JEh7HDt4djJhrbrRDIcuTFRof6ZPeZsstMdP/wQscji0ej5MGtTzX/i6WU7e8B5WPLHepQ6vrAwoxmtZ2ZEVUohqPnj/WQfJkcD1b9fvZIQwFCqtloHPY5T51H2yUYnq8ZG1mYrFg0FiXsXZZjZDIWzhGVRVzSgPxUOj9doBaCSk7X2btpB9R8Z9iW3Y1rvJfuFSnoKsjlfh6WCO7b8UOdofSKRb61LbInM9EEjkECULIg3xnrZ4unGGDZeCFKI6BCRxyqvGu+2FyzbKb2Zsz+9Kb3XC6txh1WwtPWlamhRTrJCUaONwK1Mv/2GAlk/sEAC89pk/iptgEOYeh3E8j4aJ4YCv0cEeanRiaonkhvX6XucN81WuMl3oXNeXzwwv2+Hc5z2eLPuU9wglh18ayjoBAeq3KJOwVAQMyNJl0iHfg385m6AOqDuxku0tOJMIMlle1JLGgW9KolgNA8fXBuO987fpW/FhCVX9+Naa33QakGWwWnFZfVPct8BdHxwqKD2sKcDymBG6vDtphVpF/vDa/giaq4LHI9uad5hMwUJbYknWDLXIjVCtcwAIr8b7poyH+WR11NIwcyov39lWPp2WoQggLTzXaEux/UfEWgYGAzKcWauChoe8Oma59dEQVwZhHAnm6I0/J1mv34Iasko0g5kqCQv/HA0eZcQg4+WGyM/rNLnLBIPXoIwHeExG5k5CO1vmzXyoUKGIuT3PE4M+9h4yYYPobtGMLScJiv5YDPBMtXPdJNAy+0WHQwp4wQmlAdy9fulwcTv6U1Az5+nC5nkaxZe+11H5+DSB4GKzdgqaYZWPgXIZ2NR9HbIr4H4popmC2q+tjEZIP3wdGSpuuJWQkQrvsG6mbfkUYrNmU/CxH5nCvCXHsNSGnZcFsynMIgqzSiYk/N5a0mSsLgVKLn5aBaZ4uh81/AWCvCOdCW9rlZSG5Mycz65NPADnBbn/tkkrHgXshNqUGcMekezuKjRB/ksEDAxf7dW3LbS5ATujylo8I6o2+2JPFg5nYQKsJfIJlO9yOrj6CTT1NPlxVfFiZt6DJs/xadBh1kPd64upQS6bHTR4OMbA43DFYsfTiBsbytPUj60Q4zr1LlmYlHLfhJwnOEiOm28AdcNICQICQ5wP2Up4sX3PpzEGEeArsVnFIw7KfQRfdtPFLpLIIYfISXHB9lkuIC2cyUVIA05cJacfHgca0jQyH+P7OcerAppktiOlvEqBckInWWdhgFWHtIFwadfYaVd4N91BlZqmoXQtvGUTD1GcTcaWGbmbIS8oZaPm47Kbbd+Oa6QBbxp71VXryk5o9hBzeRW2csVL5beVNvkiyKZL7a836Rd27e/LxJgf5bmSphYU10yKv+Cu1hRrgRHNv4H4vsy+cDhKTvDe23E6GJeR0fa8SCl1wEgQk1/JpHBxBLXmnTnpzjTv/ZRVjQHxIJ9X7sraZ43WCnP70dBWKnRCAUdu/RdgY9gFLr1di5c0OwIEC301z7oLG5cr5om2yuqXEarGzTa7WF5Ndpbi2lkhrAsSGjK89GgdunOnfBDRGhuIw4YkBc1PU77RmoyTtPjXeOz18C6neehngkloc1aTmfFJK3rAIOeDZeeWRjGURXRIiWipKZlU4nMIdObWj0rYK06oRM8sj6b0Oigh0+/KRZP0UqHPQvV0KV2PotzIcOu/STXoq06XK2mmaW4KVFf8HtjzF8YUuYGtpZVQooTdjg5pRQeYQhDUnk9Fo1u6D+omXKqSAJJGwmjtfB2je/7Ann2PRnm+jCg5ZQgHqj5scOkkvdg4dW7f/J8bszrJQe4im/utYpROmBZZsW7VPktvmCMXwOLJAZnQ7JU0tZLH6bvZAJaZ2XtJNg+NigiBs70CkI4oAGnqsBF+GYLzRXBO+UMQIxwv9jHJ6XVTv5asHxYnj7dZza+gQCbw6Tp+d4YTE/r6tSiEnmIfsz0PJKx/E0vmTcsLeeyKWyEQLCt4dGfjEN9U1Q8eut51GhhFAlHO8IvhzPlHwyiwfM1EnG3Vriu0s3QY71Xm5F80W3ICvEq/SXQDy4cCF0ik2rkrSISwOd2QG8tNHRviT4/zeaoUenEoA/uANqQfnHkfs9wSV+9NrmnLQdFOe61TSflBxUX3X+gwFAqgbfaZURqyU6zd9gl5Xc5+8gvqx0lImjf1/QQ9+rcbdw6EL6INKfOiAZhnB+7gYmsQ18OpT0NzsPY8odZxcF+irnZ6fvp0r/lDsD86hrHppO4w71dwwLMx8MIfWfwd3hHyT882WiaZOgXshP1DthRLQtuWcFld9DlxGacVmmVOLrS96BUdQ4BgOFJxOtzoRY2RKcAw/pNtxeULWwf9GUEdYnADGmpgZt4svIrv1WfuSK4a7dQAx9wif7niHFkbEbKIRzoO0mOayjah8AhZ5Vcv3msbXih6PULxlEQuxEPdZicdUzYF1HLWb+AjxJ/QrgLHNve252eorGbFqCYOLAhugEILq3XmlvvpnuUu86Z43tniOY4FGoHGgdCfEDU24Nxj6vxAUcscCSvPaIhJE0lVS/G+Aea1tjO/keGK0WokueQeBgOTkA6v4ZsfU8pAFDyXpUMixHPFrvYMk6NPcs73q/KYkAxWuuuI59ksQ3MC/heBIg5qmcgRdkrZN1SwCd4An4E3H9jqZtOj+X3PELzAkktyYgtEq55RIPvo0Wmbj7QnrpEddensOBRhh4Qizj5H7zwWsDaoQjzJZ2p7H30Tx52oHDNb3Q2plxljU+M2aXPAi29Qj4sQR7uAfi4ttHfv9gQNCPnwGZk45yortUw/NPrIB5n1Ev4ap7Z8e54EXLiIhnar4HIwlj0WBk2WrxGZNrMXADz6OOTSp1Yy9aM005TTtFVTG5fedUlrm3uEVL3eAGQbQk0BAHrMY6MHSeI83snfYVqavD9xMQZJLsMQoQ5vybHKZk6RdNIwp8tK63sZzKoSs55fgUvDT3NIofEFkgrzM+uORhgEStw/1WeIONBemOLnw0b6Rftn0QQAshc8XwZ3PKLKQ/1XGd+4MGFdJapsj/B4GXrVMnEg9R3ahfKFO5Z4infiZMasn0uCYlMx/QOMapucgu6v0P2Qdpc5+CjMMm6fG+PkehswMcnBRQE5ZJXVPrm6tBOrqAebDfQF44fWPeaHd2paG+YuNMZ94mlig3SXkskEVBetByouQcgccVNtQTmREa7gX3dHoJYpMuwT2rqEfgKdjlO0ezLjkNT/XbVMmEG+5ngwactcvEni+gITBHjLMgr2nbcC2EXgekXyzZaujTvIirtZ8Le/Ti6PyAevbExX7VnF4ohDxRDORMtBm9ZLIKY4tBIz8G0GqPLV54MnhgwFJDkWV+tVFugl/+Wu+/4A2Ku4n3NvLtCOjdJVyOPQ2kaKAC4PbIdeJySD0XM9bEKiwFF1Lsm6syLrg41An+M1F9Bw6EKQ3hGI5s3VRCZhgPcLyefh4FNkle/C55NSgE25Ko+u9quzCDSByoL+lgfObwj9jrm5nrmJNx+Luljcnj27CRgv42EL0sjPDXyiCn/5+JJBXEm/cE92WxkwM98SgZmUvYBZtRSH2KCt2AwHPWjZefSPDPg41FbV9CXt+NC7A9D2sw274LhBt4JJ3QPhnuxPhlx4RA66SaMCT+FrESpFbTz8i8o2ifJ0INsi7QNhXVX3SUkccivbp3T+aI8ioEnTZaCZY6OIIhbZ+Nr9PNdmu0909pArtVFmlQXWMO0tKgA3utP1n+iUbr5HbtsdZ8ev5rU0qIjjsz44CGzgI1nAq0KFS7qVF8cMPs2CoVw3NBpUho5wpIP02TMA9uwe2muQTZstX6ANLI8R9qDL7uDDQQaRajgU+EZCthN3fs7oFAOKlMulFIyJoJzjUPczAiFV7BDhbo762YEhPglFEpoeyCWlWjY8xzNI9all1QJSbZ8k8WfmPF/E9MDofclrxaQ1ZP04OOfvtlH2INt3trQ7XVRUwALdpBm9wi/9Jlb/MTgISzUKfU6IWi+LlfFsRPM0/MbdhW5ythoMwTox4HWKPDUbLT2Y1OhD83LfO1QrFT/2CxLImf16ufsdyvQPzTmHCsT+o7uX4uBAAHW2xscrNMlfCIoytfxANDi7r7PSxmqmciHdizXEYumK5UgH0/mFuhgJ6S7nKxVUhLdZHZpr8OODFp7cChbSQ8IODskJAW0EEWxQc3TKRhhHzL62eUYAbugmS+ifumYZd34qqrI+9DTmwIywfmbrjk/lETefTBGeesDX6JxXUlbeTX4KwJxqjvUughSTFxDHZLhiubVamuM++Bpy8orkhM/HWNVPhpd25FtP2rh0V1CWXUTMAegUsInz7iuVbOujCzVFbWKNDTB2VXHjAVi4jbCfNkgXtYYOC8SASmnvqi80FM9QVNQN6crn1xzuwwch1PB+KICQOxSSlLN/eGHEwxu6DxtpAPtonkqzM9o/Z5x2gWBaPwmuV4e30l4C0bKv/y84FzFj3ggv6bL4hbJNZXdnUzj2AgKFqQceNW88b6eZOKxLnA4cFQVRXsbXCpRp8Ir0hEWbyDNnO76xZPEzIJ8cKKBgitR+61kjMJ55D5AmVTaSY2Y+bQWlBTAoRpqYg8PuJINeQPVxK4UwLEBvpxpmx0XfSN577UPArGjRZY9ggX5k0slTnWUHAcWVu7G47TUmIeb3/KySImiRbMUcWHYZdXr3cVDTUcNYw4PQT2gA/ezcpTM/Mga3ULDKWsHbL8sjTqaLOzFGfqfskikiNE3/Ti+C4jM247MBe0XOExUuusJYfUDq3zYkjfCKnrTT4WfY3ctcD0Fcf8f/rEPqUIvP1sjI49wimHcMDSID19gOATF0wIC0MkbwiNvndzNTyqEqyfZgoOuPtfciZnHz9IrK5MCYh2MHApsaH65IIetF09wKOQQ3dzhoSntKd9Bg4UsVouxicVDyvE4PixO6Rq9no5eaNgK5h+HrTFEByevTI+e/iyxJHCTHFVDUMbhLWawkzsZFoxZzA7PfOltWqC1MgjWpVjaN6u/oXDirZnLaIskGiG3/VW5ZPjpsX7qAzm6t7j+nH9ySxqXuqtiuf1IORoZ92IfzH8u/NJei3vEw2TNUnFbrjkVdZgSu1Zc/C2N6xB9jWNr8OQDaX18nbX/LoPFrbGp23gBdypwi39kzPojXeRm632mZaNWLVn85Z0OPwy9PtK61VZW4C1P13YFV39iXMnHZnioXhe63vrURjWs+ZQn7n31YsXlCYq3R608kpgG24XmuusM4lUZX3ZXkZWDc9XlrmTaTdOx+nkomOW34tKH6pZCkTeTyugMCKQvLznvyn+WHZTeri1cGO2HjWDC0G9K2N0PLYaTrqmwNQvqZah2zKEhmeEMq19pRPpjtLPz1Me0DjEg9xpwLkF6S6TB+h2ws9OrnRLYxdzW/H5yXltaOYXbO0Yf9OOUoP6BOlxBPbLpNbwcCLMOcSs0cTREYc6bJr9+ZLjpEnN0pNP53M0qymIjggSQVbGhQxOfTbJAXiHiANO4lRBcr41w5HzxvVfSuTqS3OMCRXhQSsDT9UjuZv8kd/cdPWV1r69SauqhJksCxnm/qSXDxzyCAxP0F1PqOOedd9/q4cL0Ue2Kd0FYl2bdi0QCgKV3APp4Iq4M5qo6C7sEd+g+201sYdorSt5tBtDNtDFdBv7G6uZBO2YgVTNxtjvzKUZT34WkzpOEURQkE4dMMeh3lCBRKhw0kEanY0nzXWuJEjR+UMuL+cr16wEgUu5RlkoDpkWHWDDm/jO0ppLuzwm9Z5up74LBg/ggsY7uf0ryugnA4YZfTE8S4ZCJBILMTveVawZRe+J2SnFaryFvWQtDBihPJtuhR8TLY5RW52PWyvRLD/zi50hz8m/T1ZDzHofMAGtfhrvXdGio+0GMvvg3+lR8NZGLncsVjB+DzQD++9b8uG+BibEIkFmHy1U1VGOrBUT459ftNNKbqJQClY6Z5C3JCT/lywblGtnJ4lkvzjw5DFmqFsR9RbvJLyk04cqygGpPTeKIRC/X8D891oZbmshNSrKu3qgtw+BSkW3bwt0qbGmcTqosNf46yTyrnVeoiFJTkcunjl66BU1PunTJd6gGcv/v76XbmKbcgjlDCFm9Mdwxx4cIn+lxeq+92esvPt+SW4+5Drh4Eb0oQlCbbej8wU0FELQP0K1uD6PIflsQW0As7gKo8nZs6DEZn5/w/xoDXCkDqnWGNbjGILYSnU/XHegeWp5gdauYXXu7icYE2IZsP4n/t8XBFqSQO18k4/XcLLoSIRW8UJkPKvNFD2IAmB/s7lkXm5k6MjtyLV2DDBj5yQhNgFDvXE+twaM7/sKIMfHm+U8hTn1mhPsZMJjn/cg1+15CjIb5kEvorP5tOncpDpCPzyjkjVmIQsn8eD9WCz39f3+9qpmjclLwbqn3oYY1H4bgoH9t8aOObUszEJ7c6LRYeHS38H5IOVP7NcDoMHBqxVgqTAQfY+CB35K2HxgcpzwiaijdY7k2WcDIhNFxjRCESYWjp8n7F2Zw6nVOZ7SvatcbXfPuXn2OE9ziOOa01MuzRUzmd6cu6yTf0IU3xiZ5B+zMPsbLFK9BhrQ/1cX82ReJYfwX/5Scj/lr5aLqadon4Tfk391KKnjOxVSx/Pv9terZXdPsOk8LO1xLdx21wL8omQtLz6iwK6t3CHUa0KDgM5Awc7QhotNBFxnuwUhqD7IL9yYZvSQ1KgXUvaFy+v7D9ffZ5381vi7pFFLvgr90WvExiLvxAFm9nZeUw41GCd+mkm/nVYR+K3djEquXEPbIkwAEicUiv7bmpevjnUEsdqmLL82XnhyTZZe9LX6AHjfQxm053GS0A5Uax+qh7YaxA6xtmnKYXmgH1GS+ugI7KHftt+UPc5CZ0dCcGu6jf17wXGtjpr0v4i2TZ55g2EoS4xDiMUNvYTqtzfh8M69oSFIcczZ/h/ycMuk8JfIVbiC4xsWUMs5K7rj/IQAMjpq664xR0eEmfC3wHEyw8QVfyse+hz0/2lOd7vQMSSIBkT6Y6DU+Cn3UXi2/G+8/gTPM1Q4DoJ3fVdHorOhfR20GKVotz01WHEjP+uSxO5yPfLRWyF0mrtpegJ0WzStiYlzPNKBFrkAAANU/yaKbrbWnK7H3rSi+Qro+6yoecgaTTHXdgQl4JxQJzREumb7CK+VMwT3bHMQJ7P6pCKS8OIEh0cTgzh3LRU4aGLB2fRYg00pEaK4J0Xh7jLEoCbAB4kSk8t5e+Fp16cQZwpi/If8EdA18IB8g5pD5KyQZjo/Uu1yagQePPFr+dN4YlL5f4rDG0//huxKkGybcRMAsBigaXfm7oHHgjiM/Eg5iyCYoQH84k0o/Chng+Qhq+8tgQwKuIIAnw+6nFUX4N2J0e0QMn/RSCPSiU4J/bh/bcfEDVYX7cFdLVNWdSxMPEmzSwH7aD/xTKIAomBwBz3DBxfAQX7m9QaJ7dJ9uCpQFUCpJhn7Y/Mw1eS+JWodUOHhuCtl+mzX5S5tUvwTce7Hdw7c+yvb7ygQKuDSkpSEGlIgwHPnZcaGTeOTszqrsKDXJQDSpwBlM1cdtQOcOzeDTBPyEL8om/A3k85x+HCAwqbLt5VNQBwBHf5dDe5Kg7Poeg1P1zIGpfQyKxkvAR3nFlV9V0sEgD9JNKKHCQzRMt2CKGiBkDDZhEXQ/1gFF+BWYfDfPcVjvIsF4HLhEKIg4aZ80DYSInaU21H++LwIpXJ5pjmQsxb7FiYVqAakGIsf0Fg1/2jmHgIPArPm4tdtYdGW8XXMszcH+wsx5EBz9b7NMZq1IZ1A13dcGBkkSI0RzrXfBz6y9+pVf1QEphZd/QmVSCFRbkYdbEiwTEsE/t0z8X1lLiGlt+yNVLoYu/Il8A1hzybBqU08cZPQKdWIsKPGFFiKFhnfxo84gAxhw99qyDSLzXtoFCbqA0ZqVQ0t+NzgDfRcZ9Rh0XxtQaHnNrGcM0KRPT0pTipdrqFuVH744xlvJ8i4RKVKCPuXTiJyXuf7ITk9jeRM9V1xtdmjIVm9ET2cRSrv3sVfHyOQuAQBGsSwu5N+XOwFK0YjG3xv2XnZx6HE9hZ99nhZMoVcqiUu+B7xNWfiSGpP8u6Jz4R/97moHIW8RMG0FpweHPOsPKdAQrmtxQZe9SQhQm18ok9/Zp3a4c52k0/kpFenYbFGM1YOwwxCWtHZOBINCes1HQJSb62ELAIxoNck4grAEUpei2Fyj948mx8MmPkrTGAXPgk7dxLsUxXTGo74a4Am+/WEhMqlRkAjtzW8YkDBLHNc0LOJDFM69fMXNLskOmqLXZIe0cHc1h+RrBgkp5mwmmZbxKANZi+/Rr98j4jogl43in4z70d1vcWsGj4Iuxbn9bOi9JACaFe2PVPGMKd5VDk3B2+OmfA6uSKzQSaNNelqhtxZPoU/sqdzUIONgEotGv6sHSZPk1YOg4GifvH1OUifBjph0VeNFvvywxscsqzaPPpNvNKXpZI6TdIzI5yLsffLeOWO76S4VdL2zk0TaEHQiwnA2Wl39Qayp6p58cOBRXtlODUvs2ee6oRMiUICbalBVGYFDVAjmkAWaGaJJfFPNvV5bVBm4rJOSKcknomKiRG/QcFh48nfXmdBuq7ifFuahSBwdp/D6J4JNREr8Q/k9dHc/mnJd3JJnkRcwpP827elnwAWb7aCLJpS4mHUT6qVfc6eSvcjzYhsy11FsKTDxyLXxjgpP5tDCV4T7iebJlxoAC0Kr6oEbSQoMaIjXnagAtX78T4GZ9o9rD2kT70HW2DoBwqjkVBeimqFoup8wcQLHIdqZaErGrPXu7RRTy3A+0jdxUulxy/7o9PvCQjdap//CwB5zLsz7AfY804Kv2b8BMFRPzpaajupg0pA7D3X09D0BXaWh9i1qorumJ8IdGphYyqUZDhk/9tM6BUFufCMkW2IECn81Sd1Ai23/AktHg+BPxbSv7rGeNmBpCy7stk17T/ezsouet3KoINOZfYc364QpxZY51pXQhv1Yorcdhkj4RjkBGRXj5VnvoeOUho7ZX5Mu3fOWLP07JW2R3ioke2tGgIp7388miz8YEvzbfK9neSxBCm8flb6LWV/klISkU1BGYtF32CyUaR1z8B4AvfKcMBPniEAIJhIK8TpcgOHQOGl9N+2HkiOdkcWGM/+wv6y1zcKZSxSEhr44KgAUYkZWqhomPHJxySPhLPrajvWg5itKsqXfRbp1KHGLOui9xJThClI3c5q6HIwHHY0piGQtdbZ2hvQkllNaFq6lwM4ulG7zhTp4hm64gUZoWkiZdAU8mBhQrPxOcAVRgILHoPOCJfOrJ1YC5vkNVWlJ9AwqQTVO3yFsguUKpczm8NdhApeanWqoS7cdfspe+sUh+/dEl9PZlUkraw/SI0Aq4Iy9VBd7UppX376w46wpjIlNw2y3t6VMTuNgTL6rV0kxuoHaVEVaQP3QWW16TQidgt8oRkhodNR7z6337HOrNfVnZM41UCLFDSRH5k61Xt9snfq32SRcmM5++vvX3AfFr2hll7PuDZDMPHZ5sqjHdiF4MtZblluwQQlJ0kQ2PIcWzyKbFGjsIoJ+95HhJP9nIthztflFdm9b3Kw6qxowhfxQsow92D2ZJdgrHYvmaFKFnFJmW0MA3oZZMWn1SkwUGXHI8nprdCSjZprXgIou41krFX89PYTKhicGtCyRPbmgugArfYxp2N4YV/fa97QHC7QrarSnlOIUHPhQofhEQSPwUeO6i5WWo895dQqKxL/T+PmDQ13Rxjzkp8uXH5VUCuH6NaKQ7615qiHPqIR7qLoHNlMa4P3ZZTY3eocwEAEk3I4VLsObdP+drampomvU7N+HatQ/3JIIsxUNV+vDHOiiOdk7TPHQL9gbij+m5M/giIWvgEJYxdKBnG/JBUD//DTWBHSY01vJIznfrydxtVQ+jRgvPhjOQwVLtmsdw+FeUREiWZ6IdwT5Pp/6ps1kf3KT8QSf54RaM9bHDQ4eFcdnKEHYj9hpyb96CfHGZ7fpF29PJeiht+eWeXHCFzXtCt799v3kCfGrfbk7RkAkfDp2yvd9ZvNepnbqAvX+Ciw1EM8s/bow/EjsBPeZCLH6ZPcI3eevKO6sQYVMsbHVxLKG36ZzoWEN01ggh1LkbPu1p443oHWKWjiGgf1Hk4AdIYwiNnbecilxvuIN2A7cJfpa0gMCMLEOPGZFrBL6ihGDnEjZ1mw9XnQJ8QsgB7Tht87oMdh8C12Q0SJG4J9fuzZVqdUBjxFs5DjmyhE7lM6TUsxWXisAbS1jQkB2mc7SUw1jIyeuhUOsL/nNK4ui570qAibnRoVDS8DhrkfkHWg7wFITVbg/O2f4Z7+WJPaBz5VWdABEaGd4B49SvmjslVwicD4jVbJA7spHxlXT/eiQqTJ1ZPStumOsAD2TMbj18ugw1puevdgGaaEeZP2lTtMhWpC4ABkPyLu7HsSL7MKywEustYC/P9RqjjC/LBj/mrJpoYBD0fSKGGBOty7DqQ77Ub3X5AuGaiJF3DFs5OMPqfET20FYT8+MCiV+7ZzHUArxrRwOp3JmIao6ERQDMaWYE6KPCgB/97E5p/PVDl+AKke3KDkbHoxD+cTaXp0Z5Ux8LQr9gBLXlzXxwpXdJfo9zyYqEykWfqaQ4v+891a/lGGYirRtuNLtLlKyeqzcOKX2PnBF4eyegfxroCGycV4HGJGjjlhXD0QP+aR0KY/PSbe/1yMkrjtbGS76juUowmdYKgIsVaWYXn3Vc4cpnFgpV+GuD+vcdsGtUBhD9pX/3AXe1PwX6PzElLUUvpsrFTVruhbGPCZb7wAVqcLJ09KO8jt2vAEQilCivgFIaDUvCoQKmngIglviCX46mboBAQi+dfcYciZ+lSnWhbKNRSSwXVS4kH6gPSxR/XLStyE2/2JL6H018LPjEAjLumT9QiZ4jh0YQaTrFa3FlBYW9XEQ+h2NZrw5iORnhODeK7FZ0jH5DWgHvIx72Ps5I5e1XEGUoaI2zKIX0Ti1tfBd9xbk7LQBQlvFo43h/kiY67l3HhSCyZ9WDTWFYZnU0lk38gQDDb36hAYQ8+sxMlIOKZ8DdXLDUOpbW9buUSA4WNlQP0Bx7+BtfRCh+77f7w66sDzjWA1JucIVDWTYBh/8Z+INbp8FALxYqvkN1Kf8ert4WN6oaoz47Xhx+HTja46wgkEWqlFjP1JEky3TbXCtkR+igYMEfUTv57RypKij89xfJpYnhPofCAldnUQ3/FPp34ADtL2JZWwGXABA4z7Pv5P2edHIvbzUuNGoCXap26vVdt4YreTCiZBM2qZhzeYfiqk+prTK9I16cRieHh8KAKUKzmQIeOWayF/S/kAsyUkGDTlkOvmxYGjXrXEQ/zLnk1+2hQEScRv2uTqBl2MG3tcYaImu5s2nLWKitgykljbSWuz53gVtuTTzHLPxve/tbENeynSBA1Y7pRIYnzXtqtqXA2QvyYbh6PsOfyYn3pQ4wulpGkdS8c+r/MiM6UZpFX2qODX1T/NwpkuQfsbBcpgjTfq8SEq8HcVHOxDlMiEL5kM18JI+mol8UDl+4VsH0TMxQQ0sqXZxPHmB9FXsVkU0V38JwkbbzGA6ts3WRsbfEiUGYpwmnLkczkr+ukFDkch4S32dV+7hrx7XEW7u3PMvrl1d+bsTd6aNFp9ARYMrpnqVU3/P59dBrdQwX7TEG2CwS+cUTOXmggAD/deRWc704Z0ftzlc2L5HzFKLhTVf9WdgVe+cbW9gWwDJIWNj598tGz87If4HEIL8eqygi8ajRdsgh5OeGJesnrF2OfvLxjs7Ikm2hrtBesO8FOx2/hPA5+ZSa0fTdfq9hGIUyB4SFUWfOyqBCes8E8ZDlrvBnY4n+rW7klR+6L8OuvWEn5zFWitW++r9gWZcQpR1WztpI2ecZuiKGBl084wt5AXG+gevLtst4s84TMd/38hDeh35/HKA6nGrga77hT6yr3f2qvaXtZUFpwJHuJe9D8inrrxZNbgaNAS/+NiSIpnSjdZ6kZEyWmqmxY/+QYPlJ3ROi49yBcV10vjOpW78DIUYd7EiaVALIsZjmm2djS8VBUYJPfqvP0AFwZIOP7M0kdHiHZKlYfzQ6eqPax1y6yGZEKkPixw+eWqpGIfUWsC3yXZgCitBQlTWk6RM9oWP8e6D47vbjE9qRmgo802QrbVz64R2+7a8YeH/YSVrBIBHWnDmKpIZKaSgwx5VB+WCjYj/HN7eNzzs8NbsRKACHLX9nBamSHWGTGbCwkAEVXLMDTqOtE3GDR2qMkZGKY3cSO615MGGDXDwohS/r/yjwhkc463N0HSSSYw9Otu3LpzMeT7bt58KRV1FD7qWaETdv+3VOoIr7kGFhHC8dgduLFQYvinSwycIReE/BBiBltmf2e5n16H4S+qmKoj61ej7/ugyEb+o2/I/r/69n3TvV1hGn3jT5TCT77UEE9pnhdx0hmIrgY+5JtyBUOKyN5eVt73hZQTZbummSBj3n7F1Mcygja99nPXBrfcErR1fPjpZUV7G/4WKUsdGMJdffmezcHQAPR2eb9qCVz3zgDMJ6ChbILkjOLiMm6wr4tj5wflwzseKLj3PiY568bwmYoYua9/dDdDtTNCY1GAIJ1IKuLO628u/7KFE4l+pQUlN0USod3OzFXWNaItvtHEN+PRrIJ5ViaCWV1JKZ0lKkzOpDzSK70pugjy8e7V76IUSj+65516NZA3AARDSeuQlnUs/F/5MWklL/WNYOS0MmEKfabv0PFBGZTSFMB7JcJbyre638fwF1Ord15Me9KH6Db2WS7IHq210+0k7ROKhAEjAqqr94a60WRAUGtuYZtaUoBapFd7YD8CLdDiVBRYKx4jruYLAc8t9rEKXmxyxowLn4UbhPItWIZ/UAZptUXr5QHgOkHtRmh9YvTJsX3znN/givh9JzySpmQ+xp8RgA2KGFiiBWotzr8ovSZxro97jYxQ6MKaK5crEG7w9K7wVLnB/TwDNUOUzFtD6YJKCG3aY0hm72DTVz3enxiYoM+1Af0/ukiAu6CBfFCk+eT0DhJSN5eoHeTZxXpFrakdqlNgjNY0UzIeQpKcpfsK9Lapf11y9Dq7gP/tSK/3o2xtnCP/SPI6mbiYPCj/qmbGpVzYb8IQwFnlXz9RdBzpstzHSnC+POJT6pwVqHclIK5ECNrHzbOQZIRfQupIEbK08+6XEg8NYcVNG8q9hT6S15ZTK7zxaT1aQxNNxl4Gep+ius0lhxZ1xFFi1oteFQH/MzbI65lwZlRYztPpXjLlhKb29IjROfNvjfvi7OzGoB8IK1X5tgvK/mON9wnch4dYc7pe6TOk5z9v7lw2JgQj4wkHSudrFjHrpy5cTb6Bq3jrHlfv3l07Cqc6pYpW9CV7mjMPTgZbede5kDyLq9j3ePrYhXzBFpI8P5D2m9gqVrbTX1GzPLu3YYYj2AWwivdjcP9xOPcUvKhwn23zB2IoSSqeqjdQbwpY+7sBsykAZWXIuAJV+dYjbHKdgzIJxLTpm1RLyuHt67MHqG6V39I7PYzMkUO37BcsKlWX0zZPuE0aIw5hOMDWIXBHOVByvjgtHxFU+VSUf9RfPFGkVAyhGAf8y72uZDmcGf4OSfrXyictC1hAxjbPwNBfJoE+cLRUQtQwAzZC3c7DeLhkp4vW5Zy8MAxITUm8BkcqZvvdeL6tTOAN9n0skoCgX3iUtJoOE4XaRdf1wSQShukE6BzddxW017pHOYH8tYC6PqqEY0B2UJamOimHxio/IE26zshGNXAqo62D9l+/14hVd/oFDOlBrekDpOBMS+Wzu9Erpljbkc5jmoZrRZKNrh73FgVpGEKsZXG8q/tykT0NlBqyIUhrr3/myIHbbEkfMU2mowOIsbRKbfni6KGh/h5xX67vreulNK+e/II7QJsgUxvsSjszSVn4evqkkwoCh7ssopA7tMmeFUJsFhi861CgEDKZsRsr5TBiwaT9xewz8API0o6MnNcuezQdZmMSmb8SAW6eewiaLmYVhdtb8JkC+o0j9BwbeXS6PrBTkMWPY5D2VUJGBX7ovwPmnZ5odBe3SodIepTZK2PRVvzfhWziYWay6dt2AS9TVFJFBnG9ogPA8rqdEMwkOzUbgpFc33s1IBGkROivOJuWUyzAvvlvhxqM25s6SDZNH7vp8LlnrcapnJ4rPWwRJlusCiQzE65heRbmvJDCvQh/MjcIEVjdz7rRGnVuCP6LzkQ6wPUHSALb/0pNQdFEmGUI406LD4rGZfrLSMN5r+1idfr6Csj4qOdgFCaC0c3QN0ZtXTXFwtQubTMYdRUs6el/LiuEps7vchdtr0gubqsmAhu/tVGq1zo+QqyJTsNK1eY2LvdWZArMH+8pHuLKtaDW2pQ9bdzBQ6/Pb2/CljXO+PMqoCKjG/l5Ld4PrZ4RuD++zz/kAMjVC8rvfwrf4mjVCThpk1bX2FrMAv7fFLwswpUh7HuhZfF0plwbltL9B6UphsQAatNRSRlN1W//1xtczhmx9r36hHURKnGtpgOIdtKD/b4TJosNm7cjL4C5oa0lU0XvPymQoUnJTHai/U3lMqlJcFA+qqq+1xHTneRO3PLJCMR4oz6OvAUiCAR8TdrWK9+WKpzo1BdGCUJQjUlkRaXCG6NC02GgOCZCW+7e91MH7gqQRZ6WeQOnHPUNhugGLTiVh949c0o7rNwKQN/f35cXPkfHYmKH3IoI8qWwYQ9rh6ovwFtEjsnQnajPH7p6DM37JkAfpog4n7zAbi2rp9nSXmikBz9BGRwb8r4TIdFz8zy6tlQDoD2yo//79bAyr3uOeDgLmQ7+MuP3Z4/6/5YZNDr0r4vB9XEpOYdpczpra6QntceNg9D0oqcK1GyZ1leYz0xtOhLDoxOKRD439CWe8uSOIqt38wQnLw+RZwW5ynLnDxVD8UGOuFnQndtGvPey8HXY/t8zbhzFYSu4DOCOOROx9C0Ql4PnE10zAoSDmDv9Kv4Eh1xTpfD4SKqO1ImH45LXm2qSaYIx11NNce4wsHln96mYDomzydsgB1i5jWYN6/z7nXj2Q37CxJ/J4S+N9+5dfIRaZs8pT92oMPJyTrSnNUytoVqKvImwopSbqkF0UuzKZzZpQQ9WQf7Hd694OiiRzvyBVxf6riRIXrXjl/1RvGb1JNm5ZrIXzMFdV0uS4OK7o7Bcce79Bt9HPPxe6UsBjoRNeioPrhYjl+gjJYokbFkEMjMOi7zVnZCGRJKAbE14xvASf/HsNRQmITYRw+YMB3OzqHLdaMp+DHHEHk3PF33JfgZJR3DIQTK6yFEUkJ7MaOEQ+Q+faVLuBS3iAa12MS2M9i3v3ENqXfRJpW0DdzrW+afcyeUpBM33iaQCc+ZqaBMoYoPAazNtVlfwFHCNMxKUQXxQVLgwTeDw/2nt2HwGfR6ZlWzeu7fBLLkduqdWXO3w1ZwWzlX9Sy8sJHMcJwGNAgWkygXtX6+n9VwBqlRgwmzjTwyvSR8PEpioMkFWTSRyfWaR+S/ZpHVIINTfq2GJmEO04WmaQhXp21hHuOtABnymfQU1rPBmR3+a27yiC12bVDD+JaPEFqXN1Fxbr1AF7RcXA2FHxSmcch8BdxW6B0jE9D9LxY6wKFXYmmkEQWSkEBJsHHtjn0uaexySRh7FNHRnR3Ev+BLc4471lR0oGjH/79sufsU4j/clpo32aMxXpeycPbKOLU/9KnOea6KD0HslUfik/iyRgC7Oq+Qf0H35rKcebFhTwc2Byk2RXEewsb+GAmvbEbVXgrqUX1rx2YPTpcH7dsmoNOf64PlJ3yT+RgtYQjIZj/dO6IsmQ32oIxlmg+eNo6rE/seXSNEKutXN35CAaqKEwdDWiKL0rhUPSCutaAOotWEoDVwnbsrQU6cM7DMnb1xNUO0BEC5vtFkUUEOD1/sdNHXS7/B1M3BJ7PHSyOZnWW2YxgJmlcjf3oYHiU2Lo7kz9xQTsBQJfq8Pdkk5YIuHh2W/pdKZ2NsQ2STBQw10VuX8GjySvZtVfNgQ7h6lIoozMX0Gy9VM7oqkqqJQ86oL07/qTGn5g5zdlKjromv1MCcMJ3cO0HtlRXto8rqCuuXt3K9qY0TkRu9bXCQm26D7CMjC0XVzY8wKVCtfF1kARHiraO4e5KtT/e4IyZ5XGFM7ltRXwveUPBsgZWhYjGx2uHmajPQ3JUhtDH+DlixvYng54wpPCXYPGJ8m1cR5hBkYOLvLRQwVhEq4yQNncBy3ot6c2OOQmxvK8hwkuctwrGQGgOnzuGTAmeWEIP/nNs6qnjHEx3MLOJ3yDhFmHnX8jrjuTWb6Yk1tyOjh66vvASEemSehfg9LTULLKoIbPJjpiCydcGXaR2+3DyGLIoRxQeiA2Tg4ekDcddagaIAG7M51E4wkUYqPk/N8N14uHkfMDhA2CVWPPUXWaebNorci9af5Gkhmz+gHVtNsYMQHrYK0bFhac13dEiW7f7Leir8w6ay06bmAyFXdtttKbqcXMZsQ4za1u2kZ18Hq+YOXJ9Me/Wgf0PustpXfHlq6Y1dotShJAWlqgABqhSPdazzlbLn9bFJKYopfSbuK5C1kRuC/9gt1otTCoNOg6eSCjlOTVpVcEI82qLW4KwEGdLFFzUs849Yd3hMXkEWkeEB3wG+puKl/i+04yzLMzZZp4vQjh/eQQX55S2K5NCuEZkjyA4julHGA15mBsD1CRs6U+eG4fSshI3IzJIrSi10WDVuIXeUdw/MKcglWoxNIedkUC4fig7C+j0SJvblOeWQG25dGeV6kIepxo42RFm4envcaeA+GUuFMhjv7wuDxDANoscXjWryl6DItssRT4nia3YlxGVv2t2K9BB+zqvEqBA7p3r7TRjkqU7hLmfiKfwcR9A4E/mQDDlzTvwQ2isycjo2zZoKwzH0ZGoUE53EJdIBjy1LKOPkxI1WkIBfp61A9c/EegqexPG9SIlN7iOokHeJrP8dOvgS8jlaQDf4NATqhllohwGe/OHL58xzyOALkdq+umdR5Svq4yeGnQdy5lPkiuo1OMGtiQZxJa5mEYACwAYNO8+2ccrYFsti6j4/ANJ/bYvwBUHx6uEfiwsz0AuYMBmODKGnPhdQdpKsoiNTxMfm3hBBDHwdEt2pZFZCwJukwH7/ZJsre/JgvsKmrjE1m+gDXKahZJUczG5tdW7vcay2HoeAW9nbYlRJXfTTFlvRWo5afKy6J14LfgmubhxYg0gQg5H/C+bAGAK+D09PaupFER9lPRrCwP326DqL2o1gnSTdlrqPNrUTZ77MDp6h2LMv0gcVBnEkauBMU2hCypFklUiEZ8lUmGytwyAV2YZnjIC1WzPLan+a0EpnGsQadRW+vx7ltrotoq3kCfjr1ASLxXrfheL83OGzt/OgNHIJAaKB1R8gANN4X/O1huYr7g6rBHlKcRkLPjniqYHRuQFuIyTYrRvhwflFoW9JitqFUhQBLUGrhD308BBXCVOS9UzDY1nDsjxQ0hdc6kkWQr58PJYlWHZQ6MhDYtKqFS9anuYrTJ1FCVgDzCYqLjK1AnKThR2H44yD+067BI1zQ2sG4SpE+GruCc/+iJTMw01OiuUCQu3hX+MskS8D8RdP83wfKgChYFk3irHdWEIL4q1qQnwQjrqfMj+5wOv743jOP2nrVhQwPdxlit45vw5BDOCq+Jvzi/L6PBAFKKGABHTfJbVCmj+Ak48B7h/jWkLYw4k86ay8Un9lwN9A0deG+bx0msXlo26oO2Hqq7P61cG+l/WPZGeb+lyMsnK1Hk8cz4Coa7KitZFGOwZaDphmZiSHwrrTJvnbu8wnAZWnf1XABFjI8ffQIva1IH9p+gNxEpqDTBdRqPodWCacHKJ77v4H+PFKaX2LaEf/43v/97RFEVmum1dSFPdohhrneyQ/e21XJicyU9dcIFlSLqaKJVkS+GRXDMEhZaeFzOANWdKF+1uV6DXD47HYfmST9XXzcAj6uYYnRQl9jiHFMIA8m1ZmQ9hEh8tlm2mRXkOMr/Ksq/hDw0USYIY+dvI6gRMBcl2blmbAU3yisRJ/ESE1r8feMFW0b/OCs00Kwu6oNCm9ZtR3OMT/EIg4Vh9HDWOqzcIbn6ZgdVmWBAag6iOgteGAp/puGUW59930ECmL1qnL7WQy4xoALEThyMmDf+epqns2G8AxOy2Hb3VbN0OFo+kfWsAiZ+HKgK61EAcyV3lC9HnPtaojw0yVBEvkNSdkEIG6o1GjVNcsFObmjYufJ7vwdr/COMVEgJWQVVl/PviKY4rI+KZBr/1g0WS0xPJ8EYIEzAydRh9dW5FBPC2XmgqczHCMKbseCT8TzA7gkc/m6Tq/fEz7nBxGR5s0wU7IYyaOpwhVOGhU8pPPWh6H15yhE187UOsLw4e/pL6PaXrJEktNzE9+c9Yz0Hsj465JmsLcKS/WMZh4zBCk52oR17/GBGXdpG5J2/n84D8uch9OhovY377zvvms1YrBeGBAs+iQqfOvEbhjjs7gw+NpHq6T9kIoI22rb+gThhXFwJNy7zwrJfHVePY3HRdF0Rnv3uqnwBovyHSEiCX0GOlLnGDI9RQ4+R6EF/qO0mToPVkRBvXp1k0S3u+FkFS+y2Ld0H7Y4MdgRxWEshTqTOMVceNnkOzVoweDRVcKaeke94ES05mbaSICcu3c+JRjUq0IamUHE1fATlYHNlHyhDlCGXnovsheBRWPsXDF5XWqeJ5bU9+Liblur9+D83LQmRP1wut10RAl3FcP+R6MfCQQDh0g9hSbgJ5akeGmd5LzKZPmZ52/jkMzeT9MnMEwESuseqCUYjOtUya0r4TBLQhd2Hxpqeyyj03/TcIFWqKMHEoj8R/VLW1ClhIAiO6QG995+UI4Mx8xFvD4WEg7JR95YloYB7dhRwOxF5flUFVMY9+n0wsIGzMykCmKzIy/ShXbOWMeS/PqkzxcPVv+B0qJzs5jZLowi8xbwCoF7xRCO0lpLx7/TtLEcYIgF73knI6dlOvoZVDI7B76sJsPF4HtSFpzGHJKFIOfCCryeeeq5gjz5oDAS5005kCym2zBRS6PsCGcACEuJs0YfFrCX6UaZmBG6UYgQEBLAOkX4DgxeMEhqpRyJ+u5qQxfvHoHm6eo+xshfNx4vlMi3Om5buojwkEV+8DY3MOIPQKxMtfqCynxNtYKKtfb8MRHYtMUJPcQHEW1STNyQppteGGmG5xCu2XhceC4RtPFyxvO28h4GB537kHiucovKt169yNW2YDbZw2ekuxPTd4Zn9oFGqb517xnG/AVo56c217Pd0ll2/O2EdG6/AcVPR7rC+einmpNVw09dY0OUlM0JRnZ7Q69DbyFT08HlGCXNnOa7FZUQ+ufrUS+bosfXbAkTApqc+5pY7kAO+tIbOeVyLsx4eiGeHxvlcxI47jmaudwJdmG0vgM6Qz6Vd14obR2V7S5jSXN8JPEiZ/6T4BYAxAlGfO6xfBLw4SDj9k0lZjjFCvfd/sl7XfGJyo3n6XbkvMizQixN7qYHWs2LitPCNY57/5wFcwFNiYJuxOxw6sOnpbNJmFj2obUFgSI1SBWzrdsHUlInSPxjk3ydL+DOioqemXc3bY8aloOgY7LmS9oTEcXDhNMnG9MvLhRbepazBOW0482E6esJKMfoROfZ1vkXsGRLTaEd+hiFecdkmnXOVmByUBrahvoapB+e72es3ruAkxAQCJ6CJrtEezwXbgvkSYZMiHfPWQLwXwTLhwC8WzZS0rSZuI6Jrmb0Y9C9J0JgtDxKPSgOUQpQsnhaORWxBCoeeON3ZrxFtPd1Z9YGnjhxDsqma+LMup7awHuJoW90mvYManStyS4ZqB4hSVaQ+/t7fhtp+TmzcXYR/EbWJSXfyyfyypSRm2W6eN2tGopfya+U/OlPQFsIsCFW1UBbVevm88JN36OwWnHmfenhzfbk5A4VA0GQYxLhgmsj/41HGIRPANu6TPUDY0Kbn047YD/920DfIUBENXuf+W+nvrcSE7fvBKuTHoIfxHyww32msvN5mLttDkOWKwQwaVSFsNBh+lasCvgxZKfDdFqq7f3GS8ejapDEKjxF+AxCrpQYrzi9JsSFgfDmnfzkjQtKcNLlY5UvRtsPADn3PeBuokrb2qh9Kd+1gbF5w2X4bliqYiS0lq947RntSoQGNawZLTc7MeQz3Qnp0F3N3hQ4NtnLl3/drWXxDFlc1AmlCnfHQFEai5dUZPuwKKco2ohXjnEtOnbNdp6sVfXaO/J1zp7NRCH3POLhqxY9gaN5cjVgATJd4T30vih/QIveaTg3dMfmPD5Nxnj8oZJa7zDQeyWlsHcIqihnF2ouM5YWJJfl82BQUv9N2eRf9hCF3swvwxkSRvqbVRQ8rxSVMXDmzPDM5myUrFfvaQsrRIafm+LiAEPC8nev9TfTRkXmsh1cWCTEzm7EOzlkndK/lpev9p8CjGeHoLYebovhsTgqOCycrZwyTo7zpSW7DEvxsTneE1RIbgcbRR/WlcbQ/qeZ0wgQxSqxP7icEtG5nPBPA3sHUQ1T4dPe0KpIziIDW1JcaI/Q9XEKkyH5CM4NyU/Tn+8Y3GkCChJ8+YtxGrCU0l1ZhQtule/Ow3ZoGx4nnTFIMtv/cTfyVMiMW8B2q+T1pYVQFB9D+aBgOMKdOZDlcF7oENpFSucRtLVZZJgfIbHP1SwFin/xkbeGFogTLHkYbWCMYAlpWO2RkGjrc3rE0mpg8UE4IDb0cqARqDZaNSkVpd9gH6TdoDGIihEtJ1Mf9xNQ0QriI/4lId5Ybra9sYw+BFQ5g7tOE6bVcaYdt5xAaeBZvISknFH/WTvQBBlJXdWxzevyD0zWFmhQpZ+x+r7ww75oAIFiEzB3fiBq1F2G3gyTYl9Rb8f+MmtKY7OChm/p2ZK+Hx2TabRxza8qgfSWbp+idPzZm3YMivXyujEUzpoDlX8VSMdX0g9Penb7LCPiF3tHhg13Pqt8ev546xRP+BbAneUfndKE3ak+n9c2liXGnmzIvuaVKslIAjMTR3mO60l2XQ8TiMHtdsF63kjbvpPgzgjI/WPyrrRLL1MiWhpzyYqfbMBW7J2vZfVmGsHoBNrMu+U2wXalvy6GIy2Szid/vZT8La8ZufXuWai4Vcj24r1jV/b6/zI71Yj2VVfXKJ7pxQYkYrFG8pow4MWMnq3FZSRdv3MmhxaY3K6uon6yFE1sw+qem3sVnkKa1n5Ftxt4y+Dq/F6FQESVSizjrOEigo+TRunrgbMZdV+mtzAy2RLd+yUCmJ+IDe4ARO3jYmo4uZ6tK+9qW4GRA8gnCfN0ZqrppFhUyDRfIHPgh3iTWGNChtm/qG2B3HtE4VGv25sxWR9I+asZ/fSH2rIaIA0uxWbwKTQfYdPE5ofL2I9GNwq1arVn/KQtRr25AH/Fbhiyamt6X1buLlmU9KqBhV353koD74wM4AzV2VE8mLqHf0E7cI1Bz2bJQiALKdri8xMwH8ALufBSDn0tq7txf7I5InvIOBFzIMl8N6WGUMt88gJa9tPejyzBhFVbVk4RwjLpMgQ44Wai1O9tS4KLSmKmsarY4oHpmrDAEI75xrA45pjYnPKz0Qoy7A1qFOMeCUF2g4gkUraCGiJRxabZfVGcmIocUt54GVn6QDkNVEl386wBabXWqRTcAKFAVSygBCRiBzskMnj+pz/5EyDmY+JgzZ/uLaO27e+IGSXXVEO7YJH7KcH2WpujKaOBznVtlTcVqtXn/DsHFGXUkc8dkw5yZzowl1KxtzJCLf2rYovlmRfGzLc0QIWP0s9VsJTsz+oLmw7ODIdvGHcV6x+GxrVC/IYTE9FtxWdvP5qnHGVq+8WGhCwXPXemvSURZObsF1g0n9rVrtCbVdLGXcX3sCZXGBvW1T8rXb2PA4qw5je7+EH8tFxwlK5jEAasD9kWWqKoJKl0PfUhP65DWIpgSTWSQjfMGWHTaK8iKq5B45/XLSofUqio/n9fpOXuMA+1Bv8h68cNeHJPHCjda3odSW5Cm8ZLLg0X85KwlRRGgM0KnffYdO2x1RYmc+vR6jk+LTng0/+xLndvPVoBEWxI+mC/UAreBuoWrdZU42GLktGye1oUDEZguyqV9dUcyBWzfzvjt7A9jWgsOFi3D24NjILD2MA7Hd4sVaWQ1JBSo+ukfNRBKvwS9+L5ttoKRlvl2zLUDBD2p9zAI6QGDxGYjS30E1Ozggw2XuDgDRBqUy0l5TWIUz8CqFk1DDgo2d+rHz4F6kiZd2huoaRrx80FLdLrAO/+RVteuF+g+tV4/OCDOWEQ18L4K4e9Z8zQhqIfl2hQbf3V47wEpd4JYPszrWjDw8aaD6bQbSm3C7vsl7p0WlNUc3sGHp4uREcrsQdK2LHvUmM6jb4cBToJH31hoacSLOvHCoPAVHXfL2iMsscrfLI7iXw+6G3+U17nJWJ2vAGE8kCFvB96qlPymCIFV1GOXF4jguzkLl6QHhMQSXYBLGZ7Nz/la74F6UL8PaycDMHWWDevU9WalsVyXrD1Lw0nk0Cmu5fLGIdqrfLycHq7eXoviD4VgZDErTl8Pmd2FQMPOf341Tg+jV2AswJJK9bz2rRRAtL8zabrkgmGoigE5+xZvSWG7Pia27lMTEE2LqAeLzhOAPnEAm27JJsah2nQY60DAG6w7YNvndd0zKYZakUgcDDa3recHJg1bbrkK2oFRShOodve588BPS2TEeJcSPUSradWHxVdiB+WNxhPLM1vVshfuW306s+Ddn+J74GfOH5JmfqfTBzKolLP/s3iwYATxkSW1rF3kWe+uD3tLBViPH2Kx10F6c307slczdpso/atwnB6ludY/emVK3kUTpzZBiQr5/NSSv603iJeCD/o8ye/U9h4k3I17lexEfyBFVBHoBtU0cp8wQ1NfDRVI9IuKaLt80rKxlsH80ve/2Puaq8wGZnHVhhDS5syRSvH/7WRe9Zh46+huRk4BEzdt3s0eiVTnFCAW0yoB5+wj9jxGMq3WVshjCJrW3o3jArX4ucowB+6r8ImXyvFjQin//APlG3Jj2a8SKbQK0/Lq9x0JFYB9/s9mMjP+NkZ8Pi83R6iroo8LOM9no+YJOhJS9MVs2RZGe7Y8Gr8+g2oje0rBHWsMr9msNVPZtjKcaHrIrRnK9bihStmg7asw5SUW+X6gV8yiiigyQhso5n+KRchk2AXQ0ifo0VzgYajmewNaNz8T8hYqRb4I0kDNlTre9O+efZ2O+O5PiSEf+VVB4RmTUUPlIZwPTWyIskixo9jXeKhHg9bIjATtjd0Tl5RehxTxT05654km0kzC+5jCeyz7yDcY3wTuldCIdkrEt3c19kCLmYU72D/yPiO9MAARB23Lw+GmtJsEQ1tYAUUClHLy5aXCMME92O2wdzWC9hwDvuEFmeYogn1eVLgylkfPE9e8ZWWWl3CKoq/hMnhqJJCla84eDBGUUvS+yEya/mSj5c4OBudyXKhQydGB+uUUDoY5LB7HrzmVkiYMLOvt8SXiN5XS3EZY+/k15IkXid1OZ3QieOjdasNCehZtQwcyWNqnpUcAtIDSCBi+4CYOroTlrmm8OlqYw+rBRha8W0Neok8zxzbgG2NdlIkR3GvhmuZSt+PrMXp9SZsPlrPxRRfwUT/DQ8prN+KfmxNreoxyF0ANjiS6AcOAhwrCLsrbUF5RJYKBQSMkL2JS109uX7tlOeX+MNvPNPOTLsO6HPXie3pSNRrMhMDedZcitYn7Gzr74hgZ1CfZVrED4BtrFPKT0bbY4r5hJIFyguDWkBA5ho9SYvYbiU+j7r/h6p8DK5JlLJIfTGilzjXdc0IzTnqe8MsnDJ67zsUs9ldnOohWSrWpELMcQ0PLwjAscUp6dfL+qcIv3y2nLHGHV6/PA02JZygX2yykkDTuF3SC/Hp0ohCQiGsrCWWo5JefRi7w/TwBI8yBtbnGBROaFQQYMd198XfXxOQE2+QKr0/p8m4g87C2kiabQtkQiVXrwBQVSWHa5TqvowseD/JgiblaMzsbTDSHqw6GR9LEwxGzudaBaIpxIvDOPXzAkog4aURrN3a0rMz9+da19u09opbeZGyBySLocM6H+agQ7t/J5kfl1hpaUpoSXgO8o6caW7PDC3OL6qm0bz3Lp31SSlSyFFyRnvHD1s8lwmjWlQBiCupEwr3LB52TZqoheqcRAVHMIqoVpDRVjGlrTw/PvJUF743NnH8CqURW+voh6BozggCLq/0Ufkyx8emjVWNfKTq0tWr/HzvEf2ljrLU45KIwJzPumFPstE1VVpLoAOl4eVdNgK7jIsJxZjXfo2vEtklmCh6XS/5w4aHSU+qxvcAfeKTaJnZlzQP58EGx8coIavHNTe37sL+uqqq/1+8yllPiLpCoNnOrpsXUG19AWhypRCjzW13OWXyFkVX3zcbqgxSbUcqwksME7sgHjYAY6F6k32njJSsP1jFIqbwk+P7uZZL1uZbohqnombFwp7eepHuRWRm/sVrzRYsJRIcTaInF14IcmLtKA5q075PIzF2qznsKwP5Tbdim09OQFFHPVUdutfLN/zg7iYHzrDy8wNMeITTQa6QXb5W93XIw4ph5F97R3FPl9dzzP6GoV4B6gOKlpjr8s7xyEQa8WK6rubf0Xf0iEJ1JN8t8xoLf3OXvHubrBymnfG2h4BxOrEOYaTNY95oauVm68ee7nA5OIMeJK+h0aVUFpPCh6pW8FV1v52n8HVIho26TipH+/WteZNWreOdgqQVeEZXBbURYGgqBhQB0CvjXYlM9ixmkA5S197CN+NuJk2nNpX0CWB7HzqiP8jDPzfVq+Abwbo6pSCZJncKw4u9LwT8TGKY7m0sqvfKVd1qOW9AR21dNB8nY9Soq5cKTgk5m6wUuohEDWav7mdzLbHwt7PZ/j2KCiD8lDfdcuLqSYhxKTnrcYDB0vSv1RKXYqHmbRUoIudjaTC+1JhWXQ7wUyA6c2lj45uJHlDaSfOc0dumz4npbZdO6fdNBoz5eUGxF7YTsYCc9U9Jvl6SWlypiaAxFpX1la7GtAtpsS+0RRZHuvZ9o5oABuB3D7FiWNWH8dzFuD/by0QJE2ATNKAvzsONGKmdj49Jzglv0vGZQ06jEnVw2OMXwJ8WlTafMS458Izj3v1NHLFzUstdNfPxPP3F7USqDmpfuwnWjz4IHxDm2H8JVsBHmiHxA93zMu6wIr1RPa9kNYzaKs8uzRWAYuTDULjOppvYk0kNUXwh4Q9eHDy3/6kkyHYclyRfVT5BwzlDFiEi0RxCXqOam8hDOd/So/I9gXsyrvnXYIk/IwA92h5DZTrqkDbcp4B6bucLGxj+SJFrXmQ0AypIWlQLIolXLprL8Uhk+sWr9LndUh+B1qbKtfr4e0sFA4FHfGnhOjUomjSEPVj8zFH0TnzTiEtg3MCtDv4u5oXyGiTPj+N0z/eNvO+c+fJBKuTIMCC90/XiCucbBu5KxI2Of4lQvNjjurLVhQgBvpPdhosJ+LvEfzbc25WZiE7hLkIoJziAu3pf5KOqoxfdORe+oG/vq2Fij0NdiY4By1DgFd7naLYxP8Y6ZUyApshZ9HYhKB8SobEwfR+UoDoQhA8GEeWtB1zDStpD46ctzv8Ypqt9nyoCdaWWzZo6daC/wkI8n9lAvXzsPnIXnsbzO/iCcHyUlL2xFk1ay05mC/vdr1k6vj6OApX0mWOE2Fx/rU3zBq/1HDB1l8A+sK5Jss0Mg1CpQliKpvGYQNL2GUUzUPlQnCrM9hunWXHkVxenTaEZ+2b1+GWDk+m+hpyZOvJ2ET1yTjxOakIuvUiPYDI7y4eBz9iEi7ngNkrIX2dEi3uZMdFUxPHf6w0HsHc26vA1Rh1uNktqtVcQyJI0csRQVl2xb4Yw4YKedH3/BqewvZ8VIZqJdIlaORIoGQloEeWKmoiMV2EApZRsxT8zkFgp5uMpGTfG36q0ctAA7WrVLIl9DkeMbObY1kc680yURrY/8zG3AfX8wfS4HG85mnLzeOnzEjofZtMnRSPkymUALQNaPrUx/7YjlbK2vELVFJB1w5S6jqSWfOXG0+cozOOPH4xhENK7Oz6yQM+dokSxmQmNSI1G71B/2R9d/o7o06s27XRJkl/JeN+35JgZLBmJQaKULpXZJ0Jvr5Lmef26hmNJUr6Fgi5GzWWv1O80iM8qgyUrJmsqRhfLZzpiARw/i52krQF8XFpvccPC0lm3CSg8AODGLoHt3i0ZFQGi6zflo0LPaev9PsdW9pWQJJSnAH1TSqSBSvxLCK+Gv8QS/RXaUi+kzwzz4zhk6LsEzAGNEGD1T5veAt/GknSGbTC7aJtmJ99iHFUTYOIPRYWadvNc8/vtcCLXQqi8hKCE8DWA6dM0FcdfGDG3ed5pQ+nr1sRMahkcyu4WDK12YFeROnd/2zcvsBTgnbiQLoGepl20/584tayTp3Thj7tWJgiFUUFLUbBMgeB7sGv5hgXNCjcLoSgO1W0PW4MFJBwoMFcIYzDSQaucDhYgC97lXt9KVskhLmty8YAshkOgkeO6ImEX6wUc3bn51xJhQvbp9wIJ29hZy+JzdbxpZuNaG31KWg/Nop6HYDiKePOhDuaIOh6tumU1iCUJLfQLLZu2ex5Kmw7L1pOZgm6WsJ9NgYcurrvjHB0Ugkryrq/WTG8D3smIJu4rWi9hHAbOOAwWE7zQMdENxQWD7z9IGHZIlq3lCUanrCh4vjiYYSGTPSGVc6Fz4NQAIZKDzICZmHfaAu9LlWY7o3OgwDQrMeI3q+VemqEOGdxP/Gpe4PvCW0x3wIVwnF806PrQyUqfLKQIeWDEPgsqGyI6AJL+cX2iYAwS51UQpZJ5HFjcLHNqHepI+KBDNmPwZ3T+C7WphwTlsBoLkNowxaeMl6f6ziSPrC/zIuOCs/oVW0Z/2OA8d3q/35aU7osVipo1qqRli5UZ5+7gcLHM6XZGIZWJHX6q0WkO6+60oQ8ESOh58hBYZLmb+fLsilwJqAeUftjzRwJatgkKwjzS+ZRCv5iNTLtEq5aUoCdZRX0Aa7DywuHXgMGanWCgiS0jLnfyOlu1beW+hBVxjOIjRzazbpEGs37BYNYONzk4IcEIwsdFCMwoD45niVZaYW0k0gVZBhBTXNhYVt9a/XCDZSmeUxNmD0/Qhq2Ba8pa03aZlPhD4Qq3fxa7iv0KCbzO4bLlIsbmJ1scFHUz8beBxZtJ2QmfQ30GCr3+04+iC6E/Oi4Hvdyi/ZELe99pRGaf1v4+r0dU0yrrOsZ+bgQ3SghyvKmsjBxK5dN8VNtjXJnwhOvrCoQOkcGUNOr9/boqoUitJmWzyYR+c63+Qas4AmLEBqJlwFWwO9VCBV4wF0dxLoxVQYSiliDCCHTNh/eFja7kQCXG6Yw/vyAYbhHJaLQH3nXK+YbnnenM4ZP4V2Jc6kFGl6b0upssc01NDaREVbevxemfscDHyDx0XiUlhziXSvf3yWWiBmWNiIc5wunYeEXFHY/Jpd5sHEKVYpP6H2RSz/fzqi8A8IJG0buID09opwwe572d8a4ay5nZZWEv/AMBs7Hpvm7lERwY7CgiHWye8Zp7OrOJo/zj6ABw1hy9xMCxUm9QhzILXannbpHK0FX3ORKJvTrR1FXcVl45+yClhMVzHWSxu1HrTgZBEGBAIPRSIQqLxYL/IHp2o0z8Yim5fCmf/0OC+2bNkvPAjmAkhL2grbGzLbtauhYdan4Cr4g1Kurmr/VipZjHdA7vlt0QdKsvz6p6azatVaUp4xixWMTXHtBQVZy9KGZERxD6/p/cymeGtTjyb6CoIJQmpqbeZKyTQIQlMSqtG0zWis+VikFuj+vA1MMjjgslI/jjbyx0VGeo+8JYJHLLeJsCp2++32xLK3wIkcM2tXW4GaxyMKVhloCH2zTOxPyLSQ67FMf1zud4g2HK3BTsm/8B7jUgC9asiZdOq/2ASeN7Ex5idPvXPZmN/p0r1NQX1VCFlJZvvCi8ZjvTAqLL/yCyN2Uic75hK92ptLUCsQCXbVsbakZADuokQdg7RnYDWywvthTopFwPK5xCD2NWWu7zg0K58WAE5NxpDJuEsgzAe1tat3newZvl0IFYQ8Cqsp3+STqTJjco93GYDThh8/Bvi5+d7BgkYibYvMQ3S8kCY+3vp1VS/uUBJ9DUNcRaSukdMLvbZeoniX4D/b2d4cp/3HgcUeegOV9R+5RghsvSzId4Iua9D5jZDyOzjVEJpsBbPOF8Thrqcnt/v5u+VHBDLgcVoiq/xeSil6iMzNkRzTyTRNB/wUdVwYh8wg2t+NaTyV90sGZkkChzpfdnD0P3DaOIg3EJONPJP9rctY2xLSwTOnJ/oC/9ufAd2xzHHm6wdSKVRe2vBAR7uMZ5h02TDr9XCOe8x416oF6EAsdrU7KFNEkzrYh2XYBmt35omOJ+9WwsB7ZAlGKBN1DXdXOMDqbOfBaVnAdWX9zFP4VqB8Qk/kCLPAOl3vdgc1jYhN6NLKrzI+csZrrd2O4fH5RAzbOiOt1jUzlaqpUG1z9JkKknN4KOjb6kpL7H+7jhp7Wgr/NiZSTFjfJ8oMNfucaLlo3DiMKJNcuhNcSRTl2OCSqdHO1b0XWW76XB0e194wW5mdTAgcCFVXXAxP6yHSLp/vKhFpxKb8ZmCvtvbxTI2TOk6P/6+mkSy05F7dyDPTU0Ynas/NHWWJbgcVUlulQtjkEy2OfDpOnVpGzOeU+xqaHFZR3zshiGPs99Qolc/7f3htWCQ2V2k0vtq42R1S3boi4S45PCVd6AnKS/j/T6RTHrsUy2TKmbGNBUJL0jJzCamuzv9yW0X3nkixta86Ha+C2YiZUpqZxOEthGyIZWtGe8oNwgiTXbFVjSLMHNdmgO5HXNOymwoHgQckZk9mavoriAqOcA+UrAEQcZ34pk9JxIbLFTtazu1kombbCO33HH3sjW79xPb/r6dsVtwPMDs2u6giKUlqSLhd+XDOy2ZNHxQQ9NpkCjkzytT4oiTtookHVCxSkTwws6wC3pH/HWyZcIZZOG3dTDVeF27Wr0mQt5Kkcs/01FRPdKiQNZy+NjGhBsAch7Vg8pFV2wDBsVZWfpEbC8fboyP706i/XAMRgIvukjm3xaNCz0CtsAtQNCQ5Wdrajq6uvW34xNu5eb5mqZmZ2/bnTsrWhld1BLD/jdYgabPp+O1i8v1+X6FT3qIGD6WWtwYzPiVo5n9r3ltvnX4RB82AX5erRrnck99Nh6A8U2EyvJldOWnkKRqza0sWKe4UGdBmLG341nFortxekwTvI3ClBM8z2HMOzPNeR92ma3BxrSpO0heVdCNLtVIoZqmzsw1eP2DvklDXa0pXlphJCoqBCKeA4/RMiUpBiga0H4jgt6trH2B4E+DHY8SLlY+Z9Vynq7w46z5dnJABlQYvQcIb8hoRF9/Z4soxukiJkFi5T3TzJpIwTLexNfvsBBUtEb9vVE6SA1bQpowHYrp7AS42LOvIKtt+TMvu4g9rujFftfhG+I2MywJek9xb0TmiMEF/IGtQvqc7a53FY89moLFY4CT7W7HEYTVvhOjbEaKbjzNloM1gROrgbT+SYohydllqDbyZtWu2GklTodpibl//mNyTGrTMSL0cCxtxeDIOCBnWwnpbcmLMt1ctYUKx1E+PeKC8TWmgRTc6VzDCPY/yVvzqx5sWwdqKw+8cdtENAKpUZnIOOVFSdU0WJsaXJJBqK27kxPj/SDBweJ7P82RQQ4vGQT5b2Gkr3VBNDmSNBGetxHi3XwN73zsfcoiWaCCByuxvlcNNZJH5BAAjj2wxpqGaPYibUQEznP3JJobh44BFk0rsDyYrHIYk0jfOkoDjGy8IYVIc6TV6GabWYL/HPAhbpmWoQbeiIbttRp4sQLHgL3hoEPmRb4hrN0yxxaBPEtAz4g058NL6SsBNd4CCTgSr+7YF/3VHHqamO1mPWr/XZ863vCj/mZu+PbEttVj/s4BLXrK0vOXbRUL5YfQhfN8h1JiDrzJMfEEi+GwLl5vGItzl+9Fe979CAtGsbTmJOAQ8wCvp1KXI3KwaeZyGnUkWM6jztzVHCBeGLdipdkUvox5dotgkw5bzf2NB6SA1j1Vwv1rkcc/912D+eIpnCq3lgfFpueXmde8MDwsUC/cEqdmHurxmtWX8Es4uDHNlY+vwGQwb/eUIupdyQPOrsUYT5Of4JHtHSSFsjXKyUtszdT84bmsSKJCqkrq5dLhKjYwuAq7jG2jBgjxmBIeeFj7x8luA9SyMm14XP9/hPml0iMZcF/Xpb+Hm7x6qb1gO1hXopuZchaX2frjMjBMwEFBUOjKcqyX5IPCBjSL5rAfRzei/rpFwlLq0hBBlfPALCE7wW3iFJVXG37ElLnCt25IeBZ2Vlr93eIzqIz/812nlQCzkSabpclTcTjdz1OkvZsxoPwAPYfYFYktrDtUOhDH4bReen8W349m+L579kTZuck+NfMh/eORQ+HH4IAYV2m4wKgXezmQkSb2qPq8cWVzZ4XOcuauUGKhkS9yrvcs+c/cfakClMHEDd6I+sHnm+p40+UVP3Ef3z/YCnMGohFjrmXsNMVMmJOrX4nGVUkv4AUcboCLuisPioFJOjmAJQ663KAtxnGhACJyOZOwrXnen4lYdxtGxuLOCKPfD/JRDcPnhwigSU9vwenu0ouaGVAyJrv2a+L+ppSb7vSv/3vK5FkzRyYouyOnEzXSFqfm4DNEmMmE7ZzvueZpTzTSCw1pU4pkaWyq51jzxX2qmTO3ERKIi+SBz5COkgOn1zsfViBuT/r067SaWhvYRZZZcDIt3qKBZ7XvYhRdgicixQgqGXuaKSltig/SzExiLUrZ8QP9SPmJwl+WFxv1vz8Dcz1Gx6EWQS+8iieqkks5k4QmMfd3eaPzsmkCy2czDds85LvlCXQvBqcohb+AQV3+cy5I2St1SDRhwo19fu4KZnJ30aNpBrbYMiW6dwkSDnTNhz6h1thHlQFUq9JFE1DF+NqKVqvYXRwdkb1KdSYvp46+Rey75FkZ/9xMHRT+6wKcBVDsUh889IUZCCb49p6nZuJMySENkTL+gvCIcSgUD3/Q/iYclHpp6NbpnRBjNxJeyX+aaaDdk3p7Y/08q/9vCvc/ZwfChoJf12Y5PHN8fg1gt/sYQ2QSxmsT/0RRWFhzuTiUdbPfhqxyauMy9vnofu4sz8pCYy7E925BxDPgff/yx0WOVmMRUsCT2gKrq/SY06gfhB5aLQFe5F0S/YUV8oOt2w86bCUkImy5dYqZrIwLNnK8JkYQRn4BapQWFDsci1fjGOc6dGBFHRp4IdSBIpDoT9DamfccnXjoOpyCj4OZXV9x/CWN5fb2i3TXcN+AmE3kU+iYFSPc5uT9xCekSTcprPvhdNVPTgMq59TKkLwYKSDbxbum3fK5OjljFuM5vcnWUgq38mJ5/b+gqsWWJ9blFKbWnBf0wVxHlvbbcDmbGk0jpCceyfPpwtWnqTqGwrpFd21k37lWlTZsnUZcd8rENxPHflvS3UNe0uL5UXZ0/tsCPA7pBYlU1WkDofAjNTGbEWxPhPsmW7KChtsq5tChgCLKW0OrtcvzHMQQmcwMCAE2bUMQPuTJTK3usUSUdmBF4wDFoBavJ/wgFP4e67iTmarhmJ+KRJXcGapAf+9E0fkL/zSRIqQiDg7q3YpIptYvPMJoer8lFV2i7cIw/zeHkos6z/RvrWmSEIUv/feYXODfTQ3xnf/L/7FGou4hRM24eWzlI4yc+Jkmw3JkFGDYQ7KhR1DJoWbrE8zyar+yCO/tfcnPpZHJBgBzANxzlRejkhGR2FYR+umfs3CVOKwqbqYWDs1lcvYQmSmT9f1SXb/Gs2d9cQTAR3VfywVrjs4LyrecP7KY/gyJEkAoVgVsOJd2kTK4GBFRjBg193k+qPHNb8lpuLCnRT1F0be8KOGdbxGpMOUZadnT88YXBfc4iAW6J6OqYoSK5mUScdIQH3OeahK9oDglGVhPOZl8i/zHAFIvy0EDpv9q4PiTBlZQ2AJX90KLdRLw3oezOPGuUsbgh/YqhehSjfH7pXdZsOoEpJUAdrGWCTQZQrK+HEIzIoXepHN4OEhBvCgFPuwHKiblFQ1A8gCGT1bhKfOXKmei2PtCx/ETpXKqg38597IpsvhDrjlUW0OigZSDNBkjumhYALSfKJKJ4rwqNKYRZ6ub+NtXFq39E7H0RDtqi76stLaIfwBHlhZ96sSZzLsGgIbszh04SroOzKR17ZFUVgJcv55M37udA6nLyDzrFt3HOjwNzUrspj8mkEIOaB+mVEUH61ZPi6E19GXRVpQTlwQJvZ99hTCpXg5BeejCoklzD3gZjRQg8zqfon3uF0PRSOpgxzOAfOAbRjaLYWwUaRr9XAbylHOmqBHZ7UTsZgpaL89k/ZgZlejsrFzd1Vb1u+p0ou4jpzl204SHDyq5uknH/Rq6tkaCZEXECF5xDuUapGkKcnE53qenrnlkciHsOGhxCNwx4JRw1enoq3MIKU5FSQddkFxSf7F/mmji9q8taJND2Zf7ENXfAY6JLAWTkxfx51Z1sl+Qp01mbTexWBucpcE/OfQVbyMIV2P+pj6mlAZZMljlkR54m/r+1Vfz0fzX8+zp5knAYm4iI410RE7KqFvFAM5TdY6i1BP1eZCbc9maV6qLS9SIdwxMTMvNMeTWYigj7WwIzSWGEWtopuIrZSRrf342bpugyOJOJHV35Q27Y8JYSNt45ymHqybYni5/VzA+gd6sq2Iy7y8HjIpSpEIqF/QMJP8WtJcXGyrIT54c7AMxvq6YSS6ujV+05HdeTvVviXr1wP2kjYsfS+cUq2AfKj8VKIv4FssGGiC98yi61MK+USZaLBGBAyi+uTRukipGhdJmpRbm5D7qebMADnJp9sUicluk3vgLzn55tAW0Yi68khgse/V3mvSQ2YHMl0YdQA1x8dvwZJE1IAV2vXMkHa7wgD+nJOmOi0IooCKpKnU2v6QJrQY4qBf/cL6SCf5dNOUxjLTXgu983aFUfIq5B5s+3DsGXY/gop2WNZEybFqiOltSn/TgemeD0+RImssCtVSBv+wse6lBkbcYou8PbYrCjfwHJiFTmsvLkzka0PAp3eKIz+koV0drUYqaRLMSG+wC6chLOvWiUzhZVGj68JOwZatxgo9swtHXpAz1UyR7C+9EpFCaqSqyBOSwOycTv0wNdZyTTsoriXCggNnkd2fp1s65iDOjMBlySWxG5dDLYrkb/S/Saxbx5erNTbNsCyK2df0fZB1iXGvL1KgjHFbIioXJQaaKhbnsTh4J6UUu1V6h3TeH7rhzl6Mzuk3NgJTaAo6gQh/BREKdncCnxH+k4848Sn4WBIY6kh9ED9R1av/Oi+S/PnAVQ4qvkthipNpJcq3igRwwVjqZtEcrSGRzO2AJrtlCLNm8ZznyhyRxMRN69Cxs27kkJAcZJEnov4ItkFOBwCpEGEyAb3Io9+wG9yjbMkK9aa92T2u1r317JeO+z6NBu9VCsjCYbs4rf7l/vaILHlwesTa1At4jOpKOPkNySKnMicdcD/xFfeSWqe49T33g+msn8g9FLvrqaWJFCTdlHCJTwM4mifd04mNsnjbHqxOCJvxg2oTfmkXIulj4Sa+Ql5u3XqJlWvriX2AgqJAIpPHYSOnhvQIiFkh6lPWfTLPERu3lr4yiYRp3iKsDZd5oHSYBwIw4ss9ATNN49uvfT34dZt5hRJJqgTaCj4MjWOZdBjzK8LnZZ16FV3pRdljr3FBytdMbZ3j+PcBb4f9nuUgNSZrM2BgNkzwybddVIbywalUJioBQPM3+Mf1MaotxQLKQAu6LG/NFyqciEamipcLfony18yeh5eNpCOrF06iUFZC8cLAhvdExcmx1oB/K3GOzkXHmneDuZdQ+sXjCpgjyxYQvRgVP8prJ/Ddc22atpeGzI3FH8tgQZd90dbxWgyL8W17YM9pyhMJPxQrRrrGmZVCQsNO0k9o420ZB05/4WPFl+BDisWfn0RArs8eNtmvljw8TF6VucsKZirm9bEpmJ9RaLfF675hWiOuI+p6g413qGLBKCI8T4agKA4NpWjNCpKljisCItl6ZvN61twbAOZTBxVowMCoqehVNNrux7EF4jk0mZcQqxe84sp3u20m7Ut8Vo1rpz7gy+RDYkei7AdFL5rwo22hqdfkhMPeaZasgemlQ2HgS6MLXNrjdLSfsE+y2W1ZGi99R+OC0PqpEvCHqgvhHrlwDgC93v970LKWmpRNpBo1aHyKBWhH3F9uVmsvbAM3zgypQtyFlYR/Mp2daswACPdt4QYByGl6EfxDSa2UhdWP/PFld3+3Nkvjo+ORwBTv4NNpnwDkZ6utcUxtXDv7KkF5q83yXCRJ9f294El5LU2zCBQqsSSQbDVQVlP1EDzkISZQ0bxxbpMy5TX/yqWerodXOGXSue4LaiUkcfvM9fj4+RRny18sLnJeb7souRGsVY+Ix1pvv9p0OQyesP2pktdcLDnl60M2LqQ5jXDVS0ep97TmNxiIM39kAjlbtCg04ysXFqc18WpK1Y767957K7o3zfEZ9M0rKd2smt6iZck81VgPjeUAUAyoQT5JfEl0njKlCVnu5/YlCnmUOJO6TuDd3K3euza12Pg58ZkxLPpeb1CZco5XHGloL6IJyhNWkq0M74jwUpYX1X1b21tFgP3655D9BFsU23+C5bhjCq9ytkGSJYkJbic3/NyI13Q4xL/gLLeK1SFigVRm1MV6dMaKlGbe5WnMl8Fhfk32C3Qhm+E2zcEn0x+HiYO/0qzA0zh8TTt5uH6KK8w7+Eokt+tnVa4OZ01pq7rvl+Ffg6Yx036dPy2lBNK4kNGUkS2e7koB9zbv6HFqYU7vGajQgAkWo1xlwJh0HroTxgEKwxXOXGp48RZhk1JEulIF8MzxiLrgRzjB97L120Jxll/SFXWufsowbWACN+9JMj4GTuOKdTNyjzeTp4rs94uga0ha4m9RBTOs2WXbe+i+x49J0w1mZ+ABkYkRVfpBTLsxGenmB4m1b3ZIsJS+WKgql0/o8Y+GNORWYc7xtbhPfQFyYE3Tl72idz7d+qMqpz1pArMbSP2/GMMAVonjZxjwUigJrCmDCxHyl1DJs7kq5EWTY/vDb8cQaewWWQJHOSo1ajfzbr2btz+289p0ducOy1UGcoT0pe42ZOQ1uGx23/9L7E6d4hB2ycwBvscOsp94w8ehEhruEmO84K4n1b5ngjKkADjBqdLZXkNZC4BnuHxiIJ6yhyxC6q5NmpuYQ+ANb7ob8fr/tTvMT5geU0l+azYPjkffvF7Cf/hvOxgFEWVPUJK3EBGlNBKGhq7LevQapeRgTlU6v6ZpHppRHZHy5/d8SX9BWDfazw55Y0NwjFor9NleGjAKgJOsSYaiHZcqJPuSVpKp0OGh7KqeroNzHSwebJIby6Ihqnw3vQM3DLw3LSQN5vaprEp+wdwNJqqzAzYRiEiIiwXEvdPaxHf99iU9iXr1Y+LaPkg5yodE2LhQXSTCGWel115STXL2WNZzNsIGX78vwcPbw1wqHaX3zKHoiIF5TotT5LlsRhKx420IU6rfwdCWmBJpUEj2R0EN7DN1J76FDzF1gFVwV2V9DM1s0GDaeIsP5WlmY7n7sq7JbglMmoG5hhi7yksHpJLC/KhuvWpFHewPxlnRmwC7WOOZUcfJCyRC9LfK2UVGe7cJZoAT1uD9RdUE+W3UqvH9UKBiboupuaAhXKO9skkAnwm2dTtJKWQNyVv2IZEq0f1qsTNlULccAPAHAH1IHOcRodkj6XvxpCBUjCzvbUrlUZIkyTPNLBzo+ev/4L5DBRVWXedNWGydpH7LRSxigKR3xJAjRoq72B90kKx5JKvi3YT57THsq+A5Tn9XsCLfHL5GCjQgfVryU50ruxOuVo+GYFpHPkyqo+j+7Wy6HVuTshWuf3g7J7SDMfnXCEYyKgCWk1MDx+b6nL3hLFvOTd0l5oPNCYmQXH2VafoVX74/Wd1nyU2NjwGGIvlhZtp158adukY7vFs3S8IKldy8FivJXMBMgF4lLCuQJo7ktjJsfU4zVBRB2KvpmRQFdFNpkXnqnLjY8UcYXz6npV0rNSCOyOVG8e/p/tqqvFZkkddJI2NqtZGofSvQGtoKP7CyVp3mfbc138wRpwVAaK+lugWJDeo7MGOXS7Azuwgck163UlTnzGDD2aYkfdsNSWIHjEaHZUVi7MaERtmHOLJCBDV5BD2aQYhMWjKsN2hwU2Nqq+lAPnPAufAgQJ39jmPFxgFIe6dh3vON03ACmUO11W1E9WIZOn0QOCHx5ay+Trk+tYFPoWK3M5PoJcj5dxlLws5g4K84El83b4yvQtdYMauBpjX/A6l7pFafwJCIRmGBkZKRqRlB6SDmizYpXQm7FqD6HdndFOZTKP3KNlQ/2Z6cgT2Tjh/ag2EhksCM08W5pyjwix8znZEMfOJE0fJA8gcZmO+NE6mlCJHgGsr7UWdESX3ibPz4yDtEliylCr8bESPDoy+K93LlwCA1aBc/ljk7m6S5lgGHGOri5XB3VFDI1I2O1lsR/CqYDXjqdqdBjQ2XahHqlzr/xYbyVuQz6Eo8Qet9k+bvCHBPP2W/aYZLQ0RSSkL/VG9z8ko37w1NCBMwh23bOONYeZZDD8ddCZDi97kNXndItLNWqEgRT6456Z4tX8KbRPGClWeDyBodh+i7P4+OLnM3I36MEmYdEuglWoV8XlRN5sWQs/xNgP2YKBMZ31h/HQU5B5nortBZ9hfx9IVLTPA42G1BX3wNPWep65fNlk/9yDlQ0x+TIXhG92o+hMCQeSy9o6bGMf0cOQPviwjIwQqw5K7mdFIWcz7TOzyKxtEb+zW51HP0KAt4Afr4Ub4GbiMT3eGyxoJ/XmtO2Iqw+6cLS0gPIAk1lzXCOu8x9ak+pizVFe9aP/CiMsH0l/hYU2XY9NrZe+pBKVP+sMHRgEJZxSwi6XI6XIJOHuHxN0pGyhLj7fO+BzY2I+5gCzcNo/AJqOnM2h8WDfskwLWslMIkBcSH8MYCwBLfs4edqz1CcO9SbGEX+zYZPAt0yVovhCes8v4fJb1bRLBX38ntUCvIZXCSTx46JDNwC405NgCygr94zSiUfNTH1ZPPyh+tTv6ApN300XEpJ6aGbcL1fHRoPk1MkfIEoQNmeTXTNj4lRR05urVJUscyt3K9XVPUZoxHPnP00E745N2QNevq2/F9APp52q/me284S1zZ355Xqhd6x7aFBYf7ojRZy0ftANtK/wfc+4g47d4yDJTIg0AZRarVc9e45EOq/R/u5HuB0MsJ1GkXp/LXVb5Z5By5BeZxU1GgDpCkg0BDwFKW8EKDuSXMr7VFkHebGDlS+Z9E+loNOd7CbBeyG7JwNP3tYlJO8j4yJR90y16ZUwCVpkCryFUVykFvkUpt0yo7OHrFMYMHhrJ5k2kFjg7DGVYuyOlwxDUEaGc8J67rj6/Io4bgI8a6UbrvzWl05rE1lL+IChzkiRadjaBifSv2gWr9B0WsIC5V/S9opq75KhMUbtzVN1OshEFaPRk1oj7uSeYpXdBanVhJDNZAGN4ltWdHzGCDFXVsqzAxk++yDmdbahE4sWI1h553GIxZI2s09++hQTqFEq6bBwkxtW+0mqEp1jNNhj8P/7ohB2YwQ1OWQGJi08992B2whCW544442eBd2PhDtpwzFt5SZHLutbTWqCy1WF5DKsDA70dXE/pO33pHilNUhuOnfZYJT8Q9h34xehsul9ZnlBCyi1Qu8l7dAvRNrAoUXtvz/s7/Fc0zjNgggTg74jxaSBYfZLcrfLm6dQ1BEWfT0AnlUrUPc3LcVmGkqQXkC5tD/MWvpLDz0K8+y3unQCPuSjg6RB8wxJqo5i5bJcyhGlpsGKZd0TiHgd93Do0knQy6ZzvNUVfINY72y4s7WD8Wwa0FJMJe1ZcFe+R/LMcsx4vj+dg3iiCNt3eb7qk3boUdbTEpEOxuYTwoQy6zJ/nrxIq2DmKmsx1spI1maLtdpi3h1uE9TaN+CkB5Mvlsg//szbvIfu5TOK48zrWca2MGwZQdR8d3d0Eu6AiUlILQXQH5KRzIO0gsfhnuZzW6gK6pb5jr4nzaHKEASlvLevC+fbeUq4F31akcERjmJ5lpvp8DK3so240hMamGOk5SQOB3DF1bIqI09j+mmaps7tNj1vwN+PtWPULsRak77Cqi2uF2iVo6r0/wTvIe0TLk7qEH5S8eANUjg1HYeOFJpCSilenqd667jjyz45uIeqjoT05oqU4PQdO3RK2bFkQPAENU1898aIFsXX5M93QYAIG37rpD8n06d49XaFC+FVk9swLOyxIBaLWInqOjE/bpIUszM2F2pr5cTyPLcp87RcpotCMmDE6UNcSLSGCuPSDxF2cGcIsJ5QHsSw9Ma3vkl3iQPdbkZAxU2avY1hdxPdN2e8gwRv/AngcCsXNdgRvCkECy+Crwr8wH3zvTKE44DclS/jvsFy7f3DT4J7NuiRdAI2OX4zflcfcbxfGEcMsS4UxzSIX+8XcUSn8c+a9iBBBMaXvHZxsfe9iO+D/Dj8BCyfPF1BmdZODPN7fber3JGJEKpey8xm0Eeph8NTP4L3GyPrz9dXXKmxw0hcFROwuUTKpVif42JlDV35TWk9X+rZeYrMMhPDYkkvtcszoRNR13z7zVRdH3ElpQq9GafBFiGgWKtOUMum0Jx3ZbjDhrtnnqs6F31DHJliEq3gP7Yg/gomCLV8RbXXc+rOAibcFWTudaTLS2X846obnewi9sMTvcHx/Gz39HWGmMsBmqUXaFJ4BN0WiamgYHivvklJ/9je6O7exC5WL2l7cj0jm+7ONdcmAh1wSOPoCwCFhvCS3Hp9IKXm7CRYrU/PMhxADXxm1U+8Nhropg9lOoxWWsTfERfeO873/eAHjiyPD2ww3Gc4bEstizjRtRd2f4wrPFIs+anJJWqQMCqVcqUeS4mBsoJrPuqWfox7y0epSZ6lqJ9uH04qjswtvIBHws3BvREMzNScahDGbHmyiOC0VKp/rmFH9QHxhezz8dZy6G+9odDrklXYdQTxIetgsm6991iKG8l7fd/oC1NSJgxX0tM9W2q/obYIaOMdHvUNPHmXp2Aya754aG8d1DJSwBjDIsX6O5FnjkmJh1fQKz7WjS8mAAG3sOG9bDe/Fvt+qCAPX7H5zNXeVKsLJKh6SokUO/uzcLDNlbLeHXgVUW5e2qerW08cnxGfRal2m5wyamXNMJeJaYOhSDiO1B8Sjc6Vgg71A3cl+MFeR9lA2ywHbrA0k4ghYbcSFneSGH8gQ049YjQDPIV79+arkX4x0t8CafRaQQer+g10wJ4enjmbMbQxlxLovbhTwuq6pSwURtOhnHEMnELXNFzVawfd2KgUkZnFZBKeGXvzqleKg6ezsT4mjqT8zEkgGh2Mpu4nJebARhffgjCHQsq6yCZPu1EgSPxdn2V5XOU3TDd+EYKO7r4/JYZM3fnSqtsuUO83Yg4630MsBp+/XUHWOHjCcvqYUrk/h8OVEIkS/Ljxf4oUhedCQL/6R7f71pEVdk61lAZyF/eHF+T6J0nTvaGrWsntkdnU+rloB8xvQPRoO1GI6dArHfEHE2eT0sHbRBsqPdTgL7Plj/ajE+Cky+i0KAF1OA7OvtPUFLel7DA+zK259W7LOjn296zAR58fqjj1iqO1FxdbP8X6hMZlOW4sud3vToZWR4bpu9ng1Npe4+iL/kJXTPVbwsPABX8beI1WW1WC5o14Jh7uSnC+NJSk9FjePYrf9VsDPImqBdH07HggdsitNHdtQ3Hc879mYQDL4ylhD3YqTQFIwzOhURj7d8g0BhAXBI+PhUmCGHwtuL2pyNELpELBNqe7RzDQ6r7Ev+9uaKFlINqCWxoS9kapzwOcQ06DlDmeNdgpLZhtthCSpaxbJD4JIsjwmvgSpoXFmM9y3amssgPXVFRLpr8g+ldUHY0mJYUzYh1s8TqkglLEtYBbu/E5G8x/LasO24+4msEzSuyLtlBu1b9aw7v5kZwlpvdLiwF+tO+cBYgdR8Hp102mzutVN0Y+dbY07XbTdY2qpxU/9QH2vzfzNp5V2E964cdLmQoMlFDfQVpX9K48NtZgq6me40cg+RZ5mP8NjpoGmHlT5jTS1uAm/A8Qzc6k/MUhIaW1+s6xSjnCd0SuzgF7dV1G5S82s8b91nBp5z9hAn0Jp6+nBjxghHAWrt+rp/av0Lm0hqgIevIvU2LGl+Hi3j7E3jSq08Ts21zp985HRjeZHTsAGVJeY7U+5lj7NNzrb2xxHPEmRqNJaqMlz9ULKAQSwsSj3IY2pbFR4sXUCF90BsgNzGDnYExR3j5eJNpPMvDaWWaQAPl2nQHR93p6hDsvYziRDcB/48mZTvR6Vk1XHB53Q9qAMUojQ1C4oxkcnIm3QPFF2m5gNAfmlh0cZoMno3lIcpCpje3cnMxDDkBgVkR3Slaguvx5MFnOSFOdT0kvBRZ8pljzHWL0ZYnkapan4yujKdpL+CFDUAoL42Pjwwv8yHrjbLlAkSmMF2wZIuRHO4zoppfll0sBq2rbRq45D60I9zNPGtIS0QOkDsT5V8MXHm5O9tYrP9lm1EgS5eiL+ZG5zZPbm7qt+6lNgDV24OPZhq/PbH3YplY90Ojz3p6XRPM6gaGt7oeswz2PQZkpWblzgy/qk9B3EPpkVXIezj3ZwvPEQcBBCNg/LkRx19xPAwFLcp/pIt7Hii2kX1twB2YCCAL9ENDhEs+7O6wZwBnpteOMhCDzJW+vV2oRf0YOl1vopiVl2hY+MAsX4tW0bhTtw1GGyH7F3qJlZ+F8VekAXeWJskMfYn7ULdbd+naqc5ZyCNtJyMeIQp3++wXZbxMC3DxGGwFJTEui7jDMAmNRl9FmW6uIIveuFXcS/v2eNXetAcnNd+6D79exHelPZYg1VhzsorG7pV/okaPGX9OTBxsmI8gc2CS//nkhU1+q1+Ko6jkIRciauqyDsIlQsVPD+AxYzjrqhpA7mT6mpHsvjnIUV9rlpABaJUSuy/3qARrFsQspH0NGt6KIicteYP2V6vl8gAK2rXu3Tmj9bAsXFaXgCyDpEE/mENtWL3uavdPGoSAj3VwSWR8XnoNJWL18nuzBGyMHwTR9n3V9MVqJwBuy5JHbhGtsoLRKYkmg/n98PJmaEdaB3eUMGv3O2t06DnpxJR9y9qLM8vX0MnwengtS0Cb0Tga5rWj3wsWLKfrUrsuzjsaQZ6w3ERZu5mjzo/XVlFUl6nZ2GF9sk/XMyXIXbIiReO6CG8cTYvYDVY+zhCWsa/5UkcAwVgDnAGMwxtDjBjHbOqHlWFAL0eRJ59YUAajwJzGUN/9xvTOgQHJDKq4lmeJUYs1IhO2CytDFy+SGKTce+bNprr73weNA5XKLW5syq7P8lWHcMIRzBKDLcZQTGtZXHB/fTXTUlXIYuLePPFvIKxGbj6/joEuJVnTr2Ejq8jApx3ZpoHJz+9acZsiuII3AdD/Pxum4Qe55VAlGhYTNhKSQaoW2AUku/ptAsqS4EVUzQ0YEbvsTHNo08lj8YH29SH1l5LmxZV9jqFl5DURiYJyyuJ6XjimxPXKDNRe763H05o30+Z80BJd34+gPEcWIgg4vZrRWOT19bwCELuYYEjD8+xU+L504HJSdfwuCVSiN670jUZ7vvIcpFVLCqyw8w9in+8crZLHTymmf7Pka3N1lkefh9H4UgViazk2gKr97a/mRKhGgRd52Mv78h0gpWKy8hz86IgkLyeZgWkCkQT8Kk2jioh4q6eJbfKN4FIvTb650tTGGEvzlPjn+/wxLT1y3guxb9WAgxxAFpbJEWiVgu0pr2OIXCBmdzHjke5Nwjj5oR1czh3v7cFu+TJcs/jswQ/Kg+gmUmiSCNgflhX67eBmCLwB6kHE82JdEc8GFgdnLGA3L8XSQ5E++hKGAHl3P/xHRl1Evo5c8YSH7EMpV9Ay2lDjdNUWzcude4bUltfBARlSmCw9Pwu0HvzrJLIKlSW96H90p6zsAmlopU7lPIX/zpkXLFnuHzqZdLktm7E7JxYAnxgHPY3x7l51hmkPQ2BmeTBjT/H18dAbRTTKKbaI/xp4j++YGI9nv23OV9qMcFGc4H58SAhHUHVM4c0+y4sdNzao7JlAN3CzBRZVMHc+PcZkOYs2Ku6b279KeUpjE0hB20Nz6zuatHEwC5byrxtIxFVOPscsN7gb3keRDrs2yEOW5EQqUUC+C9RSqHYy2QmBykMXPo7hZkok0anhcLOp1pQwvGEC5L2aqhoGwPMaVlNdYXTz7VniEhk2ibhzztBugPJICzw3B8s186czoUSLVMsrAvbjEFx1Yeja7NcSlaBmeNG7K6EdDBz/uDzqGaHXoPr0Kfqdz/wSjmL4IczmcNuxlAE4GDmjG8ncjUKY4vzEf000+tnsY0GKxNc6ybgYuuybRy6e6z+WLcL0TEvxm6RjYbyz8B4bKuXcrI9ikH/bKmCm7WF8eQGr08H1SPDsQwcOOOCK3Zijn5h4zzxkrKS+aJ2sgeXncK5RnYvhzObx4mrO/hccwrTRx2zfNBxPgwmlJjb60puZ5lUe0j2IBHIJSIM4xsamgKDFOCJ1AIJ0XgaVw951W2ZRHJgY0lLdttNMAj/ReTNDr3JuoaiV0mPRoS5orF2vAShKO/AzxWaTr/rwhzKTCxeA/qoqmFBVMXZoofbEF9LaSCdv2HwpodpRHJ+ZHBRqFasViSbeGw3ZYPy/84t0/0KNSNR3DdARsG0avLZmejXQc4KSmhsirG+HsdX5ChY9qbjRGztA9MapHLIzhSsmL79NRpC16lOOp5TZxhqVTy/ydOiXedhjNQba2+1f4HsTvkmurImoQbL20E2bL5X+cfEDe72u73UZXjEgwh/SB7bZrkaKegTl55IyfdThmYOc5fA/r/jwWbfTvczupQWXu+I8n+yq7l5XHbWu6Oocl/CddN4W88UXeQ1L3J9suIcqH5JVZy+w3ckHp9WCMYAcDYZISn8EZM+6ycrAziISyzcpBdqcMK3q4yM1iZRfofFLBQBY9AnDF9sVhDQHMu1lS84TtHrDobC0p8Ayub90dg9UnqFFQhcmQf1tHDG8JGwa/iUOYOp4iQsReMWUrVhOaIIi+VR9en6+xPUd9PuJ8+cKTabe1If9uhzD/9ikPfkqGs0XDNM/5UNHIl8pmtKepsCV3Cvgp2bTjeZpnFZGUTfcb9qyPXdaXkSZ0X7/kAQerHZBq/2m89KJsxOsQxX4hIfW+kgPdr+t/LEgfD1pguokAXRWkgAOfJLXlOlzbppVGKkw8aja9pStxWtYOLzqJ8YrsZa7TuvUoUgqaS2QLvjBzS8M2+cwfDtQAe64B4TEC928VWb694lIOJBBxSUHjhuudzjnsE935mHFRyMU9f1f2wUoc0wxKvmWB+20toFqKFvqhM2NpYtNCKRtNEn9noQq0KYl0iYVnbX86C0/PpCWfctLuxFxiLp3SqNdwaybKoPgfS9PqdY5uvO/akQxb2Vjab5E1pJs/cNZSsm8DN82ywjmyuhMCBdtjQo2eW7lFplO8holVLPsO0IeBHNw5ukAB9cNiJsm00RAHro6YGO6g2X5d6+20gTib7COjUzjHeHZr3V8/SiFGeeE5DXPRCjvzS4UY8nseqHdZfWUhN2H6fWOLcahvqy8brO+Vw4PAMknxiH1NOJFemFUc0FldS3Il7q/8rx9Yd0eydAgkdxSvZQJCHpw04HGdp3kfOoTbtFs8hzeiT5zpPwoIX1smozV7ICdOnj/u04aagniKiqzrF4tpqDLfvOghRtUc4yhZS1943DpVo2fLeVmafewH/6dp1DfuesWXv/A3XjaCINXtZqwQbF7/xfRGPA1fDNs+qqTlRvCJus6pEjbX3oCY3T0/nZjg/aLLRG/MxpNlSX35SY6pvuEjwDghGENNWGYb/YGL0ZKenfWtTDRXfitm3Z/u2AmXyPUWlvekD+2mqcKRWDZS58+TCYK474A3YnShCJQ6vNhTttcxOequFUOJJNpUx1u3JquS2JLqrR97HOVbKLSqpHZX4ih8ScXo0q08HapsyB+HwNMK5VBsSSbSRNtO1LBldy6KD4zvNnI0ENhHlprWkgD6MROYaJJAlsNDDkW50E5P4DplrS0NED7a17sjabdA6jvOdoH/nke4M/LI8FDX61Chow3tAtvHXqcWL6g77qg8aYRTgdpMv5+2/ve6oosXTO39X73d5iSvki8koAJMufCZjCu6+2SLSoSu3PRm8XTfoxQYnpezRCIAsIOGoo01x+zVyFJU2QkoVSUcZof7GZWcv9o9mc7MVY0sapp0Fp4YGBudrSpOC5nTagvHwWVJ2DlTPXqBirmG0/OEUl+H7zlVLF5g5w9/ISxx0mJftM1MR5RDnJXSH0+oT0cU0Gf8Zo5gjidntYO4dE4ttJDMPqWA0BuMeGRqBl7hwPx21HWkHM90lNKXOk8otN9d5pmvICwNmUsmwDWYU2sT/+5aLMYwwiC3FJI6IVjWJ6ddMrkX2Uw/EceYICVCe44hsuvGDWIGTqX0vKMTxyI+796BO2Gle+ozQD2T62/7Cy3kuZ15rILClaummKSzpnuZi7R7HSBlrfukRXmrdLBx0SZTugjJeXxHLrKXD6T4a3CMD6j+Sa4Av6V1j2PyaZQGEj7EcHabpZVFPLlLznKlYO912lKNonrbagXHKkGhtieJk6gYjHtxeAc7pAz8aprgEvsNSScv7z0GZTD6HRegIGy3NNkuHalzbXHMcpN9ffJ3Mye9v5gsreUwCaTrx+KALXV3BtlPl+redRolISxfFKbqQqRboQzFUgYyX1KP+33ewgt+gsvo+TspUaCdQgzS+nbrx1MMusQiatBHNuLgofwRyBQ5U60ODyTIvdtyxsoz8vFoLM+Cc+mVqdvRohAdlxHA3hsmVmjr1lU4Z6L+l83ObvrKYlvfm3Wj0oRXhSultK8GYBBlfQCuy5FmjOZM8+mjnOTCu/ud7Lx79Sg0rNThwPbO35FFU1nlJZcFACOSMZrfyh6CwAUllP6DgtOzUaJTpc5kqwOTJfoQ9gDNG83OOx7Z3Uo/KVvQyYJupCvIs1pi+5vz7hf/9T1k+OUBg37ZzbZRfDPjmhXgKs7YSTmn3MG304EU+l+69L1fljidNcDBaYRNFJPbSZDs3gbhh9n73qxSgPvbijLGutHnpnxjKBxopCi/GwzNR7uegVQfLcX61GlPrefZ963Tkov48lsjBwl3BvK70xjL+jzUIWWAgPg11T7FRnbx//AOK9lubnZp5c61rzmPiFsdS0S9UmxmAQ8xW9fQsMGJI9Wwce5sqIIcc52WG04Cd/I6lRpixtDQaGZu0ll8fUvvf6DcBoM8Osjla49LjpYyOm9TvR/d57eOczV3dXATrf4TwcPqz9b9FnWpZ3moyGnCHShjayRQ185mi8DRMgcoD9njvOD0aFdOmn9IXeF4hfzSdrCgOnRbzxsra8QArnuBnZtdwLckrfNwP/f3aW0QvqwCtLr7cfhaK/dRTV592q0kRsuMoXKM1a/IW7DBLs73+CQRv2lf0rf2oDAW6LfadQV5Jw5m3ST4H6zqmQaUWkH8sCsr9U+nBsdLlTqtIEwAzU/CQflga/wctNOUvh3rYeB6ZBPXwiDbkyUJqo5p9hqHyoq5XDWP1Nm3XgUEhua98kbFlJONwqUBHofCFgj901y0IeMHogx4MZkDp+ZcnomAiFco2gEa4ud/ABF4U54fmUoDt6kxE2Ozpt3XJw5kDWfiTPiBZINEKIh5eXtMd75m5zOIoOkLM3TPca5jL6Wo3zL7gQyVeZ+b/eliAh/+8Tzhm6q6bOgvhZHrEyyaXqzIsDYgkhWOUVcyVhv+oOXZBuQFjT5NSMBblZUoluYltZfEyk4Zlw1GPPENj+DGcIT3hKLDs9eQHZHCQ8x0hh3DfPanTdiwnGSgBEBZL5kX6OdrL6zBEtuPCfeKq7DE9b9yF725o57c0DRLhC9O0pF1byV69HYSRk83mudijalqtlRL5qoPQV3ZX8fLsn3VCs1KR8dG/pHRpAuUz+NOdbXa+YEcDBEzpfPlzdMO4tm0L/Q2e2bJ/ISWK4Dld/eRRZHjPrD38m0m01zlr3MV6ddAD/qXml1zB/XfTDQAszJxK+IqWPr7gBjKxaikhln1i9x2+WFTtR5xTZSZt9BU7hJ0J2aIxaoEhk3eGjPKdQIyZ80gQd+dBjybe5btGNhd6Uy0jvIwyR66b7Q4bedn1Dtm1TBQQIStUzd6rov2Y3Dr7LY9Mg1eYw2baj+HkgRbNiD0SIbXat70HTe/xkM64WBCtOh0dEzgxL7csPXYAlUYK9P2t5w3bU2+8c/gl1GjGRZPg7wcRvpC3T3JMuRcf0hEzcznRUDw42O3R9ielrT0JAcYNeP40DvxuUpkt5XV+DJ0CN1YOaDK8j0kG2Kl9JqCQ2h/uL/YH+uO0SgUeb0YrrDraf8gPryfCInrXTD+U6JMTs90v+lMHcpCdJNrob3h2b9P/Ejd5/I7YTvFFKGK+FV0A6AAH/cHRzYEQBH6bh+4zcYvKALfVi/MIEGDqRR6j5fjRVl8A9BXlcAIWCobB/1tqZkpJVHBBfQKcKWwpwYR4JqG+cVMfDfkvEV095lZl3ZZG/mWxlxbDfuqHzKw83/n1lnapcphAW0QXwE7MZne6BMTNO+ZTVMYrFMBSfLfxSZK/UAJLBiTjQP2E0/aEpE+iSFUeHE1No4XpmD7eF7tUxF2St3QlJ3XKMBhZFUn1mgNAoZkHhRK6PFU7NWXAm0AqAGc5k8vXeb+2OW+zsY0jOIgDz1JFfDeAppB/5MafZINHK+JEp/NYmmn2lSsyCuKJdi3UQ2epnMPAKK0mROdHHp8KZmV2mRo6uCE2ZVI/Q5sTxNk+4JL6cDDsuG7J9RmJLXvzRoeCUwGQKXI07R2nxm7u0M9IC8zL4UnrzwbqutFQXg/60OX0N5Nk5nu1okf03BUdfZ40YKGkJbITKIqUUgAkplfElWBGrI68jsfZdkyh2hgSQ6HwbYZyLPW1RzDLkXcwZaaotMCG7b+g+sb4nxycvHIDDTAVihMKak4P5TLdGSSdJCxA12LZwaiwrJ8oQz7oMF41kQz4swJw4VJj1q6HGZRYtvY+8SXwGOt2XwKurioSm0SuUIJbO5P0flqJDwSujNtn/X/cAkkWuMsG1g1JMQOVdY+3hGvQi5IydE2fieuzH0wbvNmoX4o9M5asJ8g3abvsVkKm/HeFjRrv0Lbut0YZiSoX2iKSu4MCf2czHZt0Cga1+c6MKGT9aHJO4Jl5aGcr4B60lxnUfAymyXD5o3+CJv6YvCjtkFEr62gKxd7yWECOLzQvHB03G8dbWt2HwPPGe5uDEqsZfyu09H1bZMdLLYVCbZQLrpSJXWYVQc28i7zPGMm0/qtMhb69YNABlHVH5tNuVjGeqCnwpagDGbb1PDN/JPy/ho3qVt/w8KdlARI8rsJMU35fatEUwPaS/ah6LH6yIT6oDzfxaPxgTB4kH5kO1LhegKG1LS++ZHZ03FYego17GS3WqR0aqldZXRHquVNRWqB+cEVIz4xQZskniISRjAVYjg/73i9sf68KSM/Agf8pFMz/OPP7Dox5lJbAaKnB0UbshMpaRBp2BkEoGUEnhO/qBbThDc1TLN2GzOJmO5XDAYbcjNtEoQUkQvgNDoWHlMUYV8MnjsWRmxiJuy0cCShY7YNUFt6w3FGMj5hDg08FYAFdbKJLvDSI62lqJSJ6jY17zoFZ+Ql6WwSgFAMxMTsIlGMDqoAa+0zojcVsebhb6DJbD5K9GYx7FufQTK+w5Y2DSEa7qYz2YaYcbgvrgG9SIwI04y8qU9B+Xj4QyMk1u4UnheYZcg3Bm8AUok6RZUIIQA0EQQvXfwYA15QnqaqSHYBrTY4hKQQAShYMx/g3JImbAgcTUos+LMxKhCXOgcAYOIvMFTJZ5FJSF/pUmVvDROavzU8pnk/R8RxLfkwn3WpyBqe7AsaXpbIpPJHVzrTXobRmD6RwqSZKMH9NzWwn51PiFhgFlp3QCvsr+M2+DSZ79TdzYAjjvywg1loPV3PcZQkdDgIQfJOwNMShJOzfL5h4bC3xWhkGNkdIhR+SSo4gxkuh9CVbk/S8PCZH/sn4l5SrbmTcuw0YfpbHD14aEBV9cKptlhOsd0rto2w7ITaxXLbuR+UY2xfVQ4xeAYglqrLX4UgD1D6vQqXIAzw/MbySgvvjGiksjJolZJaRwP792ALZNUVIcG8234+ScHpCAEFYauWNhIKVbpaIPED/RK1jcBr9NuX6ktHU6DaxmYYXAG+MLPdeK2AXffCWXyJJYr5xQtdkz0XsqKCN8w/TmnvZnatgPR7iVwfKiZj6tDD7iBzU7t9JdYTWWn07re4jJ0xW/HOywK7f5B3mszJyLY8EZTcamXa8Jd5c8pv8mmgwC0TFUnZ/Q4KTYV07B7pdn3jzGNBj72MPS27fMW4XhcMPcBvg6u3nHCVHuzX9ggeevQWEYDAYzC1+4ZXzFMutGHDTwi3/9zwAXmp29Vkt+igKMN2/P/E+ogGaSw8BZCVBPiKO+NkUT+v1/dTGzOqhE7qLGAJx/EQ26sFiphRVvfiZOZoedaBzT2toZcBZ1RanAYn3xHrxHH4NnBPrixAmaXZGSVN/7FO4axgpas/SvzU35klfZoQfrApPlewCRn9kEZOYR+kudnGJlP7y/V6lqcpAB/hyKwCjLTfTcKESbhEzdktmE0fJBClAR7MxnVsH/wkqpz+reMjP5ZnaN8ch21mxt0pdVbkLWARwr/rCubGe2mCcsrUlXANK0ct5GXwFWDDoAMRK6IwhRhzwSel/scgorVcivIQGOSqJpjk6WDiraOIyrFf1izWJd3DU024JR8RKVOVuOa/bnhebkwB05VgBVgnpUu9YDi5ZtqK9dturOVEcA0IE6/bTT732pzDa9KtSi5SnLThpDxUWfYokhNs+9/o10b/odUaZjh3Q3NO5ziWFP6h+5mJsmuCcBJdZ8QdGuTGzo9+46W9KNGOTgJC91dgImLpShSnMJ+otto9iYgoqJHBapVQDEVxySAsp7DdgiAe89NzcYicDc2/xPt4QFTxgD4xMEhBKepfsr0K01/NsYFOjE0jUaJvtUT0+z4ZXOsOEPuMh0Z1Gz9Sl3cXeV+15H/vTwrSelwRrrYdyBWU/Y8yUin8Jey1i+s+2plr6UQ+r0/4aQu5zYFpF8lgkHdsvld41dxYUjLw1Hm29rKVkJ+1EUgIETo6k4PpJb+Fo1wEroEDKHpyTad59zXrW2PZOBxvi9hwMwAmuoZjCNhBuBz5FZAUDKuegsJd+i1O0JpYLdEbwjXJLXBWKglhu63v617GzYoA1TtaZPdPmh0v/iJK/TONKItKpp7hUHZ02n2GjkfYlgrLNStctvh61/VVR+tjqlzO9N9hOxIMWlhFJJeG5ZsSuR99WI4IBh/faR15+sxaiLC05SZVKq2qwVX+S4O9FZthtzeZu+BuZTZ6OmGS/feDz9cFJE6hijSJ/qgz+jnidR98lDibLbioBtWUv2RgWpAdgyxXsCjpqcu9WEYFENNbd+8ACwK8wSGJR3BpPXqHViqyO+1y9/SmFayWqWUzC5S1IbxVlLvTBpiAgAbooldHz/ciuDm+PQksFeDZ7yeOR410FwuELrl3QMfZy78lLQYb9c+tbbPtAh3P1WaqO4/4eQh18gt6bdj+m1Xld6jlXMIUyBJ7Bql9tzBi++Ddm4ZbETWkwvvE8nj6wzgslA1RxX+O/Gd7yyYAMNXBJ34+EN4cJy4CrQrYXCxcWao5KktwCfvJGDA2j6bgzttWnc0b6a5N9czSh+nxwTOeR5Pq0wkWg2jceHT03vapli1GHADJSRc8jmYNsUJ17cyL6OQ4Ap4vSU5PoJSJs55HO5dFltqGryzcm7+ZGj7mFFUD+OO1dd9llmZxOAhUXwtHJc25mu6K04KNt87I2eKJMqkFA59YHSC7y0TUbbWymJCPk9PpZgxzrroJbO+j9Ms1mRXX0F/cLGgO+YsfkqLIBeimhPfnL30d+2rN5HGymEG73f02ewRxz0jURrZCBL2g/HvDgFHZGSiHMkeyDSbLpfnPMKpvnltdtbhjpqaIYwdmdf5cSdaC18Xxfp61AtmYeGsL0G8d4X3o23/WD7Q9pRJeEntdh/7Cuk6Qof2tYOSvuebz5i1hue3qArTarbpmi9tS+5UDiPnF6Msh2gm7Mt0aR1bHA8/bNG/wYB9zfH1WRlB3VSNVw3uLzBwsQsRTOH/OReMFcGfuSQIvnLS17yi+A8PxfjF8TjvlP/l/ZYD9UrmOMEroP8c5ddtriqjtG0s0bLdb6RLHf+5ia23C9o1U0fdwp7uRNxw3b7N6g9JYOFEdPBZaYnLb4FjMxVuf6vPcOEugTxuM3/SsNN5/vEROeUcWuHtb52fII1fPD7o0jObNp8QdIksD3mjP2bZPM8kRgVvD7nPTajfITlBftuhGZxHFHUu7grSgT3D8ycTeHEFN7gfX1YRGDs6Qgc8vKqVpOk1KcSIQdRXT9YTKBuSZrWbogduIVEI0TRTxHPCbud6eHbiNISzOKvKmQpk1QVLpXJ7vlAauN07wMN10ptHkFZZUQhseIbG56Bw313RZShkCcY7Gh2UivKNhysV7e4NNEIJ8D3fblE0rcu1H1O6/rUji0cxtoDoTi5MT/dvB9l1XbHR/YWG+9YlLojTZpyhWWCyg2Zeip/OgJhfOGqxJc40pbKd8i5jyGV6DUW4yTk9Awn0GiuKV4eleQtgTgSZEn5PdbgTowWc44WMZ2yDhLIf/H140DKl7713nanKo/XVyNps4wCYtgejKI+WizCksYc4EHg+uBdLCNDFJz16X9w0mDs7zAbfi0gyvo8Zf4bqFp+9h7EQJfzJpatOEfFovDCvsgUW2spK64i2dTaBXAhz3ogpZhcOqaM2E5fKuU6n8nXt0yTC77GphPsqz+0ufnzmoVWFWYH1cqEer6EPp4bwWp8NEfBNr/LgBKRtkxHq/1AWW+3cGEX4EvbYOIM0TUs+/cxNpK/NQ4GqWYw+5uoZVBFDc+t6N9Emv/sLfv9EovVnPSSh7C1hsnz4y4EFT0wQVz9MrKvXOTGmgVvrk8FtXLRzcvqEA2dbmaqDR3DfMZ0wEpqtoXyGaEXhzzHHa582kR7LTap1qQlWDyeUur69mgbbbjHwsO37GRYVJS1VHlKICH/If+zk8Unr0lMJUH0PlufTNhkAcvH66R51ipui0GpYAGFgSiSE7oRm7fKRA1oMRGA6fhF/I9zDJ7efxPvQ+qnn2jvShypf+GII4EhLH4MdlC3z6EwoLOFnZzjl8UQeZhqtu0H962u+XbFYxF8cRxK9DHLlQy6lCidvSECj4Dge255J3aYgHm+/VsK0OGWkzgvtI0ECi2EM/UxneafLAOCugFMvtQMiRU2Hs0o6KBUi90F5pLPapeM6BN+FhonITFfOpfe5UnzvYCx3ZCR9gZtxTGSHR0rwevR4wz43vPztgKyfxbZZZEyqiyfAWBgwNBj/BH8Tdhv3SP2wxXNvQT+sWpza42PHrMK2rDIPlHJcyIanXsyzQZQVFwh+F2wijQBO8u3bHG8JH08/rudYRqBqUmSlfC1ByIGsk0H5IF+nMu2ceRP9SYCEu2fQCsQT+BgngIKXTo4uk64PtRPJWQAbLwM4oXq1+lypcvsTpMjqJbVUEukIh/NweJRTpm09aXoX6y/elCJnlU3AemxFh9smQo9BKg9jH7qcDjKQKkz7Rl5UgJBPVW61V74+XaeNHSSe5TGEZm+Dg9sJZTHzF9mWqTGhFMA+iLRQkEYwWAEsj3Z7NqHJIIhLOl3WUo5PgKUvHRXWfrN8UqanmU54//gVhsNRWK5OW5f5lWu7XMtw9o7a05xFYV34hUYs71QLQ+zSJd+oEk05LAwPEitpv0JOM0/yicr5jjGT1Dsjv0bD1tx7s/Ags1ZElCxFlFp7xCM9jwvKYUEhA7A+OraEDGiWp3Q5ZhnmB34Hf08rsMmEoFcw4vkLxrNronBTc1UQdTqp+uXFATxQ9nPCbOWJ0OV0o6MScPwF7V1CqRNHM9O/b8ZLjhYH9gJ8KXrFj1dZqOxf/pFtLTMytfTnrv0hXb5qAKkSUI/UfmmpX/+5cpSro4myKhZJDtGPrCMRYYr5+xqo+wb6x6B5lzknkAyUu9OQGYSalNAjZNVE1lLCsCj7JfZzZKSRCCPEdQSNI1JHD9EfkJj1T92bLwQPBizaSiXpzqWHUblcz/imVUcBWsUpFhblskq9mZe9XAYExFVJTRb6K3DGlX7BbZjWoJqUF91vVRgEVfHs5whszz3tMCz7dQdYqd2tV/DMMMZutBWOAqf72+ESF24Kg0g1/X6gliMAcQ2HFJaS6hUKLtU1CR3MBTHdHezArNiLEJaEouVSYJt65n2A3ipIVWGUuv6v8SvL7FtFrzLAAygK4CH0ncFUPHR6ImkZdKuRdQrQOHo0iDcN04ZFr1arOXqExr8iGnCyexc21bB8uAb5kbyVXWgNfk84oSPhltgpojDOH88HiDgeVEA3srI4n6Jr3NPtEMz2PqSlbrFArrTm11Z4kzsUDy6sweJzRN9nP5jHZUI8z+khZ3mbJb5SFfyV6ugjk3Cv47dJwAYe1gc8632zrlYcaxsezdmFhpS3a1yLBKKEgfemyytB/FH8mITVRjz3e1S/Xys1/o1OZfGvBHv3lAJFQe0ZHUKNLvk84ivWxwfOeIbE4Nzz6dWL+csyE7eLFfMo/cgBXr3Lzfg2k1A3zLZgN8VoVciZnSpkx5yEVDgc4Psb4VnAsiTbJMJdr7UuOWG0x7kNsYcx5+8/+ZcoM5wneRcMQFhRNUDNLVr07xEHbYya0OR21HhpS2Jz2xeWsCxtxueCy0KQfYl6X0gqb4vWUkiuEmJgK5s7KMrSLl0WTExtOdZEPj+ggNV1tXRqfpMwHYO8x0yDfY79mI2o9c00BGcwWi66b0zKkeJUjYU+W6XXA6E4U1lkrl3dnyIrt8xW19NN6ADz/5hydXCJFNKPnE4oO2T7nD/evUMBEXvLitlGRsulpSg+vMeLLffTt1/xfv8ep5+SuNLbi0KBc8gED8PXhI5IH51A+GH2Nh6My1COe0e4xGQl4M4uq37SnjVaN+OkGfZuImLWvu+JD9ok1SimAarxFe170d0Eu1mmKthn+kNOkDqHla1xeovFI8fXzZeoVlGgHvK3m9qurLjGVSto6A0DF/SvaH9TO4l4sDl5I7YTdnS/mmw/iZYS97FhQsAMngofO1Ksw8L2FpJcRlephQuVgHDNAXmyjuXcmFuVqK7J/e+a30ZeO3RsXMX5sesh+C9ypr01hBXuDtYa9tzLVwU0dYN7ZowZqxNT+jF6Xlwtd0Nls1bD3noUVI4Ehnx1QW25GblZJxZIfJ8fa3hPL7LnxAIw82NznVT65dDLyVUtd83Sma8a4XdL0iWz04mUBOkWaLJ20YvC9ZOrQ5k25XXEGAQP/2OOvzxmhgtUhXFRx8XXk7BAnKu8Ldx97WzoqaOYpWd796vxHrC5eFmqsQ/sNZWfpmhnK8V9dzrMFOlGyNXScpd8QkzYcBaim2k7DJuyl078OjCijMc5WhDACq0ltHYgjQvngyDRPRsMtnZXQaKx65Ad8SKwzagwLrMeacgK3RBdbj8XHF8wH+cTlrwd4a74LHOL0Fn68eaS1IklCoenBCEThNTkMjUcZgqFbD4bVWo9zLHS1iGVLxgAVVoLeGZbVBnsDHv6QVww7sMhIlqSqL7nqdBVY16wIcrCKHzzeP/L67z6C1HJJjtPGu3Q7SVci84P76/b96AswfPI6v198mYuFQZ9yUUXbRfPJYdu7/F2yW0R3HvhIt/GvwfDvz5prfJuY5iAOR37ftFJ4VLrYflzqPiUJliq3A4K82krvPHQGABWrWKnGKEOmu3vPFqYw4GD1ZpiJzbukl4ABqGqSNbB7qr5QuWWjPuQggz9HUrxaz04S2TEP8+Z8Xu8Prd86h9HoB+ANkCKulqzFkHHhti6WjcUV/C7dX5sp2qzQ4h0ycmbcpaZskn+0iqBWyqsglx3juA1MEuDXn2O9Fr50sDwih3J854+NuaqiTmM/WDsVYhGjRaKWfP3a6Uk0xjvaEqD4lcv5+BkE1Dtx/GpZY6wN8Nxnka5hDQZji9kg31wnDhQUk9viulb53+u+8+w+i1AJC+Ph3qiIPjJ2Ek56j2/LIGM6suYlEqqAOxQNeDDADZH8ZHfMQpKTEVEIVYNRjhat7Mfkqc1cssSTQ2WXlZ0D6mCpkkPUWXK4utoXzCLZGNg6O3jZFcXKthLD4zUewHxND8DDkSmR2e6F0HRPxsg3RYQaz1ifwCCaDTsRuP1QHtkZuFX3R/LYTFPneNgwvexEoOdwcnmkFJPWYxIbOna5A+VnVRwwy4MNshK2QIZkjuTz1AstkbXyxW5xlYWk4Uj7X70X/eg2bqRYlSQZJ/ltluMqYCvPnlM5H06uNhLDbmWlI1iDC/7rN6+/QKmNMWyqu+UcXblT2awsZN+TaK+fJaK34M+tgYTwmaTIFMh+RRdsNY4TZfgCC9gwdbhw/Op9ZVsc3ijvvMuFpcNdS/4IkbxBBPPra7IROTLjB7P37hRYDhyT2Vuz6jHVEnxfpo8RkoeEuT6Fj4ifvhHokdvKdhtNdPQXI0GnruPBxBJh0P/950CWy0K4WGrdWEjZ6ftRmiBdyIp0pHWNG1NWgxRcpL63s5pi0sUijiT+H5e73RWFhCKViOpusVGhAq5TMxKbwOFL+FOCYjckJeQPTT811sWNjKFpMzNy6SDHzq2vj2k4CJmsDS5yjCXOzTkPch43vRbjXTYvj60d/SCFePVAO7FsAp4/u+eZn8HskGT6nnHmrR1Xsa9Tcrkiw4nTtm2Fdp5o4c5bcCn0GO2adNa1s2po/jNNyy4Zw/YUwg9RREHG8b4AOdy16PyduPVwLM+5+HMto20/DoZAs4aqzqER1P7U0b2G1mei0wXWvv3qcgW1InkTiFweGd5EbdBeD63dclmhwJl5L63JOPTrIKr3N8gGHgQZS+7YVFraLT+6NvsXMm+uML9mGK6zin/sFihlgFmdz0tMbpsfUHMBwRRBV9pcy6rkeBChvNYlk/PIrdwE23yscrgHNDWIAlO+zjHWXrToxf0xDX6gFpqLmmJuhzBp1sEF1PvSe5nyq2uLf6YPZqtY5o1ae6LmDZm0ekqUn4y7/UtbIuxZQUdlbYpxEPmr/wTaVemeSMBrXo6X9Q8MOx9qTy5gU9043Q3PKE8yjZKoIS7PipOd77csXQlyqgwdJ88rueiQbLDC+Nsdwrp/m5HfN8bXlgzkFCUPbZCS0ew0qmlzdwxL9tUNCY3aRe5lchOqB/6ThbpS6Ln99lJbPm+AlrRVtyVEail3wuGsfbBDOYkMMceXnahIKlqkWsVI0qBJNu8UZEnqJtcMF/ahp6akYdqVVKAKG5VSBGzuoskcWTkC9gj+fAoOulpVq3m/KzZlDQbsjYYEm+nh1HyzD7eKT70kdU14ufHgg7liMKGSjlpflCFuFKD/Sf5N2G+/aAaYvzpqIhZstKqbOXddQMuONEU900cboy24KMdOKtwKTwYP3vmNqDFDtxnXY7mmd0C5e8N8PDAPSHiq2mawqIGHp0wzZGnoA6UWKM4WU++v1j38TbEGUUZwTKKbkCfrNWpCWA5lVrpGZ9OfKCO1xAFiVT+FK/YRRTkggbSUTq+1LHqV0WBrnoHFTcPa7bekc/25lbNd1LjqTzyNu7eF6lK2iB9GJLa3UKDqkM0ZrsGSw5WTX6rA9gWLRlEKgHmZ7gyMkhqcTtWGCJA2D5kNl73WOjgTLl62s/JV4ldDcMRxJmJKVVAmugOy0AHoZHElyoVIM2FHqe26lcMh3QA/W2HL8/QXS6aFMo/eg3cdwrki+gg3rtmfjVvds9HPc1djyvWc0uMIlqaeWWlZrLyLpT51VkLlWOv35mFT48uL6gB5M9doTilObx869px3v75/rwl6khvyeZKU7y0CdEVVGv5Gnz7RwnIekNg/3f5YXyifnTvM4/vsaW3fPPQBOSTU/M4R55dpXDqGw75BHvN24s52YetXU+e0TwR++Tuf0zGRcWI+E9iaGj7Qo+wBRs3Ye4MvhubJDSipZ1pqsjg6xSG5ZKuGJYIRULAA470VwCDuha4DBZpPFVhGickZIAoSeXt2EvdVXvrcKBylvYLBNlslMEX9vStKCLePGXf3SHnEr5mp3oW8tWduhOgY9Fj5Zk3aj2Y3jq6t+E+e2AtOGg14f7abnU0h41TQCbDzUT5YKjumTX2WG0N0epruBecLoILXaFZ9fYUtdY863BqQlKTWq0HKS/Ui5eBY411QZ4M6iQ7Q38+4i1jfQfncYzO++tkwyfScxc4K9OVfaI57VfVX4ozHjF4G78TBQFziaPuohmRjy0jXCkaFczIXO5zHsC76I5q8syLv+15zT5rC7lu3zS0et/gAvsJMGxQxwtHTFteMjf5/QSW4+dKEiynx/5VIHLnkek7j2Eas9essWQCpcM2QFRG7LiPgeRl6zPBTUczaOHPCpnuGmTfJyipUg0wobbB/hoLA8KQDHXuXjZKNkCzwTH8qZRQwJ7OX8jCY2YBpVprqnAXGadX0erHULVhe/E+jQBhyzl/qItW5Kr5XcBiZgmgPqox7Um1Ui/qKngqlxqX9LRfx5PkhKIMvvram8EFRh9HeOJwWB6OHoH2vAGG+z0DJM8nd0bnZG8hYiEViyeI+o7I9E7j5/Xm2GtMrsaHbKh/MV0kY4GEbiuaUpplZ2FKMOVcc/M+zKq5ktaCwuYW8EOkRd1h4d7HL7+Wyc7oN4h4Fc/qpqcXHtoFWI5GOVX9qK2V9Xw6wGzISFLS2U/i7cF7JxaWlc7KM8TeWR+kPNZdGTs3WpjV9lJcj4wQ82STbAFmmo9mY8/PXdA3DXmyjnFUL8x8E8dZbWq0IcUkYN+kGtXPrsmhbaH9c/t96e+BP8V+4H0m3eBJQjvq/8BxoXUhVIF+54mL7dcHiYvKLc1fKOgMyW4LdKcKhfZCiiep4TOxQ6o2nzKBg4NmlhP6a9/jZ/18a2zpLN4HErTlKUzJS9W4JwBEbJ38t+iNI3par8qs4xErX5cN8shWbLATXZlrOcZrv0Bb3DicqOUmpIqk9XRQqSPAWGEydRiIiJSl/656tzWhA7DUxA23eZkK1R8MRDfx7msrZUhRvsSdUQp2AugpXOurXfkQ/ixJbJIRsDVkefsWYZbRwSeDmA04NyBilkHCRG05FkQ98DfDrHOUiE4r7vOfgOBqGek4/bqTClk8Qn7KW+DcT1YGuLbphnY3M0sKy8AcCa7zaLeNidFazJvUdPPV6VcfAalgBudc1YzlBXofdBrjRvAwFPE0NmYrKJKfbhiErlvKlqGFT8pKc5VRWyzw1mWgR2KYEyu66bZqWY+TCjVEFdqSLv5d2NxN3nlhdlrItYhgjDS+Lp0bgilV4kqQlVCuV6XIjJMRxlR+KKxnPW+SLUb6Q5WVj7AdCSKkUJYwhSqifPsAdLKXeyvpCRX/BK7VdN4V7Jn5jwbUrCqvnOCj0jtGhqi0xRwO7SDhkJIpMnl9QfXliSkPs47J6x8C30eMfuI41hW9RuAz2T7nZyqZJILl+JhYIMH6mfMYDRvKTen4PCod/6um+XLgEelBVVAhbLyCoNePC/6TKzA4sc5S97zRTLKHRaI2hrNJQAyYsnFTkMWCN4Jen4b1zjVwMOU4m3PMuSbgq4Lq9soGsoZGpXZdqEGuoKPGQlDBNTcjFO6KKMhOv7lbxT0xRVOZAfAQhaS+2eWLnR8KFXM1/XHnE1Tiz3akUHSFoX0xzbwtzUMNZnsr5mdOGsLLkFDRtkhSrK2Ns/0CJS5U8OUGgwI1aqFVx6DRH0JFxY29HXIUIjAFME+5ZL57tMjHUKeGb90mFlUbqoO5a3ZHPR04JnPz+Klo6ZCz99jpeLqsOusgVIw9ZGKVxXnJS8xKfXsNa/7BNKVbAj7q0hrEPZvkjyDEtBdbR0HBXbecGMEHpSuCWp784VIQkHBUn71gGj30J9Xi2CO5xUnEiw/XOBTZWX5j/3b++Se+OwVzRMp44+S8Ttg86nESY56PWE+W0/4RX4F5sJjop3w5j7Tj0uZ0XdmOS5jPSgeBYVqCUAIb0tbcXZ6+FE1JooCR7OJx6V42KMPLAIi+2qsafIkDiXi1rkNcPkIofAWpbWnjSWnc7dmSXZLm0JpkFBpjQQA65fjkpI+ToxRuvJa25jHkhTCGTEKqGMODMm2OCzOEaksku8TgbBRU9oxo1stgKAkGlEqBjZqNIxcAJ5TIZywBmiV2u6O5t5L1u+mdOQWuBxxIdgRSJd4UPV7lUHhBSHX9LOVh5c9Wxc3Pta6G/e3kOjjX55806AIjMcKLDx/YJqoT7xhC3ZNhcvMunLGhEuYF9+cN1mMqj1bsqLlkloHBLqlb+It/eU+t82G2Ly3YW3DZ2uHMXRht5RqL9AfLyGl34iozb+nQJ86U3lSIOQo7+cn6klPl8KIi5UebONZMUKbI7LZOXp8BRsGUsmsZe9QCyA5YnJyGhRgPuTADLkWFBYWXo08siW71PKA+eCC5OVG2bCk7muRxwVjcnmIHIxdSiykbhUVFJxhLu+qOKoHw4Jb4DOx+Y3Q0MZ6kpSldSIBu3Krk6vyq76sLrZQ8U9cpxM2zmHCtT4HGoK4Vmz1PNLrhM3DDOqGh1IqdtYXnzv9G0L58j5cc4lazh0UEMSeaCRBQnJmHGA3C+I4m9Zch46rp4W9eA0YRQhXMEW1aQwL9U9oPlee1ciPr5pFuS1IuJbU1RU8Beck5kXdJEWvEsOHaVO76nHkH9rEbNiA3GkkJe0eibgn6FFeS7AXt6CQOVQ2YNYvbbZ7Lod3rCnjnoCl7urLTfcdIWcEWAwqV25uWY1vFx4xr5cvnoFjMcP/tKq1QWhQ9DvX1sBOrjaIL+Ovm6HXk/tIldFJ4pUEri2uNq7qRcydtYulxcrD6hBgEpLwQ8L4W6ust02SMPyeZVbIcwmd0vPJaSKU/5FbUxIwc8+g88g17of6a7rbTcwexxlqvkglqyeqPygJhvJwNF7GwM4QGxjvWZE0UopQXfOfXH8UVmgL7PQUyQI65nXa83ziQ8sbg1IHk4ECjyE17HZ0LVpyyd1KEdqZmTl8AuLtnzOf/ftoUGExaLdvt8q6zx4YfEqYJT/NPCzpsIKd9SBWQrT/s2A/YWVZEmfMjQL7a4Qen0hUI632T2UXA8vNOafdxM4qhJ7mql3Wgm/PXqu/bZrBwZGenG1MFEkejir3UYe53u4ukdv1Zlr8JYSmT5gIXEnsxCkDGgy70/asUBJ/vGg+l9QIBbZ88UijDuy/kz1L0U4PLsTv6zzy937k6lIKywKywCRE/1gRxUTRT9swd8jV86q6GqxtAMyy48wlE+Ey5EMc0ogkFyOluw+ah3juvhgdqN78glPrPcQtG1LGr7NHS1OpFNNj5TO0zWqbdVBFYUyXMSYt/NO7pwB08owXCqhkVvPe31VaQ841DswnVRwVngp1BoyTq7iOUQTJkNJ8SRKlIpAUEMyPjzlu8DSP3SW2CcpxjFCfE5I168z+da0PHtmzUSw8gtpvVcYGGrXlJN02zqYTegO+rjvW+d3fGqYsI8Wcy+0XhaD24uEVbP5ZedJskYvxexCg/aOnw7gJfWwRtqVQZSgEg7vESe2AWyYM3wBWiR8wfuCvmK2CSEuNwnNlx+kjzoDnboPs0vGwnWOnuxrkJKjhUvBya1+Sj5Cf/OaRXwd/I025toqmDz6GvDHqRqdB2syt9fGMn/zAyLxZi93sSMeJ3gidcH+V31itSpBJL/Q8u3Xa8fE8u3oONXSeCkf1dIR1vd3gx521MjxvD58wVdT6N/RwbFpktxP9Oj0UhBzVZ0xxdEDzXMi17qHFy5tDuNHC/VhOk7DhrWdGJLjDrOSqs1Ysb/vqg2LoeWev6YpilMEpCvo5oDf9TWeo22+9YLPpf1BoLpJUYU9dvk6kGLqS0H/p59BMRfq+RLPdbVoNWO2ObDzn6e219dIPNxieQh1YZOopGxe5FldO7Qxx3Nlm5+lgJDo0vWP6HmWuHwsoh9xrxhU6wmyQg9NWP0oBfZGb0ZUmxgZNRh2R8xbidfqDWknkwLfHW83p9Ek2ouPbbCPJFDoTlN/HQLRfFa8nKQprMMX0bOVUMh/zaouNk/Y09ddD8E7IbGAP/uTtXntirylTUhgt+0LA+Ll+HSL5PeFNacxOat5bum3AfUwTWtlYbQX08IFfthiUTn9svAUd9yIIn2K0GwIRjNh64kJ2WYH4E/s+fH7ByvhzaSm43f67fnriePHpDTEG8TsiAm2w9/VuQX+7DRlpuwfonUEs+IHT1fAc0EgSRnH2R7DoV+ircNK1lMsvIV2PjoaCqiHQjsJ4ClevRWZa8M5a5LEwESEHxc8KN2m8Qi4InlDOT+b77Rr/IxxEWvo93S8YmAxZZn/6U8j0X2D2ZXHk5VpjWOYCtLUH9rztT/U/RwkrOqMM2u0TDL9BS8ObwvlvM6bqRYe/LmXplSBNBOLoYOjliDSG+8UDV9BaZeb1wQsHkEOF6xuKekYkv5ug1fp1HFIc1fjYwXZIIr+GxmEFSld9FzGu61sZpm4jt51tOQet/YzhsTmSDWS/7hdidBjI2yFxrxSunmObTd+3kBWexaG9V0EFDlanKhOlzYAfUey7gNgKX3nm+dgG/iO9+O41cb91yVKn61qq05pewrDKj4J1nNK+uWu8mkODPNj1IwbxfwqBJO4lfrjjsX3Pvikj588AApT6ulPfiVbWRBpR974w8mTy/0AyU4+p0vUt6aVSJkO4Pffwjq7HAMvHn/FggQrQqPOEO4yLRA7fYdFCZVwuRmxoAKjwDTktXrYBO3vJpb9dhb9I1Sd+J9yskO6hJtsWfDfM+F/3jFYGZBVZFFlcLY4M28h10tsVB32YlTwwAMDSIxsT05R8wRiRVx9Y8L2AvNpkPiwdVg5nWwczjGWMFq8xWdUbW8WoHFLUXVsHne0NBnFHvjXfYV2zyi0ztetf4vGgYjM3ndZ0xiVtUpNRGtjaEuEGphER3FSk6hbYRVAx1UKemSEfFc5MqUOVAOK+tcfQGSiVFZ0RXaoXi0YxcVze0lOui+FKrlmRdHgs6p7ZFFREICdquEd/BSH7xeNN/GRB3bRccpaa/5lfncAx1c3R82UrcqLwRHo0K2CHQaEpg9gNDxr2QEeqvU4fUySeIlQGqNhkuYU2yYAR4GLFhqlb/AR5sbTaAjmMXRwlvnT0JK2u1+BWlDgT0rsXd91LCva064MNr00TVHVhRB8nPaFJhbLc5KwU693NisLq3s04uKUR/MD+uQ/nFIa++rzSONjFi923KzF2WUOLZixNy/VAt1NmX+TuozVDliFNXyr4vH+vss7aFoCWoOGgC9gT36wd9b/a0xcKbmBKspuilyB+fzqB8EtZ/RAAJDnH9vfpr6ZiqwYYcCKzQmEMUqnYZx7m6G4CtAWvJfQGYtVoaUyTY3bZ0iXVuJKPIYCsq0xbR7lcz0LkC4WGoqOo/6JygkfhBYf12SwPIOo21co5WktAf6KNY8VEc1AMW7ncXt7+xtxRP0bE0xRKqH2pZ8DeKJmvHEOAc8LJcDBdA5wDnu3rS6PbgyvUv6NOXsCeIuanEKc+3TGQanBOLx+zq0+Y+noOnDMvL4dYFUe1dGF+JTG90FyAQySBNydZSnQ1RTWw3/grJzKpBqiOvrfjDlrz2Ee6k7XswQvtVzCfNj6QjjftXCo3/pRqUDuhENaqWLtwIWKNlIzFGoCqU+geXZzHSfvt+u+ujgm8lOXG6eFXwB6opQFHXrPZ7oC+NyJ7A97A4mmuf3CGuNxhJJ70QIgbRiIyqDD6cV9QC5unPZWDhW95t+ZIKGP/b1dpZkhduo3Z3mEuTUa3HbtgPIrUJEU7LIwL/eEkvWL2fRTaoYYoXbNqtnaTrkpHar4cfHB7xXoYDFAEliTFjy+/+EveauBGJaHjJtlFM79FV26pCTbDaEUb9tbf/zbEmc6Xq/+Is+jsNH/Pnhvaj1V3ioiiegzxD1ayzWvpoa5FB/NaQXr2TbiP5aMuAr9OGuUav5+n3h+DxqtkfXiYKGb9FGSUC1BmCEKEM13jG4QaV7XK/0g7t0DOB5C4Q7AAzlz36HVWRY7+bYw8aoDL6/+S5xiBzkNIBvDmW3vWdG0T99cv86/bjsOasuQuJNs2MMpvJBUFIaQLS/JQZrbh9benOvrqKQP7FaGAOBxBNqPcM7ruNgDCNBUrEv0m3eqwEiE5f4Hc5yXuv3HcbbclHtNpEQdmC+32zOfdVlH+qyeKz8tKwCO5/Yoa9DQLzq86RokFxN8ddt6T+E1a1MG7bncCCPxZ5yyjIDLKjyJha4QZYBYYZtdq6T0GrCyEu4PV45/YW3WQaDAKUafE1GFjJSUtnTR9pn/UXtmBQ2mc0Z+oFaJyvV7SnJ4fFGxm6RfBZTx1nWCm7hP61oTG5Own1c0S3XR6PY8hVl67z6EMtUUF4QkITt/kB5WPyAEu81hzhXurZnljc32H/bdG94OT/mk57CTGag8gtypGjdvk2N1rX2CEQWouX2oE67nmuj4wDJdEJaYvMRJMYcNEL2EXditT/FtKzAPP0jUsYgsoy7k1KOrdZfZvkZXA7SH84mhsJx7zq3NFs+FMnZrGiN4ZV3fDfkelnG1PeCdq/VP0PirNsTYQ9o/V2FtJ37x+48hzjzyv/NdLJIaTqHMAz33mHxLf4zt7q5OtyKzkeAN0jmNrvntizBao57qRMbNFFXB76m8zzIUrgapBBc9a4MAVrLJak8uY1sJZnxei5t+F+sAxG8GCgejQDidVfKuHR2vkMyDt2k7DYN84zBCBYBiEX6udNgOD9u1nSWBHkF+ggraqYzoO2aLWYfTbN/zABaoqwsUH9Bm4J230YqWUOYu8t8D+iVW2jTWXvrfW3Rhnogz1uimrSJBBsqi9SdOKQwoEV2b994sytrse/3/CEUbDtP5lf/40Kn1Ql1ipJlF0jZzyzzvK5CPMfsKHh7rHOaY2L0K8CJ4zjz+VrA208iHHora/K4RANHqoVErSGDoLDYvBz7Kryrts8W1lOdiC5nv383MVJ36dSRuYgTQxstfVW3j5JNDNTUPG6KCtGNitlBrlXR7JWKWjBoODbd5LodYH9FhXmU8b6RvuWyIvE+xByHktWbhZKVYOJfsQ1+MM7UxHa2CpQ5dRi1MomvdVRbQlidkfcHia+Em6RiAmvtzXGFcAagBCBt95FCgvTB18osd77E4QUJ8RAlLB+1B68Ep3Ik7cMBuxKikPZ9rIcVYl0qW+Esx94sKhEd/wSQ/1Yp7gaDh7sYI5sI5lKK+WPm/+GR1m38bri/0XCvcVsu4Kr/LdCGvkTh3PiDq6A5dPsMPMXrqLPC803XN5/3ILRFZV3dJBWaIqhkXbCY3Dp+W7/HccXTkGJ1G9PE9omiD0JZs2ofJ96PYHVMjc3rQ+UIR2cINAKXVq9DLhA+w0Vu7s4HD1/Q56n2UGUzShC+d6UiPG87cM2kYsh4ncDqhgf/DltvcG1U65Gf20YvOGdW2NND3bZGQhMHV2G1nMLXKzjqSTwaFCu417kzc5Zg6+DnYsGRnoDerIF29epjEcrwoqX4FlDbYwhi+/dUKWcovQB8atttQ4MM1inWsF+OabaftOBArS4Y33fj0XmzMjsZsmka/veQ1jrRW1giICvTZoDPH2gfO7GvgFTVine4sNlx7rNNV3fyPNcFaqTCq07HJa0GemquoOhk4mJJJSTenvfZHqiPTG1Ky+YpBld2Sx/JqT5iB1UVOKPS9DgxMkAkZMCGXg3sxwfXLYCEAzUozvzflbcrYhuR2syASIdGfKtTxAGCCWe6v2npllpU7Z02hyNlf20cCpGcKBmnQuqBWuo2qZfeTUJSLtWxUHDWF6h6AH8qGYp0zOIuBcxWgeIqNtBqh34Iil9I+s89JVuU/6JO35TNOylFXorecx6RjArD7YHuK/2tniPltM/GpiLOA6D7IDNaGAQqMArs5RIachGqGxIYp5L5pGeCQJ3yGFK/caYtkRdMWIUSjcfAWMa1DryDzKV2ELlPtgQ2AeF1JdU0s5pnQIi3m4QYbTDVZN1hXm/2jgfuB0dp80+/3SC+bTmjGLb7wAemRyVIvQNU+xsIih4hDGygEXD1W/iJGy7ySC8QF51PH2HEnI86thlpalTK1w58qVdRgdsvMFSWNLp01+0l6ezFclkGBoR+h/NkGb/fSjaXTBOwaIX8+rXAZFYgyCHpihYeFKRufEmiHE7TarcJ/ZQ2+Iy/ufS0Yj5Hz/eBG9V2FSmP0HSFHrwrp1resC0O3AFahtaP2vXN2XvffdOwhv/cwcTd0+Ob/NJtSl0EnaNZoWX5IELqADuBFudh4uoSoEsTDLUQnSzqS9lKial9zlmE1y2TmR89dzqSsILMOSpdFGeQu0CHY3bUJKfUBke2BNrYCyAKzv9h82PZqFnFsmq5YFGMovypmmOg5RGgkVUgwML1GE265y4fPB0UE+8Nw8AFCKNhJDlckndKhtq9/DRJVVydDErjQm81ig3gVewPI1MBqo3dHfsyzDTtnl/BwzTW33ottmx5Sqpr+VdK6L1ux4P15G1JUHDRsY94N1f2a5e+Fdb9jnranz3rmflgAR4b8E95UwVaCWTuHTWGbi0qdBeLTGbNVbj0JSlTrDRetjk4l/xqPIA0wsfntWtc/ReTI7ZHk1n0PkVYGlNcdkvGVrEDPOvPBK2REtvd0+4VvFGb7zhQolw9UsUgjdWkK1sxrWrGhU5+v5NaQM0G+1YpcV9iapseUExnTSXnQezVJthsp1K+cfTd6tgd5g12hGaR5xqrzlWZxpRugeSAbX8QNE7O5rj42vziqaKKM4k4UmLTb14XqAXyDxaMQlR8Wgo6edf86Fpk6mcqfeMShA3ORdDgzlaPUqztqcMTDmTsg7G+N8pT+4NVcQ9AwvPoRpksn3ZzFXUImHPcqsjZfLJn3bdtmYthcTIpGXsSlwpVzT1zt59FNKhFXqcII8pbLwuwIZaPcXjlYp6943tZGbw7amMkfFDKX2VcdSUZdmCtKNEUunEsDl/2EWaWPtnQPUd6xEBe5IJkUfoCaSb5lPbammljXX0c1hXAtMQQiTAZdjLVubeDw+APjsqOrkbWP6VOC2vsy+LzxVDGozdWDGCupWdSylZQe306XmuVlJho6qobj8XUToz33XJNsZVvvzMdZgq+OA3MlLTl0taQcsy6zWF2nRC21AuWpN+lNm6qqpTiDkMq11wuMLf2JdV6oYkGEEMbuDYUygnrVvA1JUvUYEDYcZFa3ZymIbSUpLfH4X4D955nBpx+OBc4XtxGun0Px2XTBZ8UBnWXX6CoYys6UvoA5/IaSEDRMFoNwbABfUoICTrX/obNiEBlD+GlhEZ0QPLu2U6vWEeAmfHrG6uEjhUsERASdGg3jmLcW+quHTXqTXwlDZXFTmyoGrCW7+NrAfBBbQfBZ1Ds8RONSXbRltudbMNY8sf50gVZdc1zF6BC32qM53C/qc4A1KYQrrqU4UlWUDoqCTj69VWurkF/D/cXLxCDJU2s91HjtJRVeY4fiXVfxruTdWFcmHR2pLHI/SxPF+pCnA1Tx3XI5BlswE+4GHkFmvAfhUBjjwH/FUuGwbGKOSmJK0yqiSc3dZePbJXVpeVHaiIYIO80WfXafig/xsJNUxPBkh01eZkz7F1cK0Y3LQJUiXOIYdm8bzaI70zyEZIBRXh3s5YSiqPFxvOmpjJloiHkvCAcQ/5PeANJv2RlSd28dwcFHRWVXmzci65zZdlvzklPOxDNm1+IEl7sbDL8HTFLAdXrRroU8fCfIzW1VnLNYEJtxOyCQ1/+xPp2ltOWIScKBbKVlHizeGnrmBtZjUM/hlg3sEPFg64E4jBgt3MPH24Up5ouHMWujTuQOu4yc0JKPwOgulJkIwf85/smyz7t+guVOxrknjIt6vnsfzKB8TE9IYL2EVcWj2iEBfErTy0oq135UuDDvqvyk4CtWz4Py+TlAkpvBBx7JZmn9YtZBUNDqAOgufhVFQj1OWDbMRvTEod0JnhMbzyqwZsocg9pZurb7UB+2UTWboF/HvoXJiNnqsQsz9h4ERHyYJ++F2G9Aq0v5vDchSctuxu+hndly0XNZ31ZeWViHirK+3vKYCuxALNmtTjxAD2N8go3DVqgOagHrYkhU8WZfNFPr1CG3tjr2W3JAUi0FqAOO6qREXNxikn7MQuGD+mZqQq92rBH4BQ5XRdNR32+z2kxL4KoZRo/vupu4+7J+SPx2PLrL8oumGPdmCEl0q+8oiyRTWh3s58Cd6IODkOSaxVXJT+EPB4AgKtwC1b0XoLCNDmvL595yqVZb33Ngezt9YjtgqZoQtdW2AQs6vZ+wHJEjEMEJk0oRLxfpZGxrcvGYO32S5GYYFNlQHsjFr3XzyeyXHsjcrMLDWVlA5yrIuSfgT+jPEB5wUDv2YN/7w9xbqsI3sEcWee8HuJbBljF8q6FFCeDOwReKIBmAgHmZC0klROGdMhr8RLy4C3WnM+ct2kOMT2HMhEt4G2joVW0FufibS3t4wterXhGbD+Zcebmvjr7y6FU7WWrPAjEhxwOFYvcbdNFlcME01Rw29PnyWRO1YBpHCo9CCzUyLPizuTVNB8cKETa+yqt8Xbspf60j5ALK+2hd9/KZo/NgZt2xYMBWg0fkWKI8SDY1cNRo7yH1V43T5f0FzCvHzh+Faf3Us5YUqS7lawUJM8wY/fyMjSPFipYbtTteMAYk9eYI7rpBf/Q7DOKL7eAch44mshZcqI9M21OhkSR8U4GjEZYu4YFE643aVeOhCGryrX/o5U78+9+A9JVKkvkZymwFxPUrdnKXtBZfxgAyhBIpXY/o66UWHtAjige5Gvf+PE7RdxaO2OhNed91RplIqd+PvCP4zFF5DCcY6HSsuiTLFr4LJeg1FEfKA7QeNWaqgHOP1txf3Bjoav1ru1Lb9zfaL5YiBDQ9HuYHnfPdCCqVw73Ulz04eT/EjRt1ozLW3fIcTh8qS5HpX7XYYkCJLIhcX39ts0vTvU2MAxzYXFLASqIpsydwrDaDgfS2VxwRaSiM2ySs9gc0fpP2BuJSLZRhJDL4zeGgpe4jgzKWH5lENeQ0Z+vZJkOuxeJFZd8FRoDqsgKfX7oRzA44YTgj6k4J+xNRIZiSlhTpyYYLcDvmtzZncN6ZFVdty7y2ZTP6RLBYvvGxKgGQrbPXSI6yHOkzV8BZEYXexuLsyEpFtAIzLswG72bCjj2BcipWlDYIE1ImUsZVu0wodqscr6tHxqOFdGC6OCuJ8zV+FVMweGRphP6EuLXA/aQu4w12Bfu1yutHvou5WlhFzsxPryPQ0OLXbsR0BSywUNmv9/gd9r3CxiYXDEwsx5rnVSxCB6dywBXRZsD0LOnAz+3iYdyeYqg1czF+AspeFxOV600S0CB0fB5A6c9PsW7t8KCuXPJQq6SqTK3kgp10bf0txGThE9ZYZE0sTNHKqPHSqFWnw2bHEK84W4Ty2XQRW62Uy7z2UmQ4eIhnfAJTbstG6votPiO7CXaWz1xQtwEfS4c8lIqYFofVY/W2rh8nRt1SDI1unaIA1vzklKZ0hgilc1TJwtr3GJuVhVkZ14woVYfjyzFQbFpFFp4XJ6JjAzjF3Q7iof2h7iDei/6jpfd1zdxnukxAOTPuWRr0W2vbjmLIGDEVso0NkhEhI2krg+oqgM3+7ziOLbU5hN8h9Oa9kTx9BITmJnDAHTtbXMRUfLLdZdWaVFWyVJafwwe9owV0OO2ZxLpcADW2D8A3PKXOMtVBxclj51alXcwZNQ5YVnHDZuU9IzFzh2sDFNikao8QDSvIeX7Vg+N1aH0Hh8HSDSHQy8z9s2GukJx0ci9pZSQ4JVW5kG3buTLEgCSC6FZ6DBA5VcvONsRv2SBk/GWyNt0ewFnyQrQPRK9zQwJUftO9/M59S5fsBYwFDniHDlDsJPH0cudBU2veI5i6l/VIoLiyqOVGuAMqtq+KciuP0jkxlMRZJ4m9kwaPOQysx3cEn0x9QaIPROZNPjgMY2nBBfJby/Z3T6zCdYXUPT70elDRLWtVjRxqY5fvBZlNuVqcetYhzDW3IdivwDCo3swx+rNR6rBF/r8nMi0Zud37L5xBZ3ldGyQw5qIEmXWdia3bz/D7RZ6zwfurhYx81fXvAXCoyGSU8tztcYlfUFcVcO0qgv/2JDvqjGzPKS5Tjt4obgoO+chh1Ipm/srel6tnYIGXBL970Ws68IOCLFI1AoihdOy4tZvhHRTe5bJiCRLq8fpBnrNN5ZtQFL3XcXvKqB4r0fH88rXfoJYIVsYKskeKa74GuvAC8aQT0g8jzsk/+XAqacTqrRg4fQSb2LD3e16Qf9Gq2mGzUn3I9k7MFba8zsKTVW/q+lm3nSnJ0IfgsdeVXJQqUkG/Dz7XHjhvQGX2oJdKLroehkdeyGB++VdJZlz2laVw9qD03S6S3uWwvefTc8L4DLw8at+w/zX0RuvWBg63+0fW4WYcQeNAqSJIVqcpztVznOLB38346etAWK0mzTaXqEl+C2VPmUVhLcYg/Jhj+HncY0OuDcZ9Tx4Z5mfBixQS2RCECZx7Pxw7leBWvaFnsTz7DyYjxOzakwQEFOCK5wr+UqMu0NT/y2tbjhcTRRPdIymQwgeNy+LaENnl280UarA9z+IFRCyIsWtgunzkTmo637QIycggkJyC1Gre0vxKRVnaqH4IZForfjPv0eSbsECi7wicVO1I4qXrNmTUVbKU1NyONBvdaOYtQmEwCfY3xeV7HXYm51PIEEYEPhpxIUA70kB6CQuAuLgtbRAjUXOWPSZ2hCCT7WiFoJ1wtA4fvm/vYxAQ3UnX4SNmDz9QQ1kp7FLSVgITaEutSbercXCvko9nFKzC8P+h0udNsOPdveREParZc/Nqps2VS4z2ihcUcDOPjKlfZ3NCNMyMmd4VMU29+fHF9w963fV3/wYDCyq+8LerwdFSECrIDggVICMFn6jgl0X7pPBsh3o5U2jorFXCOTlOqP1aT/veggYnKQBzjd0U4gQXBL5kxtJWPEZxhtVljM7SCIMFoh/VGo1RWLYPv+iz1B2Ah0CDzWI9XYiha/biIDeu51CABvLyPWOKqL4l0k8x8IHOEBEyo3GIiq4P83zv5Z7ZfddWW0VStBiZ/Sn0IfZ+EJnJOoX8sK7Nk8Uspws133mv1wo1x763lQtdfxc5ixxfim/TlAMrErsn5F7fO9pEgMlH+XCQatCfb70Kz0ufr0CZ+rflmj/fBoTzv8jayTijQOpIfHN6d6Wqc1XERENp7k0Y/zKm7ic2aLIDxEqcuxD6mEYQDdp+x5gBJVp5nltboI1h6WeVCRol4jsFZU+p0xCrAtN0lmh/FNw4OurJ9F9dirROeEmJw1g/MOaU+IRbvtrK2v4tAJ+0/HqjHQnYFplyBuONLcPG+uexS0HpA7JzcIHymIhpn3Zkyl8aqEouwYNYVf2OoGa3maPQ3s5dxY48UvDrxAdElvM2sAbesFrJsNfPM9qn9VHOJSNrFotbKrXeo2QMGdc0ax52oyyzEHGH9meHcZzpT3tMl3jlNFyfKGsNHHMJx6B11bcF+0m1o2jhba4s/6aqklXiqiL6vDRumngMd2Z4Eoy4Vuu88urXQ8ei7RxtRWEnP4EhIOlkxPkyDyUrX0Ir7xrad5+4FztGKrfFrK0M/wjNQBdDvjb/AC3CxqFvfcdq3ClNB+VcQGRAcD9VHUrNnbhngnn2HvC1V0ZX1jY5LMHOVg3f0tK/17gAn1nenrsd5zeYJ5NrtZd2eHm+4x9qs0rHypWikmg7O3bjFHWlEDLcPA5KvhN1rf4E7jujHM800TyTFbtbnC02frS9hWrwN2oZSykhY+DzTyybtCEe+7Ntq0NPYLNMFIcjrp2P7TLX4mEeuruN4et0Q54Zy3YLH0cpXVILDccEPRelT9afEnRf7+WbRHP0iVf+c74Y2HNzdWZCSGS37RNUkIFdTmBwOUPtFsBJtRjS0g1FPzSpISR8/Vf5/d6vckp34UDrLFENwOvxy1DBshR+TWXTKwFGZH/5exLH7Wezb/RgAZ3OjjAlplafuWxEzoSOnj9FYPlL3oiQyzNSXPC0wA2tQEBRKMcnmGtvltlXp7v67iwaNlZdTvL+jhgI3mRIwHxWA+ZHFdsjc6PgReRl5EbUVwV+ll6Pbs190moqAVaq8DhAdrI6hxUbMwUCJ/mjXeCxMr2OmG9INvpcfjF6FMi2X+mmEOmpA2rdhR/ktIr7VNDnI5xbHc2aNp/DJL0ZGcKHFyy3lTt+pNDOYp4cJChJg2Yrbm2VUFdVNfXcWw5chvlmSqbtyqF5gp80CEPJylo7cS5y1EqFFgR753WFXaCJ/fWewSxTQOeVZT6qN4HlgtioBHtdwlKEI6fVFAUg+41rpetYb74M6J+OHSsTAhUuVtexx3cYL7TT1jSPXdyx+YzmEaEYrjZscaDO5STeN/DDc/WR8z4uo7qe+9vHVX+9Hs+Emb52z9OsKLRHuhdPTu//cnuxKuBe4RPkJR5d4DmSCTA5xLIHLoYy9g4M5Y0PvG1xMSXqpVEmmeYHPMk9uf6QxgWKlPDTr1T4zZg8+yigvikUY98OfvCvEwnLAFIN3NxdIsY7v0aaaZFW69722ZcC3qVqPxFMdIS/YeW1y/CVW2hXKwk1FoBTR/pctXxhmHl6AfLCOHsoukuH8Aox58xdW47S0yKZUU7M2Mlz2C4FB+mTJtP91KWl5UNXLZfC43aFYfo/nFnccCNiktpz5hOAPZvoo+zgamqxOgz6iNmzhmHLrODb8ziAShGvg6+TrfJgk58HvDjykIdmTCsRMu+6XUnJ6sNFOqv9g+tHTq4e7KV6mMBkJ9chMcKtiKvG0mOYCAiGKeqfx31CrFM1P6H9vpNnw5MRG0/qga7Aezt2YM4ZJx/pj+byguzt/ryfOvWtO504P+AZhiibbazFcLKtkhiLn/zH1CC7wEEUXxnXJuJBaXjBlA9LL5fr3Dc4upBTckBtl98EjAn6k7+50IgYNs8BhyIViMY38PAR/f/Ux6M6OYdOdzMhs9GnQUiuZb7/+XKYN9weh7YKpSt8XDD+OkzvdPHquk62JL79ENJCDeHn5LP5N4ZG19JCHI/qFJX5xs65y9FrlpV7jUTQfvIiQ3KATSixv9gv2cflWWBD1D+4bID4dfNJlJdMZhbr2jXacqQwgRVaM1KoR7dOYJHyBljWdGWd5CxRCja13UjEs0YP+RVXtbYYr3MRbcW0ihLpPoXcN9uL4VycFGTk5b9vmqos/r5FWx3f1e87qfBpRA/Uz9LKlFoJvPPLAGeC8Oe811HRPMqfi+CHZfsgbFvJldvW7hOjElbId+t+jMfAJmA0IAuPNR1jNAsSYKP6zPM2bxkv+h5NWXItS+ljdIxESpaIHFngQryOTJQUwmPN44oEMFf8Ou0yU17qRNO9IjPwk5L3xuvaBeIqYLKSWBbwVnojVvzrs1iC8s7bF/R3wbJxRYBGWAeGd20ufdn32+KgnSNYCOSHNxFOv8MHGRdKaMwSteRg3X1Drl2khg7pUCGcYHZVQMOPhu5leaDC94j6XQ/qGb2It4TAVyLYYyWjcykniOCdM6i/zne67nKoJkMxLe6KKM8UD/21Y22ewqBuxAFcoWwfouPsyfmGhuumMCX4KPAcQx+aYk8MG9tsrSRgM9Sw1GNWmwUN03XSIRnLU+yRPccZk0GdnJof7nlZU71wCy13Z11IL3wuIVcHTIb0FMBQOpVvrve5S/a8bp5lkSYP/gvA2sp5NWbMQBTNsquUuEmoxckT2/Aw41uuj+f2DXOxaCWjN3TCozPq5HAFuhIrSgofiN8T47xRge6Il//GwXIWT73jSN9CnoCuj0sS6v7bpuv1pBEcPYwghf6HqurKAB2quEqOBBqOVSUH6eIq4IfmfjiHWQykKZhnFfQv8dQJZJ3GHwAcn8YF3nbW0nY5/VuDbqRnzNaBkerpojBk3nuF+pJjwXXXwAiK1dcjLMwg1aO4eLuNXMXTGWGzPhhngin1uyC+6D9BqNwB8ZqcrOxoN3i5nDJpwR9eNTaWspIU/c2OiLKXRfqrpvFan9FHizw9tLeXpmo4ZqEmmLeM0wAzXbrJRLf6u/IgwChvNZvU9LgB6lU9+YCZk3MHKjksHBJrjssJ45Jk0vzJhOtcwz73GVmSt9NDJHQ52NYxMh1InO3ZoagJBAtQZlFycf19z0fqgBdokp9eGgSfBZr+JcdPynfkmAsYJs4h0KtfaIyQINztXedOuy7cpQrUHabCAnqSgq2voqPQOVUDbWby8OxydQkyTFoDFkglKAgImCoIkBsetcVxVyUFUYyOh/mBpFgHiyFFaDy+LSG1sJqw00pgN6LIkWb0T14D5UP9vXD7KvcRP3sD2g0xJuO+uVf7ABrPza45t7RjohZMxcM8nxUhAI5fjmjhQQ9AOyYYwMDHG2YnTF29gbbRyG3gtriQv++PM88GD7AavCNcWKg8O+MCWxAuiE5sro67Ym7vnnH1SXRayiBuz5nElGto/8fmLS5jNh/PX0jODcoJ9IGzbAhi+wy+BMlzimUmBxgzsYJwfokd7YRnmSNY+8xo6bana9+YzvQk8AAGIsOQPc2AvCNLyERWgW7WcS+eUgwgrJivPyTJKQ+zmWcuRoUy2mNF0SCTfd4Cfl15iP02M7vgz2b0a8i47hxQaOLpT5uBTJOSK36F4TZEky4OuiKP7K2XxVzpctTtC3PNpbC+zeNm7RVg2UrPk3IdH7Q3Fp5QytMp7XMgdx6xbnFRC5w37i3ejz0TWyS3pOZePD/oDcSLqxsczP5qJN8u94dB0HTX1hd5Hg/G0TYZKcstflpGqV2HsIuEIrMqkxnX6LnWaDjYdJofZSN2JL5Otm7b7gRhdNOGKzbFzkA5Nx7b0XR2fSTHdToF20CSO1vSBT8RoOrTSIlkWNuucsYOWTiDKJddaWu0wbQ3HV41RE6swYYD9GBWKGmKe4+jprxT5Ea19I9sX+7t/Pc2I+1/xSu4BOt4W0WrQhkgZyG7ZQLIvur8WbEIX1IMq9TGO2cil+QuZPRncTUupWGANJbNEeO3aVO0/DrRII+TWSIMeYFZByORAagc4XbuHRwxQXLBTsHItA+28Kb/8ZvSYMnsAsZAOOCZYJkvtqZLLjT6Xb2I+KYwcWwOrZve322BrXrk4wdo2o/EH13EqQab+KjT6jz0fJw5J+pyXKG1jNgdTL37wDBBWNNhhJYrJL0UPcb3kBwYGOdwgF6/x6ec75wlxSi0zEWBaxoDXmjF0+UermmAcXN6J5navheV2twef9DgCg4yPjg3SuMR/Vt6cKgRRXTYKYisS84GFIoLGDpAC4GFxKW0lF7Di0RxIMRuyvql2nnL+PfEJnPtdzIdNLFVEz1U/lbWj7xzMG8VJmC3mw/WZw9nfoTufWn1+qxICQDLX3lGGobMpxJjMKLlg7T+w4+rifWUkGnXupaWuwr1bWKolsbU7gPqRwUG9cmkIE84rPxU1v2yPw3mS9VkFKOxnFfDX8WSyw78M2nikg5b3S8kb2wytuY5LanuOyz2x1lTMBizjf+uJnd6kpqmfe5k4t/6eePjQ0QdIbVfxu02iLyDtUJK4YC4ROCw8Mlb74kBpBgQPapDM7QihW++9IwKrgguUQvpmCGMQO9C6HiWpvtIlergczra2T382P5g0z8zwpq0vNyoK0CWnrTQc6/YUFNQfIwhfqOaAM3nRwQD5a0Hjtm2UbO134jwo4Oe8f+3khRUtFDILLsucgDdPE7bJlDvSm2ZnXWcdoMmruewYt1zx8sy4pgzQXUL+QjhT38RMjK4fw7qlGn0ReLeckzZauOOlB7YRpji49jm2Ii/nrMZ78eeRRG98w+CA5YFykLapoUtV5egr+e2n4yi/YrN8eml3+ZDAbrSHLNZ218idU9Plfcy/eE7K8xA2TjHa+DuqMIOPoxhff2B48xQdArbW6OxX4xLhR6oGdNbRWpIp2qlOwDiXv158zE2F7vXUx8zZEBLStGjE5wy2h1nMOgGYokkFNQ+8NSciLCCe39KcLDnEqfw/01WajncmSFf5dLV4cIqHFSg+x5wFedFHg5C25x9ztDxfk/90KMXDV9u/daUMAHGKfWSW2vJgfsCYXq+JXp8c/29qApT4a+I/wiQRkTkZU3h6gTH2LMAygJ91M16Cyhb97thb+gP3HwCcQ+omJjEN3Uw//o/soOYeECWqq8T6BInRs/QvJ+mcsns0LxSZ1s5pgS6n0mQ3tR/4nxv70lUfvJkEEANKFRZyJKR+uwHx42XCy1qJEl9Il06BUHCsHwdFA5buTMUsBo6tyLRoMpAU0s+Md7rL9jp+2tZcZBlt6ZTo4cTEoWQm7IsYqjhX8xW/QOqbU1U/XBays8iOUUAwe9i9T8yOUbiQhi9QHREv4qRLUMZGEDkczzSqNkRfmi5T57Q8yg1yTznAFzfkLb9Rr7jdqVabchntH1LRNvBrs5n459aMygCyhgDIUx2K8a9bCv8IgSzOEOVgEDLl0LWZ0Lru4SBGBB3uCSROr8QgkZaij7WvXcXxwwhtDrmRJ585Ui6ByW7X/Py0Kmlt5yy06YI44pXCt+CDz/XsXVAskt7h7sl3KqtmEpON8dOhMW1mZ4Wob80yBH64Xanl1b0X3KKINcRaExZnVii9TMmR736mybBirpkznIxcYsOZORUM77kFY7QR5v58PbGyy1Ww0AgXNUmSmdWYBAULimhmKuFiocwqNVWUQHoCdTUTb3XOm3usVP6yUsmnc21bLmropafBF6/2959Z3daOEplfTJThRv+9z6KG8sS2KOMKo91R9W4f57Li2PMH+qJboWwg3HPY8N+wpevdCWzdAfvTV/OLh7N8nUPthw5APPQ47V+Uh7b2ZI0K4u+SbxwjauyQklrH+g5rKnY4djGCu4EqMX0TT4JhqYnvZ6+Y7darueS+t0MVz4ej2YLnRx6Kw3efm53Xe8RcR49PPHhTdq0NZAI5cXRyq10K87/Skc0D5DMGyNdXEB7fvhnIeHjBaqD7Ug0ENwn1RCWugzESd0BRMGaSjd11mtvQlH/UorppcmWVO9bS+zAAiHoeKBdFgNbxxA+7i11Mt/nmXf9zx44NtfqSUcQiJgiAmF+mG0qxuNREFGuzV+MnhzuwxMsi5exkQIYoXXg5FqIm77+svMbQrZlJXWdbz14KzRm+dK2dNRYX+7aGn34kDLzLm8HjQijUhV1JAXNr8jXFsZTgXI0PaNnyUIRCdQ5UyCGrjQ3Ljb2UT+mDMhyAVsc3P5ZwhXg5aSRHVXwjmK0h2JFPsxVank6WeEuF6hpM+dVIJP6hF7qzNnJBEKcsDVhz0734X+cOyrcliCx3KjK+Dx6iaXQmz8gRp+ZrzEaIpGJPjSsZYIGqS70JS/cAJqpBpLDIoj9kqMf1oaPCqqNjW2gyR3+nmd8uJyYRXZbmP+O2wgEM49G83XoTdYVy8dzjyywHBvGJh/MmuAucJPofGef1rNIsg0UvZbpOmFQ0AF1vQ0AphV4GDkhEX5h3/KxNha9D75ZHzTB+XIj2T6UPtUufqSpcy7bWS4pLPNkHZG5IbCn+uDxZVGHO0EloVmfSFdO7bL7YJP+m0YX3oxqGXLOnoamVdZh038ViJlW76KE+cYv7+uytK6vD70KQfhZ2ZEzfE/kW6fGzCqVsy0p3qKfXKeAODDF2+2oAf8NBu8a9tC2MSDF3ItvQzHzShA8RP4uNVn/EYq30MzH59RWf0NVKCaCCG7uCLb/hxlDOVJQpwG2OnrzU8Y7cLg99httoZxEbT6pzQTpEiVZieiEG+/oKOSuRk/XMOKMEDgC9Yng+NOkRclKki9cKVg3gJFzHGTCNSIuyzTxMO+pYfRPUsRtDtFriU81j3Iueb+njfYr7cDYWiBMStnTmO6Blgtgekyy+sdnkZLkfGR9pS/ModWhr9lja9149hslrbChdW4OznNvU8GjX5M4Mde6x36SsGF/xDHCjy5ZZztQV5F24bRmOhgsSRoogAx52fL3pN7YzUpcb7lIcVpYddAGgDKd3ykCGKE0bMGfWypPIbCwm+Z5UEjMSGoCuQ26JDQkEb4a2WoUXfFPjjCuBBMyiEWn18zwAnb8zDcVjYIxlPhkoS/wP8vtAThGq5Tx/HH6X1FECmuZS9pDRTgQls0NjpfvhjSF6HghGlMq35QZmOI7uuyUBz982PRa/6NrqQp4+CzpWr5BGoTTGgudyULXp7qsqk75FKw+O+ZoXlg+ZERMt9srhp4pycVyWBeMwXgx5ITRKWjLFkgAKUIKKIhCWVymUVcjYBiTz+U3dNF13S9igtjeH5ye8rKZx20jJsYOykeWhQg8ves15PIPMeMlRL+J+2Sa+XKAbxaN0uWl9EUpg/eS87lzrpVOEjRiYIO6BseiHZ8EyuQIzLpn/+IA81Vt0amduMIc1bQFgO88AXloDr24cYLUAMdYjY7sBRnpipQLejpUzBD5tAqGGzgKj66J8OWqnX11ZOMGCZAEW08Wuk4RGcpBHF+vUx5t4DaX+rd9cq6QCZQKUaV0gtT5EVUDfketgpgln3g+0yFzE63GfxFqvbqOBdsu5pNEnOtlc03RGFD/6wTMTlb60TMqjwDO3piL+fYdv0qofZcX0FUWT5rcOdiQdSMFxd8O8c7pAsDv3jyowWcvU45nZyhjubFG8eVCyew1ywLFssQpimKjKn6mXQqg/WlnBElaKS+qOPYcpztJzd8woLR/YHqCWwap/U4MZ3C8iAN69w6G0j6T7QaEkOL4EpJps8sabxLN5VqJ02QFlpIeLoiJpSJrJuIT8fwBtnfioHM0jwvHqAmL4GAX8/Ddbld0opgAwGT1mqlI40Bo9EqSdzfS4TXhKD80D7sLVf8YMidqZxDNn+9Al3Lg+q58lgN6bHJizWV/ITTaQ1Sxh5IZk8Vq4ygpw1Xxw1k71izy0O7yMF5haJuTBYI5uVEEX8HSz31NcarD7avuI1WGLz2eWCJ+NPaYD010ivN64yTVQZRRWb8MfpbnTN6yXsvWCuh/2lBua3NEON58DgpcfKW2LpaYwSIjS+1Of6ATW5F0xpCIRyCZboC/oJL55my/MBdBxcSZbf58TIk3jCDsJe5lAcEpC6ijGM1iUpAY0aZYWrXhCJFyMj7n5fqqFR0uzvEuWXGigo/enYKGfKioiTfOE+GzlNttdbp23l8+UHUrXKOjHCmHrfGPYnGt+LQbBb82ic7FGmnhpCQL7FnNeNEFwGw2qUrLnIYjqblFjOafgTu3X/PTbKCRqG1Dts3cmehQSTQ0RQl3i/mqI2xSSavFWvrMO4EI0HHYOXQrNbCjfqT+p6h7RXjaMfPB83TZPsEFUpCtnWbgw/EcRxOC0DeWkwbEoTW/ah2YBXOfSqApPXt4VbLRkVOaUsTK8p34m9A5s7a4Y8Rrgyz41b0eL+vJ597rnHcRYfAf5caWLx8MpIPZcbemhsZA04mXz8y4S/KbZOzYxInlIes2IIVY9vsxl+z0hW1B2tnPFdj9MZM8qDgBSO1TL+dHseFwQEDyR+rg7nARRwglEI8JTUuFjBeBIZY7C1RQgjXGvfBreieugmy8DE3/ap5nFDI63lTRvEMflfny6IL2LMhAh2/UkeOmLMYY5Yr7yHD/YoM7ce/Oeb646LI8Y+SFgoN05MQsfVz57nyUKzuKx2cEHTMUx4jw6FtUL5QI2FF/kjHlTJDWIe5lTTBd4HPUndm3EoC+NRz1GzPqadIUA3fbbpTQzrk/7DrKOnsF/G3K/AsAIKnLPaGtlpgvJ7udx2e8Mn1Op9Zz6Ced+TJvRgPsRaazMbYiQgl0pWdqXyRNRoHqeH4XKPmsh9FkPe41KLUeDwx6TcCGIEN/SaEvMUASdCehwdqAki6F4pxIrlmUZdn6v1skv85BL6zGcpMfGmISH1p+2kuGUkwCGb/qzCVzE+0kjtokVCk14MiDLyVgBe/dWiW/aoZv1OOqkTanWXvw3R0fmgJGJOXSq7ps2Xrf+ktyTFqcj9rt+AX7TfGgdi9W/e/axWFVMYXwXGCXXnxphtqWkUTvFIRJPhIle9h5c5+U+R5z3ld5cCnyw/oM6K+lDF3mxTNDtuSLe4KIhnFHjMR3wDDh1DtBk2bClNMXt/ROqHJiajcXtKmPsUq4tYKdkqnU3V2GugfzooEhgKNomgBy/0+JS8B9xbvdh5+yHH7O1YlswZK8cQfVgCXEuS6pWxU7HWKCFUSZkcSIWRGy358BBw/gxu6wq88NVnBzlhHOAcac/B+G3tEDZl7q/swS4iFnNvfY7tQ1SbS1lwBlkt/+luEjim/sWS5at0GLt5etrjMsJk/Ix2U3VgeaytQdsX1poVIfDNbHm/i0a/oPIJ3asV92ZqK3Bl6apWoZ5gkrsVZXd/Pnh3sbn1XREVGwHsuY/VI+XZW6Z7jAh8MPq8aQTFHVbOOp+JrNGXdwn2Z8relVBRSYD/Ivxrf0Aw0qt7v9R9TkQe6z/Sr0cUoqlfDLVV/rQUunjvOSzfUv/l3rwyVgSFzpJoDC5fa5O5pE5jW3Wg+RDJWawDf/A/M9D67E+Fr+BDSTdGoFEVm1SLL+f6VBDy6CmiCzKoHyDzPYnuaIy593xBLtC1MfvQ897bgtDTDhNSqvb5d4QUoIT10rpeG7Dd2Kb+Wps4pb9j40Npm52fcZVC7jkp5RUpqgG8YtN80W0WNYELUpP86FI77EqraGjxFAjyW8/9vxJ7n70CQhd4eOwzLSp12kjfpY+AMC3lp5+TqaP0MdTVn4NbRWkQzlDs/Pn7tYVuds2AireQqBs2qaNWtVYyWNvlXKfDwxCYsH7qR10YLGiosBe49h66gnqXRzyDTQlwsEAJClMAAjm8qoDNY2TmeKxwUgimcy0GmOXp+LLey18A9Tai3eC45Lq7hF6hW/MaHUXBXZpMrsqXxDzNp+heBYPhBbDugPNrzZ2qK2z4w8kq/UUt95fr+0i29/IkUMSbV5UH8mmsn7vhyCWEIBuyPZMotPE5fIh5n9kEa+Ctsn9jISugB0BkDwylsRERguuKzIOtQ8fAajEUcPINA5lM8cOfPV/rac/h+eB2xQHEgw9sq0F7phSqH2MpIRSlO51qX/mnhVNS2zVX1eIppnlYw8eyRJfEwrl+Tf2hWwiGuH9jr4T73x4+95kKZ3h8nog6kep/nNTVwTgPAbk6LEbEXuCrkcmYVREf9FT1JevSUwhxLo6gaozdzQQVO1W3CHQ3ivVqi3PGsJeg/pJFqpq65BYPFmfNjUaqWGaMkSRIFubDxK783tWP8i2xw6fRwSjT4eEQYhOqt/0CzR8TxOGygOC295229Jxdq9hdBwusL1eaPWC243+jUTCCuWGm3yIfejfV/Hr2U50XVzHQucSBKyO0LwgSELyBP6Ul3cJWihBeIkti7TlMlBm8zaHXS/67/K6etn/SBZIBKkgkpriF9EQdNObBfPlwHsEaA9glXftdFollKKAQrYPIjK+xiCGtxGpWNJXCh9+R/1e+0gGhM8Noz4uRNtIwfeaBH5ZyWgkl8hDsRddqrTf57d9N3s0bqP5IKyjDJDa0F4vqxvHwx2gMujSbqSYFqodBlO7RQM5vo25O4dIozZOSFB16clhvpU0YFCtLJABDB/NUi8EUcOjSmYrwqyTRDEd/hoFpBxVAqA8yTq3+F9Syo3x0bcJnvN/dviBVCWUEnqKQAa6ZAzFkOFco9vaA+q5NsTXPM7G672sMIAj4NEb/JziXTNOIXjXkpqNlu2hB0MGgzpCB5p3DNSjyrehwEmuJhdWRGTVZ18FDW26LLUylTNWYWgGbdNfUJISqhiNnxKBq7dbBLV5WlGmn1cxhOLc6Zzsbh5n4P/TqmM8tTOj+uXunW4bqtbLqeCgXDCAzhCPeJrDKKLpPyaCiYmdQDTGMjECu4851/5U/ktnXxx7F2qfqZVmx6gulxMpGAXnIa4p2qE0wZ32HsluTJZXKEP6QGvYIpLyl6s2DNPXooeSMOcB+ngiW727VLZ+zJa+z3LNDHwI+rsvCqDe9d13FryWW4eP7kydARdWAazHBHxsDoE82Ew93cJuPuSI5hTM7UHCLU49Tb/8HKjiEv8PlRzqSdCrmxKZ/vID8L92P8+/7Lof/hDx3nrkgg+05bU+sp2GbHveaZGv7B/6Q56OCuXb6YKBCp2GFd2GtZy5bB3HkgnLbYku8F6dzl6tCV5XxKgsJxBMNXEOWQooxXw/kYCVXvvKcN18PlEUX2qvkqVCS46bNEdhFqeJ/+xqSarg4j48VARuBxhWLI4K4h6LkhXJMGNx2kasVhYz0pllVHT1mKuPaD1qQGYTa0cK4s8PRPh2DHvuI5O0QIYS13nIfA75E51QfXYRl3a5/RRz369o8f6JvEdUOrVb1yVz+XOMfiIkuK87bgzKLluw29h7xwsmPWXYSq9yPeZMPYKQ+TimXlF6HsbbFFvpxNt0dgIY+s0ok9OqbeSKZ6U329BTPvutapGONzdPAgMbz/7yeaAlJ8fjevJPtMjNOFxUQNbfNOPNCa5iO4Izp22aSR5Wdq94RXvpBHzXgkH8gKPAFWx+j7n6Zc5bmQf24dWvfCIdXuqkBDfe1rDLLau7xmTrn6Y1auM4VrOfy76+xu2eMnMQmrV8mKPyzOfG6LwEe10sw7c/6LbTpvxfW6jACMezXZOhUqLL0fxvR+sn6Df7/OVLjY8Xzwhwoo57x2WeWGAvWjd+gRZD3Rfq1OJnlHZoksvFxJXOTk85fd6E3O0kwc2XoS/EOXe98QDkSFx+bGm32odU0GJrCR160mc6bebTDr5NoJl+ARgx6OIyEkHZ9NMx8BIT+BczrgDDDhlBjcvDbvaVwo2Y0JxAddpRy38uI55Hfdp9miwNwF4K8YgZu/jpZ/01qkftsb6KxiLV96CjYwCoo8MaOHUh6sZzgcpmcwbJM7Qi3G5Jsa3p/QIPXS05rBEAoOY/Zh2Ta3XJDqhRhcVYU5KT/dGv6oD5E53jd6kqKBTjwT1wRiXyeKKQolxF3pK+BEKQ1eKA8GJTKRjLj/c8Ao+RZ2MkepE5l1k+rsmjGlIuDVoqGwAL1ErS/Z1L6KbbTEtZ+iEVDIeKp4VksCsVBqpKjzksc06Y/uHl7cWnvK3BZIfZqykToTXWSFhc6HYUh67tmZQ6EGShenR8GuKWzO+WEwDKHXP/KWz4DA3yYTR4UYIGqEfUch7mTCCXZxLfumL4QeEFpTJOYiCq7txCooGgUloSaWfFqJeAc0e6/p11uRg+x3xx6BID8SsubyunPeeu9qI5kC3ff1eEvHGAqcyo6+XAJf22sBVOO6IcZXa23cl7gaZno5q+fzPIgFd2T9zNffE1Ha0EjQmc+uWthheoKU0S5dOzBFfqzhh9P/WsoXh4Viq3Bxwk+dLcPpCzv2yVufHro1w5SPUF8mxL/CZJHI6fVcYvzld4iSIkumeJ7XUd82fi9HhcMgX5DQAqlkeNnYR1huHai74ESbB+zXj9AJp4v7a8LiKfPjHwGckO6qASAObaBtjZAte95yssoew0ZoAakOb4VpCf4M6oowfrQ81njLzzQlkRCkPnUB9snBqBo9+TL+OSWBLVISDQWaE8wiU47vKiAWLh2BTlDjQ6RObN7bjXzpQFDuo1BoQnwV5RnfIIu3596rHu2hdIQF18X8CcYdnachVsdIzH1CARQdfVRN/4Q5CzTMh2OnhL5kAm2JPYa+omGwhwzZXSINDz90ylm1UsRIj1tM6BlYc663Q3RtuE4eYCilk4DTOhErekAdFdbKJ2lz0Mh46xFLn9gJ0ZqDPXSllhc9iDKu/qFIx332WZdfcJPMhuMlJCIoFACz7YGCAOKBbQriQPHReHbVbjVCUU5PmZaRxdhhgfEL6EugphQu8juKm7Yz4CcHOs4InMw9EOFX2MC6HnaDu9vT5vZK0jlh35G/DGc/XvR658Zh7xEdQcJxfG8mq641V2i8t1Xmdy3fO29/i9i0WaPSBBYu22U1yLCKTKybA8IA4dBPDlpM0v97Zz3BY2n2QUeAsmYP0piMY4sDa+8cAJ+cEt1zA0xqlTcOU+UqaFm6jzp08VEZgsAa8VW8QJIKGML/gAmYPYsIP2nMXfomyD7midBbHN2k70daR/nNrSj1yPR54U7FIhVdELUhvPkxc4e2tdw1BoFZKIR7efLE9eIEcjjlee6ZsQZiiBwS01C8UVWr6khmmlMXTZYM65A7Sspip013qce6TTI93GP22RziCkVKg3YWduDM6GxMYztIX0DS2DxJ3N5q1u5yV7GziJZ2voerDXPNOf5kbB01APRvIym4aS+1N3ZHjw99ixFIQuikijr6Uzkt84Opl8M6cmku9Jkk/rRaV/NL4EBvALwDHE60JxqjG0HDQsWeGfinz6rFToc4p4VQeARLpv1aG/wAAzH/2N2ez0C8Mc7pnHhn6nh47nBUyZWEh4zyqhBHsAi/bLycp0yenKEmUXCF3I9GHhyLdXozIvfZSmDys4Pxar1EROj1cWEW9fDci/xMkt2GFF3JeFkNRbDuSfU4Pc4YqSfGFAdB5pswCkGBdKzYg4KmHBhNgYEuOkBvwwc51erV8iMRPOzOZESQJfobZ5UmkoDxOWhAvG9NsijvEptP4Mk1r5Mnec+kKVfpkAKGlCobqNgwM0GEqGn8zpcfgN5BP3ylg/R093zd7E1/4Q3cZOqSq7fXE4FuZhaov0Avs8Vnmccpnuv2wmvnWBsvqkHCdYeULhf07LGzO6QaLJaG6q/9ddsiff8oiagRDdUVq3hnim8tkaFN+mzg1AVlvUCkaKjDH8xT7gJsuHW1pVR865W6rP+L5NYES02YVkFBE4nfj/FezR2Un/+ZBjrZFvxiPrR9UBiovpUNpV0MxOMPfscioiqm26XW0gcJT8rzGDWprUVaqniZ2d/50cDkHDrRvBBvpVrbW0SQLGHDe8yA9PCtlXawx7aNrkxpl2D1DGZY+PY98xYsHHeF66taO1OXumfpFT/lW2X0mSi7qJgxhfF7YHGCFaaw958kI5ODvrlYNiErnqkWVe+HAEQUxA//f4gS2HJEtfjUWD/JDboIl+UA1QHsYMSDVH7LOhL/2yLzImiD5+euJiK3taiJaNAQmdhe4GcKnkMdlpUEG8YnDee6mKHcBINPhpOn6PgEU2yAhZftUcDlARiRT40/5yTecSyLknLDsGZO1mBWFLUaD5dMcfD4FbqI3tfZG/xs3IO5B+mrZ4p/z5dAf/gLDZJ16wVH5i0/Ee/D2DRoBFwvWf5q/SZpdn3lITjx1JfggnAtm6OGlPvQB3dN/9/a08/DNGPm0GisDYuwEZlvmW+3VphdbC0u36wSdlGMKG8Uu4Lsct5BNPuxgB1aIT2wqzX8FAe5GbdPKCKilzpqd5RsKvhBstl0nTIPN2fLVvBtEe0QQs63ppks+/TIWNipwO59h5ZbpXDP1WKva7I+ZJs4aS1Mx/lh+L77v55rDwZB82I4GjmCAX+3ckrQnVfwBMXIXIRTWp1naT0S3P8RKfqoo3M6o2lmEtNNFJ0Mew4RlLdJIJhcW6gmAijTy/flRVHsGl0eAfmIdm3uCm4c3SIHUZK2hKBiyzeLkT5F6GoOtrI9TGyuGwzuR19Ur/EZ6yyD5QC6C4shyTH+wIL6r8Tyl25Bvk/5mkP2EumBsiIxm+zUqU0WH1mFAE04m6phuAUjoiSTAlRXXCzINzBcSRvPLtrBdBBiNT/hqIQ0hXRQ+f/iB2nwezETcnwiuvvs0oOiBJ+4n2y23I9obF93vtWsBrn5j0AKkBmeaN9Muu6M9n4MWiyYBV+UmyTW8qVQTiZJSvTJSYLhrYKFi2NJ3eTaCpF0APLyS/BCxkN0hcsThgxq/McvnGPAUY+TEOm8G5pD4HoKbyhmk8GPf2F0cxnuNq2EUtMz2gUU9WVNuL5tjoxfnldLRQCFWGLlj+85DGCc74xr8Kpd1U8HphCyYO96w1ClQtEqeQN/feEFymZVjkoI3pHCkfWWh8dEbbM32I6Es7OgAu0MPl15MEtd58PNbtHdqOYhx0JTZ20QYdfxCYX3OYrWgMPWBPOZ54A+jqHdQseSQrwccif1mbCcJso7bjZAlW4VPNpmhe+p9KqBwre/WVva39b+SfmbYIQrd0kqk6kEXhDHcmoWJQ4wUGBoeTDATLrql1V2wWiZLMji5sc2tdxgcDcdj6SpjlF7Y/eufbSzBfiokbk42FaFbNuVfPWW9qIknPhVryNvRc0MsDUY/SdeUfNdLkKjVADQPYwGGwNgFqoylMb0slVRR/WTVPvSs0AO3c1GuKJDlb0iq7hmuQ2NvZ2/advwHQg164ZGUGfHOtJfjSHmf1YRcMvLEa4FBDODPHH9+BKPSAH79+gV4l2YxrGlU42X9J7EIsT98pgQZFUPn1rx9Yk5085ZYP6g6s+CwX/IbUWxUKAhJtSSSiQ0p8cXCbCoPyTlKxIBWFqXUdjzD/IfsYZxBagXy/nj6TiMwjTtE0O+Dn4rIyX9I/PnJCJ3uoXhXn7OF6OQnIXCyJym5exO9VmkAkkHia68lV3aw4rm7C/uJjWdbj6aq3fNug4aTqZITfmUjJwANtMRfOTZYw9bnRIeCkN1C6qC/9NXE38FhhV3jTo4rBNdprIcErY8fojqHjJtgFHO3yGTDPluRLJGq0IsDpEMXF3HJdPg0uOWlAzvCCZawvA6jZp3q5opHKwyZy29+GueID0S25/9088XvcQHKQRAD4ZB3ZVhSUMcK45emPsn9BFtPJkvXEQ3huOO9UKWnHM5sks1wiUt+aE34nA4HWEuilsmirQ2cBbZMZvMahwTuTxogU4aUD1khTIhCddXTAfK5YCca0Gvw674qeMlWxfhg7BbwNPPceOEJQfVJXT2Q0pF2BiH6TshBZGp0qI6ouChL0YKipT/zTex0Pgw18eoRyworPvFbgybXI8EH/QgsxAvdU43hlglqwIHoQbBh3SF+dbM4g8fuZWtIa0EDVwj5WGmBBZJDUHi4WU2VO+3vXl35nAq7J4/GnVt2zFRKOmckK5HVKm45ae8/UbkbFHU1i24eMRhxxocZ+fUoidrjAaFjCI5cVi7anjioGkk+LSEfEQYMV1n/VBirM5MJWxnxZrmmPKYcJvShMOxm26hrj75DstdHSsAVTxoSpKWDpxmtyIf8ARudqoEvXhUIRkC6PP81ekH0RAquqIiEo72VAarRCj8nH9cnTi7MqXdY7NJMe3slZ6/diLzpejhUwuolL0R0VEiGqxSeHAl0oWokHhIVbs5xXSUKHEAOGkbsLaDm8PfLIVSbn8VOZe8u1KrC4ZOd05pq6y6tYr4vI/jQWBgdcfFu1801rMao4xgw3h7th+F+gxlQvS3OwxEPbBa2ZqHO0qJ67pA4oazq8dZmM7N+bEZRUz9cmvP7LXpWXGuqXkLoVRzLNOFtwdisck1lhLHvoG7mTkLWfhzPImgxMcJmkPPyXTnUMyhKiHTlMoZFg68ZEkxmQw2xpRTt252k1dgPaOcV7m8icpa3l2P8WMdvbdV6MLUFu5FVYXliYsGK8+SWXWeVzK7aB+cjkUfljqs4NrRzy0AyKnkUv3UPZg4gA54vrZlyhM+JY5DTh+2MIFyxAQFRReLLPV5gz67rVOhUMmfAumH5hGncyrfGcV9TxhssvaQsgldItYXEGXk/RvAcRdKuY0YaUGb1Bce+fuFdxIdueaJdsHi/BtOKHpKSgR9owpCmrOZrddsyzmnwPUpoL1unFhJ+SKRfpH7wb9H4tQFBuFUKEOLrOlmvgf6Rv83P94t1+MTDDDkQoN+3+8MMy/5/nkhesVjmPa6G7L3xgwmYAKwecELGLlQIkqzmPchKbqNHTlUz9U0WHqcDCSgNxtLA3YbBZxzC5w33DKEEkhs1muPBBbVqbt92nBvCR4/Ylsr1yxNHKfK7fMlIGNSx4bnqiUe9xl2Nxoq4wnLtPVwbTCI0SEGDG+S54DZzQHbR10aGcSiEuex0Zzg2ySH0zsc1vPMhZlEynqyK/8pXXC8wSKrrDtlD+Vez7doUxZtGqCuIy10Yurd5eQtMNJCAF7dRLAkqCj9sVLK2JoZ97II5bVHOH1J2qrteAZfEHxFRuGyKhiDWliqM3WWZvOiSH43o89XXLVVQEegkwFVG8+OdxNeW+2XTIbypywLLIeITBEVhyVwWGBpjmb5dn56fMQmNpi9KRM9eFYJvddtTNty7fH63/Mmwyt7PM1lNqVNFahMuB0C49JJl+nZJ7dr9ZIOEuApv/sk7/QFiKPPDM9M3zSpn/wJFVTDtqRh5+MJAVvwq2fCeUlHG7RuXvljWUHmF0yEZjsQoWHIwfeGu4Mky+VOrVQZTxN0j8QQoQk3BrUlo8aJ+BhI0stY88BM/PduulGcOEM66rDqQeWm6QCRoetqyKrNpeE7anxz53OEGSwlCqeqB2R3Dsnvl4jPsudWUlXJmjYREPK1j/hQdaxlFmDC/O3buLUteY1ZoJkWp7B57s7ivfARD5wbsoLTqu+gN6ZHnArRsNzI/8sYx+o/oFfK7OBT7TVMKUp0X8Bs6QddwZUk1iDJ0gYtNcZn3cuZW2PPiuVd1GDvPnEu4l7t+qtjFCJ6sAl3QeBf09zGA5Oh5ScrT6dsBFIORluYfpmIpt11HGtvv8ZzrJpRKpBeZLmCHF0D1UUUU02aw72UCoxIxUJ+l4pHtqhkzp5yqdThWyDUNU75VSgJZzG3cjZvY7dPdrpk11oEGT/0M3KlopOTgr+QBirVSbf3rmmz1iGdFjKx1eZcaUftWA9yD+Yz2FtwDzKPwzO+nSqabF72r2pJ1WqdtwHjooA41BtxX49TXo32RclAUF2HL4AFXH3UMC2+xfMqtwASgT+eBnBqWke9a755O44IPFBlZMizZzkjbzl1ZhDH+MltK6yofU9DcMo3zMeTSmaKq1VCxtmuv0w8EyhDnA24obF1niYcwO+l9jov5sXb+AeyRH9xGzni+hqmiYLYPOKJPB+a2/dii2gXx49gBHvkDQKqyKFhrqJ6fgTQurWIUBIF68fx1QsfpCw1tQ5+Fu8V5wCQ7JgZ37ioOUnvVmiOur1HCTjyUTcXI8urdghEu55xekQkejsfrHf3Lmbh2bEvmG46ID/YcX8sJTG/N4uUa/W6kjBndKVCFsH0lTCJ/uSh/K74UrO8Asr21yXlN+h18ERDMVlj3KuueuJHgLDWxBAgNY/BGi6enmyvA9C50LpGtpiBicuMtkGBaNBlxDbJnWyOchZgqXPvNuENdgqfSE2ALI+t5ni89yQ/c5cIfvRT2mLQyba6Y/hJr7L8XAqo5AK0MQpXxDqQvfKP/tQis1Yd0dTqsZKZEOAba2mQ1Ax812OqL2raDmOXnlkhBwFluDrbUNYAzmtIMOx7Yw6NE+MiWFKISL+sBtqbdPioeWTORcBOcD8GvBCBDjOjH08I+6kSP+WVurWGylN+fL56V48u6oMOaZq4VfiQv24Jme7svIWc5+39rzpuYELuoy5NcF4syDpnGvB/htuT+T/KNAjZxLZENOSdGv/odGaaUUMQmzjVrxvCTB2gtjEZDvwugZQc+GhLlAJa7GuqENPphCZ7rIAl2grEYVsR3E+788ee3M335EbWg++xeVA5Da4zX6alro5XJSKDj4WFRpPolwuo4VtS3hg47CX02aoDD+T2AmUSAY3sIIu0SfI22IiLNGrCpJ9+tvUK9lZf0q8jJUojfejF9BcJkmJjaqG2tuUE/RSAj4Yuob84WSeHrYD+ec+WTFrM/cB6quklV+UPpDkvcnoJwUyWQvKb/V3ROMEJd/t58SRcBibIj68xokMYOWZ/uk7tGj1T6HmI9hPcT83xh7gN3DIPhQTpiTXluIuZdAZCvGEhBi48k4GnE63TJRMeswGcWmHcS3XO/Lg/LXbnFxD4/zY5+NhpLV9GqD/V9FJIT3SbKcvwMqjuQU48HJHxKR4/0oYidBWvunWhjL6A+jd7/npmIDkfO5gsQP1x8LWzXjuhJvQ9FEXyM8Miy0CtLoo4XbOCGxNax1bOcK5aCMNVB1ndwrnzQiEWMsIhPWjqTp1LSPpcK+xb0eUd65LaHPdxHXUQ0lCvuizAVzhBoZ8l7cxmwTumsbTc0hUbOlFr5JSXAS0ahnvzkLK1uzzKXboJTe9TH4lfBSVwPqluDqe12RABx5bNg8PHGz0MN/uJqJrzmB3KgOvpQr/jGCN2cu9E+yfuzy0QwJmTE27/3D5iRXskLIpAb2Z81smyu34bgkE68gkpxfxNcQYdmraNeiW808+q1cthmncp+qhvuot5Hd9Ntop+U3fEZZ1AF0AZ5VwNiruVw9M8uKwQNIqnrofmkQ+nkbmk0fqUqJw3vHSGYFVWl393t5dQvwf1rNYcdMeCiLaAXl81Rocy5PqqlsAhOvcANAEQfbF4whOcZEWbnGrD0St0VLIrAPla4/e85KWEanOQX1T2kFjjaKf2xd1HucGaL1eTGBH8XCPnTXqReTAqv4uMMDMx1Cscm3AccbZ2LK2EEfMLVy1hRJ72aXGNTt6vOqwu52AW37DSgkZKBlK8rG4vy/n2xXPvPkYrcixuIyQC1CaHOURU9eIKJv0I/JRkFyeowsjUj/RKBoP+1V2i3i0W1B/qylPRkjHFXEqt3z3sTXXlMamNGhNvSmYxYmhx9RoL8iNmK7cyRSIxVn6Uhipigp5tH6of/aKncKizVayGxlf1x4a6hN2Xj32FVluCN4BFNw/IfJqD1yK+97CNaBQK7xpSK9zZuhoMLlodW2TpUZoyvNrfikWTFepkEv6kQcDfuc0qMgmPn4xVGcGCe3XEBTuqxmBVbYxhV0IZUB8laniYBFA75K16CRa3SJLMRO2v9F9eFTB3xLWsVAlJO9yRM52vE3lc7tsn+KfdJfNsVBrmphByqtCTgN4pAZJ70o5KviDC4BPyIpoC49pdcwpOrhEN6NQfhTmjzTh12pFBusJOjWWpXyrzNAJvpFLeW73TsRnaydrXDBaJPr79G22cPcSeyHhOcDhC1AbRddR8DKDAgGKmpMMC+IPQSColtdydTRGe2X+GyJUu5LQScRDfvXd9bjjMoL4Ef2vCWvrEdnhcaWQ89k5frLYMmPEC+cFL0E3plbENrA5otArsRt+PKn/tqix50c9sYJw52OnAr+pFyxw88D+/lixUJBcCHlAqnOmmOPryDIZ78O72/53roGYbBm1QndX0U1LBS/6+ZHh46aXzVZ0QA7GnmbbaB4wog28tu5dDO7dNtkB71SF1wq3kwX1f5tPU+UBdm4DeJgq85udMsDlKb97FxrKshFraBF7c4c59ROkxSyO1wBjH69u/yWunu2GyHQdfK9VyHCpPN1kG2i+cnrmkk7QkDco9tAh9tovSVPRGMF6zzHTv/iuaCrR3EgKAL1E3LauenwCFlT8R8/C6h9tLea9BqETlJ7qZIA+XWe6bMoOAthhYRaTaOLEUCP7wNmb4wl96A0UKs2OpFmBBW3wz/RyzEnauFXDDBP2u/V+1s2XaDMyVtOU5RzkFD1v6/0WXEBrdrGo6rcM5NWFWyJtFCxZaOhJDjFe98hUhe7DJYh5aiLQYOe4zZpVfiQwRTnXBFlh8kepSFiiH6Hh6sQYmmYnSYS0LtgeuDKXeKZZ1BJ0/Fjw7CbnLch1Xrqrh+1ZkrDKciuH3KmvBER9BpVuiO9OM8Sd0LS+bRsp++ULrtTn/b87ku02U9unQW4RXtQ6YhZHDmYQpGRucxiBQI8N8peO3/VhPNn/bzAijnJu2iLF5eJBbcreg3+C9wyy6W3WeUyHKG/Vd6bBVgDWrmjDKRkTnWPLiBvAMxuZSxQNt5woDcu5y73b3fYxFegB62LLzrS4fQVqZcOdSvX23jBet2AM3la7rIlZClBjm6LTA5kq5DM2rC7b+eh8a5hDLWH7uzNWfCEvzgDhlCuPvrU27tn869TBpZAar1VyIu+6+9J27h67qa/8mfQHe6yWlxk+ezwRb/8Ud1FPm5+4Qw/l0eLtCUf05PbjmHJsOjpbJIqqxR5wfL0D8jEHcr/hpWasrziWeHj9uJP0bfW0XqR7SzVq2yrVv7GPbjTfz5lXFl+LbWoce0flMvp0mpYCnD1j4oPr7Lq87M9OIlN0EEQT4uK6GfLObwHsv9IAv5GYAz9OiLIyqpoxSaEkrxXsDWdWiOjilnUWYjrxWHwzWv+4blRqZKsgVxXoh4Z9KS2GSxF+ph0QXv0e+Ddo+nBcICNzXWktAXx4NjxCJwgmfDiMMj5d4t5fuSQsdczKPNkKKDx40u9pHM8sqHmjzlYJQ6Wj30y/hZ6isRSbCBAyrOuxDdrXApcO+9lxuAiRA0yYXR9gFvuM5OyW9BGcy7RIi7mieGjvfLDfGLmiXixdeOu858AsIcZt2E+kTynp49gVPAMcbYipCb4ZZb9LRa6gfNo33RjILKTRXZ1yDmxC/69swEtzI+gpUZTOZCsEFD3Iuc9OEEEc74yrIrDswDjDzC9UM8IBVD5Ejv6JIUGJxmYSYBqvOlVhf4fAVoPU/xY0j6RMSnjBWCMLyAPwwJBJkT5hLbu4PCXZzonRDj3qyInEG7yq8ZbRaTDK86OdJr+4St3qCjlub+lWu321xxwd2jBRZOrzv0xUuylUxMUYmfp8uZBR9Vmm1U0hMP5TddKj2LjlJlzN3zyn8OxxF+2pmNKjySUMxyuM0nSYGsW2JVWvtTNCP7i/Y3FV3AvN5ehaYlxzkm26/AfPuq+T6j4fJZdc7cU7+LP2I5sq+y5DgqokxxbW2oeU7pCqBO3n6fbNl4c3zO+RAZvGPwNWTIWFzHv3HXuqIhUT6fKnlUJUMVcFEns6Y5JnvxcvFG9Wp6CKnupdHKm4RW7tGsjCJZkxj4niw9LBOErCz5H3pGPiC3/KBuD0AflPRmYc5YaWVQagjIqUToEK+ww3s12ebRC0KNviW5CTE4U7dQYWLNOj3bH5UAZeSnYbzWYh7gavmvd6tmn77SHxtTK5f6H92n38y9tDQ0VDcrxQdXI8OCPIBtx2ORDWKn94IcFRjWxPkXsj8T8Kwjs21BA/f5X8L8m2cRA08lvGKEmbbt2Vtr/N8I++Yo1oMx00ZcYJUR362URktgndULbN3bs/Ax8Kbyi4iP+V7ZlLwDfLrVWQgG3T5VBZi6+Xqh3ByhqNJwh7KN9TNagTNf3CFWahb6Yk1XRMxms8xqyVYsw5pZqG/o3SqJ9qFR0FoLBVcGRxhxNqVsjhrs3OV+XwBrAtQavJj7IURF7gq4tBr4yEiZ2IlFazrDXMAv4WDGSFFolpsGiV8mateiPdAd+Wlx3DRiZpeYse6Hz8O2s8rheKvDnpusiu+X7D691DFNu/gjkmcCBwIdwx0gYWOdRzb+pEe/PEJ8FgVVPpi+u5KZwHd2S4HKPnDV9S62+C+FQ80GaSVP41Co+VX4orkJ7mxdnP59PV5p0NlePjrcnC9zUbN8PLAf2G/1B5dEFJgWDpLbviT0zksSQaLUFvrCwziDawq0RET1/K2cGVQQhkKpYmRC8TE7Ui+HgZYveaoDs5nWapEKJoFU8HlMzVuI3RecXPubUb+V/cfbI1lfBj+QiNLxW/MN93x6sM2AYK45K68Rp4UNcYl7mILGMpuSC064yrNJgk5Re8jYHOArdKrE0JpF3cNS7rsszH+VSdmlAgBrGRjYzXuVvSnXA4z7psbsv4Pvpzg4XipTS/bajzuq6nfMFBMZqdzGXpk0BVdZOBGfFTWP6NfvI71xIIP3ijDcsK+KOodwGY6iy4Wuz2lU8/BDLGiSUAYE3a28+AdPAyEpILvYqXl4pCasX+csGk86dbMivYSBgzLbqVRrPhCs0ySD6+2XFFPcWww4OMJ4irwY/U4jdCWS+UsLNzceY+ia/6GXxms4fz0OEHjhZDiPy0INAuXU+uNH4lkkJxEUp0Hd1XVFn+yIcjP3lmTlSScWmDSMT8MMmd36nRWCkGMAJVW6jP0cRdtRXdigulyAefcDRlJQ8TFHEicGTGQr4Krx9FoPdjvr+fACcCInmi/W/9jR2mnLW/Xq0u8QFiteTPCHHoQvy5Ja3pPl6TUqDesXBFAy/e45tkLDee/0L+jJRLiWCEFpPyn9XQLvrAF0+i/Ia+us/ldw2eLEUVCDXZdvq/TalDtauzM+A8JdbbRgYkrQXMH11tOcIaRZdQ1da+qlF9GDXdw9WfeWJ59+kvhDh/tNVpCgJfoA7KGDUz5yI6tZAunSHCO5TwTPG0UUPy/HpXs8QNH0euebMa0aTh0MfG8IFV8nceNHxhDSA0UxzAMvE9d18ML2sWif5x0NNSLMwqlJ/nitQR9UqZd3geFVhLgnboPoWCr6NirIASKd4mRLXz1Y+W3FKm+I8u5UrfrK8cQF6VKzANAXdW9OEmHkUYqWqA+eBrwyq3xRzPCPz6XszcDJvBeArL6H2peOO2Dw1saCwouusl176swReBjrvt+m90lqEviMQE1CSSSZyG/VG2W4D79OqWwXzG8LuEgBd72jlQLFbIowMLXYowmGbUGlB4uWETSEhNCE1VLGkDgVKuXXPsdiRB2sY/X1+UHsAkbBP9tqxcUOTnxfRxtPWig0+kkNTH1TKfQ2U7iaMLd0v3la5haJ6dlYgrIDGafStqpLUoeFfl8NhEbzeVM0zcsMDhl9vJYEI57PBTum2MY/fMma5YOHEU3SyYHBDqa0jHpeyYCkOdPQAFoyThiaeGOrxSxfYMo5Zpmii2F41rZxGO3maQq8+L7Mu98qVAfEcuau6CjwERkapA7nqk9+BrSuYdGtxIGia8u/NsW+gcxj5zxjjmFStoJP8FjhcUpKgYTtwXuleLw2OllyzRDKXtXSIRZlbLJAOy+WBUKFibRgotARxGoj5jTT/2F9CL9Q+PuXsY4WQEahQg6q4Tl9hbUhYnGOIONa2ssLAJL/AiXefJz8a4Icju93CFgm9k6iN/YDc/yLY5nWU7U4ppfoF/KN1wJF01E4ukuY/cALHGOFLmZGRzvo+pr45R3Gqa3zQhMCJcBrVlSkb35d36rpRkg4Yok9DKx03DRJlq6vRzNg366qGyi2E9xur1zS9eqGM6cHlVqzX7/dUvSXeVD6YYTQnrxXHapdDVYb2K4yabwJudAqC/Ih5/owBiXRsqqTSz4swZtpOlckqWMrkPMhUjmGe37pHu7BD7fcINvcfWKEO48dUcsu0nT7xEOMkiLlr2yqH5vtoeg/9oevPxPkKvcga3cQ1ydlK5BMikDhtNlroz9Koqt/Ibv1rlBE6ezwaWFIL2IcoHxDVlKNZ0p1vhSd9RnjKW+c+P9u+JYWgim06oY5/wW4sxK49o0p9aAvq/pz2GDz7j32KG4/7rGfHFuy/lqkbYolMFziG3WXUMp3uzvVPhPamVghM3/x1SpA2ikzx3vRNABXrv+hUqwEt2LzJTbSzz4Wj2Mnd2mjIlRebzpbt67WfeSeYKx/DzRjBuO9D5xzQepOKYtwAmAq++alFfiNINy/4wvkM2zAxRSgmIwViX4tO4olmsCZEPKTIT4Ym6l1uoKkvh/uvl1IrOLQiFDZDGfFrh2H/gTPaOcD9PXxZ8Ra9doO2XLSqG9MtHWpNjgNMi8q5ZC9EXz1+6Ee5IjStE3hs0bruZlRyU/0NGVBAqW+/caPZGJHYBeUGrICjdWsmVM6NnjcjQ2ynP79nYr51n9TY8c75oL8J2v94hhcxvWTxDwNAr94kQX5UGQTyFWu26S0eAQypgXa2erJ/wLTwIhS4cAOJ6D/FWSIMsTDG4lYT0vxxUDhJlSe3FHxGfgSaxi1XTfCV52EbQ+HVQumF1+1qoztHywmCffXHfnLanMqYTAK0fXyzUFujAkvoMuWBAXCh/VKvTr+Im1OD7IdXnDWx+P5OjE9ko+UkOA0I68YavL0CT1XT+JwqSWgDfWH392d+pf6jv0zStzYSst4NLKJmSBfRQpTidmMpeRQwg10MR9CKQTYSstAamFhqOxHYEaWuHnA/wwPyRVhhgeGotPgacT6x2MP2uvpC05bJFJB4y+z66EBkL58rUNTPnZMIbmoGG4bJn82mEEotr152Cx7kFys7gxi8ShErHB15RCmMzf7q70v7Xw/oE+xfNZxnBqTjHu7I3aVgpNKhMDgLKSbUZPZ/RyLySDpUXhAvfzUCvdXJ+hZwPp0F4P6oxMA8CsVhKu+fpMHAkvlcPmzs3y4OXShKUKozdDgOfPWXGgajgkKE6FrVU3SHGFubg6/RtpuNG6EjfxRLyC65TuOK8ZQtF8qeG687GUAxYTAnoZ1sJGXcUX/HVIZo40aL4yqsPBm1QTbAgrmV+xltzH7mlzsutKrbKA7w60sho2zSZ7nMbiwvpNRRKyxdfXFJ9dr1l3a1JONvHQUXKeRwF9bYh9LaOeM6XQvAJMo857dSE+0/9kd2++7GI33qWkFzMXdSOuJ16HYfwHZl5W9GbseyxNvaRyKe30CqSnMEmsjcBs+7dCuT9myz74j6Gp3e3AePsJECw6usT1xzyJkURC1u5yGRBLYySj6EcVgCepn1KyyWWYTXAhrbpjvYzJMLKrqKFdKlBtrbk2fAPNJvVLtkKsJH/1hL/TgRbsvylI3uo/GbgI2FurJ6a3zV3Px4YmGT6uxAdOn+8O28A9eK4nlSfl8+u67LWyKR/CK6QaOxxTadvxqHLH3rGJoLAc1yPEDvz98RW2LpQkBI/1HlLOMVj8nFH+BOSdgznHblfJ3BORs7yHihIjKLcdQw7L8AnizRRi7TWCQPjIeLIjYGG8gYKnFYeKfC2UsSbCx/wrbPfTokKdVWQHRzqdz5BZv/On/Kz26OQ4L/2Zo3IiEgYyvOLJ2kgGUdFWmNVwes7hLdKyOJSo1wObvv+zBLbY/QuCrzJy4rlvOePvJ++F9gTge/lv/fkrGS8dRox400QtQZFSxZWTSCFLnNcujtBXk3TOJcpXUMvDtmkDP2VQVyYMJouERhP7m5bu6RhZEMdApJSWxQOzWpd5zjcGgcG2R18w370K4lfUjJtfbyBYoNwvWUoZm63GbWwYYLZgNnGxsSx1GaGPBbd/sqtywS9IU7jOA3Jz2tYBTXMIbWOAdGwsDdvjYq6HFUqjIzHClH7CyINQD35wJarZpWOWuOb2jkg94MPO6H7eyczkhlK6GF9Dn74ljGqSfONQW0yht7pABEtzRVcrMz2WagZH3mWNa/koA1Q7Y3QDdJGUiinEUGbwA/K6fML9YLNvE31i10hs53/yWadzytPlyt+Kj0ExOJg6uNoML15Nn3rDEjOgVY1UwMiQpQAdY+/zhpLHNnKNTpLVXJGv1eFmU65SLxQwF4jcVa8Y65gmvLafVG44Lp/1Ha/a/CqMAuwGKjAo5t2nQCj0jJZyFry3042NBNWOwrdteAYj9mORayAWZZXkYbKj9J0GQvfu3cnY/0b9c/D5CQPUDkW7NcJuEu72mfyoGCpppPpZ4E/XtruTXCTmmXgkPztAU1Cm5tN4eJNsm5u3GsDZ0faxvXWK/4mfvT7Rq1mTLXqoILLOWSZoiojoR8WZMSldATlnGGi5Z0ZJXOKZGu6YaK6d1ouziOuRMw0cNWG1wAwsAdYZqJiN+hDAQxZShD2aQNkHKE3pTy0PtD8+FUOliER3W3F0EeGGFw+pVUgn72d+pSmxzpZ9cBR0u6JdG5JEFarkc6aj+y5QvPNvF4peaZkwqlZOiVITuON3LpnQ8lIVlX37ZheuiAWFXsFTY15RxNsjmFxochzI76P8njHvHYIK1MQpv60LRz6f3lZbeey61mbRDKFMGi1CyL0SVmZfjqDb9l02HkYswaVgZCZwIdQLiMLyuwfyRiGWH2v1Rk6V6bl55AEXEkuQbaNwQVCpmAes9pDwLacvjCirzK7HqdQ92RJuuBAKP6gg8+h1NUcttjMWVUWW+VUSqGRI6bIKnpTlwYUXCPJN0oq/0OyR8lUXUOi8b4+wRYj2AyJ0D82uu4uTjpDMUmqe2EdEO+E4Jhe/b0Va96VefrzIoXirBEjcMyLVbKncdDR5Zh/y2TroaPTSRBv7Nk+nZM+bNOztkRxB68M1K/qsLVDus1irVB0YgAnlyF1IYyQppCtAFbGpdJF3F8u10F+38xorLIhp9lx3mvuhxPyuFXJJiNUJRWH5SSXvdgtb7LD/BQqOZSH5x+rj9ykoUjmO66hSPBZCDUfpAolNGFyWbjne5Xc29AHYZ6RAjmmM46kipvKlGjINVMQxGQEBPIWDcLJqem/BP9To1VZKgm7+HcbC+/bp3aUzvTBj4fXVVkI8IgSj/ya48FI7zQkeABzcy4/TaiC96iKOZrvkO1O8jOIEm9c3rkMaMYgepO9A56iqkhjZKPvr8AwVXx2HD3wFK55R9nNBT95PYQTkUrJqS/0hLxF+4bZWwPAx9fV6s7gRojuvkL7Hiji8PVmaHsbzeUX2OzQSwczjqN4LSNlC/P5yB/+usK+ZetUoqgf/oqPYDcLZlBnef1/pKuJFT29L1uw+ZuvULo4P80lmWmPR0VGtFwg0srfCLPBwNbIEiD6qUsPLmsQArdxSgKjT+n33OMMXdtxkiTWEjIQ0QtryRxwTeGJoxp6cXg1cpeD/nlubLhvbc4jP2l6ZokQdEX/+59p+Scsq2Jcl68Xju8mxmdZv94GONfFd6SHnxdLGzD02dxu30rjH0qZ9Ebai6ok9gKfDu9T1upnszYjoDesmVZ+DBGWNvshWY7cJliHZKyb11lK1t7OozrYrz2sPWaKY8GZxsJq5o4BaLjVZCtNCz30d8Egn45aQIYJBD7+23gyZtvyHMYC/om96l52HdJeYWLqhVi4UlBRR13EtymkirDLlnv3HRVTjJO8jrWd154IdDRjSAnLmqJUYmRTcXPAmjDQCsCYBLjJVYWcrwLSm0A7A4hcEJONjgO2/R7JAAOjghApuaJbZcVaamdWiruDoF218fDyiNKgHnaGMGImp2FrOs9+l8v4GAn2viIy0PNNo9Op67gPqGavSmUYsMQRjGKRS7xJGjE7TCX8uVLgUnrdsyQuN9e/eTYDdylHW9oQb3Yo/S2M9s961ffSTAZ5ALVQzLtA+Ny/xlaCu42lUgFXWFXL3vKxxFeXyJ7/xYj58vfg8sOdyS8tRDdZYybxQ+ONqlvk8KsJNvOdm17zTIxS27A0jCsON+4YQqUDvn/eoanEGb+ZUEBUu+17o2osZswV04xvhiv7J/71ZDUHa0cCc1bk6bjU75YEAAY9Oq+8lu3NDVCsu3kc2F0hai6xNoay4g/Kn1apFGlAro/3hvHQchA+YUQfIky4k1Vg5t+lWeIFCD3PDPgpm342XMobXDtYj4ErDA/G/WPH0E3z86D+c9JjS5Xgo89XSp9MmWsL1ZYg/PTMr6wHDZ728+ar8RoyhFoNVmqlWz8XDDOVdwi8VR24u8xUBdyumgo7wZoAZFz2Hu1o54+U5LOrgGdCegELT3RPPP29Y9R7FZQ4j4s73Rrj2aBQM0TDoRDn8u9uOlMOyCza6RAVRvjKT3RXxA3cIb2T8fd6h3FsLLJhoQtEgwQ420CR5B6po0mjoZpSBAKMpwMeEUdTEkMMUv2xCgGQzohxGa9cSyT2Gr+sJ4Nlw+39FC22KKx695JDrvUeg1FKFE/LDDtMr6Lamgyi0AQAax1W8XR93pHbrVS8oOzFIbhAXC89UTBaKZ96UpczeOCNuptQxgUGfJZp0vl70GxBQkkRC8oEMoZFQ/S23kDCfg6wSNYiaZT3J+lNll23WYOwmhWlBdGTLSrWuMQSm/JX6y+gv36IV7GwdLiNs94pgcH5xWKWfa4QGxOnyTXHq0JJqKV45M3MyAk/CPMhfBgIKZN0E0Ke7b7KM0bJWd/k6EqlSvKawzuLOmosQIAvWHgUJKIqJEyt9ABVKv26XIkACtnuB/AHlvjY6gYRK/kQPngO7oaStzTjT9mRFul+yJgmMp93mOVPRsTVSGMYxxOtjZJKKXqQ+RaIdWB6Z+w/NAe0jpcQ/3yYft9dSJVaiA/SaXa1UOrp7JmyJlqvakxaMbGLQpB+BMENX5XOOPZml+6YscDi+S+fJnlNK04MHwpptYM2FgAOmuqIg+S8a4BQYDYKMM7WSdXWwvEo9qtjU15UyeZmJDWKY3CtIcO0XUlNoXY2vrqQDO92siRJ5jCEU6Rt2q+qRboDEqdS5xqC8taWORMhl2tIkRORRkTCNX2Vh01HrFqkKEUL6up+SrY2RNsomYS7gK43Mgr1tws3E1jGABR3U0BQoB5zt6h8Gkb+v32CVsQVtHUuDiydc4PD8kNZJJXf8GjXXG6VF0ODo3i82PoWgZJQ1xUy4qBXRu7jeDYwLTwRjE0UAIplAPpgyWKfSdQoS2SZAU69P5Vr1NrTek6MqJSqfEYfThEgbUQja7zvACn0J7X9iUjFLxPoi+5N8ezc8AzhX6odx7pNc8HzKsogUrysc5Y/r7WhGv15/LuzWe2m7PcnfQqzHnQPato9HmUIp0Z/rSw9KCRqpWr1UzaK3u/OYdv0pm59mh2xHAxTpOk58XiPE9jIj1JaU6/vXUA6nlyqE1fzxji3FcVLdli8orDaCZP2S4pJzjcj8nHWhEy81Elff2zt+kNKeiq6DxoDqiSX+HC6BczHM8wHv7jBWNPg8LBIn0CV8/V6FR60Yp0LqKhLjob8fLpDCy//TRGu/Q6pOFgvI2CXc3tnIp6NGcCrnR+2IvoFhARM6Qejw70qvIRJFLVdufXLdtcgogZ+mpUoP9Pdpq4R7SNcMnONB9qRIH601tz/+eP1F2/Haac0MAgkTKgdsFMhkLqxyn4MULRBABczu5aqGYOtrmtNQ+L+z5c/qLpdp80ukQvbxxadgCQniRPK2mO0ThlxkPuVMqqiPQZ4XoPXBNBpEbAVHbpdnN6EYwjPk8gDBYsqHwIeP8nStgKH30/HRdGX4b0RvwuichPJn303n44XFIJsOsa0CNFQRcSHnIC3ip20PSzfLx/rQYdhDpkxHmtrvQO3PItAfnbGrQJhfZYKDezM3ryiBbMw3DXgIjZSsSDLA9o04bPXxgxd+sg3HdPm+JheINBnpB9pi4pyii+P5ejQmJoReIMicIC82gbbkwTWKzu4CMMEKrMHqyPvyt705v4eNgAMjdpvtS8ELBBLCGqyFItfreApK85ZZLudoJfQE+vmHQlFGnDG0qQg/6lEa3Zn4YrMkTPg67yAuNewHbR83CWZVu4Hdw+MjerQwg0TivKsywHreKtKrXc8oFfBxmrBEY3HWn3GALWfS7iElZVaWx22ta0NCt0awvpnPN2LSt/fUn2k6hH1LHtgwg/9Ib3YXTY9PE4HtP1efkMecBHnqV4NDo0oWtdA+sGd18KnnYj9K1Pq0RnKgjNttOuPgAsXrg6TsoAEzvQOn9t7PSvJIMOQdl0966XVU9in1IICw368GjemNxrrQqE/rKYQ46P1XazlRIbMLeZ3Wlk/E4uxWvfn1k+DeKfAXwlyWG/fBUHdavjnxq/Jq76dPRgNnL864UgsBuMtEr4XrG4DMwAL8E3VNXQftfKbuChIUU95y/oF5sa1BE+v/5evXufJN5/oVS1HzAmXQIzpx25gcnq+/rKTjVi9pMp8u55AJzTLiuRbBlb09HknyTmea/9E6KQru6OxsVOycUMNQR65Od6uxlqwT0Gz3IXFod9Jw/kxqJWCLGrnZMuiDHVA1wUqTiCbEFTQZhGcBmoYppIOAWg2tRWOlqDQVwsQhUtdFbVVeyo0dHTd72jXt7QPyEajSQoDEeIZeBt3Vc/1miCiqTy5fBskxB9CZxyQTGBoT5Vs0JVBE/hAr2FchatF9zMr32m8cStyvm9ivhMUeFZEwsaloYU7u76+cBPqOiicEt2NzG12F1x1v/RBnUQ0RoDqZvSuZO6kEjDofSpJTDXzdH64eVFV8yrXIjv4lzi5oKI8meIcToDGKrkeMjpUUjsKlywgBcbf6RSSd5m5ja6fDIpwpN5gLjexPfTScQsquvP4aag+oh2V7KOlBKZV7dTvY4Y3/8Q6g6rH0vKRi4dLdTRNTVBP5qdf3Zm26+6b9LKF4MpUp2ukzOPQHRL98XVSLfTPj4TZGpYQkwT2C0hWzYg2wM7gC0+2nEsLeixWMhGayuIZLi1e/Q6C5q7fu6Oq9Mv4lMUOaFhCaCc2XQsYeGHUhKmdNRIi5eMLxhmusURT20pvOs9MmgjHIDFqHL1YaKOtRRjjmbLbqUELhiydERTYGQjZVY2+CBVS/P6q2uaJ5GwTqGSt1zFaxTiVB31hiT/j0oBk32TlAvNUEQ4XsaChdh8es2ffhXfOW4lyjL7X1mW6D1++lBwkDqAmgdrf0R5vkOhU/KPlgHwOt85T5clTWNMCi0hhv++4W3FWvz9je9+R7d7SZvo23p6ZrJ8L+lGKRh2ZR1ZqFFq3Tj7cjvFcq4+Rd+kPh88JrdEqAU4fkJRq565AZFJgJEtkherXp9Ejgoh90jGZAFWJ4gc7HvFRpzDwbJyxySgb8pid54/VBljJEWDyc9cNU/QIrLVrruA34HCuya+03gwFCD+qlU/pEa/7XL2dNLkRRshO4oLmrmchvyVEbj6/tyDJo3lfWwsiuRyT35LHomEdSjnrSxJP7DaQr5453aaQSeuBX6p9SnfARrMkvvOWd3PumWqWz9LqxkEhFSzMpQVHZZjIsgfQ7TRlpzzycHJHqWsnXxIDx0dnYg7/aos5fdCwR+Ucd5i5CKahIxUIczn3HhxEAXQZiThzm9C6CSp4hFFtwd3z+CvibXxiYADYuE3QniLvGku/Gq3ZpiI2FdF05wtELxYduIy9nEiFLDnJKySyJr8m1+z3eoYq8te4AoBHJgz2dRmXBKMWXGtZqd0tbz75y8FiG4BjW9JLLZ/krlh8gP5A6PBRGq71HnhtIYwO/fUknEXiUeOnwqCHNsYI0Wu57lzNYkdd4J0qfTgmqH3kq2SHStRSM1KaBxjMTUY4TT7/7pVQKnjFQfh0k3JcZ0m1gmoXbMtcmLSiq8iW2NmUlPkpgK3W/QhI5XAGCUJZSGc+qhO3pl/8MG9VjRuPZCOeBi1To+zwu4KuVFauuAMaH79rekVBSl6GB17uNch3X54c034iBLK7CVQ9/T6dsworRur171YzSH1UyiDA8m5y634mKvdEdzosds4rWt8sWXv7t85VajNyQrt5GnMBIUMvz/IJKK70pbJE8HgvQMrS9fEC9e+xxW1ZDftWLnqyKOCuhUaFuTmMNE5bQkAYJiACXyK/YTAga6A3fYEE73Ffj4CPz0WRBt/xc2XwatK7E7aWOkZnEEWD3FG9QO/Wph7oMjOnJ96sh4e6Dg7r0uHwT9XSteoBK7Xxz/JTiX7Vo4He5/5bnl9eztEe1BhYrITyyjvZusfYMrPIScNwuQRRbzesERNb6iMtONFeiJqOqaw0oQZ+hQmw+KW5AwX0F2n/9MdcsFnFESRaRhGqQWDaj2o3vkwNJV2x9YRLgoUEjU0tePIUTbaC4fFBAvo99xHSPcrsTXZAAfrf0jm3MxHcs1xv12U1ZV+m1v1OLwr0cSfWBTIrXGvKscZZcl9vYPlPInuf6Li7Hp5JbBPkVrOWvUQUGwl2ArOgUmbosx3ZX3qhzXY18T/dxahrsBaM8UmD0nDW/SD3GvvzNMuNdjKr4AzoF4L5Bm2gqB03nlY/96A/mLCVh20F08UjxgbihZ/7AxZ5o1UUzWOlmFa0+afOxLu5EvzSIm+AAP56n/7QUwotPkO/WCeZMMvlqtcXY14tiNsf5nq8DtZOY7meuWdfw/SRwB1typQVAYdVJrYWcmcToEcy/SaVbuRSYAsjQGFmbEDF+RUHrnBue00v7SnE1Qq15oNJbcxXeRmMAERO/peHcIh1P7lMvPXYn+k9WOZUEIvitTZiiL+hYD4IIh79cYmiMGVFbyZzQKuYPRJBxPok1TQ9cTWMA1k/IdXrU+G1J/NVk1JM2Z8Uctg633Dqa32EJNCBe8uc2Q/OAx+4iHtdaYseiBAeOS6FHa7oEPcUGho85Vp9GVWnL5A4hv+fI13jXjDl5+g+0X6tl4nyUEtc8DlcAQtvgsfJHRV/CGyReSMTPbeR+AliNeGAyrS6ygDZlxwOnZXbgjmM9de6I9GH04ZG+tMNp75hTxZKY1GUMm4iyROJcIofGejRprxItlxPy7qeqv78f0fdMQNcL/tXZDn86tf58E6it6HGAvA59oFKG3dqPCLVTT3Yto+m6g4AheQ+XtQQZj8kK196CKMNXR2G6t9CPTb03YsHJDEkQTr4wJpPO6Zzoc2UBoth4QDQXqtAf9bmsXUMR+8ml7aqhQJt40u7Qd53rlBWL0fmmODhZ5Qx8PTYRU4XWNiQVQW7mjaINEmIgBU922wFTEfYlEggMLRnQ1okFMaxnwKcnF9bbw4gCKvytSOzBXN3YvWA+Kzoqw+RukWEASExk/YMRLsISXduHYkOgtxbst+KGDzqpcUe4MgjLO8LN+KCPm4vdzGQ+zNKSSBj6QHolGx94sEsxPAmpj2FgwVk7MP2nxOfEA2tA58QJmY7o4JwY7NJnh9q4XGIZee47Bol3sEitne5ynQ+hY4/Ron1lzFAs7zXRuRb4q1mK5yEHVWoo4hxJf6orM8a6ELxFn7Sfc30TX9H+hNUc/+Y658D9betbhSUgJRErj5/FbGUWoKQY5kNZKp1i5+zJdkQwrOP+kbkqIPqOgyWNbF8WGvgN1W66GxeAMaSMXxskEMw3ueImJO6aalnsJah/Q9PArTdLxukfc1LqN3yLgRqqBt0PuYmhFqx4Z5gtqCjFWvQteupMIWREVRRr5Yb8lVQeLBLTQlT/V4fwthdpgDnETEsgI52GUr8dNT5l8D7Kb9laXUOjSihWJyi6KrdA2Vu6tsSIJuckFbHu/ypSWsLLWTtx0wqG+EcmbeVeyrNYQtFIMM2J2IwOMFvT2tfwYfcCl199mlcx/vIiNoDrXmRlaMOfMUM1I26Ys/b4t4/1Uvc0gH8sEJ+Q5YwAj3SLXNnocOu+jBk06t6s4n5vaPkXTS1POsu2ngmYNepd24GpPCy1knfBoYImyGT3dFsNp+HCZI6rTcAtsCHc0YNSt/BzKvN7A9qAd8U78na8BrTWWviZoVz3Ii6pRiEhIbeIa/M3B4Xjgh9VMmB8q66AZC5YwONquAmv3XLAst4dGzbIJoZEXjsZSRnY8Xg0HENqyNJQZNk4EEWfoDbVViogFsf22Ll+QPnPhAxOoBOee0slUGoy//SybzChC7CUZm4WqUaZbaJfxipkZvBViu67wvxsvFqHbbnbL7LFBImpHBOx3Bdhj4iDgk3CsT6kyh3Pvps9AAb6xE3ZU8ySr+YQAaexQZfhbkRHDoMflzS2/KSR2Jn5JvgdLL0KwZLaqKRI2vrZaB5fCtxd0NqPh7AReEsRn51OscvizgfJgG3gxP7m8Wy4rYJU4P6fTjiW0i3Vo/hiut5wQ6MVW6cxYG9WXddPuP3FXynQ2TIRs2W1IKqdC6q5KXQmCtmicIYX00VVadbtvEkXx1d6GqyyrSaxxf6UGfcXMFZQID46WcQP5TRl+cwsSOihvwsDHxBJ7p24MOYw6vu2+tqnZv/KFespSFaHMYBUj4oI2n1w3nwIvpHD3xS+zvo6hSAHmc/rCCMZWY2Vc0Ak4A1TAS0rvnJAqfkW7w1u96GUtSvZRU2m+HGDTvqZG2kXf7iRi1b1TSgvxfz7LNo6vDN2zncW4h/XIQ2SMxWXQ5/7IzG5enKAFvyknDMAJgYvJr0SvoFOhVaxOoClwe2e161lgq9j/XavF+nHEQJaZ1+lOBQIj3HIG5sZPBOAxncQ2IuY3DBERVEvkcT6XjhTc2OxtbLtYMlNMSxvQ1MeQSW4nNpnKi4/o2UtIsyP1iRh7l2z8LFteVpKg1XTlBPYy4qL70pQn4eNRbXCoHgM6Rr95EjnAs9Tjq9G2erPIRyk5hdcjE+7/C31BU8187+G/k+eT9ETtFWmQYgXn3sj4EReNfSL3YC3SbbQTVOkciOYRFmaTiss1kF4iYmRl9OfVK3sqDiqzj7iULFuCT66RqH63flH/Pxsh9AlUZ/xR/RLER7j+Zc3RmJw0nMfyhVQkHbzUKE91Gxf+cI5vt7+s6mILKIebvD15n6TSq6JSgxW8tOxNDQQc9AogEqKZfyz+qKh8G5vTObhVO/2tQaq7Gu6l3udyvhw76dJP8Pm7fEBEd6ZNC236RahcIzlZnYJXjCEYaBk7rFNUXhpVNmRnhbL8DM2R7QD6QiJTbE5ozMPDHcKGZunIhaRQ6P3gbRqdG9UK328ldW70+Hvrx+wuhbdg1ZJ4R9NhAnBJXrJHDZd0LAjjz4w0gYMIIY37t6/vEc+PII2SMtYuGTJp/inIoWPqiGiGND7EM9fABj/BxgAPMv6jakrxMffkgFoxNvl5g1R3RktFfjlr7lBgi6lYez+B4qVmGkWDooQNv0b1vDgDud9n4feDVsQm1qz4fyC5gvzMmpsBSqhzqy0w7TKAc+wFTChmN+8072HDYpHqEwHzPHHDZuLg6E4QTDUUZ88XpidVq3x8R5apnvnyY65qPLq26BGnoVKnV4jDsh8FAg0A6oSdIrtYNj8Uzg8Ql0Igh2pqbPASXlVIYwFJsVkazR87mFEeK2Vxfby+e1okdHpHbgrjJnv5pihSNoGw9hC125mSJD5vD61Ioz/OZ4HXopHTGI6FIdXYu9e4xdVepcJrFfKFXrMJGTmgqjekEgN8N2x3eqEJIbTRCvyjBVo+2Tmhj95uslx6oKIgFflJSPT7LK3G5YKOTu6U1dKfB+XciBYTdNhPvtWJrj12VzB5NR661Gp4CEJdVBRDoEAkqA/R5Zhh7CXnmWQ+6nDoZ2eu4cIKebNDSHbYABTMmy2yFbdTp3kQdcWWs1Ph9gpNUcY0hRBj+fYdDAlqEGIYYBPj3T+9WuE9sYVlqATolvcRs+f+k0ff/Nf2NMAy1mNZfk8FH7NbbqMlRbCb9YzFbmibFxKiCRyoFk5hrI6jI3w1uFM7lHXV0XwR87Qv4NFXz8Yd+2yTVuNEEsUV11T+cvrrqFPIzfS2SHdEzYKy72Xf3CuchpycwBmbaZXcF25gP6hof8PmlViPi4W/uXi1D15Q0iWJLynKI1ZOxkHlCz7vwnYnAm6Hnz3A386XFXWqGq1C3z0bfxOp/bVnXB9qjYuz/on6hiARkJfkRY1KyXdSoMoTHqyYHaDXHQg+li9hYCKejPKdVJPB4Oc0ejDg31Tud+cw8SWmXy4k5JB2419r8HarerCpimR14CucqJfuVmMAeUwB/xneiF0wAyTUJOhrdeKYi3D/kSK6prTNAOH+3xNRL0vRziF+T5YMHgZGYqV/Q6oXZCLk8C+cv+drUpQ1g+XqyE0EsW98+72LROAAmMBlj07Dg/4rTiI80jbFON2wfltqsNaNXcvNQSM8dvMc/owojGubQAKKP/Dc5vdkz9vtqdVgpfqDnYqFgn0mg+YhgQfjTtCLpLpYyygxPVTeYeLXAL5tTcyoVN16Wfusn9mD5pxoZlSHLnhMH9H5M0JCDAA87W7sG3vSxA9Jm4Qhlz2UozpDCAiGamv+CRS1A0p8MGo4GhFuSApRMsrvuT6bf/W3kTzjoqQkGwexZWJhix5ZPr3tKAuNJhLrVIxX6BDJZUu5z+NltWh5VqB/nq9dSB8wvAnbPSlnpvWBLRry0NWIYigo4DQEgA6477XiahiefRm3p4BXNd+lucDVApuUQbvT1RSTuYJnh1ZzQy1vo44LVcY41LjVSZMyFDwCLia8ToO36BOs1CytWjv45io22DweUKm/Xyvly9dvfZTcZMtT1uVTveDDuYOOSQD2URl5eOrVoGQPiMQZMEZDkDT9HVjy9nBafUEFOY7x4ZT2AvvVjjPXxJlXeaBGk+A+djlgbFKXn5mcPxpSLpHMdmQFnt2q84sL1VOxxSx+ZBzXGr5Q/AkNuJNOsaM+rEwaggQxV8+cOgi0lKwusNpHaypvOXFO+L/fXFLOO34lZwUZFGfn/eb5rJkq0Z//vEca8HS5729tY99ruiYIseuncNKSYtwpAsnKXsteVgecTVg+2dVFyZsHUvfbj5gzFJwzUiKp4QXn2Smc+bhjq0czo+WkyT+n5GuO6aCcxiCsEGAI3mfK1jx8aFTFxGFi67Zupbx9pg5oRAgxLlsy79gZ0SVXg89ClP74fZ2ta/3XooM/qI7/WWGJ9H1L2jIFtRf6GhLsw3F1Jy1CtMgvhLk14M6igeSPeh4dgCoS5JWoGY5fy+l3ZK+9fv/b09BDZ3UFOi8hTJxzzMr3D/exITnG5hreCguUlIzZLsI5SmxNRUX6Mgid0wfqWfTBQeplphS4I3xGy3hYjtw8BCDVmNsqUeNgGCxqTXH0pYQtVYuWWbiYTjVO5+nSGOzaJcJVGsVr6hxdOq0eVgd0fqgrTyV8/3GvtUrrzgb36d7ZM3nR8erBDRaTjGVVU5PKdJXY3GSUROPu68c6UHvdX6aATD33niZpMMX/P8eqDQ0ufIymR+kPnQ2PzzWaN4NmbrWG8AkeUkhVUiGOP1BnWIWKtGRcYD8rBFNquLMOu4YhC57jgOj1iiYI0SeJdR0ymJRQccTXE/qC2yhf0+s0eTgWy1hkcl9dndlsUFFxYYts/AcZG6P7wkB+tKnNRxAgY2wRr1jZ2xfaH9JQ+BTQs/CsOXwfOcd1HiA3vUQYZULlJf8YcdFD9B8uJ2QSUAgkz9HynmZ5Rb+tnaHLyXG/mJXpodQzRj8x5QwMrs5kZSiscriCfLko+SKaYADMvxDXKcgc1WWFJVCr0mfgoRgoG9MAyFB7a6dqc014kJceU/G72tZDhgDx0E/ds6myEmw9rwMl+pOhvv8v+DfueSJBVsk9ADCoxFou6gzzYC0cVBauwcP1W7WGOxMvibgptllUa3iDdXtFjBzMVn41WHp/tbPO0LGRHZZnekfavrjY+5FWYg58sHcV8JDJdSb9kS1CvvdIaflg6KawFer2efENyIoErYpTO7aWtXOnd1VV1xEAWo33kG5yGSJRDG9KCtMji8huisK+ZW6L4aFASulL0607Nm3U84DPPvbjUn37LQ7Wjp2++CNcbNvW07wAlK2bbnb0kXHl9nsqfJBqGmT4U3gZML+zlZkJcFau38kF1qLf6CrScshPFoQQlsmtrR29+gscxXjElsJ0IjTeDq3dzN5mcKTpnF9nGsHqbopjiSRIQc2jwDPF2sukwQTkcvLvSY+bPNYdyEcE6h4otL3hRSP4qR04kkHq4yBogOGknWJx5HZNeOPrpmfyFrzAcJLv/OPmMn2nlMJlNZvN3qe1w64aLh01s8MRBf/apZtNiRHAfJFbAxS4fBH6eqBZltDgTtDlMAMj1kOxBQvJI7nhp224ELf/ewR1zU7zD49k0kkZu749cZiNssR8hV6Du2RCM+1PFFblEpLwB726nIDV+1yfMhftcOdkphn3x5QS7n5jk4j6kQ6E0lAa6haXdw3eB79J9to+kPHk+iCKvNhKnQPYu5wTuAIMeSb09aMaBJB1QMqjp0VxtkOwclsUPzkhyQyWb/QEb7xVSh6DNiES7m7GixDwMzuszzlXUjgCFSAaDnGr9BP3cAcYDzw1GjKtjThE4uMGq6c5sE5V2PTNaBiOeRQfJuuvDnIRYa47aDIo6DXUxggSQPItgpF3JzWQpvFYPXNwR+pZ+eZfE/83Lb1pu6wZlV+K82RdUOSwYyA6Rng/4joP+w6e9K778V19gjlCFrkjH53N1cHi02CcNA1YI2FvMcytvNpu3IxPRo368TpVYCoEb874uH0tNQCKXOHIBuhSMUeVk2lBUi+xDji+2V2Ev5Sfn2OxRl26H/CyVD4m0kU3MFNo0HPdWE6z51B2jZrzHHQEzOE+OYpyAOBG4EgNslI1/h2LuYYGL65TTDTmDJnEtussIvRKOlzn3Sa2WvOGDlps8PE5KIdcwn9nNCCXqhwTzUa+C0IdsWMHND87zxqxJfk1WIoD+aHWKZUFgoULeRvzcL8tiYHjLW/xELXLgxkodccVOWj2jPFiZJGdFgIP5e10q+6mFvLpADIe1GgqXhKq6uabce5ogVjJdYoGuBpYyV8ve1Ma1HD7CKKopbELJqqyZpNhYvXD+BycBEGKlg+ZegCcdqmyTmqko35TIIjEdPEaTM2B/caiuvC4xkqhLhAC9xlj6K91SwX8GW14f09uCtUvxxedC8g9sK7kPqLuPPCF98hu50yomfm8oEKAObdgrgce9iEWlEQ0kEaNczSC5cjFDDnHLmQlflR6lAOpJrpHicrvIwGYfsr9xyY8buIIxy38jp89NjWbhlw2p0OIgcpiYziBi687Z4WRqbjZjjU8i6TT5TDed7qCPBmTXcC5kJISAXqM7a5nnwjKvjAcnpEkYop89wEkbyMRKwuTD8O0mou//xuTc820DpRo1d+n7ir2l41UA+q4hffiIp92IF7HeXjik9HdmUEFqi7GQoCIdUVoE40YRnboPok4eHPoPCZSo/NkeVxFUVQoaGf6skNhPJXk3ZFWq5nN30fYxP0aDJIfhMY4UdE7FnPoikyMwnnHkRUa+KSiQuttUXDmS5XDZo6iUkYR/E4b+0Kk3LzRuREJh1jL24IOKn68aoCTMkZF0FQmIHi6giaQzU06xzAfpnI+JetKN8PCt5wLVKaO2M7u5QkcommCKvWYyZlZhGwwJLfhC9tpT5o3vJROfGZ9q+optoKNj2gMd135C47obuJKpPU6zhP8lz2Ea1x9J2t//Y8Hht0m4YJ6N1GsGo1uJiT9UkdZT16oWZddte4JqLkeMTLvXlzMBuXzVckf21Ul6t6eXPqGXuw2aBLGvBKSjrIL29rzgPwFiWV7G8rcEjb8ls2uGKPIVRGfGNKu9vxSrjjZppr1EXLbOA5/FAkAFBiZ+mdErKyaqBb5+OET4uuhH9B3KZ9JFzbOEHpxf8W6/MDD3f2aazh7XLhscT6b0dDnE4pfVhB7VH+Yx5mgGsTPLI4t+8Q/C7JLeFUg0FkTWyDhv88ndkWC0tUNiodCQp8envCKX34/Y9bOgw+nLndo7NLtGLwpWF0stRgi+nIgjC8GTzolx4hg4fZT2UMWmiecqsjyG+tRQ8wMDMopESnGEJtflRLHIRblOkuwlBLnswVhdvHHUOKsBvHQ0D70uKCwZ1f1LvA4izQrp/Q69443LWTjGVeuVbuUtsStZmOlTuTAn3MxYXedd9ZWCvPNKtKFgxzfrmmM5pedZPqwds+MAzGF8QBL24n1BGfrQfI+KTSZHe/IqRhmLvxZfAyuAAGp+30DZ8i/P6Ynb4SxNO+hK50F4kuooFlquMHf2jSEkT4NCeIUH6H7NYClFuGO2ATQ1K31EzzDYhgjTsWedar9ESwVKoFlseO5l8IwmeTXW9W3UUQxi/aX1+zKx75jyo2K9gpi+U1mA4eYsSJyGmjjWRrq2eyc9Km3TGq0+/wklvR3nU2Tu4U1+okYQct9XPgZukqMov81PasCOkbNzaJnb8q1xOAnBBJtmwL6SGSpiIvDX4xddaCpPzX+zoaKuBFmg8qzK9ZkJuOyJlVFoDj4SP5VB4/a5fk+B9jRTdF3CH8P27JYec5MJ1ZMp5ZosnlYSJHV9XKcQLhKOLVa6aspYRM4ND7inLmduqq6Vz1RTzkSlIi1GmukOz4dSJ53LR/J9QydLt6InxgjaI35LI5npvLWO+iLw3DfjTeaa7qE3KxPL7GKtQu0B/snfWc6Dy9QFspj1uD11mW59+oNzpeS6WX09KvsQThggyNxhH7J+XRscrCZF5XNVNWOvZS2KnFGyDZhU3ZGr1GhaA/vkXoiI5usApDrS7SCNUGyjh1KuZ/aeLuEJSakn36Hqvd8H2HIf5qQQm7ivYbq3leHBHh/cgQtClKBHrmvR8swY4lFEzgYhvKfPl8h7nBSDhCYwsjih3PKOfebl/Uqt5CSukbcPIs9TIMEZFbDEoovFIcpa6aprh38Aa5z1YH1JsrIrdRaMuLSgymkzsM6hvvpknAFik8fGSlRwfmwMxzeYM9zJNuoMvT3sQ4SCAoWQlICKsfMLzT3djv9hDF3GhG+6clB9ZM642mcxpmeWXNr+xobUu7M8gd+rnkGTwggmLnwvr5rqpeNg6AsGFpMvtgAnJ7WIAsqimC9hhHmCYRJ8V6u2bsXAP9O/lF7X8tiCcYzlOf0KrVh3sU1JFipubJBjNI1POc16DEcoMEgWEwSBv0squD4uXodHOnlzZldgeAs9G8YuOmKqjVThuBVHWVUqHxQEuDJJ/fUi4yeZuzzxkl0Ex/OdH5tcav5ZydgU1jEuXapbclMYACx/QwSkyM9WrBWIk+c+4UZjWh1+HlC/JuzzXmNEfBHSRJfGC/sjn0or/WOyyIgTktKcZyVl8HbSUa0yOeQYkvilnjQifYU4D/mtsMiDHjytYIVQICvpw4mvw6RLv/X1Yx5G7p3axzlh56vNyKbG3r+gB3h4R8HkrLuJUy7zhOKpG4uLMBDtnveNcd7DLZYt6Anyd8DwBgvEYlpusTjOyPITSbOtGLUr5kSdHFlXLFeOSw4mUQf7Ll3REsXZkZXtSqkzNRST9S0Ez39FqaPmifnXhuHlS0ZvpxNNCra8MzlgQ5enbKC8/lVko5x1hdZDNaGxzWF2Yk2yoONqUuYjwLHI2Mfb8iJ8/Xh1mjvw/5lHIjZieiGevNUsShXzBD9W2mHqu4Tw+6LqEIa6mKnP8MeKjCGk1nQdXV42uEIYRhvlKNXG8ESpZQH8GsNu6sRghPgQvRmnoiw2AqEG3NB9SNyKjBU6YR+7Mos8q+wY/hsN4NhRtEmX2gFZvepMmtv+2ST6s7G/5a6dtMXJKyGKV+qOY9N9Sf+MVR4z+2aYkrfHirxvCGiYjkwM+fiWg9kX2+E1zCXxVISsfk49I75pi4bXOYtEK1ViGJum1v2pgqBjcQJNdDB7+T3y8jEkq/9jhtpnqV8NVQqF9v+BR9vhmY/NiilMuHkW32AH16YyjSzkz1719wtfkZDRNx92JMITt/MMRDWwANBLQZvXy+Nw0o9xdzJNbKjCJ2b85RdIDSIhMUNYpeLZrkOjqBVk0ebZKdbgL0aEZNB++pCWVmcPP24rVBK5goNwBzx4NSPXPJKhW5jRBov4y8sYaL/23VK/qNv0+P7yTkB85KNTs6xx0AX3CwF3JN02D1mD0s1GTwZgPjVpIbZ2sQWTj3a//x1hh8W2yyxwzePKJOJn0WMjVgTHvbmcazGxyvS7QE9QHWoalOR+9r28/O+YJ+7/IkVK+C4n3fd9ElAyZ8v4ksQ/V5b2Hkt7u9z7NWbx75EwJY4wBYNXrfsZrw52SGaMbAKOwjdrTg8//jctoZWiCsM5leK+0rOEOVO2Hs7fPK59JnqSPt6DAOd3whbG0nE/O7G0zXhSjfsnFaJ7XJTbVDrijc6yJLyk3wOzgfn/8oV+7oH8cIRMFA1xKzDYlBledtl6LYpFsp4CHh6EE6NcnHGArfIEWefYzzB9T73qePauTEFnvj3fPt8do20qGdo5I9DEWd7mDhJQ4ll7wuRAR3gTh7uNVFTcXoK9RyAieLzihtgtstvKGXTXF0w6rnxs6IpkgYAz27Mkn0U8TNXhbaflU3e5yvx1OcDQMmD1x01sjvXlwsb4lzU1/PtManXMFMXvOa7iqcRv+rfmzIiEOEzGALONfZ/Jli4lxZ2AykmKhDoQtlI7pYT1zaG3FJVqHl6IjFccqE2L7F7d9b8IcubDzZYhWV3MF+7Eq89NXEhwe4ATKoKanwl2j3jmOK7fAx3urwe6jDezKAdfRG2xDdx7CoVHdqkNhtUcfQsSqh1zXHEOb6cPrS57LT7zsdWD+r7Wu9rmwLqp0LPA+78n8r1wu7l8L0vMs8fgAm1kV+t/4ZtXK0pTCQDShi9pupMlTngHo1bS6Frbe2YbnvvmWWdT7JniERMaNnKN5bcPH67K8QAb/9EcCuM+8a1BuSthO6qAAkgAuUTs8ewNeVfhtb6q7N0c5ARW6pR0DpcUuffC+QRC8CCNSXNRYBZ74zCylkYf5FAvbAKLasD/nQ7jVjFDJZK1x6y0LFMbQWYOPug61RK9HK2Tx83IvTEdSpp9V5cGj0x8z6+I2+YNcdZA6PlsP0b1rt6X+M0lKY08nlnnTeQN3QMrS6LcchzADKOAaTY5RVTu+VPFd+PFY5Pe5Z1jmLwPQsfWeEyhrbb3vLdCry5k1iwEuUSWe1yMcCSsHND5wHEormEd8IfjcedkBxE4CnBDMUik5dbOXLUiM+XCpbf0a8Pw2XDNdfcl4LfYaH83SOQ2oeFD4ll5HihkBu8H5vcn8fOSGRuzxYswUx2l5/00IXAxAAoCpU09SE9ePjWFEUDE257PJsb8qSqn8lgiD8eFncqpSXeUnILsW1TLJeoNuC750Dcqf4fD+jXDYljfiOoiewCMs3e/ftrQpnkmDv15Rn3CrzY66wNWhWcZbEqYaIRj8U2yv7ZoOv2JKroYXM4O2oBx7rawD/QY+cxTopIyivRXCQyx0K3G/bwvUgjYL/9zh4TBey8VvGXe/YIrkw2rXJs61m19oQsiEh1liVTcT+7+NzBMvccBQP3b6e8vWab5xM4vWJDR6dlm0+259ETH+Q2XBPrVgIalWfSEaNRGZI9Cuh1bg4qIn5WAQ9O/gqGQJ2QKB7/Ik/mVvH/7o2HsX1u4pXBjevWdKUsVTsFWChTOeSAskNad7LI5jpVUma2Mi981x6xR3wycnLBdpIIih0qael7h+k/OwgGjgcK02NVXWSwOnbevaFXGXvZ2Gd8tjej6+K8VTvyEhm34EHxPRVJErEiFS7EUgqFRZEBdxMnSl1mdhYrlO8/RWPzDcraQ4PS7eSQ4HKYpQskSdr6X8CqqmReKuVfJfQ2G9c1uUMKHLlS4bjMD5A5ZwCf01nZc2jb8Htno2UjHU9uI5dwaE22p1wwWSsOgcVFYFZwA4kxzZYbBg8geSfc76DMbDSqCUIjxJaetHq5A1iHXoWWUCJ7Lp5wE05QR1X1KH9YVnkcR6mL/gjzuHEc1PHkeTnWnUe7DwipQb8aRW14zi8H1PmE5nWkNg4qAGE7kQggzla7zY2ga5uytgLIy8zg716Czf5kg0oDRTcns8yaTcE7s3jezdbdQzGkT7KEU/1hjgvyOVjVD2aynTPWFG1BEjERTstrPXv6U7/hdIHy4fl23sSExN22+MTZmOyvYrHg3kD01OwE6WYyLVi76N4veCw594QYM8WTHeOzxc71xjtcWqp+f2cv8ZGHmVQenCL74wXVCZw//qDxD9g57toxyc1EqquLdpvs1S3i1S8nwNZhthQnAHZk4GxCawltcp1yYgAw7CWxRpAvKUWGhAiz+9Va8wUJTBOt8SsJM6utoEiSl6CgTa07QbHy5DLn4DAALbnMf038GrwSLVpfnprM2Pz77ZXp6WDAnCp4t5C1wzpRlRXJGcRcuTyrSwedD+qvL6xlzle/BeBsoo7PiRX/kGeOs428eSgqsBv3OLvtb+p3zkipdbPMVwj9QB1FV/fiyclCHTbpeHarcmCpntmDSrlCrCskm/qTFoJJxLzm7BP+p+rUJQ32Gxl9WG41cemA4tAeiQqLpn9sbYxAK52KByJVH4BEAMK1YigAvfyw7heJVhgNFcm/mHEOa1sCs3cpa8UUXngv+d5ctr6/FqCen3NpVGaVr1i5EsK9dY+oHkEgrZsPCXHUek5TyvjgzXw3/EdEaORIAHYi2zCWdKGXSZnfdxPSiIqyeoAmS+3q2d/irXy2QQ5ba6XYr/Ex51TiJT+a5Eagmp/MlSCAth8TXJhwhF1OFjDoEpiIWgNoOlWFpZ4EnHsaGt13MK66NhonshGzGL1FDGNjMqRAPvk//+iXNmlyOJHtrQ5Fl0mf86v9MsPhexeY/u5W6iaEYsXTJ5C2Ms1xOapXv81c9J707YE9rF3VdjActZRck8tecQ0VU29E6P8tArXRX57c7+DIH+2fRQEVK0hYceGYiNyuSHcy2e4qbywGH4f3v9h68wtOCSF5zd1GdGlI2ZevOEOTfGKGt0umcfgg/tTYOIZ8KXEwsZsWILlW8K0esR4gmSgckeEBzsaUFR6nb27TWXZ7G29RYYdeaYAxIbQgRzDWbsK7il0Mx7YEwbUCQjVO9NJDMIYMjj/ls3AP0P3ZTDwzClMcyF6daKsckGp1A/Hu9vyR5egAhoVGwGINkyEIZoQKjpUBJ1tbFtYIu14+mqfX8pPvUw1ZIwKAbkdLTWv7zaQLxiXTHUhsFZnw3AUfLAexeRDtWyaLLe+kX9syNx7loFSWj8KC2CUN5vrC5XvDpsVF81IrZwJtDnfSa64D/uYml/71hEirBzy2qL9LWjKy6z1NvYpUdKwUT4hX+mTbiqCxtNKS0tH63EyUCU2mcmhErDtvq2+H6pUQztQUFnUpO/1THKnPZaMa49WPbjKGV4KZ2OaQW8URurtprYxaxwP5TZr8pqCtn02Ln8/RCbadOYWDTX8/VcKdv2eElqY08sh0bqIIjT0+PbUS1+DksVd7jgHH0Ujjs7EY1OBURjYH8ZvshXFafkdTCM+c0tVNDoQsBmvF6pS8gqIu4lvODeC4vH0JP4GgqnnNlZVAqVDNseKlq2GZiO4fuGnHSWr9xyUN6IXa6zRKD/HC0H5yeypPHmA8Aol8ndBtq7Y09EHIV+zkQJLZfPAnbum1eXJrMaNDIvecP8diCB3HIgo+OY+C5Uyyh29a3peHiAo1eKoVk/LaTMlsyPf153QOkberSPpksPUIVAB7aqqADXyf5VtOD2c4RiGBVSujS0NX1F92gMBqaLZULSJng4ZOis+HMMwHW8nU+40JRD1CjDdNtdcKUBbkXwJdb2dqmq1RKBVlKDQ4ooz3zU5Lwr3kS8jmcK+ROOqkYBxx5Y8BurvVR3zHYYgZeNGhczpEdQ5PgEyG7str5Y5t8pMJUbXB+Xm1GCyZzZYd5+RmcwRDnfpuU+gOS13QL5rd+HSRiE0IMA2XsML7hcBzGFMoEm2MiLP7LIS7Zo2FIYPsrBNJda92++oj6+Gp3QbP8tA3DyRs/bWrwgayjpsTjWqWh/aNL7aRxyt8ptCO0TgWPV7fQ7AN1xfup/+x+FClq30tvcfD5p/FALiRkg9Br6NTc/5TIFm1GrFz0VlmwC1F2XhCHc+xKiUGQOr83bKIPqaPQIRppr2ODyKbOAsutZFvTbHMo5kNTDsNs+Z40KRSlflhMu82H9DwReBVTzLxSi1JMeoXNB97UMD6rPW+kp6MDtk3vBwEkLpa6laFUzZazqgjwBF4FAm0T15SZ/vnBtJJv+b6IOeTE3Y4nCC0Cgm+PLdLGOqtsSrMeGPEECm5pKxVe0PeYH8Pe+Ph7xyYYE5MAyWsw3f0I5TjqL2dTtZrq7aTQbbkUBf6Ht0ZHTPXBeVACSeAfi439kGoZVoWXV0XDEIf0M+aTeY9oIylhftD3gTNhn7NaJ8/STz8vCLEwE3TC+GBVhJ9p/mgVWzhftzjyPEag6yjeqqEViyTEvgX1EPCsTBrpS8ejKhRp5EZaWjR7Grj7IaSAebADrmKhdNf7xRPlyCCB7uDZ0nfANIsPk2Iblz1A8jEj0VCJBeAAWSwXpk6g/seeatgx5X+AifkUvYBZx4i6EZGsKTCKFi3Eodk7QafXdHChbtoNtq9Zv2Zx/gPpTor/w/u1pq6tdrAhz5Qv6rWj9/CC0/sko61ylS0lZvsUMxO6S6t+ZwSs7h8hVwbi9ulZhJtnY2utEy6EV7uWW6jcPIHRvqZ1cRZAVlleK5QqggAcqZcYcJb/Ps5KR+biNUZhKS8MbEc+e3k5gBmR7GzBhf1FIym/kMES7oc7cH4sLTkBn4ShPkiokNUOfWdALiiqe67GHqD/CqD5IED04aqD5gliuQzfBrWOFG5nPw1R0ebcZ0E6c4OoGWa3fzZnXTYLKAqLObmDhGKp7ZqamCfLmFWglo4jMRwf5vm3kaYjOL/0c9VywVF07k60W+Q4/eQ7o5sOVprdGZlgEvP026ZvPd1SyNtsUSZiUVlkVtATK/uGsoKK2PTpkOp9VELgOisAAYkGt2RP/MdJPATafu1MeC79Vo8sa3yZr2IVN7wa87ENKz5TGoywYHGeROIIRAzCCXpXm0EFAVqTlQSMDhWLfJ/pJn7P+i20xWyL8wPehzZRv8Gio481Y9oWyABoLRi/5tkBoKcloG9+ST28VkNdwh9hszTVVB7ABKFpoLrNuZVzkFhF6KCzaXoeMBqzMjD8+5hb6+DnBykwgs4ka6IgrooY7D17cGIP0LP2ojlCW2ZDe1Ha+HBEzhfR0o0Y5e2zRHgNssbbB5WOCSec6gk0koFCCKtsT8zkE1VMaa995wyjpt4vSCELf3HWcqZpTG4J3xZy+QK+gmH8zGO2u7I7xwzb4Z5jB0gRr4EvqnuWlckJeImm8ZChWnKal9rcuIAbiahVbsmJI5UZMv/LTY88IXpoQd5diaGrXwjXZ79WvhqMi0OmJ7ycn5bXGhGK6a/NBK38hXSYR2M2R1eAg65H8rkqg6Omg0OggaslRoV+qPxRshWU3u8OTiaExBOn0zNunyHTcjd8rBcNN7IfSF3G29V5r91lVGV2rWW+a+hSfOJ1CfOK+oRGcw0xtTmJIQ4N2SO7/W0qWZ+INRl4P73Z9NIbjjfN558Vc2zOlC9OwyFHN+Gc8T86Y/VbBj5/dBqbV38jdMYFWLJ/bbbOaU5LFvjkuxgrK5cVSvrXrmkySFyHObmjr4d7c1MBvo5FQIu+OWJrJfWR7J+4CZhayJTs9RMMxNbKg7gs5zwtoar2ge0X+gS0H+42caJE0bCoCs69THUdQfitkqZ4j36LZVLmeToLFOWSNy/gb5D0qfQrHdVGgfU5dQWHGRA+JSKskNRIPcNsZ1ONh16aH7DHsyrrUWvylSJfHoH1NC0VLpJXJl2jgJVtsTIgOBsM53ckm5a0CcEUu5cC2rv83X1m8XY6d+6udVbTfk/7sf5wZg4VAxX/WvBttfVg0voPkFVFjz++0jbtaSvFO4t/ykGbHhMyTeScVvcoE3fNCws9zwYZOK16qp7hiZpRoNI/yMarMipDW+2bpUMP8PxoRRAyOIxDxFxnja6Rc1Z0Y2PzkRYg7gD9jy2WOSwzomF2DBN0wEGUt0AZYoRIQ4OYuG77nlfD21KVAvPg4mNGqCsVfg4NEkQsgxr0oPPN0GnEgilPXNAxWYUYKD4bfqyjgwTmIN3yOY3AceMbnp99AxHK6pU7bFOeR4boWtpuJxVNMMN7EO8LJD1qmomY9jjrCiM1mYpChHV7w4UdpEypdj7wZWGWiaNnzSq24k+wk0xb5OVkSF1vc+kDtO87u1iTZ39/qj7ZoHrmbpRIDGHoVRVf6b2v45HJBmY6FQc9+C5c2AXiiz1MsHFsRjKfeSLvte0K9gOMy4rzt5ILPX3+FNiUU6YcwDGyXX0pi3VSV/ZKV+n1Z1sTxh/497jMHR0EM+sAm3fENAYvQJPmglb6x2jD1XxgyVqQfKHU6N1j0/9rsm/JDYmWYGxXlWf0V0FdkRk1B7ABcZeLtRB4BIrmW6fpSGYhYhgnlYbS1eq7rcbZ9BXBDuuSSk/fPXROLzQFiev272M53j+uds48fdV9zbVtUDLFLOfP+To0CCEINJPFnQ56D6m7OEJLA1r53p37jKv6mKXP2TK963WXH0vU6vrmvNHTPq3ljiBscwUVyyk3/3AKFi/UmXWa7v1Oy4eHalbDBmWt1P1vKUz1Dd22JlWsrHAusMt9ikeE2529DmNiWQFswEyOcNpUSg3Ut5NSx2OKwo2P2sZOuPPq2Eg4834IMgFX3gzSXSfsY9gsi+U7E/oZsAcPNgkL0DaCg364FKefIISELibnTuBjnJrnf67BDHEfpB48wIZoFkaoa1Lfh00QTlhJNuVtKd8MOtZjbXYruXtlu+EUysIuEA8Ey66APBgzjfLMD3o46GFQagEDvltCjYceazE5qwLlSZ6RZnWeoEBfp3uVe07dBnGbOobD4ZA9uPyv2hBm4uYXRQFkQfpEDfSgc6t+TOVuTdSI7TtuawrD5l9I5mIe3R8JpToQO01XCXbcF4UrqN/LrPMbuOoo/gfKqFDfIIx9gxYcIKihggBuk96Z8yOEasDbASHomKAExMUEt6uV0g61J9VjKfPdTWzJTU11WmU+Q+hFDAJKK/M0ZPC2sY7nDaovVu4aDjgWE9d7rhSekt9Kq2aBe4pwMZfN6iIAsQdjRRVcsbyWMZ3E/modG1ZNqn0UIHrs/3zsTswxmfy/Pr0pNOGVjM0eWHYNj6iBFUp2rvtri4I94L4JnsJ0MZ7w8YS55liVetpl458cru4Oku2FPr7nWKJUf0K3BE/CeRdvq3XN1DxyujAzMaZayDDVZ/I1XsUMhPfoo/epJbxak6Ku2m8h466jJBcXHm2VL3SnHZAX8ipJ/bPMXg9XXerIArTsBQ32RjVqatdDab24iSNe32z31ubHhXIa+wHWtIGO65OGqEcKHhANNtUDA6vucPbYOD/F8dCxd5ncTnXkBMN+CumTXtTfKs3DAA53knpNqgOo5H0KhWPmaKRIvxvvTRlou8Qify/efWgxSm2I/WhkgWcIIglthTXygX3DDV3cYihGs+VuQHAaeHyuvIQoebKnbjhtmQl+aYM3OX2WFfIw+iqHx4UaexVV/cRV1i+iBwR4asCrl3m78mubadHeXNBaM5UrT9py7HUR9ns1PRI2TV2K8yEJMhLFMX3r1+RiV16jeEl+tqXMSS9Msy1T33FjUDYea8lVA7zbXt/i0/Y97VE5WAFGvqyHo6MnW7oPNFuVHgx2+ZKQdehCG8AxdFuQthAGp2HXD3Umgr+q7T3jW4qPQsf9O5ulJZfy1yTFytbGfum5mXXIcShVypFc/vjCo/X6z6do7H4AAW5ehv6T2sEKhT3MD5gLAzchlsb09tmgFCxxvcLvsXCnzgE0255fNtKLCuqKuCOGaZ2hq/HMSczBMtDTwlB67peMq1kZ7E5nbgY4je6OU7A0EaCouE6duy3fUVUBtGiyjTbiOqeQhCOCc50myzdFas1TTgq5uhDJuSFa1hVuabNaAavIXvOX4FwEFoVzn93++yWTS+WJituZP7+WiQuWiOghncEyDKjitQ1GvcFmfwa+dxGZ9E2CzhQTMBkBWxHg2rktvDMeT2d81pdO1xq70w5W3XTq/8PFxUXVSvJHu6QbyriARl+CSxAlBaA5b+r1rlA/kFuDmIeDlSQ0v5y7zy2JKTVyEbUageqsvvfu1bvGq3lH6jhuOlC7fGKRqtoZFzDoJRKYbGAzEcHa7BIQ6ZL1ugE1Y5xPBhokEGl7CCyn5v//MXDxz47uPUBXDHB2+J5+xdrEGU7ChhCxhCBBweqLEB88UkufR6bXzW+0wPHihecA+ofVCVhXhSzYGWHCq6KH0lhXKFQjHvHl8zyi6hu9Rm8RgeB3IFjXogK3hd4oF4ILSv2CimagH5JLK8XXJfWROwpt+WNsnk3jXrplqRBEYCi7B8CI6iGeOl4NYD/lCMtU6rmheqba9xKylQr7hLT5jIh7Cci8ebakgK6hDEZbHWQVPBxbkrhKtAHR92BUlVKPVseIFB1BYJ98p5o78aO8AXxeF6CCcBSOFHP9Teb/10tC9ym5SQjz+9R2E89aDB9yGt9JN6RUys8GozQC8oZi7yNUfdRzPPNbtCiEs+SEk+bk9tCOiKtR8IzrvlhdA75ZiDHQnAfi/n+v5znQqN2U5WZ9Yi1u8hHZ4GDL8otw0Z3hIlqO7Q6m2FxJC/r8oEWtZYEyaJYtxhdvZB5TOAnd7sgzRTzJuJtW+IElRtbRJHNCiBJ3pFXn1H6Ih4SsT3OkpSxaLLlood3rrBaG5EepPoP2BoyS8uIUMOjIo8ln/JYP2dSt6uRSKEVr5rmTep22og1TjgaPfkUQrXKqcx2qJ9j6V1a/48E9b5Ec+SKM+I4hMniDL8JXCW/mL5qaTArcnT6VUgKRorkJi2Iw5i6tMXVoAxjaRQZloIoIIU4dDkdry4J37xOVDKrSprjGQNyMztVrYTKhbK5k1t5D4HTAWxiumd/8bAeyns6s90e98bSdzt9NuQOy8xknn4nMbxv7xMwujZBQkXAL3UB4C2u+WrjZ19PToPnfwrjptlW3fc4QFhcl7r/avcruWYStlgq3258C2sgVe2bEhTv6SvLMQrDN6KKUULAsPCOAXinZY7c3rNNizoSCmwswKgoNz1hlRuv4yMBtB3NqS1W6/MWn4SmFQPw9GoIiIb39xuidm22Y1gcjtq+pjKPHUXVn0CUZk7I06yfERKmOuxZArGQR2r4/iUUiDWeIj2FDwXyrfbpthhAKTulFxBkkwKNCyicLCDPkDqvn7BnPtV0tJJorsPDV1WNcnKUfEQG0SZLNux391DMU7x2QkSjpGYHP4UukYJ5oMhv2EHj+tFMJIgKksJlXDPF/JgnApz3+AOi/Hloy8dnHHMt/5Vt3NZeSEurMNbFhLczLuyU+043NVDZ5kks/YaXovdnbR98vP9gRU09wpEynt3JRxG9Zmf9yUDxB06WxaW3RLIKE8sBPcHeOWyAo7ytb6h5u9G5UCfAvGOzfnr1zakQyzRsT77T1eFQWmFeyXnyS7DG9m7+4840yzWZHv8QNvtsRR962/Ofo6s5B3xnLxUJR+8Bmu+KnxkBHMvCrfRg+bgFjtkg916zHIu9fzFxiwLbm0q26qlTUvThOFraBvoxaB2jkOqJYFSqtDIdv+anZZD9JMisETIVLtJ8lcomMDwSXprXcllaWNgEa3HySArRyPQGKpxngfIpQFYvUSG48i/wuNgUslOICsNbRj/P5EPI0vEflnUgddIKy1sSerlfisemxURvgx4ZUQkJ5bj10BwS44VYtg/LqE53xh6ydAhlsjkKMoc9JyioljvNVHBEPisYr7wEnuRoonwpCD7VkKp6yjNWQd/i5vKos8OcKtmAn9GjvhBNYAAYupeR28e6e8iAVG9miw8ABkTnAbq4N7dXfswz7Mn+iBpeA9lM7lkNbrY+2iGHN/J1wOfvCzp0Mqw2BwSezMDYSa4rSfQ3i8rvJoy6bAHBfcWj5aOt/w3BeCnbQ9O3iFkpPubowKz2opHuDdXymCE3Xdr4+4vIdki/lo045o7QkUl4yzr06ii1nIx4epJi9lINvLUSy0o9GdhSdNzJI/uO66309MmruihQ6hd/KAi/Zugy7IPlCQfuXF5WZtvuhuzIQ5otSCs5fAiwg17ejj574yqWOEcZcSVfT0K5SJXv8vSbyjvonaQx613p2cX20J6Ro+DU2WITSdaFcc7wlcUhcmKDx9wDrTcUUIyiFVAUZcK4hGEmHvHMvSYHWFANIBBIL7A4Q4YShtv1NgxozjbRfbWKFn2YMROJ712l7cqJuLww3/ft1ay6/X5CD5BbUTeN6oxeKOUXIN93meM6BG7CN6iOPIf0fQNQ0oHaqpcrH2zm5IZjiP9EQM26x23ex1dhaL6HzPMFtote/FysLtdA7XOf9UD3M3nR2Zq2vTqryRrVhJv8m6VELVixcsgprII3KGbDygDgAU1TMtvi7HLFXn2l2B9COw92LF7fQJ2Au8vwcT9d1vj2nwn9JFKazzraRxpDkdInJwn2HERYOfTdfkAQEfeGnfzbpb+C2Rmlg9KLv9sbRTk0f2lQzqktWnBVHxisyb3ZkC/M4IRPlCijfrEieDtcgZ56uLlshENr+F2LPw1qYR0W0R0QkfqJa2K3XQqIDjuTj65I4EFR3Z6QlYfFeeBMgKPQWnTPB7yAT6irpYaqSrDqDgETkiExYRyTC+q6C41PfEiOeOrO6VYVjontlIjXKfmoNAKBqUF7qVJWMT3v+bfRgM1z5OUbFoM2Tl0sHZtOqIL35Px0qzcQ8cedGX2ceADwZkXp7/n8eKK4tzAiElpA6f1BUZQN4nGkwacfUtM1kfExtT0wADqMOP+eMHWgmI2lezAUYiEuCBj6PgpWf5DOzj4JNW0raJU0jZrL1tXM7KV+wCV9tpSafUVqyIqIUZNaYr9CEyRva5MZchIryAz237x+cWGWantdJFrImExBCy9uOB7q2TblgQ0f67CG50z0tuv5wfCve0HObBQ+BNOyvQNypdc+F02S7d0Q5HsgJeWJ7cWuBiuVYHEK6qq42Ipk6dT8H0w7vFTxPf5MLqiB43SGPbtTKiX5JsF3f2V2Qu7sROf6qwUCH597iaxMcurKzGP6fy4oCzfbt4GNFM+4is2MmXAlqCCcLwOQ7nKrNZaIrbJQYqPQyrRBX+CiKZNUogSM6cKdRzkKMkX9pBLZL579/sPNlRSzZenmLxl6IFFXzDaSbIS6emtHkTJGT02BAEML7CVGHBH4liqPQqvYIFAP59J6y/wLPfBmA5RWvhQZLSaEUVmw9i6YZiSV658OpzUgEEieibwGixfM9F7Ld+AVMMz5S0IczW8yECoarBq6wUWMOo+4oxa6QrB2dKuqupArExpgUbev679q6Khxe3C/v7edv5oy3oxsYHMyLgjvobH4ULd53hw27/vg/3BxI51Fy4n02GeLnxa4gqag8tHHP3tVo6IIN7ZnQBcJ3VvKwmL6OTImfwnK3HTyy31JzyyGX7W+LLSS8CG/CSUkzfwoToZH20VUElo36DBIeg+mKLBIuMZs4HBw1XWURSNiIZC/5YVIRV/ow9yn/IL2xltpexWFlzbWWc3e40StEN6o74pkGXCSNIdWWa2lCnHmOeipax7+FrRoRKtEwIXA1qtZXhY0tFmPP5tclQvrEPvP2TrTUO7uoYdOdCdGuq/GEZcEoD/a13zmDYI+MHqZCV/4rLE9Tf7RIsjPKYF7CRZMl8+aDmKP0DVoEJteTH40PBwBiVoG2ha3/zc5rQ7zd61IX2tIqkaVk83wDpQ6G8sYmXU0zvC1nnfKsNezoR6EUUTcWddOXt6hSogDioMblsl88coH8QTCKBgetSgdpbqTGAI8AliYGgkeLFLT9k7jLjCfeXvtxmk6uTBPjAGKrp+7vaXNwgh9NsIVbqTfD4tug95ExhmiLTUao8dO81Y4zRE065i2CJtMReDZgNtz1Q9Vxp4vF1BbWmBOymRmM09YnaIMs6WyzFftMf7vHtHXR4tIGAm3gpt4BhcMm2iyKmRXUyDKcT6zN4qeQwuGfIp2OAAxD0Nzwa/fyYfsAA57BBtXixMrk04VR9Z+Bfr/l7cjeACvqEu5B7JGKmtdtEp7Tio1wsBitsfoim2cbIXPsOMzLITnrBH0Woq0Hsaq2cESeEiuCgWrgLjfG+a0m+Qq7r2gv6O2OHoplvsTwdSm19J8DHarml+UKkVHTunSp1NtKCzOuNUApCnXSvBfSGtbTsdcIpNmx2gLvDx7wVso9D72qqMD/iNogdRFvUAIuY9dbnc8s/wgK5MI8LnpkdJksIQ1GJgjwI9y15FNtA1ipODc2+vD7O73xq3GblkpGvSp9dpBdSdBhuZ5qf7t9xydxLTSMeZJAfE3Slg7vD3JXElQUZ5/d+yjkI94kY8m5SoYuuZrZh6+Q7idJ1bW3yMV0rka/aMVAksm7d8bf5/M3OZwTIRPSKwebyBuwEBjPihbpBSO3+Rj/2lAbubCbchepm0BLghokyw/iz4vGBqCmWvZ3G09xv+UC06RNjkkY2Pw/piZQLRf+2kbewsSMOBOZDXyKYsWQasAVWE6sYDBQHTEmiKzCXhB4UZImX+TRVpxrotukf3ubenmn6Q8gPGJWyn47pbZk26v34yTghw2kkrV1rn3VirKUBJZQGlJajvlDtGs+YAgDj1WT2/DCi6ktQ4hs3zOSBwp7cegXJlPjqzNsYH6qvUEjS+gqeXt2umVbUyMdsx38CPF/eG0tYZOJ3I8WWYD+IqOrlShPdMg2oILUe0phcztefgYoAJ+CUEHbP6FbGl4FoqGr2Chvjwy+HxhsqS5oSCBNy+PMc54niFNTWm4PNBrgUHJoxTMmzJH3jDAgZnSKLiSne5ohb4YK0Rp7wVFahJlBQWLDU6Mgg9DWthc4syEsA2hBcyBPwfgWR/6J3vXwgjfGdeFjo16Gfxxfq7cKOygxBeL94s2hUtckv99m1STOFi9m3chVN3RbIzNC8R7Ewqr4apkuk48ds91pAx1o1Xy6bAOuNvBcoeR2nv2vH1P9dNPdXoaLbHBHl8W2UdJcES5MAS1duhsyskyREMvA+sOSyIRQZGcFu3vVstgqCQ3G+j/c26vC/ZCpMKGR0+Vm3GhW4u5eGIyKnufh0b2y3U6GV/X3BdAHeZTKQwH/HAA9rlMlII/cLlOV1gSdXJw3niTuIiB9K/SYLmlWg7x80HKM/fPAgPADqa29w0OWAH06101TKA7xw+xKgAtI2MAgqDBa9XQi+7BJzcunmmgATqeW97nEifnJsSzbP+iXYg3Yf0n/CO+VIPf1AuX0cM1fOPY6RaCcamFPickEZBfe3r9VqIn/q3Tk2+jCrBeRXbuJ04nBHvZIGuyF+h2hKQTr+wfwBsCzw1//sE5onRsEL5I0r4j1D7uYuCnobSvrm5gWD4YqwbouwfPg+YBmz+oMZr7E147mjn19pWfk3HjBqWmpv6ScJgoGk1sD2CdjXYYmA8/0dF2JPWTcKBjVuBQI3xANlSKBrBMQrYIrB5LpUcDxTP6/mrdraDkMj9tiiAyEmg8E6pmItUGlSq4Yi27FrAqpty5Kjmaqb1frqUMaPJJp1rzoZtbUI9k5L1dDi0qElaAflI/7J1994sFiFlzPQTVL285sw4OHqRK5yD65aL0Ke33oJddBh/c5rkPI9NBCpD9gKtWKWcpKua7ssOO8tI6ITFt+T63CaKjnT9fe702mquA9qtPk5UMyFUO5BYM+KOBPBIKMyjm6oC8q+0dnRIcp5D7fnb/x4SaHwOgAl05apUDHT3oV8mIz6yskP4sf76MkTODt+YzNcAQNPHo4oB7ID7eYTEd5GVDTajF9guhNGfDPwF1BZSu7qcGyZIU6pcabDWJoCFAUFwgsVKwotE5nQBCz4JCpnZnIeNWoygXRZ93qzlL4d/Sr4Sqo72l+dNVanOlY6l/nv3vSAFaF55WDvQACBN/wYFo2q5u26Eu5MdTLpARL1cYT0MqNbI+3Yx5h134puAVs6a7KO0yN3Duf0IycJufB9+YyNZMvqHwHJaURsVb1kTeFtfbS8zve0p7yjoA6+bTZNGXOjGALT6IH7hET0ZZAFs23vzG0izTi0Kriph7y6nS450Fgi5uqqHGeJEgUmNOtTJY9/TIu99IcLlXF8JB4lzKWGndlcldL4v4eVAsaT8P7xrBgLA24wrzf7+YZ8W62Dz3eARCJmiEYi7Hf/stLy/AUKd2qKhybl8eHgMYbmbZ2SOmK9X5J4N/ITVt/IKGa/nIIJJXCIt4w/faW3DQn18uR+vAkPrU1zcZNz++P85g1wLJH25Wrdf/hN5zZE096wyv3vUlI1UirBeo50U8b70Ry5xeexpMN2Zd7OnPiCKy9E/N03gjLmN8hDvffTWYOOs6ZOYizH7U/N7VzVFlIgbT43eSK3XofA6vgwhP45qVfSiaqQhFV77D0Jsl2MADjYW+pZSMfh9UDilYw+iWWvalKJcZd/tC0O75PfZAXlLacB8D3lzEJ8UNNyZZHWut3Kdkvrbd0rc2DnFUbSIwh7FHhjbk33onDVmooOM03MmHUmbaMA5L0vyQmuKoCHNxMREU64kbi2r6rLpuY28orc0XG+Fu5ALTAhbdQakj4+3lrLFEyOhO2Rl0n6oqNIxSkdcm2IH1IQlHqlm9FLZhR+H2vp0nrLAkgz1d1U08A/WeuSruvJf+1ZwDARufriZ/Dp66Ufm5aRoK1PpAVstKE27zgMVwrEh/QBIdKPsu0IKXCVinoWGkw4FqfHUuoozOS4Gxme9GzHORFqvdQi0u5NDzpyB1gwZOAdPjBsf7IQklqxvJjfPDuxDWCzQDSADthvgTg7pVxFAgbfxTj/zeAMdNEJrXbgzPZBJVzcZataxkFiWUO1ZadPCa/WPBVZVC2seYfADRglbj79AwQqMJIKU2QxD1FqISas8i/i7GrltwpNV4oZCf+9gjGQP41OmXIFi610/2x5aupu8eiScyRlLGxEt7h1344CcjZMfNk6GlhdI01OJnarPBQT+2MFEFePMb/4kVwPeic6u+5QNtt6ax3A+7v+2ci+oHLkutsnXFwb9zvBTfnDj3fxJdeevTILWP6zdOKNfk3pl5+7ibJtJPuR72KSvEsAZ2vuOi3l5kAbXuxfK3Qoy5WnJHVn4MRcHov95tZtC0sXnj242r61amnmMVjGUFK8MqxysbJ22Gomn7w8MdJQwz8aMdWBvbKLOQQ7KxxJl1vQsibg1UG4UzQ7OIQnj2wfDyDiqTkw8EQs5tkA7C7+7TOTiAwIbAV4wAC37SkPwzEvEW5oGbqHCnpr15SsOLhWdLUgCMMEeAd/0xuMzyTtqTGNw1ZMKuqFlYznJ8O+GBGhIL3Is5NFs+Ro+nPEXFxdeGbv8zKwjeos67OnRc1oewQ0uUwsz7FEB/dfj7WhkxUQRA4nNwsChXYrKYSozsN+ygBQ/lT9rVdbsVkINqA8cXvckwkAftBthb0Xxok7N/sauarn4UTYO0/amytTRbCrwFT9HkMWH3+09LOwrDGlpOSJ2xxRQXcHDXzwvVDKIHx5j5qJYcGYQ6Slwct2E0l6eXGXivEc1vOW8I173AkfRNucZQ8kjPLWuk8ImIWfLAiz5QWBXGUHnzrak1edVl+A8Zklwvd8PjwsprxESEJ6nhfqhBpyoCLttbv3UqWTplyTyx103KlgfD59+LTbb0HvoesPllNRcO8f3c0vBFWryFrL1K96n9hUJ6yQhvc2q4JQaXXbiqb1d2WfjxFL2qFFsMhmeP/lXJFotD+mqWf65UbnU8jb8/HS4hUM/ceMYoviFdkjqNY0bzJ4AbBu8g24fX1syoISnM9BhFqyP1j0fF31YLkD5GeE3uMpMLp/2RLPlcGdF/1csZM820slxbRMvomH40BMNU+VLhg/7LGOzfwR9unh/PIF4ZEaAQ/vZLTgIcu8qjEwlVfBui6C0PURQj5EFj510Qny2/vrtcWYNPRuX4YqM6rFiBl7S1Z/z4DhDHMIpC5LWcyOJVj/oANBSQl3Nnrlp48K9GyWFfUfsfnNaRnjFeUzyEpH3lDvjk/aFEHn4mYL5HEYrI5szMFpvTyVUM9wHdo3gnQCv7c7TIdO0GzFX2ff9WQoHjPImpyeTYx6/cecQzw1t879e2tHhr2lUVW38TTbrAx7N3crzE/2akp+aI5xsoNw/6pCgl289AXcSTw7ixcXwoN0PrtiqYbzdBSHLl8ER9HBbQqebRVwR88UPWohSwAUosgUOndewM8TVzoRo6HgOKEBRk3NCSxw6yRdHMKuSvWAW0uSBKFHN1KFr2TYmBrrW6HMdWm6W2KAQHMVvBQXpCwDuEmO9ZzR5L4oh9xlgQfs4E8D7FilZwZzLMxLREuxFpNxr3G6nAe2LfKRBw4BdDX/+URD+VnngsneVVxvPA1txplZ5wFEO3uGI3OmnfxpmR/F6nqJTr5lJS5rowJdbw7zi/fsgfKRFQVrwOr5F8qQxP/qS1dPvR2Gw7BpbNEwz3COMNQoJqKiMDPhxzLhOWsftUXyins2Wzdgx2Qu1YuVkN4Wyj4dhQV5A5jmEKfEBeDjxe80NmZkqiaGCyz1j+VMzGMZeORMZVujWn4dAAR5f2juh8RW5PUszWEte+AHI59vl9gBZhh7/Qy3vJGQqFpj2owWdkf+cb9Z1n6biGViTUC9WeJn7hoyDHEhfbOvP2WfrJEVwugv+7FReI+8M06dc4mdbmaLbb+FnS/uoCTCWNKFo9J5dYuKHQMeRMgqOcIjcNY3ujltC7EHS+o/mJ8pqqnUSuySqQ4DPo6HXS7NWeoCTHg5DTYJ9A4210e7cBcqlC2EHXi4YkgLWFR/RYY8/jvGhuiyoUO8nHu2rPHnfGH5+nZPvhDU9idVscQdUF/tP5jlpO2Ze0QjbQf0Z0VE5UMF+B88W2hYsVCvjOuCj+XRg7/olh/J6mfVokUMHqOh4RRtjIzng+pChMladuiU9kWQbXSAhuf18FUvajd2CsvpKc26NLhjnr6TjURAJDmbDmh74jKr4QLO/kLfrvS+7ANQhymSqjBvMKeI3Fc2LcEHdi0JZ6opNb4fFv9Tw+i3kO4pWAYIfITkQvsEAiUugoz5xBqs3EF05d0qwmX0w5JXQHOgGFNpoFciTWrDpqJul3uAuF8KFi4/g/bKHzR+J9RvYhJ3gq+KC+Oc0Q0fKcF16tbBQF1R4yQsfX0cyuETdH0Kipqx1nygGpdrU1aYwi22Xpww4PDXiNkhAzHtOaQZYy9eq/guNhpWZpRLMI89Fv4Neg4NR5nThC3O5NSJT/DY+k0YuEvGXo1gGM/ETE9TgaADTf9LyptfKdeZlDKzo+k8ZMFa2cbu77Rcv/7ssLkUksxbSp+P0wQr6jd9lEeoJxHCgskt4OygfX71OuBi5VHDA8/6zM7KJoDDnd0tymrQ/AUU5ISiS8l6Noq/zGd8Jkyatr8dAZIww7TCDksDq7C30A2wn/HDp4pMmWey18hsI1NvCStAnEftaxSsHf+KVTqofrmTsv4fo9F2jTofgHsRJojngcdhPyZPOAX4a9UyNEB+nKbSHCW1sL8x+e7zY6rQr08HyLC+iEQM5+8sZGbVuSc1NARTt0/o083Vi4csgiEeTH+Ydk+iZhR4owl5QIsjPXEUzzoQtP1gakTlXE2HTqA3Y3JFn8QR6tGlxS+P85aL/fm6EGVO9ia0VH6hcQvReUiFjbh9IY5oQP6atNt2oPyOMFBtoEQJho+7V9YEfjG/QDINQHMZmV6qpQdqinjg3GWvUaqZk+bhhlLxdvfYU5krJ/jGX9rB7lRW0bSiTIQrr+TkoK5rX49Qv4osvo1DOLF5X6B3tXkN2nXpZRUqlhTlme/170jvAOwUWne4Q9cqG9WR3q6k8OuLv9k9bL2PjqdoKZFGPbxd1dgdacPiZ0QT7InCV9w/Rw8QKo9ijZ8ZU81owhSIU64c/2w3jOeSv0y6Pmz2B0AbPVBh+hgUKHY35F59YL3rwZD+xwZNK9s4ACMpfsGJHyGyhf8oKsbgHeYCb+bkrECYedLhQZRtfDCXEaoj2y8KECO5g9h16ZidyWWnFqyNdvb7xFYyfeLhRbrLd11hOY1JaQISz6DNNwU+wANqXETPZztrV6haU7OjA4NlbU5A/lz2W9/5a8JI+5m4z4ON4X3vo8Bu79PqB/w8CW16vq7RlpBxW4MqtNpqdUHwrWIZILKNjitTVuZ0nXSlfxUoraqq1dkSn/c6cYVj2mgY076iuFAJjgnVJR+axClohZ55KEK5DWIXgXkSm1S+O52Ns7PeQ9g8GEm8lGCEvH+3iHxfCJyd+ywxBlkvqsTeHW7XBZj04mt/6JVftNUlVoF8r4Plzz4AFH+wfpZohQffvDHcTG5ygKsRQXJsWQ5PqMsHk0JZ6jWWI11DkXqRdoQd5LUE4EKIG5lNGThgk7MAk1pUdxeccMhB20oNrJk571fvlADcuhkbpwpYPMhHuzmaQ1CRtCH9yIvOh6K5aXjvwH2QWo+dCfKrRXmSDzDtKyUU4yuNDOyP8Of15g+aVIOO1Bl8feYbKSkbQoScq8//pCVNHZqVZ2TyGT31sw1uC2WVRb8M1RjFfDNXWBZWEL0IrGK0YcSNrRpoiMV6HGH6Jq7V1tKs+UWJKRfcsmaTkQX/7TrrUmXd1o9cLO56n5xl3hWgJa5qQ465TPB42DvWLWkKbysxtGRCkblr1PfLWfoteoNYcuv8dMgMQQWBPRVmEr/RZJDQ0odD/hGHDuOMVrH4V6emiz5Euzi60/gDCDjWI4GHO3qkfyPX4brnG8MHsbGORrFKLjxD8xk6gtdayJVZUQbhM0nNadnus3/MGJaaIZHuEi9KJLHI68j7Jf6RsL8EuiXCHw/cC1IWtCI57DCOiCaMqV6K5qmrP4oJIN9T+k/GnfvPZ4oz01NexE8AoPRXunMVw7WGdBejLwoWfuv1gcPztZuKQQMOxDWImO7OiSyNZTdDqxoyYL0a/wCo4nxswJN7nc9MT+8ZhNQxV0hPqvl8Zc7JJZv+bXYvmEbHCS6wqYqAtcNO1TcL4bGAvZK+Ns4BnUzhGQys+wh7rojRw1zRWyuF3j2dtrpht3em3s8P5KhIhxWGgNC/DA0UBUiu452LXkq+yfvkjzVpadiW8rsCxin8SkLrXSA52fGNHuZ2OYlqL6um6lakTV3//Svbj/5U5PW/pkzX+F6cDMdLuNLgzkRtfCWZFQK0XYOzJ8y8TS2XGJ0wz6r2IEGrcVVIAirBK8CqhR6m2xGZKS+obMMgYRDjlpa06TdZESKdqCAtBdmRdiYkrOyjm388ifggfbZWyX6Xxpwn8yIJfdDEwSGzk0jGXaNaxbsUSzybS1J6jdFYo17kxXle27t1mRkoub80yZZqT4bA047rx3c+Cr+w7UEJduxMFffWAhIhwwz3hblUMKfbjlG3t3fqk2WDONIaGzQSASTDSY7qHQ72VwliFL3hVzr3f3GsYJm2CBa7jCVzteFD2Og4//QospDl4JkioJpZLOE25oSZc04GcqRvz9exw25uyt8fXJNyTNHuwg5ycSRDsgAQAPSSVUON3nS0k2syYE7CxtshtrkNWqIRjWS//b1pqHBSFC3adHJp+LJXg01q3XSe1/i5kLxA/CBZVpRfiG7Ly8OfcrVbvDMYviHbYGkYuYsun2iIk5HxHBmIg+R/8TmWjtPVowVGJZG8GWsS+T95UfRtyl5pAjzG4iswsnTz22XZxX8E+F5i9/ElrZNC6I8aY1Yu+BpU/wBum5QXkRJItoxB1581H47YUFkf32sOXK6wsUWJbXLYesWrrZCiTZBTcfBxyRaLjlUB/eqmohkpAVlBL2dUBC3JcUqzDeJ86H/4ziKYYjs7KUOb0PgkOgbS0JBULt4aBsn96PgXfzRK6YGSuBUSLA5spjfg+FdmRg7leP69r1PKV3Tmtl/rx48VUoX3L3DI/JY5tDWbKxGXKGA6XyGIoVvDtbnJ2jirTx1GLk8dSn3Hb0/2uWiNd015DA9ehEJ1DJtABlnaPz3cTOmOutUz28WvA/6Zvwcj9JoEthZRxP4dAzX59cQcIaFpw+Q3WhyJAeV+BOnh8Fv9ShHQxrtGRPHH7nREbwZfJF6T3JsiV7V4IhKTivEzrvQCZ9vObW6VmJCG0Aib30QoBP9Qsg5tzvo48XrOsNZFJRRUm5sHPbMbEgCjj90e9kUCFC55gtevXpSJ0jHSVy4b7Q+23lYeNscWPNXxcPiFb8tpODJFUmw7OOtlHk6rrxyo/bC5jqCqyzFH8TFGobIt5jv+B0TPxqUYzcxr59+UdG0dCiB4Ps4GhVoYgeABRvG+Er8lF0hew/tq6PgeOjvtL6vw2O8AXuhEW98FITZws2DpzkvJ+uCEOQx4ERRYoXvpyPNFQ2cj+wLB22+jPMm5xzciZAYmd2WuuzD7FbQ+s/6leje0utv9V7tbDw33EYkr/K7T29b+8zQghGCCVw3peaGJ5xs0+mKZyRYbO6i6Csv233F7LNgBC7puZSGTT2yaJUiOQVJtXwN5yelpwKqDbxCpqTlSBWKUq6jgXPz6FLCjl0xdRTDYUMnrOdpX7RVBIkZyOsIrESaroDRHS8BwkfJ9IzK/dcEPxK5GJLqO3BON9ZI0ZwtMk3h3DCOueghxBY/icYgxRCCPSlzowx2q24r4B94SIr2Zv9L4Hc9XW9C7bamNLbXJBXR/6Bt4mCsCV/avp3QC/Cl8AaSzYdEVNqd8i+yWaR8J0PKHZCVoj2KG6dyGv6mQJtI6W21zOZSpEd+esJHMpWbGGliuutV1f/I/rj+j/P1JtRtmFTra0bzrg3ncjkP+cCKk5Xlvc/TxpmJX8ckHQQbHgv21oC3J+3sWpukjM1EQr4ByU6d0XujyvGUFC1z8w6q4sabCNOM1CUj2DEoZ8jWgPcoOMibTPjo+U5fhc6XBAZ7GS0QU/FteFEOk/N2r39YIi7XfrW3cV941U6iNWfk7OWLIs2MVP4Z7QDZ8fF8WX3YFyUnWmBAVwpEmzai4HOsGKqjuLeRYzj/NSNpduPRugofRLy02reZZUGj94aDKdJavGadR4rMl+6BfHn9uCMu6cUiuASV9gt9EarWhciK3hJ4XIk5hSQnd6/iRbZvzxP7BIDsVTzIX3chfrT8D8fRawhhqmeucy3DXAs71Gcd0Fn8lqNp0AIRMigQSklrZcH4n9+P7O9E+MoEFgT0Kk2yXnl7+uWJG0q6hvJnOKK76mwvUFbLyKHfbXYDSga7I2Kv92A6Uvsa77+jhaGIatOa4/26UzuTZkmgOFcnd5ImYdXsBCtSbNTWrrY/5TH8N6yBlsLhkpULqF9ch0Hb7Kk0z8Eha/ksB5FmuSWTy4qZ9rMh186eK1bL1Do83E+RYjUmFEyWenpPhONZy1A9/OyZaaz4Ng7HvR1jQb24TjRidzNXnGQfIv0NdExxRMjO2BA8elEKzsFZDAb2b5FOslfhCjZx/1khPX7P4/wdbOzx3NfaTkHyRRq4z3VZqEAwIuh43o6bbk8S/VJ+sLnXAtYEVm1lh/FX+jGPWJW/AX6ReyDNIv07bbH3D63wJen14N5kXKaudODcjUrlY6cOdxEdEyqPn74/ijeQR3IIEdjAT3GJasBKmYX6nQS42PWQe9dX02XoeLZl2FOPyQURFSZf8uk+J091NJOClT9qH2NDXeVzYYw20QmoyrUPfjtcj1bjVqm/Ggy58yiisGbLdtWZgNCjbhHrn6mz1jEs7/6NmXzNB835Gh6fRKw6QEogIKJzgg9hGI3ni7SeFzOmm5I0xQNccsZF5sJYVDmSt9YCfr5ffPszEZ5CkXRHbJsbo6442me8hy9dtTKyp2yLJwS2rS3SY91IvDb9QP16j7au9KlNiAQwpWrxLJ1TiDtqzrHppTAkVbQ1abnBwcSAMrAnAvxeAVhHYTzJNIoRPB++Wmrr3c6sq0V3mMjkZRa09SxlK44LBsDffI4gaOBBZhYOL+aFMqapQDUeilof+tl8KAdSu4NmRPjZIgC3P8jfKGNYQReFoHAtZVhisSw4zglWY3/CoV6BWMufjpxY8uCN+3GvQVTlA83cwdXvWhyUGPKTmHI650gVdHAMm5PhCL0LOn7Z2ZiIHkJvrDXf82PxKy7DHX3twK9Kbo002Zotl1kehnPAs01bEqZQx2Qm7hGvG+Am6SKQcXU/vnbaAXhW5NYdwDkSbvIpCQTpunwsPzLXRRjKWOmMqg0i86nirnI/Mc9a5W+ZKkCrsR0UfA4iPEo6GRK7iLiPz9UQp64Ifc1mpjCe6Zy+rkpF3KNOiYMk+uG/YnxA5X27J/yQqx7/jx/CGjTUoZxm5I78OB1OzQ1UIgPo694RPA4ClVe2wFiEuw3AiE5YLDceIMeZWJWgr7G9WvqfJBnfQhP5u18FTAjY2zLLzpe8NCosV3Zpnwfgjy07r+jnj/M1AEeLp703XzBZkdA1tXz7RpMKHFusDpV4zfveN+SMoEr8Xpjd39iY1tG4OtHLCEcwmw0sPiBSbalnyVuW87W8KNnAFGJfMnGXMKHykWOwpT2H7v9k1zF3cAAe4zIrUkj/kWZK2+zo24Ad120fw7Zen7658ZIUl/6C+LVZHJ5RiUTKLEukvtZvBVHOp4RLPtdEz6Aq9YHBMQlNQvnBYIrvGAgbO3gqOs4mUdXhzumKG9tIZpe4jK/Cqfu89QkQjgCX4iGY3BOihibctjC1XWp/UXmuV4g5VMpsz8p1slPBXq21+9wl5oHS9qry1Y+wdLOiIZ7TfUy9qGTX6Xh7WB72yZ8b/fFxr9SnkcFkJ8iNkSO4mUGHa5orAOWfeAlOMOW4s/2q7g/TaGi+vO9hk3NzBCFEm0etrIfNuvceC6KIK7QDiRbpbIad9WsLUw2AUaIqmO3CJM4AIqwoLRaAfZhho5CJ1b43QFt0EsTVj+x8FxrI1vgi1aMKmSsqoQbNAnDKsxcSZyUTkv6i8DyIKplo7KcOizvbQ6HGWbRUWnyYYTTHUZhax/ff3j2FIdA7Vk0k3pzKU6a0x1ybd9yuTB3XDtkCgd41sV4Kzcy1HrJ9PpjufUUt3OGWUzrTXCv1+C99nYOvi4p91w2VmygHOunWbzeyHl+qpicWH//hOTQRL4kyfewF/+VSsxhh0EDl3cmjrKSczfr6JvMY2kfd1orjdILMzlzyfgo0ugTG55rswKiDnoJoegXYezn7rx136WuA4LOE2O8iKvRTky8JtYptpRnBt4QCGzGDwnv9u2RDZjpkIEumpuZaYMsYKBApWuHMbFnVxmuSNg6P4UbVI01FPT5BieqqK/Aiu/m7TlM8K2yn86QQ+2vUMALt2k0pH4vAf5dX58hKXbde+LaNV3LQbN4keV+opR4NYkaGV2aHBXgyR8cLP0RXG8p+/SZnD7x4cf9IGP1FpR9T7QQtwQU+tccFohKedqP/fd4Oz0Bxmag4TAgvldTPCgMG0zTheLTW2Bdi76IjULs00BmUdeI59PXlhPPZZbGMFdnZN9uff95gGECLLMvN/Zc6vw7KDLB0QZJ5/S+y/StL6GeFmkF2WlA8wK+8HeLI/ala+HbxvbdUdh+cFNcRFgdOn+dLVZagWinKTjc89xNdHV1OhP07L49s6JU0sjt/tf18++59U0sTfC/WE3TrviED7NL0LeUkBgJC+ej6BDrK7+hXZVZEXQw1hUeUD4gXzSydRXhkAMfivNm0MxT2nVy1ILxk7QH3t47WhMcRrQ0+ETl3JlkAjqC5Fh9vmwsk3t/ZJEvEoiaib2+a1wYO3ngVJiCsX0R6fLalruQDOIDaLCbdCOke5KtDUC9qx3u42rQX6voBxGQ1SPKYdnO2UnKEbYyb1/eFHC9Ku2FlDI980N2DgrpcTbFnrVmaRSe5vDmuHGkAiMsqs3p6a/8o+PNcQd6tGPckCO4SHvmXjkumWG/XElP8hZx5eoQ3M6IJLccSqzlX0ZcIBASbU74nuJ+iq8J8eZj1gQy/+GQRty6yabRb4A6yHYC/KTWQVYCKReRS/HSwpOATNVXeScTXn0VjzX4/heIdvZVuXh+H1G5d1nVZGLiaHRVO0ZVcIn3zVnsmnpwWmGJMKefjEfPpx5xlhisycWAetg9MVIvw0L0/ncak4oA67/j7AMn1LqknXhJYr7bKr1Ox54h4BrxG4grbnFPTGXQGpX+qZNxUNWckUMF5qY6u0EQBspOmdgaydBIacIeVlT75tnmRb1jK6CHvgYbVEFvMiDE/b/BldjMsQ6Lu3r5UpLrJUSKre3HSp8IytacW/cq3D4CAvgqyo5YC/+KxtwQcL/Jxv4o+peN2LtOpwp2467RMxqLz8YYQXerr25Gy9uqamR1BLqrXXN8XMvbEkxlBX9nYYyBza9jfz3EIaNzbcuBxNk4S5716ik9ISAJMbDgSUYVP/QI7HQ/G0EJ9u2DrR21+xUCLqEU9QQldYhx87ZNVb8/1VHykn15rUVA79n4F87jRpOl9P0OA0p1b32KondKBoOWo1iCJe15nqPgXIme4pR1XUHxg0m/7wBrGY9kd65w53FjK5P/RadsCXwDsjeEXi8rh8zX/qw0e54fGnAi4GeJUWGUnU1PZncLly92kAWxUyYgBmMbe75PkjCeAZhRIexLtuu6r9rPtN3+HhsPzuSEeNg7yfKsbzMaAqc9vVCeOGGbKtr+cmTxAPxCXSHdpMctUjndYB8pZJ9A9IMbYHZZMZoLD66NECtCWKMnXX4JTHtalcYtoKM9Hs+8TcY9Q+rmhP3t5eS+JX3aJifq5upWxpI3ZOlWduMa3Jerhrectsaz5/L8wBvCGbDiyBtfWsAcf08DoVNwqdRDh4sf9bViD+4+fa+5HArf2595yoPccr099QygP3/tWRi2nUPhRicUNdn8xPzNKZmA7YnwqCek/sEh0wfgr/Wzl1ARvYXvB9Tb7OA5xtQHeZUslZtiWOgfe2JiboV1iXWnsN0Rga0t+Zdxn7MtYmWgfm+LFeJ+Ai0yFA2ph3P0EXfMDay1CiluqRkrrO+aDBVUyK+nu/BRExTw/lFeVAJel5viKavWr2ZAmuQGqAyuKfF8go0ib3qgdfGmqit7iPKhseyNNMdN7ybcqL4AxgY0nsfcTlbdbOzq0wd2hJ4p8yaNwq8W8Lls4NH5A04HBPga6qRIFGMiphHtXwxVErzlclhMI9Lwm0tJI2nAg1rpEeHmJenW9E01H2iLsMOLUKwJoArFrbuEppNHYJfdkopDtm4hlkzr820SSBHSD8FnqE8hmNStJi0Qa4BrmXCD6Ti4whYcZ7c8xmpzXFOEDpFKw75tngO54d3UoZB2ywbQOyr/iY3kem6rbAgIli6tO9fgpLXHSdZhvVUTVBQZF8EOo16yUBtL3EOk6B9r5FpOmrF/A8hqPvN3+e2ReK/H00gO22LSwStnSdIodkbVwECqFRWxbt3G+CBSq0ugwW5I2M0ZCneyAZ3jWOlOvIrRYITbtRvBLYNaN6szRVQN/Kur94pTefV1giVsZTz+LbaTgVjARwIFWzJIoFxTHGGAbO07b/FnbbhAmCkisHcD61Z4oSLQT7F406nRnpIZwXAlML+8ksQ8ISZfzScnnSKm3qTm9j3gxp02g2zURcv89myk4/GOIW5Qa8aIsEyZD+fC6I3/+CMkJHubkVIzeJoWkHKXC0VWj8lwwxbwCDfTBWmYFPbwmAZMwVNyQ8K4I/sSD2zVvJuEmIzb2FawruYe8jnkOzkD+nzjSDllcaV6bJd9aZaC4jTsDZoXh1LPB1d+GuEg8XRcdEIF6lDlsiBhnXPgbSItE+FiwXy1r3/tAaRUecPeLMVc3h/4yXzhig6XgtWobZTm+L+DE8jbNW9JJmgcWP6tasheXGbTaeNkbeG0X773dQkJUGhrGid3eU+bicFoy3y9dYJ+n1Mgz8L/YAaYLyEY68I7PAlHgtJ6TYFNTYi7WP0XlrwbmFrCBKI+e6T6a1v+ZTjtL9lEo+fjNgk+dkXbPWdJ8Jg/mCEbFhzNxCyAPmr9+pkVDlHT6XArdl0THsj7kGdT7L6VxkoKiL8OrfIc7GkJbysD+XI4LJVzhYXpcNRPZIj52NO8lkzAxY+ByQ7EYDDUi9O/4Ccsm3z0cXF1uBUgoBhaKxp50w62N2R1SSEfi16n06PBmtnRHfMt5no3rf7sWwjEdCmebtlq8zK7PQfypLJ/mg4zVQjX8nSahvtsH4vUhtGQAzmbdAiXSvOgFnN3cpVtzlR7C0SquwJ8tMdCedOocSxTcZvyN8R0A4cS3iKQksPnjEUo9KRjjJutVSk5pSXbqu5dTAYwYuTLtU2aLGMgfrxQzMbVioeIxzw4HzOopikwrsSq7Pre2bKGoyAXBoUoxGwle5lOea0jlBgNhB56F7cvK9YB7PCNtXySDPOm5jLesiB7R64F9orU73lRBudbqPyS86CmC62iD/GGLPsqrMwAqqQJ8msAhWL4wA4lpxzldayJTcckIjaTBue1P7gAkCQa6gHoY8G4JmycV2OQBd55vDWttpeXk9GJm0k4unQm6kqjR7ut+wu7mnz0GcwQOZb8yomOPFWAgEwUf/i/2ln55Z8ldEeBjkW891lxhCcKpfkSn4Vxw5+Nb4EonmguFUj03zYE5JcR9EvzOBSFAyBRceCCWdCUyKK03yrF8GlpsyoZSHA7lP9DULII1pEqSY/XURe+GaIz6ngkI3TcfvuP+RNNClr0BixQoV/L7FKOJ2WJT2x+Km4KsB+9ZKtGhZ5YU0NbIADYmScmzQne5JQA2SSkQUSblgdQO1p6iBrOUYlpMJqcC7lLzQFOrhwyT5AxHCRRMAqaorvGN3dkzjJ3ivBFpJBa4MxqypSDOLwYQfKGL5BPPUNU1mYSqCAxOWVq/v9HTy44JKH+zuaJRRvgq78k3HkkgD/XBfSoxlioEW6ON5pic5FABeYYunuOeSM3kl/oKxiyVkWj9PkQpzatzsfN7UDgYcwaoBg7LuAKAnY7n8dAmofNfwdl6nkkJZkHeyyfuPiAx9f+ypuIOrG5UbQcxjj40Dks5gopr4yOTJ8TZ1f4oZ6w0XZKYcv2eo2hYXB1tLt8B39f+MVAtElbGnCVaTB1Px1FjeLtWTPudXv7MvbnD38+dlkYHcADRcbHJ18dHz3oqw1S5LCfA608quZAyoDXeOB0mHe/Lq74OnwJpMlxfTNixgsi41H17OmwSuKWuUaBh81Ed8S6KOMwEXPR3kaTuMDlFQUcp6oM8NAPc0INJCxvA/KoJj+q29rg7hVV/zaNCyfa0fSknAq553xFY/e3mVIJUTTeoanBEQbfpZttCCaroZykgOxO0AJMuDZdWUImUWTcCFC3unZ7R94fbLIDMp3hyqQARsvLMgKeIi7eCbbF4zgZW32p9PnbyREgyEzG1mpP+N8ThCpVTr48N60SsIEzkEiLG/P0Ahossefthd2/PgHXhrd4LLyKV0qBimuw0GN49VpRYe1nS1LARCajSmR3ZIrV7cWGEMLSnzbfY5aC/eYIhH/k16FyCnDVoi483wkmNmjpwHCut64OIogbwE7/Chx4WAtiwjjTGflZ0LVfrm+Ul59MLUz9d8wpALJgrswys2o/+r+eYQQZr3Q3Z5z5Su3C5Bjy0+IEOWAZ325qg/pAdHwzyMYRScq1QbeT19KgrHSIXdeMtJJrWh+grTyjXWcHJISfIqiVVwXockYHNM5jfsHtGu0odEtIEjAuUZcdrIEnB7CajW3xFgpObTvDJxgdQ6Ur7PgVuQ8UlHOxvpl4s0yaXbmT84FAUke2NPgBN4osNger2fo8EtQblDUVAu5KQojqhNoD9xbA1fA/Rn5WeEeBBK+r/M43ElXvh1eWwm18ENFaWXhyCAR0Qiiy0SwOSViY5P7787mRm+WlsYlKSmrrB+DAfSwjItSo7XAgqoR2+shJc8+abF6t2FhoG9Gyh9ZVFjtjH+gd2Fsv7qPGgCRX4FoeXM3Y5VTrguIHJK5bJzSaV/ciNvckGkHSOETNGh3w5hftmInQtJ/MTstEGL6MpMMpVQ5m5NQR4ZyYI3weXLO6hHrSSg0GwEYzGmYwpL4okR1H7kuVSE9I+ZEfACLBq43NGthOoz+EpMm3Zg69yT+RyKTAOJhKjd+h81FHNHlQkATjlJjezZtAdFh8royY/V8ZTK7SpdkCaNUUod8vPhu3sZRk8h/J+k1u7YclZNKGgUdhRRgtF1xJFolsNVrJcG4mzyOxV8BSPs5YZYji5NsEt+j8hvDaO8JNwOmeqLtT3X9GguW/LpcUavEWhzBkdv8mPDrJkkVFCtlHXoy5OsVMslLE6jIw9rWqxPUI8Tr8EislTEjEoSiNBIBL3GI+rnTHyuZsgx8oaUN4EVt6WYLLMYmUOP+lXO7GXDniiM5hbYbdDfsU1dDYDp/0XSQv9iUWWtxgHe0cHgMXJswe35f9ka55yIBMbm6P4tjYLsG+B1p6HY6tPTfGYVrwhyGISKzxrNDF32FbjbHoR4lV8+R8CH7oWM4cOzA1j6aEpkdnYnBd30VFEUiyFZqdl2XGS2cry+bHpY75F/KnBvwPdvzMj9ok9WDp5gHdAPS0/VgBvT0RCNajziW21Wd8a2PtEum0dvpSMoykJu37gM8U5K+Zg5pFbmtRab+LHh0eNuxzj5O0GHDsUgSBwvgrSTsFMU1gxMZouU2DQpk6ntcuug7Uc9wB7TA5GwEAlif5dio7tDY3a01fwk27/6dBZ0yOWKsW2CGAu8cPvtN0bXVxARkp9+Fp4ikFSj+6uMFtXs0d2P/4zF6PNOVPN3ebAmVL05mgUhNQbtiMDtyd17xB/CjM9WVSuW8/WrzVhqYCZ7UF62Rki1Q/fvtxJqShDjSbnuwoPjpSHe3BZSOo9XvdtvS/OqwID/vTAnaeduw/zhG9TCs0n8SzjmI7qQ61+VJymxZqunM68WW0tqu0ffoPWEudcy1lK7A34kLjUHRSyJn1EZZRfhGqAgzMlb6lMv0Rdeuf9yAaR5n2mJkN1rFm+LV1/Iup4b18XnBicUq9sUkWU7Q7aXYCPB8H6FzUTe2CyFOQZxsODbMPVlMnxD8zohf+AKgPEgzKKawbFkF1CP5q+fQSIpnFSKRzd8ms/0DUaDqgSDTEXvV37JLEtY6zOizDFNwKZ4wg0u00U4r3idhw0UhWx2DxP3gU0b0Slxz1aKqw4rJZuFqRsHuZYs+k3FiY4s8rUE6/qR0S4OYLKzbg7VfBJvR1xMQyK8NNJrpoCaSA0M5tGIFaUIO1y41nyBfbl9ZtiTj4F6syVgZCxp/+WIlwA63iTBi6PJVhPwSsWAHEW6q7o/ggweSPEib+/J/49CiCGbPK+0s/cUo5xQicjTx0aHS5y8fqKaFz8KX9l4Np3zfQYEwFacN6RQ1J2Qcn5nOOJg+c6D+m3M0Mbc7F0iVwt7+1gD0PY0C3Ypv4fASw7ZvuH96wdkmB4zGlJNTy0v8SKpIJiQlWQHe8m5HQcPl3bX+lzqvS8iAPzoRKYj9c9v/25p/nw4ZaNGTnGIR4xbTQVNQsNnbELsdEn2XtTc+Kb59ITi+/YJxqOmNw+U/vdmvRbwzKbzOeogssTpr6UagecLxIPTEnlzvZt29vFmQP8V9cLymIkELSt0LwAQ4eaibODf4V0v4Xz9qJSfi27NuqZSoUK37wblcuTJ0089SZwjRzb+ufTAump/WKi2QAdTd7B4epHdPnJ0HN3xw3BXGotr++z4GuBFAenWXFPMeQ8bDH3lX00P5W1hBCDEx8yitKnvQYcUFJvO7AUUexudOvd3/9Z43QtbKaFDFdnIPigqAxjycwmNeau3/zjOSUiE1RvLogcVpyFH0UR/7Mjm0KOA3tb8XI6d8OnJfAi8hROlI4zgRq3e+5RBq8puYpweegnNGSuyB2KO/mhqrmvD0Oggmt1A+XOFEsAKGLFoyJrhUkbk9TqIbZffsKrrS5F2OTKCz+2wvoDGeeJBUyKBo3ra0wGT5O0qWzCWYAb2VcSA/+3tojLhBpFn7NQEDoDgE8UWdQLOQahBg8O/nwDX67H/y9tWDgl3qeqBbT//Ot+dFcIRBLT1hCP3JRy4X2PFCDCNxu/6Va2oDcZmT8kRVS4Ouv5VmGWOKosWqUBYUkXOL68dXK4qtRLdxIk9rwIQXIc6ofXgqJCxGWNL6+1UIzcz3AVkeJuLkHFwfDIVwmw4HouYYwNW7jx4hyPRbgxN7oXhGWZZnPDSfp6gYwClPoolCtdTHaG4rNTXYW36hzO+Cd3GQqF2jiM7XpbzvjYj/dWDmTQAebv2h1mW/hUWZ7LRWk9gENaD9T9YQwdTf6c0KFhdDKyqE732nTEgUdMAr7ow9fJKFCb5odg8y1leDBgR0in0Kp7iwzrwwybScu8LLIuuaJBK8zg/aDTLOofpJs33H0P1S3Ab1FYS4XvNqkPQ+u+rCWEhZBe+dBLXQZYjoMLQrJDQF/9FIdSRjXrnpZRltHKT7fGJDqLa9n2icCPqdp1imaTan8qR9FWzj6oG18SLXvLhC00GZVg4aVsRDgYCqb4RwVL65ahu+2w0rqdWFBgd1yD0J0i938XJjCiXZXG2OyJIaVXtW3l/DR+hY6yXNscGkXvM3/68PDKcJLOcv3WMdF8rlm9h+xipmgEDlOs3GI+a/WfaIoxIZdsF3Bo8rhYpizm5EyQd8ieMSdmJ7l/TLTfGhytgNG57m4s26a1RjvSquaJHVRMmg/dIV8nF+Fod4+A5JOHft4C3zcWDczdGzVw3JOP1w3u46PtWIB6kPnA+4ZgosTBqBMvpunpDKr/QagEiLnaF5/YncKLke/S4UrRrauja5Hx5z5sMh2ltzk/L6IUr6erIZeRWF87W/+hcnHWngQmNz1b9DcUU81i10v++RpseCCKf5+fQnS45pDJTppy2WpZU+JQt/LCNpiyS++oXRJQAziOx8xnR+242czzmF+LJJBPQofp+891Ub3uYR649nsgf2FdWq0pzW52XL2c8U0aufPQjn3pxupC6wIo01GoMl1kCg9Bg/SGqNc1SzNU9LT4Q/nHNOfTvbSkwUcu5oZNJ+AIfLZNOPxXvI88hJG57Ono81uUDqiu0mZns4T7oykOK0kx5nbkhrrGShrYoqwuKXVNWwPASKRu4hIc82UtjaNR3zWmFf1grA6AW4JqYVMGXtKU2omMHluuEJJha8pM0DQuSq68Si0AohVgzToJQ0LfyZJehC3xX6pMyG2Xo240FMTCdeiesdEhkNSGnnqfQwZWBnqCgHsjACWj3uwpVqcq0oCH46bikdlvq+g7ZpDQap0/X1HnQ/jk8Bg6oVpkn4ldB8wENZX50A0PNnS8jU0kb/bMSvkzqv/N5SknfVHeV6W8IDQOBLlRxRxa9dCauTTU1kcHqRyOzFdR6BqxOSltJ2k2CnOztN5tnMzUqzKMRC5mVNrQybcy8aj9ZaIKq4AHTx8hqlME2pdN7AUbI0xEPqlFidglfdWuKbKABPgqgzi2d43kgf5T6oeu3Z5Y9NnUnQXKNFdV4nGMZXUGNX4ZXKwim9OVycQc8V5QV8kEduJ2U7C0OUiKhuY13mQlPu56gshaS/dl0SK4D7eQhbBhc8+ARJyadI816R3gykZJHlA+VEjG7/7BA8dtwNxRETRoVQXhieJPs3k3H+kUh56dvpJFB6kMHEBynm6u95BMAwJ39Gd8q3JJyBgai6sHRAdhhI94GxIg2Fe8y3VmGaKJm+uF7bUWqiLaoYo8B0kMOeu5C3H5CLMa2ClqBQjeBkXKKNkF10eijR7iOP4VP8Xxp2r7Vn9gZGF0RtAFoCk5QAYjZthLjvyoU6gX5lgm82djjKo9Htd/KfEuCvjpp9Z5TQaIisxxz2PIU3Ay9asQNVHAGOF+REQN5/mzOCdoqko6e7OHMN1LjTMhn0rxQY51O2gVWTMXlKdXBFqlIX374+ITBTU+NQjWSqSq5WahDm05phTrJr/bhYhIrturICftEvUyTzVKPqE2S+lnoCwH+iTzbw0zD5fXUFROqcrsu2UGU10FtG/2KeXL6KXTaiwQqR9YPkZ1hHA/JaV1epp/i70dJUNKvTLDG311V62yM8s1b30BR0HrqeEIsmv+6S5Eek+bnUS8CGCnacxK/BmyyJwJ9ZzpmSQ7YCMj8bFQ/nUvvbDLUkr1tM/+f/79q+i7WARfEM91fHAmerMXb8IEuLOUlEiW+i5u2ZhejsB0GD7UjU0UzOVODUUBaosNOPGK1pGLtql230IH8jLhpJCcVDG06DPSSiDyhErb8JcirAvtfR5uJjMiHpf0NCs4XWepaisrIERS/5/Gx2UVdOVBbeZjfatftO/WFjafv6iH3Y1g9be/JvVhTxB0evxbX4+0EZf+/cVgqbACNG09BN6aZ7TpcrfB3JMxxDeRHPT2aS/xrmrncO4UfooYd2dXfIOHmIitlodDGzwHnirViTX6disPcvieSQh5f2F+r6cbXZk97rDeWApbpeSbN2Ghx4NuIdE1FKjAMHCF53Is4PHt9QvdiabudA39hPnjsASKs1yek0HKOuA5lHIAYI6StkDi2CbYSPk1r4GwtqqXOiv0sudNnkvEyNaX59XoWLXPQsZTQSs7yuA47mwouZ72uEi9d5EOcbzYV/alOufOctjDe+hTbFKHlIvbziiz6OGYikLX71GpOGwQRBnHBHGtG0st/Ppe3hglsh2XpLtt1ldzBQaQfRqXXcvU4SVBHh6EbgPDSSLgE9IcYkavdc/StaEaP7XBIWDe1qzhUvf0XTmAwrvTm3MZpnMAJtbHYkd3RI0jFvBu/HqyD6His5+LnaviTLsAlfQgYwvurET4EC9a6lZo6gWDBKsSwtE82OFrviW1S7pSX6g9c5im48KuRYLG2LgmHjqj+a/Z+r48NfeNAMjG4rrZ4/CpRMK97dTLA+UgBkFYqZT2QIczPP/XGNrjCVgh19Ma1vyYAOroIq4l5Q97QNQIHgFD4aqsSOojV6HflkJt2ZrsU1R6wLXM11YeV/cjeKmHjEZR6TsBk82XqGEs2Z3VnwvmKxAXTcSuQq4FWX70AdVY4SswCNVgL31gBKqtMQ+Ox8ycFCsjUd4aMlmv7dIZ/HbZrEMvSbhCkq0uZmzf6926B+gsK7R9yqrt65ghZlB8jKSW/Zr9Pq7LSK6HE5iIBSLF2EEUN6nRpscKNWv07xEcrZhzqH78dmsk49rk1WQ7+OIn67/hCS9W16M5d0jIWXoxDAxLIJN3lAxNwGNwz5wFi5Q4BxjiiNU7QcGiy5mP547wc+4isIDZOapGTfl3fDXzTYaaVwmbLq5vQM5LN01d2czDHiTw/ymB3b7rgkkAz5J57PXG9X70hHId82oEO+qqyJ2038elG+QjG4uVNOIHthAFaAOA+N4ll0l7Eq0Ol4SvimOCG8nD/1+ENRohP4at6zqta4baL73Ot8qeE0juugSQkapWVbE+QvaZiKiRvH0rm/LFjt9pslQAjKQGUZ0ODrtR0X6DkZfi9cZXS5jf0R+KP5a/OwkJyKERCvikD4cvSL9rmEzFV+Qlc/W3WIJCXEW+NlOBeEz3oqZTed2d4BZHXMPaNkeG/W0wsFDkcO5WojRGTCzaopEcBtX4YNAsiDrCuXzQzRpyy5T7o3zH3DS8kVOjsWPfOFFpFxaC2U8AU8n4/o9otOlS8dlqWRpRlTgElmjPC+JgLzc+nMYgrZdviQt5xzHQhAYdDF7zIRfX+6ylHDllxwJSeG/m5HjEW+/Kx39FpXDXFdRBQR/txkRBGicI2VHxZ69NLkcUxWKusEooLr7ZVP7+NSEcJ13x9lEM6dt4ZWnyXFRuk8k5z9RcF/NY+UgLKIlQiAa90koIOAgO8Dxg9X9CG5WK+Ka1Yrpsk+/YhhUf6kUGOinp+Wrd1KqqJj0Rvw3baXCjJNUzpaE0DSf3GiBKpvSQLz3hXaF6c/J26Aez7Iq9iv3hlrwmjVR4or5apSU/iHMc3qJCMy9qCTvr6lH3q8qsJImTTpKgkym3GRS1gNxMZpC8HsZ4CVc0oGr178hCxYGMytHnHNw2in9grBQT1vuBwLdG74giwQIxkRNGJyObD188a5IZkovmgsI42kPfs4M1XKfvjNmwH8x4JnkKw27KyuE9KGTdBk/FvsaNMDcZB9NNvnmPMtsA2UwLuSZ3bMOkWqxtHr2yQMHoQaCs6Si5wKy6qV4dYhckvuDrQp+ReqIF+d6wF2Dlhc/j5L3+bU2RtEYclA7pPS//SU2LyG/VFyfSFVpPra2mXE1qN/1njw2GrI1m3cU3IOCIxp7Wj/b9huB9MGjezhFPQsA6Di5ImBUq3f1NB0rCfv1bNX8HHVHQaldoRE47ChUTzGX/6Ev10MwKIm3MOUIT4LDiKdbIWiy6NeEXLdeSPCkdyNIZN4XR3hFmoxzkHPJy8zTLgsLlGa922tpHnFN5Ge4gw/n9BRjh3enYAuMoc095xUavWWbfNxavEtW1z3KmUZnvVc6YeG7591cnTIQtUIE7GtO45FZRK4cWyAxNIOxFIrrON/qAacBe5br6YDZzOX+e6CCysJ20crlT9VWukTwCYhD5/ERwGXc2PsU63Hj2NT1UIjmbP8XE4j3BJRbdB2f6mnSCFccm69qzDhqwbF0jKzfII8kf1yBrbRXKuSPtHD80pmhc4/bRErBpy1376eOpzgdBs7tg0z5HwvBZV7bJyrUEp4BDdpKOaWdsyGTiSS2BJoALOzjl7lulF8Zsss97oSlZAICgduZs0/zJjjHwjkgyATyaHqWQ/1DW3Hm69d4NfxIh1L7GMP/2jhnrr+n/zYwUGL9CTNsWuhDGtXl5xY0BrCYPrqBa8X9SQP3nweHvz8kLfb4bMB43R6sgUJOoHAfPxNuw8gmmUpb8T7FkvcgoJ02W0+lAhAiu7TPBQ+Wb5uWjAQZizP8DX+wQ/VahfmFQqJBWz6xzGsDZgy1ZmEQ9/XUa0l+/j2RVXZBnRoFO94U44F8lWmbLkgE+cBUceLB6DmrAphJjNimraRZn4XE5DESf4Hheov1pP0PjRT1mB5OoDaK3DAgyy796Mp4wb3AvXdF0Spa9mmXuZgpP93iIwKFB4H0GZ4G1B8M948hp/B1Ss+MvyjuTnYw+tPETbtVB4Iod6Cjul12dDPwyQTqXyo9MYr2YT6Tour6j14kqqFLcwaZ2QmpveY3K+wnpeG4LxvDTfYlelI7LcMbKvOg3hcItyXPhiS7ACaKVddS3rwnRD5+FgfzeCGSt4kbW9IemkN5XhXSpQla1HJIQv5PbVgDGnaWYLjKEzJtXbpvdV2/0i/QGJ+kDF8M6hmOm3346Fz1f2U00A2X/hSMVievUA93IDA281A2VpbLKzTvBqREGMa6NeS/+m8fS9bTBZ7tEknNAXOFl4kDlrFB+ygiToyJl1wex0yQy81sZeVUt54mYsXVoCeIgLfS3ZK0ZQKa3+PjqR2Kqp66SL0kQy" title="Mekko Graphics Chart">
            <a:extLst>
              <a:ext uri="{FF2B5EF4-FFF2-40B4-BE49-F238E27FC236}">
                <a16:creationId xmlns:a16="http://schemas.microsoft.com/office/drawing/2014/main" id="{A605997F-98D6-8716-5033-4F4A59857BDC}"/>
              </a:ext>
            </a:extLst>
          </p:cNvPr>
          <p:cNvSpPr>
            <a:spLocks noChangeAspect="1"/>
          </p:cNvSpPr>
          <p:nvPr>
            <p:custDataLst>
              <p:tags r:id="rId9"/>
            </p:custDataLst>
          </p:nvPr>
        </p:nvSpPr>
        <p:spPr bwMode="gray">
          <a:xfrm>
            <a:off x="332229" y="1285912"/>
            <a:ext cx="8228111" cy="2622940"/>
          </a:xfrm>
          <a:prstGeom prst="rect">
            <a:avLst/>
          </a:prstGeom>
          <a:blipFill>
            <a:blip r:embed="rId20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40C2012-5075-F4D4-7EE1-2F557EB08106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8250635" y="1657893"/>
            <a:ext cx="3609135" cy="382195"/>
          </a:xfrm>
          <a:prstGeom prst="rect">
            <a:avLst/>
          </a:prstGeom>
          <a:noFill/>
          <a:ln w="1905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graphicFrame>
        <p:nvGraphicFramePr>
          <p:cNvPr id="63" name="UniqueVisitorsTable">
            <a:extLst>
              <a:ext uri="{FF2B5EF4-FFF2-40B4-BE49-F238E27FC236}">
                <a16:creationId xmlns:a16="http://schemas.microsoft.com/office/drawing/2014/main" id="{F41C6954-334D-C757-8025-28E775BA996D}"/>
              </a:ext>
            </a:extLst>
          </p:cNvPr>
          <p:cNvGraphicFramePr>
            <a:graphicFrameLocks noGrp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365191463"/>
              </p:ext>
            </p:extLst>
          </p:nvPr>
        </p:nvGraphicFramePr>
        <p:xfrm>
          <a:off x="8207583" y="3828054"/>
          <a:ext cx="3609134" cy="1316102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0549">
                  <a:extLst>
                    <a:ext uri="{9D8B030D-6E8A-4147-A177-3AD203B41FA5}">
                      <a16:colId xmlns:a16="http://schemas.microsoft.com/office/drawing/2014/main" val="3897694433"/>
                    </a:ext>
                  </a:extLst>
                </a:gridCol>
                <a:gridCol w="1356491">
                  <a:extLst>
                    <a:ext uri="{9D8B030D-6E8A-4147-A177-3AD203B41FA5}">
                      <a16:colId xmlns:a16="http://schemas.microsoft.com/office/drawing/2014/main" val="2729753460"/>
                    </a:ext>
                  </a:extLst>
                </a:gridCol>
                <a:gridCol w="1152094">
                  <a:extLst>
                    <a:ext uri="{9D8B030D-6E8A-4147-A177-3AD203B41FA5}">
                      <a16:colId xmlns:a16="http://schemas.microsoft.com/office/drawing/2014/main" val="829964771"/>
                    </a:ext>
                  </a:extLst>
                </a:gridCol>
              </a:tblGrid>
              <a:tr h="557294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1000" b="1" kern="120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Brand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1000" dirty="0">
                          <a:solidFill>
                            <a:srgbClr val="C00000"/>
                          </a:solidFill>
                        </a:rPr>
                        <a:t>Avg CPC LT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1000" dirty="0">
                          <a:solidFill>
                            <a:srgbClr val="C00000"/>
                          </a:solidFill>
                        </a:rPr>
                        <a:t>Change YoY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14307374"/>
                  </a:ext>
                </a:extLst>
              </a:tr>
              <a:tr h="379404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b="1" dirty="0">
                          <a:solidFill>
                            <a:srgbClr val="C00000"/>
                          </a:solidFill>
                        </a:rPr>
                        <a:t>Peer 2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>
                          <a:solidFill>
                            <a:srgbClr val="C00000"/>
                          </a:solidFill>
                          <a:latin typeface="+mj-lt"/>
                        </a:rPr>
                        <a:t>4.6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>
                          <a:solidFill>
                            <a:schemeClr val="tx1"/>
                          </a:solidFill>
                          <a:latin typeface="+mj-lt"/>
                        </a:rPr>
                        <a:t>6%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0825124"/>
                  </a:ext>
                </a:extLst>
              </a:tr>
              <a:tr h="379404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Peer 9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>
                          <a:solidFill>
                            <a:srgbClr val="C00000"/>
                          </a:solidFill>
                          <a:latin typeface="+mj-lt"/>
                        </a:rPr>
                        <a:t>6.0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 dirty="0">
                          <a:solidFill>
                            <a:schemeClr val="tx1"/>
                          </a:solidFill>
                          <a:latin typeface="+mj-lt"/>
                        </a:rPr>
                        <a:t>1%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5808991"/>
                  </a:ext>
                </a:extLst>
              </a:tr>
            </a:tbl>
          </a:graphicData>
        </a:graphic>
      </p:graphicFrame>
      <p:sp>
        <p:nvSpPr>
          <p:cNvPr id="64" name="btfpCallout283655">
            <a:extLst>
              <a:ext uri="{FF2B5EF4-FFF2-40B4-BE49-F238E27FC236}">
                <a16:creationId xmlns:a16="http://schemas.microsoft.com/office/drawing/2014/main" id="{D9A8F9A9-6F86-2F0A-490E-6D707A3B50ED}"/>
              </a:ext>
            </a:extLst>
          </p:cNvPr>
          <p:cNvSpPr/>
          <p:nvPr/>
        </p:nvSpPr>
        <p:spPr bwMode="gray">
          <a:xfrm>
            <a:off x="8560340" y="2467421"/>
            <a:ext cx="2421985" cy="380638"/>
          </a:xfrm>
          <a:prstGeom prst="wedgeRectCallout">
            <a:avLst>
              <a:gd name="adj1" fmla="val -73333"/>
              <a:gd name="adj2" fmla="val -40097"/>
            </a:avLst>
          </a:prstGeom>
          <a:solidFill>
            <a:srgbClr val="FFFFFF"/>
          </a:solidFill>
          <a:ln w="19050">
            <a:solidFill>
              <a:srgbClr val="5C5C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>
              <a:spcBef>
                <a:spcPts val="0"/>
              </a:spcBef>
              <a:buNone/>
            </a:pPr>
            <a:r>
              <a:rPr lang="en-GB" sz="1000" dirty="0">
                <a:solidFill>
                  <a:srgbClr val="5C5C5C"/>
                </a:solidFill>
              </a:rPr>
              <a:t>Only Peer 2 and Peer 9 have invested in Paid Search in the LTM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CAAB945A-D878-5EE5-8E59-857EDC3804D9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8250636" y="4373101"/>
            <a:ext cx="3566082" cy="382195"/>
          </a:xfrm>
          <a:prstGeom prst="rect">
            <a:avLst/>
          </a:prstGeom>
          <a:noFill/>
          <a:ln w="1905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9" name="btfpCallout283655">
            <a:extLst>
              <a:ext uri="{FF2B5EF4-FFF2-40B4-BE49-F238E27FC236}">
                <a16:creationId xmlns:a16="http://schemas.microsoft.com/office/drawing/2014/main" id="{9C8292C0-5924-C755-FE56-5BE2BD8C2517}"/>
              </a:ext>
            </a:extLst>
          </p:cNvPr>
          <p:cNvSpPr/>
          <p:nvPr/>
        </p:nvSpPr>
        <p:spPr bwMode="gray">
          <a:xfrm>
            <a:off x="8560340" y="2467505"/>
            <a:ext cx="2623475" cy="380638"/>
          </a:xfrm>
          <a:prstGeom prst="wedgeRectCallout">
            <a:avLst>
              <a:gd name="adj1" fmla="val -74906"/>
              <a:gd name="adj2" fmla="val 105041"/>
            </a:avLst>
          </a:prstGeom>
          <a:solidFill>
            <a:srgbClr val="FFFFFF"/>
          </a:solidFill>
          <a:ln w="19050">
            <a:solidFill>
              <a:srgbClr val="5C5C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>
              <a:spcBef>
                <a:spcPts val="0"/>
              </a:spcBef>
              <a:buNone/>
            </a:pPr>
            <a:r>
              <a:rPr lang="en-GB" sz="1000" dirty="0">
                <a:solidFill>
                  <a:srgbClr val="5C5C5C"/>
                </a:solidFill>
              </a:rPr>
              <a:t>Only Peer 2 and Peer 9 have invested in Paid Search over the LTM</a:t>
            </a:r>
          </a:p>
        </p:txBody>
      </p:sp>
      <p:pic>
        <p:nvPicPr>
          <p:cNvPr id="91" name="Picture 90">
            <a:extLst>
              <a:ext uri="{FF2B5EF4-FFF2-40B4-BE49-F238E27FC236}">
                <a16:creationId xmlns:a16="http://schemas.microsoft.com/office/drawing/2014/main" id="{F7923DF2-02F3-6674-451A-74ED0A63A728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38" y="946635"/>
            <a:ext cx="252287" cy="25157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1836DC3-89DF-9FF1-89DB-767CC536EF4C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 rot="16200000">
            <a:off x="6184396" y="1452547"/>
            <a:ext cx="1538653" cy="2255988"/>
          </a:xfrm>
          <a:prstGeom prst="rect">
            <a:avLst/>
          </a:prstGeom>
          <a:noFill/>
          <a:ln w="1905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610FA3D-B49C-CC52-33EA-8B8ABC3B542C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 rot="16200000">
            <a:off x="6149004" y="3890817"/>
            <a:ext cx="1538653" cy="2255988"/>
          </a:xfrm>
          <a:prstGeom prst="rect">
            <a:avLst/>
          </a:prstGeom>
          <a:noFill/>
          <a:ln w="1905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6881783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btfpColumnIndicatorGroup2">
            <a:extLst>
              <a:ext uri="{FF2B5EF4-FFF2-40B4-BE49-F238E27FC236}">
                <a16:creationId xmlns:a16="http://schemas.microsoft.com/office/drawing/2014/main" id="{C04128CF-A221-30D9-1201-1996D826BC6A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9" name="btfpColumnGapBlocker261287">
              <a:extLst>
                <a:ext uri="{FF2B5EF4-FFF2-40B4-BE49-F238E27FC236}">
                  <a16:creationId xmlns:a16="http://schemas.microsoft.com/office/drawing/2014/main" id="{55B291CC-E73B-FD3D-2EB7-787FE8BEBEA1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7" name="btfpColumnGapBlocker179930">
              <a:extLst>
                <a:ext uri="{FF2B5EF4-FFF2-40B4-BE49-F238E27FC236}">
                  <a16:creationId xmlns:a16="http://schemas.microsoft.com/office/drawing/2014/main" id="{CB053755-3836-EF54-FE4C-265164E7CC79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999702">
              <a:extLst>
                <a:ext uri="{FF2B5EF4-FFF2-40B4-BE49-F238E27FC236}">
                  <a16:creationId xmlns:a16="http://schemas.microsoft.com/office/drawing/2014/main" id="{7BA605C5-2BB8-E31A-D20A-7D3029A65303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888188">
              <a:extLst>
                <a:ext uri="{FF2B5EF4-FFF2-40B4-BE49-F238E27FC236}">
                  <a16:creationId xmlns:a16="http://schemas.microsoft.com/office/drawing/2014/main" id="{9FA2DA01-7DAC-09D1-8B83-6DA3C98AFA4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btfpColumnIndicatorGroup1">
            <a:extLst>
              <a:ext uri="{FF2B5EF4-FFF2-40B4-BE49-F238E27FC236}">
                <a16:creationId xmlns:a16="http://schemas.microsoft.com/office/drawing/2014/main" id="{FE552D91-7190-6F69-1A47-5A2D46A574C5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8" name="btfpColumnGapBlocker799158">
              <a:extLst>
                <a:ext uri="{FF2B5EF4-FFF2-40B4-BE49-F238E27FC236}">
                  <a16:creationId xmlns:a16="http://schemas.microsoft.com/office/drawing/2014/main" id="{018CDA00-9214-E534-7ED0-219D15E8BD51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6" name="btfpColumnGapBlocker981614">
              <a:extLst>
                <a:ext uri="{FF2B5EF4-FFF2-40B4-BE49-F238E27FC236}">
                  <a16:creationId xmlns:a16="http://schemas.microsoft.com/office/drawing/2014/main" id="{34F31972-3F15-C074-FF89-2EAFF86C40DC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" name="btfpColumnIndicator380905">
              <a:extLst>
                <a:ext uri="{FF2B5EF4-FFF2-40B4-BE49-F238E27FC236}">
                  <a16:creationId xmlns:a16="http://schemas.microsoft.com/office/drawing/2014/main" id="{E938F704-AED9-125F-5A67-01FEA70B2F7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" name="btfpColumnIndicator174650">
              <a:extLst>
                <a:ext uri="{FF2B5EF4-FFF2-40B4-BE49-F238E27FC236}">
                  <a16:creationId xmlns:a16="http://schemas.microsoft.com/office/drawing/2014/main" id="{3A54F990-3F7A-8E54-9B5E-3EB6F95E8D6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18375329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8" name="think-cell data - do not delete" hidden="1">
            <a:extLst>
              <a:ext uri="{FF2B5EF4-FFF2-40B4-BE49-F238E27FC236}">
                <a16:creationId xmlns:a16="http://schemas.microsoft.com/office/drawing/2014/main" id="{89BCAD17-E6D3-294E-FFE4-CD21C16971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0490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84" imgH="486" progId="TCLayout.ActiveDocument.1">
                  <p:embed/>
                </p:oleObj>
              </mc:Choice>
              <mc:Fallback>
                <p:oleObj name="think-cell Slide" r:id="rId9" imgW="484" imgH="486" progId="TCLayout.ActiveDocument.1">
                  <p:embed/>
                  <p:pic>
                    <p:nvPicPr>
                      <p:cNvPr id="26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BCAD17-E6D3-294E-FFE4-CD21C16971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66" name="btfpRunningAgenda1Level983488">
            <a:extLst>
              <a:ext uri="{FF2B5EF4-FFF2-40B4-BE49-F238E27FC236}">
                <a16:creationId xmlns:a16="http://schemas.microsoft.com/office/drawing/2014/main" id="{1AA64EFE-33D5-45C7-4ACF-8A07FA15D2CA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0" y="944429"/>
            <a:ext cx="1919501" cy="257442"/>
            <a:chOff x="0" y="876300"/>
            <a:chExt cx="1919501" cy="257442"/>
          </a:xfrm>
        </p:grpSpPr>
        <p:sp>
          <p:nvSpPr>
            <p:cNvPr id="265" name="btfpRunningAgenda1LevelBarLeft983488">
              <a:extLst>
                <a:ext uri="{FF2B5EF4-FFF2-40B4-BE49-F238E27FC236}">
                  <a16:creationId xmlns:a16="http://schemas.microsoft.com/office/drawing/2014/main" id="{0FA55113-B977-03F0-05DE-B63148542A80}"/>
                </a:ext>
              </a:extLst>
            </p:cNvPr>
            <p:cNvSpPr/>
            <p:nvPr/>
          </p:nvSpPr>
          <p:spPr bwMode="gray">
            <a:xfrm>
              <a:off x="0" y="876300"/>
              <a:ext cx="1819629" cy="257442"/>
            </a:xfrm>
            <a:custGeom>
              <a:avLst/>
              <a:gdLst>
                <a:gd name="connsiteX0" fmla="*/ 942786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42786 w 1816204"/>
                <a:gd name="connsiteY0" fmla="*/ 0 h 257442"/>
                <a:gd name="connsiteX1" fmla="*/ 888066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1111101 w 1111101"/>
                <a:gd name="connsiteY0" fmla="*/ 0 h 257442"/>
                <a:gd name="connsiteX1" fmla="*/ 888065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97050 w 1297050"/>
                <a:gd name="connsiteY0" fmla="*/ 0 h 257442"/>
                <a:gd name="connsiteX1" fmla="*/ 1056380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8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1 w 1297051"/>
                <a:gd name="connsiteY0" fmla="*/ 0 h 257442"/>
                <a:gd name="connsiteX1" fmla="*/ 1242329 w 1297051"/>
                <a:gd name="connsiteY1" fmla="*/ 257442 h 257442"/>
                <a:gd name="connsiteX2" fmla="*/ 0 w 1297051"/>
                <a:gd name="connsiteY2" fmla="*/ 257442 h 257442"/>
                <a:gd name="connsiteX3" fmla="*/ 1 w 1297051"/>
                <a:gd name="connsiteY3" fmla="*/ 0 h 257442"/>
                <a:gd name="connsiteX0" fmla="*/ 1297051 w 1297051"/>
                <a:gd name="connsiteY0" fmla="*/ 0 h 257442"/>
                <a:gd name="connsiteX1" fmla="*/ 1242329 w 1297051"/>
                <a:gd name="connsiteY1" fmla="*/ 257442 h 257442"/>
                <a:gd name="connsiteX2" fmla="*/ 0 w 1297051"/>
                <a:gd name="connsiteY2" fmla="*/ 257442 h 257442"/>
                <a:gd name="connsiteX3" fmla="*/ 1 w 1297051"/>
                <a:gd name="connsiteY3" fmla="*/ 0 h 257442"/>
                <a:gd name="connsiteX0" fmla="*/ 1482999 w 1482999"/>
                <a:gd name="connsiteY0" fmla="*/ 0 h 257442"/>
                <a:gd name="connsiteX1" fmla="*/ 1242329 w 1482999"/>
                <a:gd name="connsiteY1" fmla="*/ 257442 h 257442"/>
                <a:gd name="connsiteX2" fmla="*/ 0 w 1482999"/>
                <a:gd name="connsiteY2" fmla="*/ 257442 h 257442"/>
                <a:gd name="connsiteX3" fmla="*/ 1 w 1482999"/>
                <a:gd name="connsiteY3" fmla="*/ 0 h 257442"/>
                <a:gd name="connsiteX0" fmla="*/ 1482999 w 1482999"/>
                <a:gd name="connsiteY0" fmla="*/ 0 h 257442"/>
                <a:gd name="connsiteX1" fmla="*/ 1428278 w 1482999"/>
                <a:gd name="connsiteY1" fmla="*/ 257442 h 257442"/>
                <a:gd name="connsiteX2" fmla="*/ 0 w 1482999"/>
                <a:gd name="connsiteY2" fmla="*/ 257442 h 257442"/>
                <a:gd name="connsiteX3" fmla="*/ 1 w 1482999"/>
                <a:gd name="connsiteY3" fmla="*/ 0 h 257442"/>
                <a:gd name="connsiteX0" fmla="*/ 1482998 w 1482998"/>
                <a:gd name="connsiteY0" fmla="*/ 0 h 257442"/>
                <a:gd name="connsiteX1" fmla="*/ 1428277 w 1482998"/>
                <a:gd name="connsiteY1" fmla="*/ 257442 h 257442"/>
                <a:gd name="connsiteX2" fmla="*/ 0 w 1482998"/>
                <a:gd name="connsiteY2" fmla="*/ 257442 h 257442"/>
                <a:gd name="connsiteX3" fmla="*/ 0 w 1482998"/>
                <a:gd name="connsiteY3" fmla="*/ 0 h 257442"/>
                <a:gd name="connsiteX0" fmla="*/ 1482999 w 1482999"/>
                <a:gd name="connsiteY0" fmla="*/ 0 h 257442"/>
                <a:gd name="connsiteX1" fmla="*/ 1428278 w 1482999"/>
                <a:gd name="connsiteY1" fmla="*/ 257442 h 257442"/>
                <a:gd name="connsiteX2" fmla="*/ 1 w 1482999"/>
                <a:gd name="connsiteY2" fmla="*/ 257442 h 257442"/>
                <a:gd name="connsiteX3" fmla="*/ 0 w 1482999"/>
                <a:gd name="connsiteY3" fmla="*/ 0 h 257442"/>
                <a:gd name="connsiteX0" fmla="*/ 1651314 w 1651314"/>
                <a:gd name="connsiteY0" fmla="*/ 0 h 257442"/>
                <a:gd name="connsiteX1" fmla="*/ 1428278 w 1651314"/>
                <a:gd name="connsiteY1" fmla="*/ 257442 h 257442"/>
                <a:gd name="connsiteX2" fmla="*/ 1 w 1651314"/>
                <a:gd name="connsiteY2" fmla="*/ 257442 h 257442"/>
                <a:gd name="connsiteX3" fmla="*/ 0 w 1651314"/>
                <a:gd name="connsiteY3" fmla="*/ 0 h 257442"/>
                <a:gd name="connsiteX0" fmla="*/ 1651314 w 1651314"/>
                <a:gd name="connsiteY0" fmla="*/ 0 h 257442"/>
                <a:gd name="connsiteX1" fmla="*/ 1596592 w 1651314"/>
                <a:gd name="connsiteY1" fmla="*/ 257442 h 257442"/>
                <a:gd name="connsiteX2" fmla="*/ 1 w 1651314"/>
                <a:gd name="connsiteY2" fmla="*/ 257442 h 257442"/>
                <a:gd name="connsiteX3" fmla="*/ 0 w 1651314"/>
                <a:gd name="connsiteY3" fmla="*/ 0 h 257442"/>
                <a:gd name="connsiteX0" fmla="*/ 1651314 w 1651314"/>
                <a:gd name="connsiteY0" fmla="*/ 0 h 257442"/>
                <a:gd name="connsiteX1" fmla="*/ 1596592 w 1651314"/>
                <a:gd name="connsiteY1" fmla="*/ 257442 h 257442"/>
                <a:gd name="connsiteX2" fmla="*/ 0 w 1651314"/>
                <a:gd name="connsiteY2" fmla="*/ 257442 h 257442"/>
                <a:gd name="connsiteX3" fmla="*/ 0 w 1651314"/>
                <a:gd name="connsiteY3" fmla="*/ 0 h 257442"/>
                <a:gd name="connsiteX0" fmla="*/ 1651314 w 1651314"/>
                <a:gd name="connsiteY0" fmla="*/ 0 h 257442"/>
                <a:gd name="connsiteX1" fmla="*/ 1596592 w 1651314"/>
                <a:gd name="connsiteY1" fmla="*/ 257442 h 257442"/>
                <a:gd name="connsiteX2" fmla="*/ 0 w 1651314"/>
                <a:gd name="connsiteY2" fmla="*/ 257442 h 257442"/>
                <a:gd name="connsiteX3" fmla="*/ 0 w 1651314"/>
                <a:gd name="connsiteY3" fmla="*/ 0 h 257442"/>
                <a:gd name="connsiteX0" fmla="*/ 1819629 w 1819629"/>
                <a:gd name="connsiteY0" fmla="*/ 0 h 257442"/>
                <a:gd name="connsiteX1" fmla="*/ 1596592 w 1819629"/>
                <a:gd name="connsiteY1" fmla="*/ 257442 h 257442"/>
                <a:gd name="connsiteX2" fmla="*/ 0 w 1819629"/>
                <a:gd name="connsiteY2" fmla="*/ 257442 h 257442"/>
                <a:gd name="connsiteX3" fmla="*/ 0 w 1819629"/>
                <a:gd name="connsiteY3" fmla="*/ 0 h 257442"/>
                <a:gd name="connsiteX0" fmla="*/ 1819629 w 1819629"/>
                <a:gd name="connsiteY0" fmla="*/ 0 h 257442"/>
                <a:gd name="connsiteX1" fmla="*/ 1764908 w 1819629"/>
                <a:gd name="connsiteY1" fmla="*/ 257442 h 257442"/>
                <a:gd name="connsiteX2" fmla="*/ 0 w 1819629"/>
                <a:gd name="connsiteY2" fmla="*/ 257442 h 257442"/>
                <a:gd name="connsiteX3" fmla="*/ 0 w 1819629"/>
                <a:gd name="connsiteY3" fmla="*/ 0 h 257442"/>
                <a:gd name="connsiteX0" fmla="*/ 1819629 w 1819629"/>
                <a:gd name="connsiteY0" fmla="*/ 0 h 257442"/>
                <a:gd name="connsiteX1" fmla="*/ 1764908 w 1819629"/>
                <a:gd name="connsiteY1" fmla="*/ 257442 h 257442"/>
                <a:gd name="connsiteX2" fmla="*/ 0 w 1819629"/>
                <a:gd name="connsiteY2" fmla="*/ 257442 h 257442"/>
                <a:gd name="connsiteX3" fmla="*/ 0 w 1819629"/>
                <a:gd name="connsiteY3" fmla="*/ 0 h 257442"/>
                <a:gd name="connsiteX0" fmla="*/ 1819629 w 1819629"/>
                <a:gd name="connsiteY0" fmla="*/ 0 h 257442"/>
                <a:gd name="connsiteX1" fmla="*/ 1764908 w 1819629"/>
                <a:gd name="connsiteY1" fmla="*/ 257442 h 257442"/>
                <a:gd name="connsiteX2" fmla="*/ 0 w 1819629"/>
                <a:gd name="connsiteY2" fmla="*/ 257442 h 257442"/>
                <a:gd name="connsiteX3" fmla="*/ 0 w 1819629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9629" h="257442">
                  <a:moveTo>
                    <a:pt x="1819629" y="0"/>
                  </a:moveTo>
                  <a:lnTo>
                    <a:pt x="1764908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CA" sz="1600" err="1">
                <a:solidFill>
                  <a:schemeClr val="tx1"/>
                </a:solidFill>
              </a:endParaRPr>
            </a:p>
          </p:txBody>
        </p:sp>
        <p:sp>
          <p:nvSpPr>
            <p:cNvPr id="264" name="btfpRunningAgenda1LevelTextLeft983488">
              <a:extLst>
                <a:ext uri="{FF2B5EF4-FFF2-40B4-BE49-F238E27FC236}">
                  <a16:creationId xmlns:a16="http://schemas.microsoft.com/office/drawing/2014/main" id="{7A28107E-597C-687E-9D0D-F70E7E3AFE0C}"/>
                </a:ext>
              </a:extLst>
            </p:cNvPr>
            <p:cNvSpPr txBox="1"/>
            <p:nvPr/>
          </p:nvSpPr>
          <p:spPr bwMode="gray">
            <a:xfrm>
              <a:off x="0" y="876300"/>
              <a:ext cx="1919501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CA" sz="1200" b="1" cap="all" spc="450">
                  <a:solidFill>
                    <a:srgbClr val="FFFFFF"/>
                  </a:solidFill>
                </a:rPr>
                <a:t>SUMMARY</a:t>
              </a:r>
            </a:p>
          </p:txBody>
        </p:sp>
      </p:grpSp>
      <p:grpSp>
        <p:nvGrpSpPr>
          <p:cNvPr id="54" name="btfpColumnIndicatorGroup2">
            <a:extLst>
              <a:ext uri="{FF2B5EF4-FFF2-40B4-BE49-F238E27FC236}">
                <a16:creationId xmlns:a16="http://schemas.microsoft.com/office/drawing/2014/main" id="{B35296F1-3B76-4433-B7C8-DD75E6B9AD2E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52" name="btfpColumnGapBlocker672730">
              <a:extLst>
                <a:ext uri="{FF2B5EF4-FFF2-40B4-BE49-F238E27FC236}">
                  <a16:creationId xmlns:a16="http://schemas.microsoft.com/office/drawing/2014/main" id="{7C549907-C041-436D-9B7A-7308694CAD9D}"/>
                </a:ext>
              </a:extLst>
            </p:cNvPr>
            <p:cNvSpPr/>
            <p:nvPr/>
          </p:nvSpPr>
          <p:spPr bwMode="gray">
            <a:xfrm>
              <a:off x="11861801" y="6926580"/>
              <a:ext cx="330199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btfpColumnGapBlocker529722">
              <a:extLst>
                <a:ext uri="{FF2B5EF4-FFF2-40B4-BE49-F238E27FC236}">
                  <a16:creationId xmlns:a16="http://schemas.microsoft.com/office/drawing/2014/main" id="{56CE3F18-09ED-4BBC-A287-4FA81B5AE2FF}"/>
                </a:ext>
              </a:extLst>
            </p:cNvPr>
            <p:cNvSpPr/>
            <p:nvPr/>
          </p:nvSpPr>
          <p:spPr bwMode="gray">
            <a:xfrm>
              <a:off x="9849776" y="6926580"/>
              <a:ext cx="540545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48" name="btfpColumnIndicator462171">
              <a:extLst>
                <a:ext uri="{FF2B5EF4-FFF2-40B4-BE49-F238E27FC236}">
                  <a16:creationId xmlns:a16="http://schemas.microsoft.com/office/drawing/2014/main" id="{5D79EA6E-BEDF-45B5-89C6-6E1857B5C22D}"/>
                </a:ext>
              </a:extLst>
            </p:cNvPr>
            <p:cNvCxnSpPr/>
            <p:nvPr/>
          </p:nvCxnSpPr>
          <p:spPr bwMode="gray">
            <a:xfrm flipV="1">
              <a:off x="11861801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btfpColumnIndicator634117">
              <a:extLst>
                <a:ext uri="{FF2B5EF4-FFF2-40B4-BE49-F238E27FC236}">
                  <a16:creationId xmlns:a16="http://schemas.microsoft.com/office/drawing/2014/main" id="{36674682-FC84-4467-A694-8F5AD9BCDF64}"/>
                </a:ext>
              </a:extLst>
            </p:cNvPr>
            <p:cNvCxnSpPr/>
            <p:nvPr/>
          </p:nvCxnSpPr>
          <p:spPr bwMode="gray">
            <a:xfrm flipV="1">
              <a:off x="10390321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btfpColumnGapBlocker558505">
              <a:extLst>
                <a:ext uri="{FF2B5EF4-FFF2-40B4-BE49-F238E27FC236}">
                  <a16:creationId xmlns:a16="http://schemas.microsoft.com/office/drawing/2014/main" id="{89D3567F-AE0B-4432-A258-A882418D1C34}"/>
                </a:ext>
              </a:extLst>
            </p:cNvPr>
            <p:cNvSpPr/>
            <p:nvPr/>
          </p:nvSpPr>
          <p:spPr bwMode="gray">
            <a:xfrm>
              <a:off x="7837753" y="6926580"/>
              <a:ext cx="540543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41" name="btfpColumnIndicator701792">
              <a:extLst>
                <a:ext uri="{FF2B5EF4-FFF2-40B4-BE49-F238E27FC236}">
                  <a16:creationId xmlns:a16="http://schemas.microsoft.com/office/drawing/2014/main" id="{14D991E4-E377-498E-B28D-8479F6B9CD6B}"/>
                </a:ext>
              </a:extLst>
            </p:cNvPr>
            <p:cNvCxnSpPr/>
            <p:nvPr/>
          </p:nvCxnSpPr>
          <p:spPr bwMode="gray">
            <a:xfrm flipV="1">
              <a:off x="984977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btfpColumnIndicator449067">
              <a:extLst>
                <a:ext uri="{FF2B5EF4-FFF2-40B4-BE49-F238E27FC236}">
                  <a16:creationId xmlns:a16="http://schemas.microsoft.com/office/drawing/2014/main" id="{86D88C59-7691-4F69-936C-0C188D5CC05F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btfpColumnGapBlocker142225">
              <a:extLst>
                <a:ext uri="{FF2B5EF4-FFF2-40B4-BE49-F238E27FC236}">
                  <a16:creationId xmlns:a16="http://schemas.microsoft.com/office/drawing/2014/main" id="{09C78674-9855-4DA1-A523-B762BAA53DCE}"/>
                </a:ext>
              </a:extLst>
            </p:cNvPr>
            <p:cNvSpPr/>
            <p:nvPr/>
          </p:nvSpPr>
          <p:spPr bwMode="gray">
            <a:xfrm>
              <a:off x="5825729" y="6926580"/>
              <a:ext cx="540543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32" name="btfpColumnIndicator240966">
              <a:extLst>
                <a:ext uri="{FF2B5EF4-FFF2-40B4-BE49-F238E27FC236}">
                  <a16:creationId xmlns:a16="http://schemas.microsoft.com/office/drawing/2014/main" id="{6F89534F-8D05-468C-B0F2-571F463B30F0}"/>
                </a:ext>
              </a:extLst>
            </p:cNvPr>
            <p:cNvCxnSpPr/>
            <p:nvPr/>
          </p:nvCxnSpPr>
          <p:spPr bwMode="gray">
            <a:xfrm flipV="1">
              <a:off x="7837753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btfpColumnIndicator688639">
              <a:extLst>
                <a:ext uri="{FF2B5EF4-FFF2-40B4-BE49-F238E27FC236}">
                  <a16:creationId xmlns:a16="http://schemas.microsoft.com/office/drawing/2014/main" id="{B97482F8-5C38-4E58-A336-43C32919DDE6}"/>
                </a:ext>
              </a:extLst>
            </p:cNvPr>
            <p:cNvCxnSpPr/>
            <p:nvPr/>
          </p:nvCxnSpPr>
          <p:spPr bwMode="gray">
            <a:xfrm flipV="1">
              <a:off x="636627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btfpColumnGapBlocker337948">
              <a:extLst>
                <a:ext uri="{FF2B5EF4-FFF2-40B4-BE49-F238E27FC236}">
                  <a16:creationId xmlns:a16="http://schemas.microsoft.com/office/drawing/2014/main" id="{DC5C050A-7E56-460D-8052-5356D0F3A661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4" name="btfpColumnIndicator293318">
              <a:extLst>
                <a:ext uri="{FF2B5EF4-FFF2-40B4-BE49-F238E27FC236}">
                  <a16:creationId xmlns:a16="http://schemas.microsoft.com/office/drawing/2014/main" id="{BA580E30-1B85-47F2-8CC0-623ECF44F9D5}"/>
                </a:ext>
              </a:extLst>
            </p:cNvPr>
            <p:cNvCxnSpPr/>
            <p:nvPr/>
          </p:nvCxnSpPr>
          <p:spPr bwMode="gray">
            <a:xfrm flipV="1">
              <a:off x="5825729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btfpColumnIndicator943077">
              <a:extLst>
                <a:ext uri="{FF2B5EF4-FFF2-40B4-BE49-F238E27FC236}">
                  <a16:creationId xmlns:a16="http://schemas.microsoft.com/office/drawing/2014/main" id="{BC2438C2-C52F-401C-8FAF-0E79AF746B89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btfpColumnGapBlocker183556">
              <a:extLst>
                <a:ext uri="{FF2B5EF4-FFF2-40B4-BE49-F238E27FC236}">
                  <a16:creationId xmlns:a16="http://schemas.microsoft.com/office/drawing/2014/main" id="{539CA803-7773-4AEB-A5B2-0C067C2D18E6}"/>
                </a:ext>
              </a:extLst>
            </p:cNvPr>
            <p:cNvSpPr/>
            <p:nvPr/>
          </p:nvSpPr>
          <p:spPr bwMode="gray">
            <a:xfrm>
              <a:off x="1801680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8" name="btfpColumnIndicator974955">
              <a:extLst>
                <a:ext uri="{FF2B5EF4-FFF2-40B4-BE49-F238E27FC236}">
                  <a16:creationId xmlns:a16="http://schemas.microsoft.com/office/drawing/2014/main" id="{A0273D43-4ADD-4834-84FF-015F6709D377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btfpColumnIndicator495672">
              <a:extLst>
                <a:ext uri="{FF2B5EF4-FFF2-40B4-BE49-F238E27FC236}">
                  <a16:creationId xmlns:a16="http://schemas.microsoft.com/office/drawing/2014/main" id="{1563C623-4CDC-44AF-90EF-53D290C67300}"/>
                </a:ext>
              </a:extLst>
            </p:cNvPr>
            <p:cNvCxnSpPr/>
            <p:nvPr/>
          </p:nvCxnSpPr>
          <p:spPr bwMode="gray">
            <a:xfrm flipV="1">
              <a:off x="234222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btfpColumnGapBlocker152992">
              <a:extLst>
                <a:ext uri="{FF2B5EF4-FFF2-40B4-BE49-F238E27FC236}">
                  <a16:creationId xmlns:a16="http://schemas.microsoft.com/office/drawing/2014/main" id="{F758F69C-0136-484E-8EB1-04737306D1C3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1" name="btfpColumnIndicator583571">
              <a:extLst>
                <a:ext uri="{FF2B5EF4-FFF2-40B4-BE49-F238E27FC236}">
                  <a16:creationId xmlns:a16="http://schemas.microsoft.com/office/drawing/2014/main" id="{1615B6A2-762F-4FC5-97F3-B9C41C14C937}"/>
                </a:ext>
              </a:extLst>
            </p:cNvPr>
            <p:cNvCxnSpPr/>
            <p:nvPr/>
          </p:nvCxnSpPr>
          <p:spPr bwMode="gray">
            <a:xfrm flipV="1">
              <a:off x="180168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478297">
              <a:extLst>
                <a:ext uri="{FF2B5EF4-FFF2-40B4-BE49-F238E27FC236}">
                  <a16:creationId xmlns:a16="http://schemas.microsoft.com/office/drawing/2014/main" id="{B926EFED-9A4E-431B-B60B-8580688B0DEC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3" name="btfpColumnIndicatorGroup1">
            <a:extLst>
              <a:ext uri="{FF2B5EF4-FFF2-40B4-BE49-F238E27FC236}">
                <a16:creationId xmlns:a16="http://schemas.microsoft.com/office/drawing/2014/main" id="{A8978F06-5A44-451E-87E2-A24951279711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51" name="btfpColumnGapBlocker952034">
              <a:extLst>
                <a:ext uri="{FF2B5EF4-FFF2-40B4-BE49-F238E27FC236}">
                  <a16:creationId xmlns:a16="http://schemas.microsoft.com/office/drawing/2014/main" id="{390E6EA7-9F9B-47C9-A0E7-D92CA2274A82}"/>
                </a:ext>
              </a:extLst>
            </p:cNvPr>
            <p:cNvSpPr/>
            <p:nvPr/>
          </p:nvSpPr>
          <p:spPr bwMode="gray">
            <a:xfrm>
              <a:off x="11861801" y="-205740"/>
              <a:ext cx="330199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btfpColumnGapBlocker315088">
              <a:extLst>
                <a:ext uri="{FF2B5EF4-FFF2-40B4-BE49-F238E27FC236}">
                  <a16:creationId xmlns:a16="http://schemas.microsoft.com/office/drawing/2014/main" id="{A55E7C83-DFB8-4AE0-81A6-579037D08D22}"/>
                </a:ext>
              </a:extLst>
            </p:cNvPr>
            <p:cNvSpPr/>
            <p:nvPr/>
          </p:nvSpPr>
          <p:spPr bwMode="gray">
            <a:xfrm>
              <a:off x="9849776" y="-205740"/>
              <a:ext cx="540545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47" name="btfpColumnIndicator716087">
              <a:extLst>
                <a:ext uri="{FF2B5EF4-FFF2-40B4-BE49-F238E27FC236}">
                  <a16:creationId xmlns:a16="http://schemas.microsoft.com/office/drawing/2014/main" id="{BAA69C23-4366-4439-B2F6-8D841DE9C02B}"/>
                </a:ext>
              </a:extLst>
            </p:cNvPr>
            <p:cNvCxnSpPr/>
            <p:nvPr/>
          </p:nvCxnSpPr>
          <p:spPr bwMode="gray">
            <a:xfrm flipV="1">
              <a:off x="11861801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btfpColumnIndicator395724">
              <a:extLst>
                <a:ext uri="{FF2B5EF4-FFF2-40B4-BE49-F238E27FC236}">
                  <a16:creationId xmlns:a16="http://schemas.microsoft.com/office/drawing/2014/main" id="{83AFC969-406B-448C-902C-02283275637E}"/>
                </a:ext>
              </a:extLst>
            </p:cNvPr>
            <p:cNvCxnSpPr/>
            <p:nvPr/>
          </p:nvCxnSpPr>
          <p:spPr bwMode="gray">
            <a:xfrm flipV="1">
              <a:off x="10390321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btfpColumnGapBlocker712368">
              <a:extLst>
                <a:ext uri="{FF2B5EF4-FFF2-40B4-BE49-F238E27FC236}">
                  <a16:creationId xmlns:a16="http://schemas.microsoft.com/office/drawing/2014/main" id="{F4EB7144-7DC0-44A0-9095-5C302EA14C1E}"/>
                </a:ext>
              </a:extLst>
            </p:cNvPr>
            <p:cNvSpPr/>
            <p:nvPr/>
          </p:nvSpPr>
          <p:spPr bwMode="gray">
            <a:xfrm>
              <a:off x="7837753" y="-205740"/>
              <a:ext cx="540543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40" name="btfpColumnIndicator899206">
              <a:extLst>
                <a:ext uri="{FF2B5EF4-FFF2-40B4-BE49-F238E27FC236}">
                  <a16:creationId xmlns:a16="http://schemas.microsoft.com/office/drawing/2014/main" id="{B629628D-D502-4C26-B97B-15C4164B1A75}"/>
                </a:ext>
              </a:extLst>
            </p:cNvPr>
            <p:cNvCxnSpPr/>
            <p:nvPr/>
          </p:nvCxnSpPr>
          <p:spPr bwMode="gray">
            <a:xfrm flipV="1">
              <a:off x="984977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btfpColumnIndicator636652">
              <a:extLst>
                <a:ext uri="{FF2B5EF4-FFF2-40B4-BE49-F238E27FC236}">
                  <a16:creationId xmlns:a16="http://schemas.microsoft.com/office/drawing/2014/main" id="{DB2C7DEB-482E-44B0-9146-4E43DFE42A95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btfpColumnGapBlocker774087">
              <a:extLst>
                <a:ext uri="{FF2B5EF4-FFF2-40B4-BE49-F238E27FC236}">
                  <a16:creationId xmlns:a16="http://schemas.microsoft.com/office/drawing/2014/main" id="{58618B12-BA0E-4BE9-8D78-2283BE50275E}"/>
                </a:ext>
              </a:extLst>
            </p:cNvPr>
            <p:cNvSpPr/>
            <p:nvPr/>
          </p:nvSpPr>
          <p:spPr bwMode="gray">
            <a:xfrm>
              <a:off x="5825729" y="-205740"/>
              <a:ext cx="540543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31" name="btfpColumnIndicator411915">
              <a:extLst>
                <a:ext uri="{FF2B5EF4-FFF2-40B4-BE49-F238E27FC236}">
                  <a16:creationId xmlns:a16="http://schemas.microsoft.com/office/drawing/2014/main" id="{18484999-656B-48F9-B910-4318EAD6946E}"/>
                </a:ext>
              </a:extLst>
            </p:cNvPr>
            <p:cNvCxnSpPr/>
            <p:nvPr/>
          </p:nvCxnSpPr>
          <p:spPr bwMode="gray">
            <a:xfrm flipV="1">
              <a:off x="7837753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btfpColumnIndicator281532">
              <a:extLst>
                <a:ext uri="{FF2B5EF4-FFF2-40B4-BE49-F238E27FC236}">
                  <a16:creationId xmlns:a16="http://schemas.microsoft.com/office/drawing/2014/main" id="{AF240248-E9D6-4D53-B26D-43A20372926C}"/>
                </a:ext>
              </a:extLst>
            </p:cNvPr>
            <p:cNvCxnSpPr/>
            <p:nvPr/>
          </p:nvCxnSpPr>
          <p:spPr bwMode="gray">
            <a:xfrm flipV="1">
              <a:off x="636627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btfpColumnGapBlocker710993">
              <a:extLst>
                <a:ext uri="{FF2B5EF4-FFF2-40B4-BE49-F238E27FC236}">
                  <a16:creationId xmlns:a16="http://schemas.microsoft.com/office/drawing/2014/main" id="{F38A1ED4-F97E-4B41-B298-776229C9ED00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3" name="btfpColumnIndicator391645">
              <a:extLst>
                <a:ext uri="{FF2B5EF4-FFF2-40B4-BE49-F238E27FC236}">
                  <a16:creationId xmlns:a16="http://schemas.microsoft.com/office/drawing/2014/main" id="{B0EFE7E3-FBC5-4CA8-8579-51AB8600D328}"/>
                </a:ext>
              </a:extLst>
            </p:cNvPr>
            <p:cNvCxnSpPr/>
            <p:nvPr/>
          </p:nvCxnSpPr>
          <p:spPr bwMode="gray">
            <a:xfrm flipV="1">
              <a:off x="5825729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btfpColumnIndicator152865">
              <a:extLst>
                <a:ext uri="{FF2B5EF4-FFF2-40B4-BE49-F238E27FC236}">
                  <a16:creationId xmlns:a16="http://schemas.microsoft.com/office/drawing/2014/main" id="{9D4DB5D6-2766-4474-9E74-5448CA14675A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btfpColumnGapBlocker112997">
              <a:extLst>
                <a:ext uri="{FF2B5EF4-FFF2-40B4-BE49-F238E27FC236}">
                  <a16:creationId xmlns:a16="http://schemas.microsoft.com/office/drawing/2014/main" id="{F37D6D71-9F5E-428A-998A-2B7355639371}"/>
                </a:ext>
              </a:extLst>
            </p:cNvPr>
            <p:cNvSpPr/>
            <p:nvPr/>
          </p:nvSpPr>
          <p:spPr bwMode="gray">
            <a:xfrm>
              <a:off x="1801680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7" name="btfpColumnIndicator411610">
              <a:extLst>
                <a:ext uri="{FF2B5EF4-FFF2-40B4-BE49-F238E27FC236}">
                  <a16:creationId xmlns:a16="http://schemas.microsoft.com/office/drawing/2014/main" id="{D7110641-4DE7-4CCB-A3E7-02D6CB99ADBD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btfpColumnIndicator961587">
              <a:extLst>
                <a:ext uri="{FF2B5EF4-FFF2-40B4-BE49-F238E27FC236}">
                  <a16:creationId xmlns:a16="http://schemas.microsoft.com/office/drawing/2014/main" id="{969B5EA4-9F1D-46CE-B9E3-1B1A7F6F3DD6}"/>
                </a:ext>
              </a:extLst>
            </p:cNvPr>
            <p:cNvCxnSpPr/>
            <p:nvPr/>
          </p:nvCxnSpPr>
          <p:spPr bwMode="gray">
            <a:xfrm flipV="1">
              <a:off x="234222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btfpColumnGapBlocker260758">
              <a:extLst>
                <a:ext uri="{FF2B5EF4-FFF2-40B4-BE49-F238E27FC236}">
                  <a16:creationId xmlns:a16="http://schemas.microsoft.com/office/drawing/2014/main" id="{459A9FB1-636A-4206-8E81-5983A439C837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443545">
              <a:extLst>
                <a:ext uri="{FF2B5EF4-FFF2-40B4-BE49-F238E27FC236}">
                  <a16:creationId xmlns:a16="http://schemas.microsoft.com/office/drawing/2014/main" id="{39BF61FD-2C16-4CA0-B904-AA3EB0654FD6}"/>
                </a:ext>
              </a:extLst>
            </p:cNvPr>
            <p:cNvCxnSpPr/>
            <p:nvPr/>
          </p:nvCxnSpPr>
          <p:spPr bwMode="gray">
            <a:xfrm flipV="1">
              <a:off x="180168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btfpColumnIndicator111496">
              <a:extLst>
                <a:ext uri="{FF2B5EF4-FFF2-40B4-BE49-F238E27FC236}">
                  <a16:creationId xmlns:a16="http://schemas.microsoft.com/office/drawing/2014/main" id="{861A7791-1D1B-4FBD-B2A3-75846E4ED267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0200" y="8273"/>
            <a:ext cx="11705307" cy="876687"/>
          </a:xfrm>
          <a:noFill/>
        </p:spPr>
        <p:txBody>
          <a:bodyPr vert="horz"/>
          <a:lstStyle/>
          <a:p>
            <a:r>
              <a:rPr lang="en-US" dirty="0"/>
              <a:t>Peer 4 is the leading brand of Peer 1 but facing tough competition from Peer 9; opportunity in improving search marketing for all Peer 1 brands</a:t>
            </a:r>
            <a:endParaRPr lang="en-GB" dirty="0"/>
          </a:p>
        </p:txBody>
      </p: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1775092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verall_0_132131540530909922 columns_6_131701904647936146 4_0_131701983719174659 33_0_132140505170850236 29_0_132140505171029766 36_0_132140505170889747 39_0_132140505170930023 42_0_132140505170959938 45_0_132140505170989858 9_1_132168595448952853 10_1_132228687318498854 </a:t>
            </a:r>
          </a:p>
        </p:txBody>
      </p:sp>
      <p:sp>
        <p:nvSpPr>
          <p:cNvPr id="5" name="BainBulletsConfiguration" hidden="1"/>
          <p:cNvSpPr txBox="1"/>
          <p:nvPr/>
        </p:nvSpPr>
        <p:spPr bwMode="gray">
          <a:xfrm>
            <a:off x="12700" y="12700"/>
            <a:ext cx="72768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199F07E6-477D-4D9A-AE14-F65CC024392E}"/>
              </a:ext>
            </a:extLst>
          </p:cNvPr>
          <p:cNvGrpSpPr/>
          <p:nvPr/>
        </p:nvGrpSpPr>
        <p:grpSpPr>
          <a:xfrm>
            <a:off x="9359767" y="6215601"/>
            <a:ext cx="2675743" cy="276949"/>
            <a:chOff x="7472083" y="6375980"/>
            <a:chExt cx="4566919" cy="343098"/>
          </a:xfrm>
        </p:grpSpPr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E156B2A7-7FA2-4941-820D-73E3F4A2A75B}"/>
                </a:ext>
              </a:extLst>
            </p:cNvPr>
            <p:cNvSpPr txBox="1"/>
            <p:nvPr/>
          </p:nvSpPr>
          <p:spPr bwMode="gray">
            <a:xfrm>
              <a:off x="7472083" y="6375980"/>
              <a:ext cx="1018147" cy="3430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1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agging</a:t>
              </a:r>
            </a:p>
          </p:txBody>
        </p:sp>
        <p:sp>
          <p:nvSpPr>
            <p:cNvPr id="109" name="Up-Down Arrow 66">
              <a:extLst>
                <a:ext uri="{FF2B5EF4-FFF2-40B4-BE49-F238E27FC236}">
                  <a16:creationId xmlns:a16="http://schemas.microsoft.com/office/drawing/2014/main" id="{B93AEEF1-3022-427C-869E-555AF51F8EC1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 bwMode="gray">
            <a:xfrm rot="16200000">
              <a:off x="9534794" y="5119473"/>
              <a:ext cx="176291" cy="2762922"/>
            </a:xfrm>
            <a:prstGeom prst="upDownArrow">
              <a:avLst/>
            </a:prstGeom>
            <a:gradFill>
              <a:gsLst>
                <a:gs pos="0">
                  <a:srgbClr val="FF8585"/>
                </a:gs>
                <a:gs pos="0">
                  <a:srgbClr val="CC6666"/>
                </a:gs>
                <a:gs pos="50000">
                  <a:srgbClr val="F3EED8"/>
                </a:gs>
                <a:gs pos="100000">
                  <a:srgbClr val="95BAAB"/>
                </a:gs>
              </a:gsLst>
              <a:lin ang="5400000" scaled="1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4C71D759-C01C-4689-BCFC-5D360B34B4CA}"/>
                </a:ext>
              </a:extLst>
            </p:cNvPr>
            <p:cNvSpPr txBox="1"/>
            <p:nvPr/>
          </p:nvSpPr>
          <p:spPr bwMode="gray">
            <a:xfrm>
              <a:off x="11020855" y="6375980"/>
              <a:ext cx="1018147" cy="343098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1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ading</a:t>
              </a:r>
            </a:p>
          </p:txBody>
        </p:sp>
      </p:grpSp>
      <p:grpSp>
        <p:nvGrpSpPr>
          <p:cNvPr id="9" name="btfpStatusSticker616595">
            <a:extLst>
              <a:ext uri="{FF2B5EF4-FFF2-40B4-BE49-F238E27FC236}">
                <a16:creationId xmlns:a16="http://schemas.microsoft.com/office/drawing/2014/main" id="{9CA9C072-E2F6-4FB1-8149-21820051BCE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102664" y="893700"/>
            <a:ext cx="1759136" cy="235611"/>
            <a:chOff x="-2269853" y="876300"/>
            <a:chExt cx="1759136" cy="235611"/>
          </a:xfrm>
        </p:grpSpPr>
        <p:sp>
          <p:nvSpPr>
            <p:cNvPr id="4" name="btfpStatusStickerText616595">
              <a:extLst>
                <a:ext uri="{FF2B5EF4-FFF2-40B4-BE49-F238E27FC236}">
                  <a16:creationId xmlns:a16="http://schemas.microsoft.com/office/drawing/2014/main" id="{76786A55-32C4-44AE-93E7-275AD31F49FC}"/>
                </a:ext>
              </a:extLst>
            </p:cNvPr>
            <p:cNvSpPr txBox="1"/>
            <p:nvPr/>
          </p:nvSpPr>
          <p:spPr bwMode="gray">
            <a:xfrm>
              <a:off x="-2269853" y="876300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irectional</a:t>
              </a:r>
            </a:p>
          </p:txBody>
        </p:sp>
        <p:cxnSp>
          <p:nvCxnSpPr>
            <p:cNvPr id="6" name="btfpStatusStickerLine616595">
              <a:extLst>
                <a:ext uri="{FF2B5EF4-FFF2-40B4-BE49-F238E27FC236}">
                  <a16:creationId xmlns:a16="http://schemas.microsoft.com/office/drawing/2014/main" id="{C117BDC9-4ED8-4692-A108-4BD70AAD73FF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69853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87" name="Table 86">
            <a:extLst>
              <a:ext uri="{FF2B5EF4-FFF2-40B4-BE49-F238E27FC236}">
                <a16:creationId xmlns:a16="http://schemas.microsoft.com/office/drawing/2014/main" id="{0725009E-CA9C-8056-D0F9-05854E5564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8725962"/>
              </p:ext>
            </p:extLst>
          </p:nvPr>
        </p:nvGraphicFramePr>
        <p:xfrm>
          <a:off x="333333" y="1440588"/>
          <a:ext cx="11518935" cy="4741280"/>
        </p:xfrm>
        <a:graphic>
          <a:graphicData uri="http://schemas.openxmlformats.org/drawingml/2006/table">
            <a:tbl>
              <a:tblPr/>
              <a:tblGrid>
                <a:gridCol w="889363">
                  <a:extLst>
                    <a:ext uri="{9D8B030D-6E8A-4147-A177-3AD203B41FA5}">
                      <a16:colId xmlns:a16="http://schemas.microsoft.com/office/drawing/2014/main" val="1035403810"/>
                    </a:ext>
                  </a:extLst>
                </a:gridCol>
                <a:gridCol w="2937044">
                  <a:extLst>
                    <a:ext uri="{9D8B030D-6E8A-4147-A177-3AD203B41FA5}">
                      <a16:colId xmlns:a16="http://schemas.microsoft.com/office/drawing/2014/main" val="3836586223"/>
                    </a:ext>
                  </a:extLst>
                </a:gridCol>
                <a:gridCol w="641044">
                  <a:extLst>
                    <a:ext uri="{9D8B030D-6E8A-4147-A177-3AD203B41FA5}">
                      <a16:colId xmlns:a16="http://schemas.microsoft.com/office/drawing/2014/main" val="2103097211"/>
                    </a:ext>
                  </a:extLst>
                </a:gridCol>
                <a:gridCol w="641044">
                  <a:extLst>
                    <a:ext uri="{9D8B030D-6E8A-4147-A177-3AD203B41FA5}">
                      <a16:colId xmlns:a16="http://schemas.microsoft.com/office/drawing/2014/main" val="314873848"/>
                    </a:ext>
                  </a:extLst>
                </a:gridCol>
                <a:gridCol w="641044">
                  <a:extLst>
                    <a:ext uri="{9D8B030D-6E8A-4147-A177-3AD203B41FA5}">
                      <a16:colId xmlns:a16="http://schemas.microsoft.com/office/drawing/2014/main" val="727808797"/>
                    </a:ext>
                  </a:extLst>
                </a:gridCol>
                <a:gridCol w="641044">
                  <a:extLst>
                    <a:ext uri="{9D8B030D-6E8A-4147-A177-3AD203B41FA5}">
                      <a16:colId xmlns:a16="http://schemas.microsoft.com/office/drawing/2014/main" val="1338528555"/>
                    </a:ext>
                  </a:extLst>
                </a:gridCol>
                <a:gridCol w="641044">
                  <a:extLst>
                    <a:ext uri="{9D8B030D-6E8A-4147-A177-3AD203B41FA5}">
                      <a16:colId xmlns:a16="http://schemas.microsoft.com/office/drawing/2014/main" val="4205024982"/>
                    </a:ext>
                  </a:extLst>
                </a:gridCol>
                <a:gridCol w="641044">
                  <a:extLst>
                    <a:ext uri="{9D8B030D-6E8A-4147-A177-3AD203B41FA5}">
                      <a16:colId xmlns:a16="http://schemas.microsoft.com/office/drawing/2014/main" val="50718993"/>
                    </a:ext>
                  </a:extLst>
                </a:gridCol>
                <a:gridCol w="641044">
                  <a:extLst>
                    <a:ext uri="{9D8B030D-6E8A-4147-A177-3AD203B41FA5}">
                      <a16:colId xmlns:a16="http://schemas.microsoft.com/office/drawing/2014/main" val="55496237"/>
                    </a:ext>
                  </a:extLst>
                </a:gridCol>
                <a:gridCol w="641044">
                  <a:extLst>
                    <a:ext uri="{9D8B030D-6E8A-4147-A177-3AD203B41FA5}">
                      <a16:colId xmlns:a16="http://schemas.microsoft.com/office/drawing/2014/main" val="2105170373"/>
                    </a:ext>
                  </a:extLst>
                </a:gridCol>
                <a:gridCol w="641044">
                  <a:extLst>
                    <a:ext uri="{9D8B030D-6E8A-4147-A177-3AD203B41FA5}">
                      <a16:colId xmlns:a16="http://schemas.microsoft.com/office/drawing/2014/main" val="949451113"/>
                    </a:ext>
                  </a:extLst>
                </a:gridCol>
                <a:gridCol w="641044">
                  <a:extLst>
                    <a:ext uri="{9D8B030D-6E8A-4147-A177-3AD203B41FA5}">
                      <a16:colId xmlns:a16="http://schemas.microsoft.com/office/drawing/2014/main" val="339506180"/>
                    </a:ext>
                  </a:extLst>
                </a:gridCol>
                <a:gridCol w="641044">
                  <a:extLst>
                    <a:ext uri="{9D8B030D-6E8A-4147-A177-3AD203B41FA5}">
                      <a16:colId xmlns:a16="http://schemas.microsoft.com/office/drawing/2014/main" val="3513081262"/>
                    </a:ext>
                  </a:extLst>
                </a:gridCol>
                <a:gridCol w="641044">
                  <a:extLst>
                    <a:ext uri="{9D8B030D-6E8A-4147-A177-3AD203B41FA5}">
                      <a16:colId xmlns:a16="http://schemas.microsoft.com/office/drawing/2014/main" val="3428206926"/>
                    </a:ext>
                  </a:extLst>
                </a:gridCol>
              </a:tblGrid>
              <a:tr h="23706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otal visits - monthly average – </a:t>
                      </a:r>
                      <a:r>
                        <a:rPr lang="en-US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pr’24 to Mar’25 (K)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.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.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2C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.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D5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D8C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B4A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938C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6969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.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BCAD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C0B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ECD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5E5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C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5744945"/>
                  </a:ext>
                </a:extLst>
              </a:tr>
              <a:tr h="23706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otal visits - annual average – </a:t>
                      </a:r>
                      <a:r>
                        <a:rPr lang="en-US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pr’22 to Mar’25 (K)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2.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EBD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.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1CD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2.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EBC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.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EAD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.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847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.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ACA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.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CCB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4.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6.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.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BD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.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2.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9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9918170"/>
                  </a:ext>
                </a:extLst>
              </a:tr>
              <a:tr h="23706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YoY change in total visit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ECD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8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7C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B0A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E3C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5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1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9D9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E6F6D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8D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B1A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EDD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EE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9652442"/>
                  </a:ext>
                </a:extLst>
              </a:tr>
              <a:tr h="23706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nique visitors - monthly average – </a:t>
                      </a:r>
                      <a:r>
                        <a:rPr lang="en-US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pr’24 to Mar’25 (K)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DEC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CD0B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D9C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B7A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888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EBFB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D3C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C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737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2954235"/>
                  </a:ext>
                </a:extLst>
              </a:tr>
              <a:tr h="23706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nique visitors - annual average – </a:t>
                      </a:r>
                      <a:r>
                        <a:rPr lang="en-US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pr’22 to Mar’25 (K)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3.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4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.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DFCC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7.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CB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.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E7D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.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878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.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A69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.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C4B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7.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.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.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AD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.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9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67516"/>
                  </a:ext>
                </a:extLst>
              </a:tr>
              <a:tr h="23706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YoY change in unique visitor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5D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7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C7B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CEBD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DFCC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51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3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8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958D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2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757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6D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BFB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D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ED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8076298"/>
                  </a:ext>
                </a:extLst>
              </a:tr>
              <a:tr h="23706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   Direct visit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1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9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8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1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2435151"/>
                  </a:ext>
                </a:extLst>
              </a:tr>
              <a:tr h="23706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   Search (organic + paid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3366637"/>
                  </a:ext>
                </a:extLst>
              </a:tr>
              <a:tr h="23706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   Social media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233864"/>
                  </a:ext>
                </a:extLst>
              </a:tr>
              <a:tr h="23706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   Display ad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83223147"/>
                  </a:ext>
                </a:extLst>
              </a:tr>
              <a:tr h="23706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   Referral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7423518"/>
                  </a:ext>
                </a:extLst>
              </a:tr>
              <a:tr h="23706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   Others, such as emai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1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1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0943691"/>
                  </a:ext>
                </a:extLst>
              </a:tr>
              <a:tr h="23706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ges per visit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B2A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A79C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D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.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C9B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.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8C8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B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E8D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.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AD7C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DD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4327783"/>
                  </a:ext>
                </a:extLst>
              </a:tr>
              <a:tr h="23706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vg. visit duration </a:t>
                      </a:r>
                      <a:r>
                        <a:rPr lang="en-US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minutes)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787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7B7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8B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2C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.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C7B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.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4D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DCC9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D3C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0CC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EE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3885127"/>
                  </a:ext>
                </a:extLst>
              </a:tr>
              <a:tr h="23706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ounce rate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E2C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ADA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1C9B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1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C3B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9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AEA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D2B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1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BAAC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DFC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8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2C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D3C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5499684"/>
                  </a:ext>
                </a:extLst>
              </a:tr>
              <a:tr h="23706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   # keywords website ranks in top 100 results for </a:t>
                      </a:r>
                      <a:r>
                        <a:rPr lang="en-US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K)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DFC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EDD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EDD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B2A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827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.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DBC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ECD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A399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EE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7730159"/>
                  </a:ext>
                </a:extLst>
              </a:tr>
              <a:tr h="23706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   Organic traffic (indexed with 100=max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EC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AD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B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EDD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EAD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D3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BD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DCC9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ED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090542"/>
                  </a:ext>
                </a:extLst>
              </a:tr>
              <a:tr h="23706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   Cost per Click ($) </a:t>
                      </a:r>
                      <a:r>
                        <a:rPr lang="en-US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last 30 days)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.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.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8446064"/>
                  </a:ext>
                </a:extLst>
              </a:tr>
              <a:tr h="23706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   Paid search traffic (indexed) </a:t>
                      </a:r>
                      <a:r>
                        <a:rPr lang="en-US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last 30 days)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DD9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0778538"/>
                  </a:ext>
                </a:extLst>
              </a:tr>
              <a:tr h="23706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   Paid search spend (indexed) </a:t>
                      </a:r>
                      <a:r>
                        <a:rPr lang="en-US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last 30 days)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8362024"/>
                  </a:ext>
                </a:extLst>
              </a:tr>
            </a:tbl>
          </a:graphicData>
        </a:graphic>
      </p:graphicFrame>
      <p:sp>
        <p:nvSpPr>
          <p:cNvPr id="88" name="Rectangle 87">
            <a:extLst>
              <a:ext uri="{FF2B5EF4-FFF2-40B4-BE49-F238E27FC236}">
                <a16:creationId xmlns:a16="http://schemas.microsoft.com/office/drawing/2014/main" id="{9256E6A5-4036-40DB-9778-6CE92C79EA09}"/>
              </a:ext>
            </a:extLst>
          </p:cNvPr>
          <p:cNvSpPr/>
          <p:nvPr/>
        </p:nvSpPr>
        <p:spPr bwMode="gray">
          <a:xfrm>
            <a:off x="330200" y="1480815"/>
            <a:ext cx="862874" cy="3472106"/>
          </a:xfrm>
          <a:prstGeom prst="rect">
            <a:avLst/>
          </a:prstGeom>
          <a:gradFill flip="none" rotWithShape="1">
            <a:gsLst>
              <a:gs pos="0">
                <a:schemeClr val="accent3">
                  <a:alpha val="75000"/>
                </a:schemeClr>
              </a:gs>
              <a:gs pos="100000">
                <a:schemeClr val="accent6">
                  <a:alpha val="75000"/>
                  <a:lumMod val="100000"/>
                </a:schemeClr>
              </a:gs>
            </a:gsLst>
            <a:lin ang="0" scaled="1"/>
            <a:tileRect/>
          </a:gradFill>
          <a:ln w="9525"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bsite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E276F7C9-77C2-416A-BAA5-8B8B2A2E25D7}"/>
              </a:ext>
            </a:extLst>
          </p:cNvPr>
          <p:cNvSpPr/>
          <p:nvPr/>
        </p:nvSpPr>
        <p:spPr bwMode="gray">
          <a:xfrm>
            <a:off x="334963" y="5035198"/>
            <a:ext cx="854338" cy="1113614"/>
          </a:xfrm>
          <a:prstGeom prst="rect">
            <a:avLst/>
          </a:prstGeom>
          <a:gradFill flip="none" rotWithShape="1">
            <a:gsLst>
              <a:gs pos="0">
                <a:schemeClr val="accent3">
                  <a:alpha val="75000"/>
                </a:schemeClr>
              </a:gs>
              <a:gs pos="100000">
                <a:schemeClr val="accent6">
                  <a:alpha val="75000"/>
                  <a:lumMod val="100000"/>
                </a:schemeClr>
              </a:gs>
            </a:gsLst>
            <a:lin ang="0" scaled="1"/>
            <a:tileRect/>
          </a:gradFill>
          <a:ln w="9525"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O/ SEM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CAB62979-05DA-46E5-B0F7-9F894CCAFBB5}"/>
              </a:ext>
            </a:extLst>
          </p:cNvPr>
          <p:cNvSpPr/>
          <p:nvPr/>
        </p:nvSpPr>
        <p:spPr bwMode="gray">
          <a:xfrm rot="16200000">
            <a:off x="604853" y="3488589"/>
            <a:ext cx="1389429" cy="176927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ffic Sources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A4C3311F-8780-43FF-B96F-E929222F036A}"/>
              </a:ext>
            </a:extLst>
          </p:cNvPr>
          <p:cNvSpPr/>
          <p:nvPr/>
        </p:nvSpPr>
        <p:spPr bwMode="gray">
          <a:xfrm rot="16200000">
            <a:off x="1087426" y="5159598"/>
            <a:ext cx="424283" cy="176927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O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846A2A35-DAA4-4AE3-A688-F39111DCC5B9}"/>
              </a:ext>
            </a:extLst>
          </p:cNvPr>
          <p:cNvSpPr/>
          <p:nvPr/>
        </p:nvSpPr>
        <p:spPr bwMode="gray">
          <a:xfrm rot="16200000">
            <a:off x="968410" y="5726462"/>
            <a:ext cx="662313" cy="176927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M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AA28B6C5-751C-45C5-8D39-136D846AADAF}"/>
              </a:ext>
            </a:extLst>
          </p:cNvPr>
          <p:cNvSpPr/>
          <p:nvPr/>
        </p:nvSpPr>
        <p:spPr bwMode="gray">
          <a:xfrm>
            <a:off x="4158415" y="1440588"/>
            <a:ext cx="4481691" cy="4741279"/>
          </a:xfrm>
          <a:prstGeom prst="rect">
            <a:avLst/>
          </a:pr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8" name="btfpNotesBox703484">
            <a:extLst>
              <a:ext uri="{FF2B5EF4-FFF2-40B4-BE49-F238E27FC236}">
                <a16:creationId xmlns:a16="http://schemas.microsoft.com/office/drawing/2014/main" id="{FE4C3026-8B25-CB3E-FC18-76F96A86864B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329390" y="6462392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sz="800"/>
              <a:t>Source: </a:t>
            </a:r>
            <a:r>
              <a:rPr lang="en-GB" sz="800" err="1"/>
              <a:t>SimilarWeb</a:t>
            </a:r>
            <a:r>
              <a:rPr lang="en-GB" sz="800"/>
              <a:t>, </a:t>
            </a:r>
            <a:r>
              <a:rPr lang="en-GB" sz="800" err="1"/>
              <a:t>SEMRush</a:t>
            </a:r>
            <a:endParaRPr lang="en-GB" sz="800"/>
          </a:p>
        </p:txBody>
      </p:sp>
      <p:pic>
        <p:nvPicPr>
          <p:cNvPr id="76" name="Picture 75">
            <a:extLst>
              <a:ext uri="{FF2B5EF4-FFF2-40B4-BE49-F238E27FC236}">
                <a16:creationId xmlns:a16="http://schemas.microsoft.com/office/drawing/2014/main" id="{D6B70300-14C2-952D-F151-E740AEFDFB30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38" y="946635"/>
            <a:ext cx="252287" cy="251574"/>
          </a:xfrm>
          <a:prstGeom prst="rect">
            <a:avLst/>
          </a:prstGeom>
        </p:spPr>
      </p:pic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899E1009-D3C0-47A8-9A36-EB4322C80A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3746152"/>
              </p:ext>
            </p:extLst>
          </p:nvPr>
        </p:nvGraphicFramePr>
        <p:xfrm>
          <a:off x="4158415" y="1205213"/>
          <a:ext cx="7693854" cy="228600"/>
        </p:xfrm>
        <a:graphic>
          <a:graphicData uri="http://schemas.openxmlformats.org/drawingml/2006/table">
            <a:tbl>
              <a:tblPr/>
              <a:tblGrid>
                <a:gridCol w="641154">
                  <a:extLst>
                    <a:ext uri="{9D8B030D-6E8A-4147-A177-3AD203B41FA5}">
                      <a16:colId xmlns:a16="http://schemas.microsoft.com/office/drawing/2014/main" val="99631817"/>
                    </a:ext>
                  </a:extLst>
                </a:gridCol>
                <a:gridCol w="641155">
                  <a:extLst>
                    <a:ext uri="{9D8B030D-6E8A-4147-A177-3AD203B41FA5}">
                      <a16:colId xmlns:a16="http://schemas.microsoft.com/office/drawing/2014/main" val="161954745"/>
                    </a:ext>
                  </a:extLst>
                </a:gridCol>
                <a:gridCol w="641154">
                  <a:extLst>
                    <a:ext uri="{9D8B030D-6E8A-4147-A177-3AD203B41FA5}">
                      <a16:colId xmlns:a16="http://schemas.microsoft.com/office/drawing/2014/main" val="922728448"/>
                    </a:ext>
                  </a:extLst>
                </a:gridCol>
                <a:gridCol w="641155">
                  <a:extLst>
                    <a:ext uri="{9D8B030D-6E8A-4147-A177-3AD203B41FA5}">
                      <a16:colId xmlns:a16="http://schemas.microsoft.com/office/drawing/2014/main" val="35396638"/>
                    </a:ext>
                  </a:extLst>
                </a:gridCol>
                <a:gridCol w="641154">
                  <a:extLst>
                    <a:ext uri="{9D8B030D-6E8A-4147-A177-3AD203B41FA5}">
                      <a16:colId xmlns:a16="http://schemas.microsoft.com/office/drawing/2014/main" val="1966293867"/>
                    </a:ext>
                  </a:extLst>
                </a:gridCol>
                <a:gridCol w="641155">
                  <a:extLst>
                    <a:ext uri="{9D8B030D-6E8A-4147-A177-3AD203B41FA5}">
                      <a16:colId xmlns:a16="http://schemas.microsoft.com/office/drawing/2014/main" val="869471868"/>
                    </a:ext>
                  </a:extLst>
                </a:gridCol>
                <a:gridCol w="641155">
                  <a:extLst>
                    <a:ext uri="{9D8B030D-6E8A-4147-A177-3AD203B41FA5}">
                      <a16:colId xmlns:a16="http://schemas.microsoft.com/office/drawing/2014/main" val="1257803649"/>
                    </a:ext>
                  </a:extLst>
                </a:gridCol>
                <a:gridCol w="641154">
                  <a:extLst>
                    <a:ext uri="{9D8B030D-6E8A-4147-A177-3AD203B41FA5}">
                      <a16:colId xmlns:a16="http://schemas.microsoft.com/office/drawing/2014/main" val="2688590524"/>
                    </a:ext>
                  </a:extLst>
                </a:gridCol>
                <a:gridCol w="641155">
                  <a:extLst>
                    <a:ext uri="{9D8B030D-6E8A-4147-A177-3AD203B41FA5}">
                      <a16:colId xmlns:a16="http://schemas.microsoft.com/office/drawing/2014/main" val="146733693"/>
                    </a:ext>
                  </a:extLst>
                </a:gridCol>
                <a:gridCol w="641154">
                  <a:extLst>
                    <a:ext uri="{9D8B030D-6E8A-4147-A177-3AD203B41FA5}">
                      <a16:colId xmlns:a16="http://schemas.microsoft.com/office/drawing/2014/main" val="640904270"/>
                    </a:ext>
                  </a:extLst>
                </a:gridCol>
                <a:gridCol w="641155">
                  <a:extLst>
                    <a:ext uri="{9D8B030D-6E8A-4147-A177-3AD203B41FA5}">
                      <a16:colId xmlns:a16="http://schemas.microsoft.com/office/drawing/2014/main" val="4037872660"/>
                    </a:ext>
                  </a:extLst>
                </a:gridCol>
                <a:gridCol w="641154">
                  <a:extLst>
                    <a:ext uri="{9D8B030D-6E8A-4147-A177-3AD203B41FA5}">
                      <a16:colId xmlns:a16="http://schemas.microsoft.com/office/drawing/2014/main" val="2146903175"/>
                    </a:ext>
                  </a:extLst>
                </a:gridCol>
              </a:tblGrid>
              <a:tr h="21709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CA" sz="900" b="1" dirty="0">
                          <a:solidFill>
                            <a:srgbClr val="C00000"/>
                          </a:solidFill>
                        </a:rPr>
                        <a:t>Peer 4</a:t>
                      </a:r>
                    </a:p>
                  </a:txBody>
                  <a:tcPr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mpd="sng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CA" sz="900" b="1" dirty="0">
                          <a:solidFill>
                            <a:srgbClr val="C00000"/>
                          </a:solidFill>
                        </a:rPr>
                        <a:t>Peer 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CA" sz="900" b="1" dirty="0">
                          <a:solidFill>
                            <a:srgbClr val="C00000"/>
                          </a:solidFill>
                        </a:rPr>
                        <a:t>Peer 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CA" sz="900" b="1" dirty="0">
                          <a:solidFill>
                            <a:srgbClr val="C00000"/>
                          </a:solidFill>
                        </a:rPr>
                        <a:t>Peer 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CA" sz="900" b="1" dirty="0">
                          <a:solidFill>
                            <a:srgbClr val="C00000"/>
                          </a:solidFill>
                        </a:rPr>
                        <a:t>Peer 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CA" sz="900" b="1" dirty="0">
                          <a:solidFill>
                            <a:srgbClr val="C00000"/>
                          </a:solidFill>
                        </a:rPr>
                        <a:t>Peer 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CA" sz="900" b="1" dirty="0">
                          <a:solidFill>
                            <a:srgbClr val="C00000"/>
                          </a:solidFill>
                        </a:rPr>
                        <a:t>Peer 6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CA" sz="900" b="1" dirty="0"/>
                        <a:t>Peer 9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CA" sz="900" b="1" dirty="0"/>
                        <a:t>Peer 8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CA" sz="900" b="1" dirty="0"/>
                        <a:t>Peer 1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CA" sz="900" b="1" dirty="0"/>
                        <a:t>Peer 1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CA" sz="900" b="1" dirty="0"/>
                        <a:t>Peer 1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6349751"/>
                  </a:ext>
                </a:extLst>
              </a:tr>
            </a:tbl>
          </a:graphicData>
        </a:graphic>
      </p:graphicFrame>
      <p:sp>
        <p:nvSpPr>
          <p:cNvPr id="36" name="Rectangle 35">
            <a:extLst>
              <a:ext uri="{FF2B5EF4-FFF2-40B4-BE49-F238E27FC236}">
                <a16:creationId xmlns:a16="http://schemas.microsoft.com/office/drawing/2014/main" id="{78A4E24E-DAA9-909D-2611-7F2EC5A96876}"/>
              </a:ext>
            </a:extLst>
          </p:cNvPr>
          <p:cNvSpPr/>
          <p:nvPr/>
        </p:nvSpPr>
        <p:spPr bwMode="gray">
          <a:xfrm rot="5400000">
            <a:off x="6304849" y="-1143083"/>
            <a:ext cx="159531" cy="4510979"/>
          </a:xfrm>
          <a:prstGeom prst="rect">
            <a:avLst/>
          </a:prstGeom>
          <a:solidFill>
            <a:srgbClr val="C00000"/>
          </a:solidFill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CA" sz="800" b="1" i="1" dirty="0">
                <a:solidFill>
                  <a:schemeClr val="bg1"/>
                </a:solidFill>
              </a:rPr>
              <a:t>Targe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766459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9" name="think-cell data - do not delete" hidden="1">
            <a:extLst>
              <a:ext uri="{FF2B5EF4-FFF2-40B4-BE49-F238E27FC236}">
                <a16:creationId xmlns:a16="http://schemas.microsoft.com/office/drawing/2014/main" id="{FD846FD7-2549-1B41-006B-3766DC828BF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3593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84" imgH="486" progId="TCLayout.ActiveDocument.1">
                  <p:embed/>
                </p:oleObj>
              </mc:Choice>
              <mc:Fallback>
                <p:oleObj name="think-cell Slide" r:id="rId11" imgW="484" imgH="486" progId="TCLayout.ActiveDocument.1">
                  <p:embed/>
                  <p:pic>
                    <p:nvPicPr>
                      <p:cNvPr id="8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846FD7-2549-1B41-006B-3766DC828B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tfpBulletedList690727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dJY2OMwf8mgoXWrd8S3Dpr8K8e5QDX9l/GOurOelpINCJLA3EC4Lci7vMC6fiShJ1UHdlzzodfzXVhfa9I7ytsrjD+/2btqII2dIPK169d0wBauGKuuo1FwH74ousM1/+mSexsoEEwB8qOkY1QOkYEldBoxJnoj4rOu7Of6bunPCyOzWHy6CzOlPKHzRMVJYAvmcLkUUUTX7n8j5wKbFI+N95sMXpEcgJcax4gq0cf5ERwycnqbvJdVH+6MPqUmAD64mLs9/gXl6bdSy+7E+WlgRfjIZLOKEudtTcBvbk5AQir878ZGFtUv4pf4y5fJVvF6uA9dTqdeRlPJ/R4228s1cQPwIPDPD82BgdF2ePcLhRpJH3chxdykS61YV7/AH73lPgIT0joBiD1RUEj15lU68fLHd5F8yy0woJgbk1pavNu/IHrhsYBn8HmlrObzuz9zfrMZDjKw7bYc4zQxJFAMgxnreJtPb2OFcgMUNeoFlBpTNbKUIT69I+hLQck0jR5YIXieTlk0vRVdnNST3ZVM9cXyj4nT+ksTpfpRRWv/rVyZVUv3zv4X8ZTJPvNkMxcEhhqZ3onoaLA9gsL5Is261fiG1wxZbw37X/4QMf4838xscm3Gl/NTPRwJFLNsQPSIpZKSKpZbZGO03dZqhp82II3CNpfCXKxBHnljTbjfjQujalIhXr6xIJkeitNtzS6owiGFXRRx0DW+9cW3ykA3phrdJ92Z+xjAm3ykrnDw+dKgrwnOd3gOFx2DmgNGqDEelzIqdYQTczvUOKAsQOTwx1a51ByWfO8yfV+blda/naPYdsjfs4sFrJ0Bq0F6VZmc14aZnfgXKx4Rr4zZ90+Dcuaqjv72S5KAUdfMlc/v97majaXCOa1IAZ1M9BdXnlgJWPbdVEVu1W8yA1IbqoEKksQRXrZwEpaHacJzyjgPs4OTYR7efZL4zwb/xeydUWQfardd1++ePIaoLncsJCLLCgpHo0nrvnOzr7ynsG94Qc/DOH3Y7vRr9l0cXfXCx2nzVWs45qeSQeCnqbr4xiAQijXLz5AmLXBTDIi+ZebJlRM7I2u8uvPpPJiHA+OrxmTCA3AdOcGKWz1FrU7B+vZTWr+rn3KJuue2u22tT6PFuOxy81h5SwlAU7q7F1mwsp7RLUzExCk7Mfjd2KTIzKRp+8SqhE06V/WApLYfzPchaEA8sruCZDO6CyiChSCvkXYsiIgSOaWT4HM4VcF8htZkQlGsNPWOA/RrSQs71lbq8tLHhh5ssA3L8TxzKvhwjzt/HT4Jw5lqk+RL3r/UeaWPAn9ZB60TPXL+hpVZ+HbXJo/pVvAVsWahDCIxHxI+NZtf9TCPoT/QbgHhzP3iXjVsuDplrfunYPOSOliyZAjqUsvYT8HA4C4K0Lu+E9flOsHaHNHRqp+lV4dSkcUUVxyAuKDkt3KjrsnrgSNd8qLDQvFArlLk3ITk2bskxdcGpmJ+67qfFKEcHg1Ug7wAvmg74jXV9Sbso9RXPba+u40pyQFBOWudBn5r/cPsjEKyOtH1gtbP8pbtX/sNYjsGDIaE+W0POPQXp0UYN0xwiPXbef9hVofgv7GNHf5kwuNtfrcFjO3TLqteY1jU8WTvrwVQ4YV2bB+fNY6GyqxvfZkI1hhB5kB3d2HytsoedDBgKtnJw3GOGbogtf9JRd018X9dC7/JrQDZq2OXW08gBFKxP0i1n7mFMBj4eD1+j4II+kzC5LErNEkfhoB9xd0rhQTtCM4y74v+mLa/LDWGCn5615Y3WyHRSXRGZlesqHcnJVTlDOp0KGJ51n8g0nPenCRV1J5CNOixHCv0Q3M+U6nYb770ov7QIg+Ocd9S45zEcJjFB2L0+dh4+VxK7yIiIIYunsftVEdoWNfPTxhurgLQaEwPwCnmU21U6GOQdx5lEagMTaaCh9MYWOKLDbb77BB4UhMTbaoS0Z1Af6g92OwIBDsYEOrl4mayP/5iYVcjBYixksbJ5fEuDnamJAKUyRIgFY+THBs0n57YC5Fq4dkzJ9zPLhlzBPHoKpXUyRElaDruzlXnTWW7QH0V52q7qtwch2/9OUI+Npj1FtKbYuxBfP0Vh+fd3pwe3b06eqg5FL1X/i0T8QJpsJ56PcjaLT9taD6xc6GNddSYvaK0+hTQL5fa4T2DjjloJSliZ0QSFpjP7A0UULuBwvWH1BqQAK/5tP9bUNP6HLppYc+FruFAg0sfkEYWv2EpjW4SYWwRNvn4pMQncFJgTaQh4or7mJ6pAEbZkYLEm+mh1Z6Il6F5HT4MdwxlitY0eWC62TmyrJK7gOQoyDCAzTPvUtvQ6wLLx2fx7hXNAm6GHrZ0qBx6khIZ8YQKG3PoEu2j5Yd/OpDyyMm+RsGA5yW2sgUy/ak1Myt6Yf1bHjmjPrrT2ZvVw7MFvE491uNOPWDxbN06iIzzmDEzyLf1TlihzWQgWgNP9NBfYQ38P10h1LlfAKMOtD7+4j2wOp/4wnfj8a1LeFsPsBjxCLtLu8vJ78jyT5YsfNou0fUbzvsmKWTDAYSfVG8NEo3AiT5JHNKjsVxQ9pZNE8a6grnlrlkQByPuwF56LChcVY/ZyCGb0VrlMJbDlEfEPb1Pg6igr/SO65Ei+YVet8iwM9Dn7w4JUeg58DKtB4zm3kQxDXiLwUXlQtBhLuecMaS4KfsvtDssLxDLONcrGyaAi1byySutWHd7hJgeHLXSRHNU2bMop80HTh378Np98K6CFI6VMNPXZFy5JByt39OyIAVxEPfIjSUclAsVRTrGln9hMAlBJ4Sh+9UFTyPzU0CC2sx9fvWUdjHlfZdI0R4y7eXl6losoAQmT3o04Yd7vSzKFhDYaKytWhXRB5ZQsOM2KM6k4Lf6pa1PY3+nzRKfJeVv2pI3I8+PxkscgJMCC4LU9atbGuUIUyViREDX20jEnnhiI3di3Q8PQ9TiRKND3dywzDqCuqVIPzCW0V44SjsV+xKyXPUqsh7e+OA2iig6A2P29+HkdaRNEzxLWA80GMaKsE8TaDYTmNsfz2zhcv6qfZdPKhj+qvcrwccQ8OvOJPK5u8Wr/eIlISTVGIXFaiE8jQ5Cjb+WF6YVz73qsXUNN6qqgR2/pmiiuuzZMd3pOTzvYvHLH067r0Zg9uYlWljq002ffKPzpqNu9OlfmUUnPQFS4dhp0J1RuGL2tBfeBfp5gnv/+dngfHfZXp62JhHIpBmtYLcGHe8ZdyJSE0N+9zErhvlnQQFNwupLkQ4sH0ikoUf4W0d88EzgaIM43qauE2KD9ht7PJgYRrnVZkGyxXjPh2JTmEeDVLpFNB5qWDyeqIM8THBRziFGLTWIrbWuQ8tWqRA/KcbDF+K8wP4Ml4JeLUjBEUv0r2KbnOuspH3wIoW+mX7LwCom/4SGSjs45hdkY6yzycsEQSM7k+If6jLJpX5w0pOCfRz5rmOk9EsiAc9n/jgwcwkaPdidOUQDW+wcB2VB9X7VAlivX0r+/qe8KWl0McSCFky4vuuya2KVCyRXGGBgdIkhju77B649dW1Km15nswFMZrkGmXvkgsEpBzdCDWRXImH7lE/ZL3mhNmOhgI7Ow0ZwLw82ra+gmIii1in/5+dDo2QZ85QuKvGQ8g5X8cNyafV5L5KAVYRJdX0g43BFYdygTczRiQm2eLvtSylTrM9WNsUigxfoNiYMXbE9tkCuq0K98HLfEocAI8F8jqqVpIiF177XxXIrgxDyNj7SnyOFJjii3/Twfc6E7OhMBX7KrthAVru95j8TIXn8BNF98foMX5wGpoun5wkwgAncgyA0+TRCM5IhYjtloyjI+5b9YetWX2vbIzsGQLnImgELhUsQC4kU3tX+FSuUYmsA8/RHD/hQmlqOSTpSpEim3OYMQKxV0gzlOrngk8IfSdgWRIRK7uW0p8jHgs+9TryeMll9aPk6ivTM0eMzsqWh0qSouIBs21e8tBiGAsrY+WeZ//d4AmBIpy4RLm7ceq0oPcMNsylrajFS8Sr5fAo67Xy4BfKH8Ix9b/JPU2jFaAGx38N0i2eSIRnpi1XHNe1BPySgZG6qcl1l6Ex/w43wXhzd2zNpA/8mZtscifnHaXAhn8iYHD5d6zLUijRT9GvRuRnoeoVBi5+smD4ig0Puz0JrN9D0dDxjDKavVm8pU0nUybRScegE8/1NZ2rImgJgSzNOvTeIswUUY/GcZw+DCrglzMDctZAP6E6dGJdsJ4FRozK/jgy8Iovoep8ozQwyBYk9jXkyaORqbOWRXuqez52rmoOir12Qr9Q5Nw2/uzg88KTHWGFTZiti++fJUnwqXctuWQLZDwHmthhnZRs2wvnurSHh5+EpJk5vjM6Vv0KFqeJ4cTKZ2UOj3wKzA3WGvKs4uMjXSXtKCKIKxm2ePcDKU4YcqOGC9EoG1aSFjmmLOog9cTMSEfBBXB3CesGLN6sI4bcX4ThPd+S6TagOMF0EcRWrNPh919ua8Rhhm5e6RuAxLpfa2ILHwY0LYKHU2Y2ebRHW11OVFxnGR1rJs2epnkoNPlWOvCflTf7yxuAKbtbyh4/Fbc9SwVNfrWGegSvdvV6HgLPe59JUSRXjPgqqbj0ynZ7peZJakkQcicuxpR6kbN3N0jS9UpuM7mKGdKCTM7u0WotamIZSo1ABjmoTJznjJDqNlZ4cNmogPUqlsWRJb7kc8QD4dxqcMb5ktM/0nYb31T1JgsIIQS628IZ37vuOgTLuFuOUsVat5mbwltbgBaZa6a8/3nM2xcNyM4xYxzhkFogV+i/De1iI0u1al2Zy+EdksMQL4/kAh48NGG/gMiRmqwSKnQ/4c3ei6BqYbR0oRwyPYJG4RV4g6ZDnPC9asXC5MKtY88ag34TWqaOfwKooRhV+IuZifeqkAXaSLEAlv6wX/eF/MTtbsHgq8PFqZtrOP2g1+MdcYDy4OddERhJ3M5uvu3HAJWx+BcR84UhX5ig9kebcEfDGZdXnHZO7hSGFYqsRmXx1yk8F8iPXtEyR+GVmrDur9zWHnS4JYM+EnBElAirVA5FqZlCrwYb9Lx6DheEMS7uvSlMhxq0s/hwMJ9AxBO5Fft2a6Y6sGps+bjCYT+oJqvAdzewEShtDM4/VMlIhVXAozrWZu/C6dQWWu6UK53o+dMv4gvV5yplrSYWPlfHHYZRqvr4Sy1jU3DRdobEv8E+Up7XMflJdtAEJyvgD4GUk0i7mUCH8riohtLzu5CvdE27OqveHFKeUdaaUw34E1OSI61XZgFlHYGsKTXDacrTF7FnPVf2BhuDYvysQ9M2L1SccjAlT9ftS/jDkvSSyhhDKQvhWvi4+oUiOgOA9/A2zWevDwSifY1gJAr/WrbFiDOaRYgYpFBesOPuRPNNPMYSIhbTO8LoHUFgVim9y6+yAmU+0/ryKNTQPm/kKs9TBDRG8Wnfbe8Z4WCqBH4BE4hgP5Pf+dOUXnhHFziBfdAb+R1ZbMxKzz9ZAnlqVMJ1zFipitu6PEaetH5vmepcIg+0S1Q2bAl9e+LYur7PuBrhngvH+wWa6nZ5SB45Mdf1as2TLMoUE/+DD8bqzZPV/nDpxUZapxT1GVtXoGeXFZcl6Rtt/qpvJ8CeNhYqgg0Gh7ClUvFsSxgkKf8PEagkqLFymQMMOoj6Q69mabEaoAG+YKoEsZ9Uqb6VC/4MXy2+lqnsv27qnlEW8URF/O9FfYIDxRmmxsrVSYSLZBytQ6CXKYxgNXk75tXbjrvVVbVpZuR8KuJ+KGzVlqPkuRR5kBFDxIE2z5TfpdMbSDgFA2eXT8qIG+0wOMkrXOYiZ22M5j+wuc0w9QhuPAOMHWNVGUdvNetEl1JrrkYFzUMTDwm+RMDbjtHpSqKIOl+Vt7Xnuo8BZyUimxNMDQqPqY0cn+UfkQAgFYam+6hh9w4xbBLqlIzYfKthCo86rB5OgKYPL3WmapOlGRtel5Uo0MkhMduB9d4pqG4hu3mJHaezpkEbT5ts/lZJQl43Nad5/UvNgEVi0Kqqoq/b4maDa+xGCIZcOgNvyrP0sFmuxaq0/BNndGufEO0X5NJojnY2GC3JRxHw2YJOaNfkf72Adp6pqaXHVuAtfg9zlQC9FNvn8YtHUQlVrP+deqT+yEmS1YK8HNSbGxu77B4KGfno9PpydcTrLM5NjfLAR9tCwB09LJdxPsujrtvE4Bd0WJSLI4jkWNRHyYicUnTilSumOeQ6HUbWEAJigHVp+eO1KclV07Y7vglXll/Q7sDUwoCMEEpionEp5BUMCN80Rl5nOXs+AeEBs/+Cc2oKsn13gXhzioTMMM4aYbwSp4OyZvL8+CxazNDb31Bo74/7y2UoLIWS0qLFu8qEw1/rMu06DsGjJVl+40p/RBXwGnxUkMJuByuzEonwB250ICTm5S7KtU7XjTeR8ZCj5i5x6nHw0yobr4NtA7IqSdWrnpz4ynSvoktIz8P+cdJkO9JNcmodykCIWH23pldsPU6yzipTbnalgHqv9gHSKX3uf4r6WMkBLH0nGewOlEZU6CDT8m497nJ5NGzM1I54vod8bnPtYNHkRf83H4w7cvsft10JgLUCPg/N3+9nYXoA8FPMvgxPTJCA6b0x5M988GTawiczjgCOUEfoRQ25tZPknt82uylX9izAWEpKSne628DN4FvsVxsX3AMP1zCbsiUamSsFlqsR3z8qe6FXbeOueDmGDd4Rbi3fFHRqQATci/foutte/JFy+halsFlo9qSXeNsH8d+LId6vN3qx894Q7pfPzDbOEinFpTjEIHKuIzZwXzLmIi/7zGAv1R6Yb9qUZEGjyRlA85sFArQjgWRTpM5YNQaHxi5UyK0cyvu6YaKdTZ2LZkQp5Fck8HKSUC/YXm1x/IPY15AJ4yN7PZ8vI4B9FO1+ZWjN7er6QI3YhzSFUdPynjgHIl2NZkxv64xQLedhdb5W5sOy7Ghpck0Ea1Qsa8yAuD7+/45kcQloXbaAkMBV2ru+6uyZmGBnXFEkVbgW3h90/omDDQZpsRSBbBY5ubAq7RYGzSxuVst6JWzMJSC8PI1IpYMd4lQXm3OO13XN77jRv7QxRHg8gSUw13PMk2JIzguAUms8p5pk0fmBsagmSNv4pf1tphl6PK+2jJmqsaIdVJ/D/xN79BxMVw9iDNeBk5vEh8duuZRYSniCyea8LymdJFSZwjhd9YUAb2hJgZG45lLY0Nu7jKldE9xzsBUHzXLno46wrsEqYsDQ1ruQIHweOlsC1sCiwUJ/0gOa4iDTHnsatQ+E3NQDtomXW0/XoOoom7M20oEn+AOasUrVetJo9jTlti1MJf0fsP0j4Mgyk1pF8HzUlxxJ4PB3x/KAkwpC7E8jC/fr/uOA0ewbOcasLRX/RNn0GA7Umk4kEPf2NuFkAgzidXsBs6tlSMrvMTe4eKUi1TpXazlE7XnEV8utiSO+R0Vfoq93oMx4bWCjn4DCMF0DpSYCr/oi+HbLMyZwanCcbkxifRK+N0LNJPwyi0kZ7lfjNx6KbcS6eXpQWj9SV6EN8m4l97tPoWA1ilvd5a7dt0vROhaBkbuwW95oK1Y2eiNAaGqH1QXIGtIhTn+TNNo0K/19s5vbm0BLpIw6PnCNmNehwGmyMTW9aTK7t3iejDaRmi2tNyvaUazKMwiQVMZ9KA18tuFGmxVCrp9Jkls0adSrvqSdfYfhzQq4qtSiVizOnNwCFGsR9BPIStkNzN+uDjuKLNnx6AB30S7oTkT3RDVSZgRdwmUGSBCqOqyONzPlIh+VUkB/+qiPzLV+T+nfmsD5EqUIjOnE9DNfCqpXU9tnhJ0ic1yUQ80bLlCI77MWC6nOEO0mxftlXEXajnyDuwoUaQCff9EskYB7Ipnw2Z1i76HI0w6/Tt2/DAOS7/6e2NpjvuAq+0sEsAqMTZGAbJr6o9aXwMv6kqFrC+COxuiT7/buYulvnYKRJxTL7PBR9A700HsgSuKyEI05Sr1fu9kScyCu2FpcgjwavFLUV41qOBWB3JO1CKHy0i9lrk5lATAuN9RhNOhR75GDPmfFYLX0Z4ypx24dfj6a2/ntlUlgQT7uvNPfitiOmPdnW5fmHPfqvTvIIRlKEUmUweMv9zVvyvf4P8kIvbMP/RlzkOkt7NkZoXduOiez12gtIb5yTqatj6526SxWDaxgmabTLAu5dH5CsgaxxmmN0tg2m79RcAXe6/3Igj8Z0NfRPXvj+LmvBDjmCkgoYx+f2Hmswj1qwqyLSEubbL3YmB4iTbwb0PbrqrRRc6XbLrbqBMVOcnfzAuhrIlQA5Hecymr7rGaWvEYw1MLlyjg6+xeW3jgOPtz2Qc4nfKPxJsnTjsojU10MO+TAr7NVLSHL2B+r5SSKYfv5eWa65nStpL78VqVrs2RBY0fz3aXAs80EEmNKbC0hk+9ljF6muOddafhoSvEGvsRwFNqhEXT7sZrcxUvk4Yg1j7eUeMBZLPps44IPH0qAs2FYofe3TTTN2ep7vx4hsvzBV/fuUWjXQFtLtgPKt1QVJTCmGQsp3dQpjxg0wJRcmiRtKWebm07WS5uSiB9P7Rehc9mTQMjjJS9AxCYingm+hg5ttuCuD6bmbJyFw7Ts9HbXtlxLkFif/nFCWaEYf2TfAtLu97w/OO4GlUqFaZgDsRWrvbJswRl8TlBkBgmQ5ER/Va+HSBmTet4TNJ2zSvCUL5nggfhUFZiNJxIhWkO7z985MJBLRQ3wJeLeoiDIPISWXV+R1FsxAkN2F5QKTXjKFSKNSqfwxz7fDwmRreAc5cGJizTfjAgLq6PIa71BPpuNf0uJndo9KBj2gABA7cRX9fcjcuzNwHJsnvnEuFJQsnLXqJVPzFiGmC9kH4zfCPbaZv/6yx+52rQaWmICLJ7zQq9qxCiprk3rFcP/L6sVs0/AgDgNqABN1x695x+4eLlDcG5Ig/h9ehRrMZlWa0j1ssPHR77uQb/NObLSEm3/XUhK4YF4BVUA2UhSVYTcfDri+hAMp4k2R8FkBD5QDgnTnvZrLDnZCHQxO2ZirwiTZGbM1tojxBv8hKrVjG8gxAhenzyeHynneVqezid1AkcYL5sYIVTiGCBNz8YdFNGY+rjdl/eW6s+oB+i4VKhu8JGXXLACNExoNOoTmCmhAzVUl7pZcWCgUoSjriQD+VGc5HF94h+9F76oE5QQcqptjUDGXhd+OVmY9YJsEftTNS89LBk1v+44HgzAfSb+wasGcZTGAtO71aYQG0AF3/FBIA3C6IT9VEpgfkySupAE3XCpDshgDqGpeDaZVOurIqxNvgGB3dQ7jCUSofu2wjhXH2qexIDRfkMxB8GukXdMPekcdtLOGd45EInZq+lzZIpHb7pdwlqMxV05q64aTuRroYlu50yLSyTuVXzadBXhvxRyr7KM4daTkFgnFLBc/4KWBls8ba0EblptA2uCDFllhgOfGdEi5i83q0g1k/ctFN/46WyG73Bsiyt7+5rM2C6xi0AgTRfxx2TMADJGqPgyyfRrQGpwCQiCDW+39vVarDMtw6wrVpjdhotAbaUgI2G94EfqXsuaAJfFZ084aiE1gf9gghp5DLvt/eH6ewaOdPSC+ulJnopEEwCpEG1tEVV8qAYRH/KXcAU4VNbDQ2ngHwYZtz8RMyF9iUoVR48UjNuweDlByqwpVzgDcBzbNcDpNZoSntI8F2ni4budAaNj5jDWW3VRmydwC7CU+0nNmv1LO+qq9CW/mSVxsizE3ZGhJMrOz6RP6H6Z2rv+9LWDS5Bm69Vpu1rfSCO/pvdSg/g90OQR1ckT3B0CVrXNoaVWRgZKednI/pL4fEhomfXK5FRGTLRpPtZ1MvF25SyXMMdCBrVvKJKNr45++czsSrvOPWDEJDswmE1lkZ3adZA/kV2kG9cpgLYVUx1ynWwNKaHrvX6tw+y8m7tBUb0fI5zF7zhxn1Oh4/g9nj0KCSH+VNHKF9EeTRYEF93F6c8Avg64sbTRsk4sQ6K89IeoUtNuNbPhWlG1qmSfZCApX9oKFE9BQ1i+LJWu9zq9nHCM5sQ0NPhy+8rbOq0tSfDHbRIrUptqTSI3/UI/JvnK1ZbADaTE+XbX8fvWlAW5FFzj4r8UU2QhAN137cxqM2YFKrWqXYSCttqcCL86JqfSGi4nWgADgSVdiIs0sMLjx2bjqtNYcGAtSiA7U0+HgmQpr1yIKP/4S0QPHk2Z1cUpZOE7+MuMh+yOq1x0b/0pYeeZbSWGPTMzLq9h5kOnH3d/t9aFEUL0OOreH67ldP2pyzZHJjOCwVhC3ddEjhmhSop5u4c9AVQOH6r9Szqpg+iP73Z2qaJj5WjrTkVegDtlxE1PO6iUObD98X16WgN+xI7sq5ev34oHwTBVq+rQqtlKQa+zIMM9hS/KX1USbWlcuslJ4YxYT8P2lGOAoXDqzzYYa0/1YKC+c7HGDRqMmmmaDSmi+yRMAoqxS04WGli3YEeyNYooKraNJZkE/6oddp5hJQUBUBDTS++7ZyBqzy246jQsf4Ja5CkUmnD3dzPMWEwBIp+x+c2X0R3jhMyzgtDyEsUc9rEr7bCwb9b/7OSXmveW4OpCg2V2Yh58t4nnP+yA0EjFKyVr/ZeSTJbBQeB4FNJ4TB7CTNK6oUXOsSwevXf0JivaatbtW+a0h2IvrEFq3+KX2J1OPjb8hSjSGnxjuFGF0iXmLsgGz3cdsrJZJU5LyGFWHpOnCzQ+wEX2wOY/2ksQkbLtr3z4Mgif2mQYGlJDrcwA29nMk+jD4HQEFLokaeod5W15Ld15B1Npzt0bnEJ82XkyJFct/tyefHMQEfnYHKY7oRdRIpiLgrIxEF4P0HQYZWONcQKWvhYGmQ/TcRROHANblTmaM3/HILDtwAmIQrTPsxvneMQK6o0liYWGTlgoqzOax7LmGU9d+rV9V0hT9USgnSQj01HEUqbcgi80KIgghsAqfozQoXYQoii2b0FBBBRpp2eqZX71+C0W+8VKMQeoQpzUMFmeyvzJdMe2l81j6QOSg+hArkI3iss0ugvenjC8uf3J/cY//doIcqmAU7GZZfFAJVe33FQ/mynjENACCKaYvRIInu9an4GuJEo2jyOpWiSCz42Mgu11bcbASXYWL6HWi9Y4M3+aLb5lc0QhSuFSd1va6gcFYglsFl/XVgAiAwAIH1/hLjGwYNwA3V/wpLwgLgYEdo/r1S+rdJGI/ueMHQqhZyf7PPp2J5Dj/BxBVULjxMRyYkrY8wbS+AUnchGW2MvTiFSnjlgNbDZSDNgnht+y1OVlQ1BjyoI13sJKaTwvch/y7g0EObRU+7WsSM0khN4Wa4dONoZx+fjvdwzyYLnVPBps91PT3uj6QAi9BD7Oa5nxiRkuntEWbYp0EOUg8I5gR4hBhWuR1kbewQjru1Sy6JC1qZxGgXxY2RALqVR/lzd2vne3fJdLwiH8f84m4+cMlNojem3uMwlsdeMydgacFO8Ilqi3jd6KiyizlXt2Wr5ifdU4OZUcwZhnJjRyNqB7SAfyLwYWdDrqlmXiBAR/oYaSUtldeLcfsQ9je1gzFor742ytJSUuY/q1384hNamdPiX81TCtypggmQdNDQMxekbSsGw1kWssnDSmYm9pXmNuoNG8wqayVAiIMn9Oqt/ETzIWLWHEXw1D/f2ZklMHQC/FaAtoObprpK9VDwzG4bA+JnS5oUEWli2GONiYIEUg0ind6Kr8ZayW0yV6aHYHmQXcdXQhdg6Y32ETs2YxO2k40Cv6oITQIeQ6R8g6KLs12YzeW9LMLCG+tc2dp766nYEwmM1o+eNqyJS8kYcZ2NKHTgcDvnpysC0iZd9sq6PTePbhN3NYYUjFAdEvCczcHGOyZkH7i/n9PY0w5ZfZjvnj0O5c1vPbcH3G8oWE3jujUmn0WvOp6Zi7Cn3TMSgoOadxEWd9nvAjmeIIzAEhlvZftGnsmkdwxcLbuzOzacyaBpL0xFSyjn7iBqROVY9YYX0b2KoMzi7+9C1klkEEHejdE+tzL8t5cxWBBIUz7sgyyAzw4Kj2/3pNAdbyn2iaofhPHNJr9Equ7dOFXKbpG3welmK0spnGIhhDTh+3dKZ2Srd4qZapNHG/8zSTI9GqIwPT9yGHdU00ID9G+zx+BAQ/U6weVzLTbvSQRhlRF5ocozlGuH49EzwQNM7eGRKKrOQbVa/lWjq9Eqm/aO5h7Csmp6tx5MGzUPyzHWVVzJ4a5XYKht/X4eYZI9GxRfNcgIWwbd8tgePomiMx7DOfwjZniZ2wCJiHSL+q60DPyJJ9sRhrIbH3NMb7dNuR4Vc0vDlNg5zFueO76edlfnTA3My3yeJYFCIwlXC7tLHyypudxKANUqyUaS3Leb9dSDxc2MTILZ7hH40A4E3LIh8DMuJKDsjotTkTVzbmkYOXt94EVHQp/9KAWgd3KvMswOWzh3jY+DVfPSKli3/zgd7BMAQzj1w2gaY6uqj1NVDyZSPLqOwgT1+qiU+UHtz5KF3ES5sEHl2kVeqdNcZfKjnh4d3qjp/+ymNoHpUoELuyCnvTyphqZ2Axrq0etFTvxRxpfIL8fjkE8yuthinRBCNVXIVFPvVIW5HxSXiyP9GRMpNgAeoSBGJ/9o4RhEhYzoSc2CMLRr0pwESTugANZoLpghi1YCG/TQz7X2vyMtSVN9u+NjI7lHeVAd3GRmJlfLrlFEDp10BRFre4pPG5EFO+oWvhAI5JNkg8i4ViT37FxDiAc4isGRum0B63K3cZCIMyRjsV4bUQEHz6wdZBlGcWoPV6joH5bH5kILVawAhTCt8zo3trX7xIqhYvTUsqTNjuQWl227iMS1+l2+VPw/DyL6aFU/Z3Frnxzkt59v/avtKDDjFMUO338k3Utv9rgsZiBOlkFDNdHw5Pzo6xKi2KIpRteajpiszZdO12BmsdC99cKmGzzS1AqVxfke9cL4RBorSjEyxiVe5BeGg0vPUjCxgQyOaj9qxGD6K/LJ/RkSG7XHNqWz26TDjFFne7unCydLMuUPL9CcoLy/Dfqh5WDlIRYaRmJvesnWDQJo/kZLVfY9zo+0DpcrvKxN2o54dpneFOw37O+P/fTgsZGAMe9i5BXOln6HTZzLUdqqv4gHovcAYHjNsfjPdGFr642HTCRAmJ6Vw80A2gHWYs8n/qkMeXlWBkmLqWYN5kSSqnElFp1Ska0JASeQY3c+qku0O0A//tqjDZvu0FLiXznZYXfXTO0Ar/uzCKuKDAPQxZ2lrHYzOd+BBBgPRqDcVAA5UWk6wX9vyBW4iNAL+uULcsopd16HqfZ/IxGwDM7Sxordf2T5nSBYmug13e0sRsSqakmoUcoeFiYIMxegDF0a9jsMSrtwelaXFKuBtjGUqpdyT6QAmXwweII3k/6Se4mq0XNuxATdkVOhQn5ge8CNl5vpXzLoiaeLTOZgQc3I6aW2QMMbTsI3+WvUmT1YyGesrXHW/Fzam7cozK1KwqNpSfsS+NKXk2QGu+jQ59O7l8LgIG5KZtWvVAh9CWwFcxEJW+QEHSaTJTQfq4R7m1vTnbdxWCktNZryoUy+kbvEtVwbmCVtDai5woXSPdc1G7EpG9lPVvAptNw0rtTkr16F0PbGLpUcluebho1/VeU47C3AcmLmWyxtLKxMNc5VlAFCxE+3IjTAE/tELYk/QaEL31Gb70o91ZpobqxPUqfFO29zbbTcF0n2BuEz/Nr7vjzmt179RvHsglFgefIocsTRATG4HsGeVnRZpzFHGYl3hgYYK6R6jEYGYu+qSmw+bCqrx3Q3rJAcvDyY6Yej2d1C4RoCG7lPW7V6gWORAU33X/pnPCFL5ml6BdeuC26WYJC2Em7NtIlXzFXXi2C/+y1L3ZsUdtT85YoM2dbRudSOBLuOs7dZC0T9efJmbVAkcTqqiqCnXLobirpM7t01cvwMyyCXzPTp/u2inRstLxP1AkjhX1cqWuBOWhkbC+Nmh+bzuBX1PD5B0QKOVA48or0XzhnTIicP1MtH3KOb16bPoFulek05FSw//PN80ROSH+bUbsfTC9BiU5n3Qag+3uyy5ujo5q8y0ibwCfxRLN4jrChPF0Z8xbbLYqJpPHu6+VFIalNhiyo9LIQaDwA3THyGkq8/2nEH/xsxZQDWa4AoC9xHFPD4YVzVSN0Gxyf0CEyLRL1uMGZ2Eq0DhJ3u6h73JiaGLmTXqqyIdbqgGAX9127IRBXSsGmRpipQiKISEYvIp/6t9b+8SaSPO2y52W+dwJCKbIeotD9zXFhp4A8cyCP8cya7QTS84JrXyMqhJYBqxTb01IQ9fIheq2gAAW8jQ7l+BFHsmrimSetyJI5Jdep6l0BX0Ygda34TUj9UcbH9PzpfeglUz+cMbDwyfKiiCsRW8RCpTS8Gu3P33pPNX2/WSthCu7LnbEdtYZv2ZGlX0fGP3Wg5UoGzZRG7D5roW9c26kwFyZFB2nZMLocOzHBU4PDGWJ+uq2mo3ZSKScHK6Ui463DL7m6deB/slh5jURfnb3DouLDng6jGQbNBPVEJecXpLEzdWp8olvnuiDxl5+1mG7XUBGQMxegEH+ZT9g5oO4On4iSgwZMquZk8qdWwBaAgp1Jxd83ypDxysAyiRBXoIFcA5C0WJH7H2FWB4YnyTh/XjRiZM4MPPtw3MQZlrSOhFJd65LE9dBmg4BFaUawhf+AmvBdUldFsCupBYQOVzCKzERZINURYuaEdsy7e72b3SPwqE2WKzQlow08nk83UZ06ps8oWQKaavnaUsGT/Vfskm9CVCKYdMDvemz5kBku0TpICfs+Lzzv/Jara5mbM7mO3CArv2hbh9entXTiZH7MvWyWCohWc/xNAQGCVV6JHUAqUanKf0y6Z8Skg1SdUGRYEEALgL9MkdbD3v/U2GiR0ZC7Pc4nlXoGMpRAZNXfY9gmctPw+FKdUoCRfGpoDTbmJuoXydNt/EGtAuR/ktQH4i86AT3W5jOtcSn62hui0pCGTNowQZKhIi8eNhKiPZX/o0uu0q5SHUEsOSdmJxV65Ts7oVXqboVldiirH7LuW4chqKySCNq3u8u9x/2MtT+J1hDmgQryFTav+OWMRes+tqmuCMVdIkK2zub0QhOWNkqo3DXIMKjseI8WkXma2scKy2ewdBgroRqtibMBjkCABWhDnKkpCkH0nPviKjxMPEn5KfHBK2/1w955ZlBTJoJNeXHhIXmm7Uv6WLq4qQzRVfSOxjS2i/ct1/UaVZHb0vfxMu/76HxZlxotbTG0YkL5MZJx/5/YCQ9eMjQjxLwaC/OzwvwvXopDKVsLjfHD3c0YYgOtmbrWHov6M0fAOdYdZ4ecmdXggBj++CWJMYext8jQ0JDFKN/RqXBftdCGEn8GJUNutT8sgHCJQNTGfADLYgECUhWMjIWTcxcyX1piWKukwBHgcLdA74pv0Sz/9+nJPdSbHxRuz8ZH179nmbrj58pCgrinVtL2Q490r7ETSSdFtCRjg7uscgda5wS336B7EujpVx/yQfGENUmx3yfIOYBAqBcqI7an2cAj+ELaK5v6GAMMR80xi30MZ0ADGi13PwVyIsjOUoZZc8lQtou3BFPrGhD2zB3XWjEp1bW5naHU2gu+DX4BLI1WJ9fThpKNFMpROTNXKU/s6xlrKW+sCaq5sEhDViduVICfsLB6S3jjKZEVraXI3fheLWDyeTyYC0osLqBX+PTiiFDJel+s11N0emsBNyOisr2yWXuXD7eQrjTuaKw5fnmm7MdwPuSp2EdCDJDFEnZ5ZIXM5+TZVvKkQKz69QISo3Rs40kjWtT32Z2TamLxYouxP+sbOZu8GLipJ1WPNOeRLpQ5czl+a8aBh3VswUv93foXik5ANsBiG3BSMDJ1vLRAJcQlTg7aKpAL2q4/AHGK0ubJGTIdjBDcuZ7V4hGw3p/t/1FiYXwuuk2t/bIorcHFvjTWACzhGLDIue4p8QMwYcCf2zptQ0Q+iAc4HNfbsCf+fzk9BQZy4CvqfaB4wwL2WP7/TMqpp0M2wj6nh8WaGIDuqPzYaFVepWXFyTgzoQh0dO2G5+7Gny/I1Qm/hNKrWwI7i98n89HE5iNehricTWWw5e6Hpn4OfxVwVFWtnG600t4vUbXye9htt/ft8PbkL8MV+P1LMasARdGgmMmcS1yAYzVw48iFb41XJadn0mvlrvtWQhezn0w20zFookiqNh04LylZ3vMltPR2/Mya64ZDEoFdawi2vkTAFjGByY7tf2+eMpBPhqhKKjaZiEkoIGISk6v35Gi6XmE48j18vVACL8x38vP/s9zBiM8YL97XybkrqIApMQhoqN7w00lG7h07egxiNZCiFz+35SVKxk3z1SPSg5zLV8QvIUsBuWVHgK76fNTfBE23BUjgEAR148mGTTHrPRMLuginhnxqLXXxZuJFHPVY6XOdl/PMYdgvHT7sEpk+bqHSOG6tOem6MhL7b9CUAUixINfTLr+kC1hWAIM24qWWlTUA13SUmVj87qZZ7XVVfyMKD1xjwJfx1TiVXPd4u1sbiw5rBX3ZeJQ2DMTkNnO8WWB3unOa/59XF60ifQg94r2QO5WMBfzMTJzuxpcbCiWUEEydYZcB2yJDjNTnOFutj8xZ/E9pRe7i1mVfjPF5qhTsXrSTZE2hhCJ7EOppk7w3jATGOTg5H1vetkYf3AjiuYnhrSOwIp434RVNaLZrhQZChvBDMaPJ+xEDKxA+wp8+NJEYU1gT8SyHHIo4a+tU0rGfa0SL8Ul6ioHt+ou73zjIfS9aqO3+BwdpqtJP8DJmFyuHsPykL4H1J/jaMw36tIN5bvrf1HRXymlPR2h9M8UwXt5RD74Wsa3Ai+pn+uJCiu/obEieS+tBdY9hBTxmW2ZvpYFHMAFJ9LA/MLHQU97Y0d4hB5ICjiBfaVEu0anFGW/+DCphdbPivLWI2UMBNc+huQxsMUfw7QEhlFK0IiLRYDNd+Md4nbUcqkyGHyGcGURwIVVGkJlehJ3kbQDMzJQonthvK914wtNtkYs5LbLokp6SyHxIeCzo6bTnnoLNaPlKQnWfducpnr950KUk4A0oCejKaZa6vZRlLlTptpwjbw2gwPI0dRdmUfxbK15UJT1qwf6GmReFyXceAbyf+d9DyhrTtCRqtkyOiBbLs8K3MtPWUMn2cXp7UjKrQJ55p4Rdf+gfXZcReg87+KpnUs6qsQUd4j+HgB4oMUb+Qsv/2BzuptsnyGFYF2QsmGXN5AGvty6jQa+HEIfUoSB0lFsnpDEZsDcJzPZwuBLgtGWSiKLZiH8Zvr0S2wKntvhggnDtxKd4lFtmalRVYef/ivfG/AfwDclzMaORXvaDng3jiSYfjGxTsS7tBckmirnGByK+4Cuim4AmfJRuG9NrcWDfyCSnw6yniM0ujo6hbM6sXKMSYF0iEZBV5l1gQSdG/plySy8DLbDYzsILDzvsdyUH8jlDuV61ha3xwxWwBOlEY4nP5Q1pbOsv18lIkfV82A0jqIbmzpMEs/cr3v2nG0hOiG7jVOcoZrHxGTu4mYKLrj1LheZOhLrulKaaSSUxyxcC6sLWIDD6Sv1AcZ22huKG/AIsxkqwtaRUTFRTcfBdztm9BPdJj/04hY7O3ZzITHu3pGpenk/x+webvslvblnXJSMhwswor5wXgFd/WMmOidMmEbMEerE7jpJLKzTMowfdI5hUgr7XYBV962iku7GwmyVzvPDRbtp/VIaETFk0tqzcHYGJ5vzThtpktkF3Wpjy8nxONA+bOetbZkzh/Uky1xaBA2ig6O1M1+79XnyIpQuyRs295pK3v4stsjkr7ChGgsy4JuZ726qMbRY89EACdCsk8UQWsfhUh1mbyW4fekEGTkp2rvVHc39WN6yVgEMFXeiwM6lHoF2/3Q8aL3ChHZMVU/Jm+fOHp+LUwrZARagoOdTw44uBcCXkexWDS3g9UFa1tiKDVayy/Asi8nADA7GSYLJS2nQRs6UemlGjoCq+1tFo7jKcijIcY5KGX8ncqJ88xKViv43o6Ea3hiZf6Vw3i7X9Gc+lzoJ/JzMC/EJDjCrXytQR0i5xrmyuw/Q3Wm+nX+ljt+nDZSAOexqDXzIRjx4sb5fZWiYPJ94nygAoHZhz5G5ttwy3Yqogho8Z6aGlS6KN8f0w0fkH6q5hx7fZOuro+wHTeaxTo/q5zWOo9wJ58gGHpaP2C5k0+Y9JLFKCoaCjxz7CDDlPI/kWU21YkU+irJzYA3m0dJuYkporyaIFLfUbwDYWwPs4l5jtBuNDedSjIzsGiv1b6s+Zly2i42S/xcuh8YN49ZNmA2b/sXRVcBJ7al57gixC21VyRisvzxjjLeXSYpJXACepbw/nwwDDA6Voh7ezi6icESQuD0yZYDaIPEg0DpW+tQDj7bhmk3gWGquXQMwIjZSjyWU65ZfZjp9P22Gw3PADB0Zof3LNO7Dz/Dv5feQqE/AIZFEcU2YyuH6j8SM6JwBBRF8d1XMP4t9wI1nvLmeKUVA9p59QUB2AxMWqWkqRuuSs6VZVxsL2taT4yq0MbjtY8j4M2S1MteQUfrEGEpPtpMf1/0euhCgyGnmL4bnpqYLlHcZNXaRlAD0gjEZh1UpNHNg0tzSiy/cYJlwnwyFOOGwwx9uh5nhTwFwNo/K2s/lT1Ia1DNw9r5EZYx2Gb3PcAg+j8WBofTXrwLaYHWW7I5GSvAqTxLHRlh52TfgA0+APdoLLjOgvC1SPjDThKa2+2WANPPxf1BoLdJSMCxAYaYIITrqgKihLj9f8fmXDg/RBqvKQGfrVR4DkwrlZNkdVhi4QhzMXGzTcKmvymb8MBbvmcjoJfmSU08rklSqsC58qIhBs/x8hAVEZa832aNsmPxDxEhfrFaEjuxod/hL/xB3ABqrJ7MNwZPozUCETqut8v4qAgAGBwoamLynk+sHYUdfYrltO2cRxXoYSsmyhTwLI2gfFWdmHH4H5EArwj9CcmanHjN6D79qPeA3UwHja/82UmXIDMsZEZR5qZdYp0eJOMhG+gmwdgdyCR4xKGdxZacu3UWZBdMMpuq9RSwlXaEKSFWMYJgbhPBpl90ne045FJURkKdVVWqZaitswZFb1lXjsy9EqW4ib/VVFjBos0nxmX/ieC8rA/i1p6pF8p/QEsSdXfI0M/wEpxlmUcXtjiypHE1iVsOTQ4rgWV+itsnE7Bl0b/UFD3Sz6SudGV6zRDZN2qSs1DqK/79URAeUicwxthfLxQFcPoaiHMNWMXg41OSXUeOEEpcdvKzhZ6kcwhzx6Raa8kRCPP4zzyzUa+CQ1W0Tfu7jm+f/9rCEUTVhmymZMAtMVa5dHXz2lPgAbZEVs6y92xHAnU7+0G9wQAeOlURydMx+f2wXvIcwTAtIxMAXOgCvuhkRf+oAMx9CEVH151W4Qku9+TvK8bXmTD1xbzncYxj7rCkxFshd0mNNep508DQGUSZKz4jYiFKp76k3fqjtFaYAy3GcXKgYVnq7xE8CKfWlMAJBRmSwxe+TwTQnlw358V/UN/JgDDyi2X6UOFTETwz42PdouVTYf6IhJamMHnzhYXNdE54/8OChOCCxd13m8a3BsK3ZTBbyvEChUkDyHZaXY8I+iODsNXtI4NSWtpPFWCJltSKpQI0mcBD0Pkil7JKlZFUasOHV47xLqzWnFYNBNa7PKTsgkNZAS0/gkPZsnlH/GUZyfW/0YW5e0xTe/wql4Mkgj+i4SLu2TYYsdL/rZ9vCl7r7fyeCzbl/v+/4grDwmnLGLGgxd5seNXIbI6GGpkSyTk8oWMeUDXZCnMNYeztogRlkVeBDGCOZHv+i32Im686VyOafK1Xu7Syuhu9/d+b/Bx+NONXEtOu3MVK2Xnf4UcAcaajgSF3fjwqzEfpdBs88D8fy2iYn0dcRUiJ0wCeFIyo7rWKPz12MKrWeZUJ9NSyOpSjxab1XSI2Ker+OgpzMe6jcTBL9f3+jLlYFcGzFjCokItCeRxPhgmikHPiPFMTV2uJluOZ0NyDzkV2fqp3n6ejaKt3iHb+8Fg/JLhpkmGfYDSWFEZlZadfizxE/a/MMyNXLiKLfhYzTSql3hzVSnSZcuaygqsSpiabfnwINWchiPZQT+SLCktNVAoJXbAQ7duSPOB4ac1gJSJcjBFhNxNp59mCtHcO6iR6LE6nOh29/G0ZKOAc1jwkBCfcD0W+ujuM3DQhLHlSjVp8e3d49xlmN7291p9b0JYkaCz+Xl6O01rypSFCw5j4UVyXgmibzw+RvkTEWOJKSmkYKJDo1zA5a5QBiDOCLl8nc4blXPywvr7uVdX96VFZFSWjoKcJmMIEweC1JwbLc4hPXvok1R0rMVfG9VM3+y/sco3uvm5lRRHZJrZLqTPjtme7UmlM81Z7h89aKWfwBd+Rd4Lc6Z6J5uYvhU1KWq0TBWzf193lumSLCcb1xSlzekRnkh/SmoozUwR43ybBBEiFBPeAm+F7wzwZ/6yqjnp7AabXhv96oIRS3W+S53rSMzOJ7GeqiHwYBpd9cwyOQHVyz0HUlG8xJ8M2maGcKQsIygpELSlyjxw3hsr3RnU58XSyWK7SFdRXF50SuMOl+wcQEOPk42+xsHDmTQ1FLCq2M6NYFbDZ+MrUgY9GS6rSS8+e5WbBF5hGEFPnzOMNKMu6TnjlQw2ONP3XhyCWDVu/yZpvbHD9Xz1YqsgXGkfYHSZNZ9TSdLZiow8bY2zEu+ur7LJBMLDd8l3T0QTJ6yyXAykj1ln2duHvTO2vAag389yY84FlBRkccb7pcz5RQyh/pHcIKkvPJB27HiSh7bg/3rknnjpP8ZqSSRrvOsrBDYLTc76VznFrw7v1WhzCyHdE+qc9Su+ToxSkLXc12ERx1rD/H5to67ZEcoUQrA/P6xdN0n7xot4ZLBsqvJZK/8uk9PEN0ujGGQl3PHF77ji1HNee8iigvu8xmvbXdgMolXdPLXRjiExlfSikc+Z7m9r/pupoi8U1g7F7Owb+ZchfMwz6553JX5QOsAZT8dERHw/dHx7N+rfyIUPlgXqWYUjNKWGzqPp2BiZ4VyU0hfX9tkkC4E96/jK2XjTzdI5aWD1DjKdOMC8rIdRtwy+CndC3NxN51N1uQf0FNLwCrK+VPcZHiSd9urRSqq3rYCVUZcM85xgOY7PXrl6FV5IA8+LXNUJTOXfTCsBYp/nKV3GG2UkkKBh883mxewEz17W2ND6/5Qm9xj+GGaVsz+prky44dtSfG9M7Sjxl8XFIN0DdWrfrG6SUvPxRz3uAoWCFj1uWVNOXOjdnhQAXE0fBY1S+TuyZg7D4ty3ycsfiyYIkTpS1Tfnb7/f1U2vVUHVf3oqJvI+hbTwX7JZ60zGLxTc3D3kUy+DkmX3cUvO4DIFXIKu58cJtinA5nGT4gsJpyRLrJS1vZ2Qpt1ETEIyL8Db1xGXTOZZTTzhULXgYgRyc3O99W/cNmMeLHsRW1Jyj9jojjFIMwElunOqZKr1BVETRtEfe0u6wZpim3Gbe4SdX9Ny0p6LFEMyu/W2s+oxyQs3kXeK2PNzfQnwYuEEg18H85/pka5GcPUHmoierC2OJOMu9Y+lu26hkuQPIgoJJD3oEBOV3TL/+HxCi9mHTmppdRbbu2P4ZksQVAq5sUFshQugQyfuWt/19ExG/8ARXJYt602edb3vIJ/5FUPFTtlj1kvFlug2BNZyYvMJ6pjOWgiE4dvxE7q/BAtVisMSx0E+fl8zqzh732UGPcyz0RrUobRQxlZZrs6HWqnAVvGG7qxE1Je+p+i40YjQ83jE6TT/UopISiTxg4qnTEU8yksoYUxJkTnrUXA39SLUSbMrr7D5wTHDMwg5J/vbq40SUQAldBUKB5BmvQAUPfOx5NwlSgjutdap5I71pwFE/MynIaas25dY6S93EChRimjH75OTLYeg5zTOm+5XH4KxXRTWZYDBNezUkE4MWUMU6anauz8O72BLWiodWpd4gmzIudvIDUe5Brh56782JjO4ZNATIgLXSDaDyrHv2ToyCO4IdlEJdKT8OrLe6xAd0Ze0EmDJSwnoBaQM93a2nWXjxp4RoTd2dQurv5bm39bgcX7QaQ6FCfabBs/GH/oxtV0diXQxW8t8UXcaEQhMEc+py1OfTKv3uIsalJUjHCtde4JVMkOLNFgIAqHva171onA5OsJ51zWwZNZCixAbGZhYWrSFJhw+D0n+VtDXI7uW0HMuO+oLHMG2XtkD6ARFOJWSKK6hMGF2zgTNHwnEnTjbU5SuLiqY2kdSIR73uNcmgRZ7G3rQBadJSR+NVlNTL5XyJrVMtaDyy+Yc8OlKIqhcJJbCvXriGEn9AwIlj0btQJUpWbRu3vUzgcZR0gshuuQ/1E7dpOv+ZGoKtgBOhd04XSwQrvYsw4YXFMkcFkn+m82NYF/2ucR3UiQ/Q5ro4NheGxwUVeP/jGGiwbkKxqT01i4gFz7dYwoPuNZQAXK44a0gGYxKYmSmZf4rxyS1yUTQeLetmpursvvxiOqeQ8gdxRQKaI1QGhSFpnDgFX80yoo0TshNjbSsFgiZj6bvoojBFat7KyW089VCvJpqqhJfa/4ZxhuzSJeBjlWDSjupUcm3wqRSps7hVq79yM2Lm7PbvIigrZnAML5DyVlJGH1mDaqS5GMBA3AYSSezx3ZC8BdJBDxJhkmPzCKKYoqPbKqhcIqvhJ+nDTsCl1DU7OXAd9HfXgZTCYzEyTpPnakFm87EklSBLnUvDlZxUKMtuIPyH4CylDCpXuKsYzH/YgZXRL4n/I+Q/MGcBgC3Fpb5Xk0G5fzDGrcgwCZ/pEVUzLX01ZG4fhxI5C8OSciBx08++n4BJJaTAq0pX+KKriqRuVLeQss0yiDCh6PtTWEzimkgBp3/eF1Nzpl1dytxV52I7zzGHz+/d0JQMMZy/vQwRzz4E9VqrFMD722SeOri6r3VpZufs3u+C3ft2ZyiTCw8PAz7wwyse1gr8cGcJq0kd2zrXnWUXFwHodicC5/Yn/o4ciW2enJnwk8fiSdXM2bkQxe4A+jXHqeZfulySU8vfueHF8x726OY8VM/ZraqDkJLUngAtN40GSzGlUDeulzU0iFPXinzyA2KoE+STc2/4rCOes7W3DAIFK/eQcqHxvmIQ6XPFMlOzs3gjB6BE8LFCwJc0RjaKtx3BR9LLcXTq6DZ/0d3/qpoFFqf/ECByMl+wqSBM1xj5yrNYY7kAqykQSGWlhObxrgxDRGdBF4cwY8TWvP/+XsQGl3g9gkpTgHtT0JW/cghh7sPmpZ8HLHrlpUWsMa/3jVwAI55fSVtFAsxB509Jggo8As58ffOaN1CoWEVjrt/kwHaLZaGamnOfXd0eHc3YWKStIekBX7F+fD208EJUFlPmIDfl6wU6N3QVNflq6t323/DLmb3pJHbLx3Ax3iJRqbk3RLxFDWhARr12a9nwURE5ea8l831sM2bjqaXPh9y5BvK72B1JFNROofUfOXa5JhDk6Ak6Kf0xbhsT2CJIa4YYKmSSMBQii/q9knslFzbRqodyYLbQRs8Z84jKILl6XZUbewb1wR7GNk0HwsZFiJQc6spJ4a7EuUPCqJECs7AlropO88aS/yAcr+LNiZpYtrTU7n8/SdtQcfwUa9//rXACEMnW0NFuuFi09iQgQILJ3CHrDiJOzHTUfay172DArcG32lGnmBcudY+EQdVQsmfcCh2GGxEMP2VIS/hK5GsgpRCHT5scbvcwC5oQrvdQ5MjU/TYSCi2p1/V1BbSFVO7yU+STKN/YjSs2a9Xg/LGyitdTrppiG1rq1CBRoqmUDmJQH8XPESp7P7bB8Xv77F8TCa9XLXeO7r4jbuzqpv9xH5y421QyrIfQetf1RGXOtp2kzPe93LQgfrJWAN9nab9ysi8HdbChBF7zAq/FdL/Pfnq2C+CmShvkWlMYVwmwVp9m1tDu6jvWmGZyx5ggnzPNhd+Q8/3J9rR/JynR9nacl4QXq1Rqmp4MDstw8P0fSsADQxnHlJi4GgkmabhvePwCiTPStdI5dEJudRHAHAhKEGbr2Qhb6fE2oAWQXrkqLxkbKR1oiCv0/5nO/pFfb/HxTSl00XTfZweKRzoBIqR0dWINDFZ4q5R2kEmORT8XgAZSFnjtm+J6gujfqycrxFfpKaOn+8W4BDcibt+gagbBWZEtDfLmN1VPJUUnqs8aGomXslSrtxm6VHsOt3sIQABpx9EaTa0pTmBnl/TEaY9MHOZj6WM81yYg65ersGdlEVECwLbum4SuLmCIlJKI5qdB6qjwgwGBYbAGBjd24er/rbeLPjqHzzRdLQmMPNWySedTMSsWX627Uy4xC8a5qLPREO0H8RzJaMt33oxxafJ1S+/hzJPiPGg450aHKpaO2sYw7DaHe/GsdMANOepdc9i/a/w3aUlfTD0Sq5Bi+BWMGHsVczFnzw/3esIvhlPOip11uQ5FxbnTNwb+S9YP8HmCRQZqr8y0mxaLtIt+eQI71HekYf1iVQQ7cacBXq5l7WxhbcF/pkIXKpYutg/059faUmGpftef9YVts0QB08uHiXRBD7hgvODNyKadZnpcPGcStj6YL2snH5rxPSYc4m4ITqLg7r92Hb4sTEQ/IAcLXe7/8bqwxtGVxmhPa75vxnkewjlBa0crHHLziB7MWZFgJm5jFh0S3JfzdbG0CgWJaB5SUAvkfL5fcWFHP2m4hlNqs/Oon6895VI0y0Y86wrHj/cH0WwACzB6pke6MzBzA4DxSHGdJ9Hg7CWcsiHeMbyclySOpBZu6QJAWbLmiXxM7MnGx5RZeiKzPv7ZpVOKMlhh6q65PgCDv5wdIR6hhwiNxxrEHfbU0wsUIklieXgVBqFzRQ+erq/691S/QWUaSCVCpiVbr0ZYGJ+AXb52pv3NOsOCpVqiGHv6LWAZDZYyoXsREZjzQwtO5/QkDjxCebZEaXSOtpG8kFhku832w98hZBCUOu+lL3eVOmNcA4/Fsa3eAiNQ9aB0n7Zk0OQtIqkk9xmLa5dkAHgARhNWYvJhzSYsuU46NB9FOgXw67Xeap7/qer10J0cSO8gh/EOVvRmR7O8txcp4FIsbkC56ip6Y9eIlCz+qW4KWjT63EiHq7ayVkaAi/2nH4Sfh4vlIoeQu7SH2+AAP2X3Tr7w471DLc6wyruKem2/+1tz2PCMwGTjqqqakCKbD1g7eAxrxmbbnsQi+K9//JFdg7lHpZlLsC1JbcNOCf50Pl7bfhp/f8mjIe5iwEHH2nkav5nhF7FaBpSeg8rPml9F1oXIl1s2Q7GaEgaaBoMth2nRG+qRzuGoe5x+vSRTlo8NPhvKOzNyxR/jZwBMFWLoDSjNcELTdGi6H1D85t8aP9Hp0qBMTmbpwkkTrjPE4uMBynGSGYI7Eh1SS/ZsjlAbKpho3Ipk7LFIqYl+1VC14oexfy6u0NjLFz9Fdp++N1jFEPHF++cbFU6z2ZDJxh8r9dFAsHCnZQTsdsnjfvE9aSDrqwSVl+C5S1UerBWo24QF8T77DB7ARaNpmJHJBOfi4L6Ut0c3tT+jSS7I67uvHDxREsL1I1Jgi1qGvqdn0xbeWTBx745URwL99Vyb/EvxPkte8r4oKX2H6IMyLKrBppK5KvsJ/H6AnsYbrJWKBMx5Fv8zDKI0sP2JLvqIm2GY+f67lDidHMRc8AHLxYlVT1S5w25Rn+QBvVayk8iJv3mfFibZNWPs2K9km4wEeF7sfCaVB5M3uWmUI7+9IpwrgncVsj12ji99o6N4VeWIW6oaNxtVjzcxiHwyNF9myX1pAerxbwxfx0+g5O4sV5SHco4xxkPEW6j8aaKMMo+B7ipcwYIspcgKtMFG/0i/Pd8DNPc5yaHLC3ByWp/WPQ5nfcpkjmb4vnoLogqRnePAiPaH6/QTFy1jbJmLREsBjEu+RBjM+BXJTe5SVLXtldLAMyaF86zrz/g2qSGq5dVFxo1WiwcoH8v1Iu/0PO+kqbiLgmfOmmo/u+qDkJq3QQf1NyuaYiL/s44U4sArMw8UqvNvBRZbMEULxHQxuG2IrQNFfrulcKSQZPg+7AWFD7KRCjzlpxfYbys1KW8FLN1Pbc5EVBl29SSgThK8pzj7UgiUuYpK/hiKxocE48O4Xp0V+omuaXOkT7yxCXDg5bO9xTpexMyI6HDXl264oOpdMRmVTldwCCGpDFDCBgVyFmlr2hL9VS81saEjEkn0k8EfxqdrHP71Oa2+UdRhhAIZxFUSNQVn07xVDU148OCO4JX9jF+F6z9L7OhJbN9/gMABfII6Po+GqPQw8GidPjXj54Aw8mvCeRjBKeWd+7fVxumNrzqLFmLPfD6ab4WANVB7w4HapIiLTTV8gIEbiIRylHEWTtcftScRhNmlP7D7xKZ4ijRpy9rPjh0nLTbImXfLzrbknFjFbQJPp5t1uRfSjVXuwyS5rTdTpZbmak8CkbuhyDwpeEPOzH/lDfSw8Xk3+1HE7KkHqf5Wwn94GT+99DP3mB90HlygSODPxcIHaLjkRFqWuR1BVXze32wFvcvAZ9u6EyXFu4OMXJfghsUiAAWd8BywS1RIkfb80RuCDW6hBGRiZI8fyMP5Gtl7KmKFAjqm6bUbsleXL0+6Gr7R5LKrAD35PG53Uaa5d3jGj1CDmlOoafG4XBRc5YGoPgJW/mBnrIYF01GYuohIP2nPiiCbyrD4wXftADoVT7U/QyldW2EBWWL0+RCELCVdIF8A4a7TQAauSr8rRdop5PUirSqF804D/RJxGiL9YVqnevvhaO0VKsMmD0dHPqxpttQObDqyl8U5l3uU7uOlbFoug7DkXkWcqDlNhdEfN54F76iizKPiqrzo++cHNl07X5XapteURJz5rcJSfRbtfST7vr/N38UhiEMouImQ7KHvqxaKLKkbkZXabEbvyWzbBFaK6FyhAk1yWsdeHdxX6M3Hkytly1hYjGO3WbBYABF6ri7kH7i0uUPhA+O8AYue7LPMCVcoEDToFgmTHavrMjPV9gKo5/LHKRNWcYYbnx7lm/5EDRkJRGHG/3z55hwwIruTn6/0hyXhlBc0pZUU3+7vYZIXD3e2R9bereecTQ6wJwOay71I2XzZvEWL7+TBUdUT6whxotWzVWc5XZtA3t4R2Q2kIbHku5/LweOYsJZ7MloWnl1hQhPE80l+M8GOT/2G7Z+oI9UCov0slHTNJNWFemQGHEj4c+4hS9sMyU9XQ692aWG9jZN/islcHd/V83h7HGxqsJdtwkQpIIMHoIdNO/iRMrgGMB4Jder7+G/Yh+T0wkRW65ifGEMzhZ/RECTdvucarzToZlUHAzUB/Yft1vUIAms8lEOp6+3vmFTTFz45vvA8Tto69BaDKSlaEU8viQlkHPMxk0dfQxpqLXDU9ATlc43Cc4Z+u5HXYTDcL/wGL17PIg24nbtdOyOFW5PbGPVrE0rWR4awSv90XlcdYnxqj34Jg2HLADfBI4eyk1OUEyjZmnpxkZ4qo4NYky7exNVXR9zGDC5PnHsy39KfMrb8yQ8OE3/xZ+l9RSNND3djj8F9o2IzohsFyCKyWOKZWQyTFC5Csv/aaNF2PYqC4kJL+iYfWlC8jT4q0q0VnWrOdYuROmMBdskTE6lxF2eS/o2ZKXNz/QWSVlMOChBzAaFxstdSBNtzIgk+Lc/ldJ0xyfRz6v1bm4bpLaDhrdxk02tJyr+qXLZb8t6k3faasZHtszscwOQIKFb1pW1w/5LdR/bNmr6ehQB2dwhWs6tTsdmGK45kJgkEqWEkVtDnCBvdnPriA1FJTwckcEz0WXlCmldhIRvy13bgrwKIiNNdS8UdvkFcajPP/tWJ0cOZ9UNaqwy2P3lBppKI9c8T4jrjQ3iqEay87gq5H9On6ULANzMWSrRB+lAELXhjq7ncNZOwT/r/3t6dTWCOiq0MMibzqfrvnb4VYjalbRWrXLFd6aVCfNksxvHHroD7rNfz6lO9BSjNBmNRdihY/WphnsM6i3FXO3EA13WdBe67W/LnkuqcLtgXgWKArZk3SZe6LZaxUyY8WkaBUQ0qqCyCbMFNKY+3unDZOTJNtlBkhKenU6nXvdf6WaneAXed8D9ZVtWdj2jAVJUYext28Td2dN8SQvA+ST8oTk51XwipQYU6YJ6syXjYoNLgS8Wn0VVm78489PWTnY+i0eDz9gUYPSHPO6e/MU1Mmd5e0OnwIpKDLujAGEffAa0W/YNIJ9Q+KZq3kPPU6wGq26d75QaXZPoK12EU4ULdtZUSxFQ8rCNGy+MwhvQN5z83cVh+pFkSyCM5IQvVWEYndQvXvW9nGqMtg+Ujf7MZkZI5F89fGktQM4OPQTO9NNV3Xr3qbahQkMBCht/VxgoKTklxDTyzceB/LftIN4eJuoeXIrMQDpPgKKBgLWGVRAZdul6FLFmTMcoU3VOIzwlDcaqjuuYiS3ZUocxz4sDy7Ed1CeRk5EN139XlFSWY6Fg+K18MkT3o+0hAgfuWPj/9XTnMHhxGTR2LvnwtB5V75YFQY+QPmGmfbffMzssHNinkSPuEVqsOkdbcnOYOR+hgH3yntaW38TBYBqvg6O/bw5EH4gNVP8XW0zRl3VFm6Z8rFB0J0kI5Nh0w0AzBlNWT6pIJ5QY+EgGCHusGtLa7juVvfLpBihtKrOzhLllLmhyHxE0gVpZEDhfAhltPAIMW9pafeGf0xm4DeygTlFZmRmnURvEOhIjBMkZ8wA6J630LLS/6mpzSNhXF8UsLkjhMW4xIUk94TwtmF+PaaoM+DoniinPjBpk4thOWIsD1talW13+ldc0S+jBT8GdBNd0KsKl4dot25j/p1OwoEVK2KlrCdZU8P7t/jzvLc/DeTtKICvaOqFEHOirHB618yhaMxGi7MUZRZc5ig7lJwdxJ4Vx4nxtm90dlePOD25yZfbf41Iis6JdZVUOkyfYJJLDC3FDgbj3ut7SWYKdloI1ZFTcMLfJ7n1FWJlQX4yUZcBtIbwAFRW9L9A1lMZloo35WOx8M+iN7sAj8i7WJTeLV7vBBR2n/tgUL/8exh4fYzMrNZ2yKZL6coyggcNmRwJO2p+8VhadtCBsxUcCrw9R491uoZLc9GQAhATgrGTs/YaGKZMVKAo7tKrza7RDbzn2tqj64+H55NCUO84FPJy+UrelMoUmWhro3UBQgwBEJv2AbFGabTstc18aE57Sf7HK9W90LT/H7KjkSmemwog48a5qHI8frxmZ7XBMMR4BDSCHSj/Lp/ChnRDKmGNQQSHRS6DfVYhwLQJEWe6ijM0I0H96ipI/IdnWNYdgl1Li/X9bpABYHv8KBHgfsMM+hmsApIQJ1s8hbbw/9IvN1IIp/wUkIJ3KRpL6CTMsj3PANwavvLP5a9oNQqJuIXxdPfTcZtdihRePPMJP1dGdPs7wA6hL2JXFI+yLCgkRDt2FH6I0RglJvcZxDWPx5I2W3f0/BYTrkdqDpnbD4CkCllghzYebOsP8w42BfItRKTMtApxLQyMYwNerKZ4lmaWKYugjHArCOxB2lclUgLUHsV9DeRB6yy+/MdblbS9wuF+jLX3WW7kZrO81bQgQMHlBeceVkp04YvZnj0JBAv3HgZR7WxfmAymd+WgDStE1C0DNC22ZSoyThs1E9gthp43quOmongVdXlqxvMnAu81eZz7xsSLzLIyLeGn+D0kIdf5kQvuj6YdFWbKiYymi4lh8y4qYfbaBTdxiMlbZ+/UZdqLITbQ4yn1ztV2r7htkebAiSLLrHvus30hSiz+NMvweSvHEbSpQN137baSRQMmWMyj8Kks5XLq52CYQ5mSpL6MgViuZ5vNjxAr4eZ26cBNljXZ40G0t1GamOnrhUUePRdTPsKaKfJj4CpgG6rOqa/Gx9nDmQpps9qsg3vnEDGiqyhERrvPEau1OHY03GsnjZo32uF1nZqBlw8rpK05BHTla09hthCr7bE3c0+J/E7AgPe/dAM79jwHDEEZBZI+15ZpSKuKwAwG5uB54BvuKPejD8MwA5mvbdbbPBnW/NvlrlvAk9xS7uChrdYLCHv8xmES1Vnsx7pEUdKRVx1H0/OyCPQBYhM3pxHZCaaI+zlX+YNdr88gRuMr1RBDoMDJgxAX8jUwHIqEKaT98PgtlMHTRaISU0G/zd7Qav9lTcNJ/8bxjDnbUJko3UEvRA5gOm7Vj45+K/IpfIjIIUfhJUWiJ1D9jO7Y4jPRAqUlOcGaACRzciZ7Iqv+9Yij1qwNIX45xhYw9GuVlAWl75NRoGvz9Yb1W8N5YX13STrErj4O0HrcJUcqQ/1RweFVTqwPH9vBZS9p8o0U1Xxf5VLC/s+t3tCN3u0HNPGi5EdeT5ZgTNkPDyu8pMw6MUZfnj/WrThZ7GFy57lhAJaHTSTjIBUWmLSYqgbTcikKVULWl7VKHAdQnD0uxJgzjbK91OApf62Tw7cLo1VdtnHifLj3TghwsnxUW0pWLT5v3PZLsL/K30POpLEGpSiaBTysqefKTQsbb45levTG5BseNpeiBlsQOk3XlrEegcO2Vqx9onhwGtpPJCZ/biLwZ0Pu9HZx7EVagza7ZfWIomUDWgW/XN6gcnuuFiJjYtVPJH+pl1xM/Uf6nqgD8LRxgMzW3p6OBL4kvQ9G4xhHfNY7eatnZ0FWXJ3HpxkKgSRa9l3zC2t1ThlW0ew5HVVO4Ay5OADfPnAO6IenjAo9L1kxVg5MgDFAWNv1O17vcll+CkO6EJ5c/6aphe/61sa1nj5bg9kJA/C21bngbl8vWsO943u4rcti45HxIA7Is2eK+R+OwYV9B2xTCKP/iX7d7mfqSXQqdyw6N4NqWxdMIJx+u6oDYsd4WwVpfrxkJtWYq8HKJSRP+mEnj+gANyeJvpixG37fLrBJn5BxwHDEub4wA2JRQ+RzNi65l6RGLaSBqPwR4aFbI5ZXu4+eGJZ5Aa1Mpqg5Rlv/UOlU9/RFxNkV56VC+NxkpSxlBepPmFagZKnubrY89owXjl3EpOeh4qoaIIYjoMaapDQHMXKNIY2TNDPgVu1iHYE+n66Fs3P1a6yxTrOKTWC/hI0NLDt7YGWh7KPoG8ykdVdWWDtjWManwIvvaPK4/Qh2nL046/9IFTPcGiyKiiHatRHzypV5dOjoCdcj10Kf3MApYaj78UGuu4ASSagA20cb/4g4ikMEjy2suhC24K3l/FV6fEpE+ztyz9nxbHwqfuWyJq8fjwHJuy4p6flSUQdUdBei6Idr6zRvKDO1G/Zt52PhMc7kf1dtaP1QKssMHV7sO8QEo14rM8tGZ6JIX8H346mKTlEDmzEgP9f680odpXzThtqrzHOFlwMf2nEbrGMIrifE1J6cbrhpBuTOd56R43tUZcjWjzwaLYrUV1Qa0eMta2yKxA6V90SiMIeWGwpTWtHj1lUQBvjsU7QsiiauBSVZ3CAcgJas0FnPrAEyCb4Pt/dvaWfpwU/ae2lH7hedFbPV2hcwAsov/RvlhTbxV1HxslhvdzAfOa1KV7+bYczmg2nCkKSrI3KZ5rDsJ+0bC0IflxySXCn8n5iBb7Ga6ZoMzvlbBRyljNrXCEOqQVUbryHuV5N1jU0BzBGYVbtYTli4bTeMRMgp0D8/bkstALnAbHDs8OqRCUQz48TWf6zfa1oXG7TLP0dS0lA48BvtmKsWPtccLWC1NYpz8lvAaOpGWjYu1BRVYrQLB5wQ6jqhTmMB9G+HdMcsFLA10zmqN9p2Qo4gcrOTIl4sirmNlXb8BOT9pUpUDJJfpWtVi9ZcAkjbwsyua9czTdTvq4K4tallW89o6x2WuhTBR/xWul3QJ1aNikW7salhFfNjhXtsqmrep3URgHm2HXsRFNe4MY6g1Xkoq/l8F2MI5jPwP0viyASncUU9FSQ762rVrVD2GJn2JYrUD5pSVCgP3SMJiMC9oKyy/nTlEzRMzYkax+03Y+XeSt6Lz2JtxkVzRU3RlQpeH3+Dw7SEH+fzK395ubqWlRWgd5nkey9zUvibxPpG2dhLEPbO4QJvftziZO06zBfO6sy+NaiTIuH/MKZmch1G0DTaCY7Jkz6SC/ppYHMP9u62oTGhYECz5wabCW/eHvMPakAmWfSvIB0zh31lHTgQirfveO+thGQCVNeezwbwCVIief/vVQ4QUPvtRDPezdeLIdChUTGZactx7mm1Q8c26SQxzO1x2ir7pXdxtapNz+4LjfpOvplUAq4fcbfhJQOXUghD97dTYXD0HTZDS1+Hd3LfrAVIkIQ4YePbj1sl5lLrGwlFv3RH/1daiVU8OT3jkoxXh6iBv/+sfho1B/GXS0f7yoknd+lyOiXGUyZEAfmQPKUC/2khXqGQjyAspKOpRyXmbpyI66wAGDYNe5/V1LeIm1hBxuuU9UgFaQ1BTfgg9Dz/+yNsDspqhYRrK0mjJIXl4NH3rSnbrkWZtfu9fBpV7QChak61/q5x7QR2dFWqzs5Q948frW4B6+qHkCnzChvW+MjQyapqkKXr7IdTROgU5i1XnLDGxjRkkQveVRmNnHUwtqVgfUqJ6NEOAlm/HZo2/9wF8USRSdOfNXKkHYGQCubUjxHgbAxFJz0Y0kmp6yFywFHQPrgWxm6mif3cNnqBeVEoB7hTowTjxJ/o53H5OjjS5iOfQk0KNGlv7RQ3mG/nDLbBoStgyTYF6cOrF6yb8ia2aSEjm1H6bGFIW0KdcfY2rTtF2c6Jw7hVwK/oVTaceLBg41kN6W3ZQqVF7ID0dR23Rdncx8Zlwuuk4gRYZ5BoTu0BAnSoUQxj7f2SNX9IDTnqXVcmEr6qD7llDEU03DMqTTxbv66ThxmjSRdDoqFvBYj8BwVKjYAyy2GTWjh4o50sTeWVJ+48bWe2QY1kub5HU2AAela2GsCixqbRlaMIYFjmilLruKUGJwoSinEj/36SHh7geNAOLqp+tTtfni01CwHesenHMFSRxpZgzEyW1p1v0ruVDki03a6DiU8DAcYuvoA1fKMwGdw9thKAzQ8hYNk6OB/a+0q6vC3tZvJzlpNUaWq2cfgAD79R+D7/uhJgA2Q1erEvZfHORwkL3AjFwxqSp8JCBYI2muBNnlW51JiIydrVbqI9u7Cmr49nx4N9cyYANfLWuqxBwnu1OOJ0hrtwK++kkvUIs1vXpBBBPpoXsqZY2f4MF09BGL2YbWitOE2tNa/8VpBNZIslWcE5mjLdXCX0e3d6RzKx1cHl+C/CJEcM1/WU3HyhA9/Ju44KE5rI9AwSKmfCi1hk15NJJtVGfy5S2PojT+W/nTCxPIRNmNwmy/Q8H3X4msjXLKuZSEMz6M73/NbkCtXsPFU4nSW4ZmjCMqKj4NeAAfQhl9RB7Uft+7Mkx4JW6FTbzlkNIdSRzLuAB3/ZuF+FsFE49iSPoaaWZ0h7xoaAS1JNz8ZIkh/HxxFo3BMrKs70icZI+EKgL5A0Cm/SbM7g66hmovnNicKen/J7bH0LYYRaR/LzGpsrL/NWQPohUiznYIxl/xmdCyKq//sFP0N+hZlmmSt/ha4Bf0QtcI4Hf1TZx26wcCj2cenWkHE4Rw+h/V768TBpAuZy7tmgWz3gqlN4tlDwr9D7/i+5HslPiG4AmQp0FDp6yQTNh9VxWNBWQTQHbdGQgIdurbQ0gpF0dTMTvp2AuXNK2MEzm6ijGM3c4VToh7w5zOun+o2vVu+R6vI702KAD/8FL3ZXDB9bfemzmfDsJY1qK1av5O42JkRMeMCZllbEJHJsJUgmtZilBRzv9jCspyRcPRDHISJTSrlDzhim9+M+bSJF4crVaNauAbHpM9a728xmbKMD/U46QMAnJ+3n4BxaDA4aD51XE9i7UZVbsgiXdOQowgu5QpTtFMT/5m35dLg0FnF9QrejTSRcgxEpYVl8DVMhHBS5JYDqc5LEsdTyYcxkgatc1T6T3ZVkhZhdiZvbaIQSbhZZdY3FGNO5goF81OKoctvjIeFZcL3WYSaZbW9HEXlmdbdNm1ROW7lkMWYDxgys4OaS1Auhdo7zKe7756Xq5zqfbwZem/S/rywOPSGAY/709p+7+qhXar/EP2mEkg3xpGH4m3FSTQqswB2nYL+X2CAwLERxnWjbPEHx/K57fahqr+JbrEHrigAmkDtKJJBAXCLH3e5oEV7fddoRdgOXPPRcZ+V1gBjIENHrCZ4Nzc4tNDj66Oq+Hdtu8uK6mjZ/N9oIUlDjMd68rk6k55fv5DO/1wJ1oAtnOk75iLdLjdxezjFF1JmBg89uPBHSFS/EVg0XW10+IcZxSbQKuu9OzB88VsAwZsG0XR+jYELzzHK+yfgch0wORWZNubLZ79aJySIc1RURsqeRTisS0hXP3Vho8OorG3rPO8H6uN0WWLH1pcL+Qx8I455uE3ysFH02D66Uiy/dmcMEUtbtfLEY9ID+jmyug9zGzTbevCeTUCJF0WJVPon7Ry1FQy6F10RHW9En8uyCWNlQDUIGBw8bJLAlSUcSwUK9HcBM0tqg79qxH49qB2cC0iq/MfWbrsUsf4vsgQeUlGm/Qwndf/rKrMR/WqWu8SCUZHLcrQEIoKGpUtrlg/XBa79l+MEC+cPUDAHTiGWPAelyS55bXp7/cyTUrzGLqWUqra7mCSmoGV/x8IWVkNVsqcsuQsuBdL9pau+3x5GvGD6mSaTr4kkznkErwBMpko5Z5TgjVYoSb09UTtfF4ftUCulYHNn4Luvz2U9FMnAiXcY2Q8XwTDhqgGPpTghwhqffhsgcWNEAWtAZhlHqDJJWClUu6Y9Jkozeb54LeS3t1DleK565VOZ+6k+uOWOlWp8tY/6GXgHR71EESAKaJxrpmYEVJx35UTl4A1qVw5g6C+3gSuAcyqfzybsKcOk2kMZaS0iFC7o975YKWgD+2WWxJxEE/tJ3+uzf9nKrLUW/AsmvlRaEDhQfH1jV1tXP1VLm3BOkBDdCfKEE+VunxDV3qr2ry8v7ELg5hb9hbduhhImJqI00GCMlGDvzGnNBFakmvGWqBNBh2zSkFhBPtH9Vr/BM67kaizDAjyLFOH+7RRTUW9wM9rSww31cOiXKBhSXAb0ixTs0eVHlcXViwJIxt/6M3ChC2a1eDa56kHhQ59dBcXOqbdUvaTVGqkRT9n4a/xC7U4ddBMGz170v3kYoCdrCAVUAzSMmUCJJGMG3nAHRO1VkF2mUn3J5l6O51u6OErGDlqca6V1XtbsyOQATWXs1tMa2Qh4+tqYC3Fa4wosT0GtrHgzKKUX6mStMQPeqRErA05PB1vsWat6N3gDD3ydK+XrAsnQ++ZU5qrzVj68lbIYI7y5e78h4Rti8Z7S/kUjmVKf4Ml+/NUElksGtXCNnxKCbaIGLbLA56s/wbD7KbTtfoT7rOJJUp6cUiiQDKKg5uSxxspcXISHFIHvmFOiv8gyVX8CPcfE7FgPF9R1G9GaoRvV6URrx0orOtCpLpn/wRsve/6iOMVqog/cIvEixIsGGcbr3FOs9Drm/MeX/WZxr/D1SqdpHi6mVPzcp8DSvT05nON+8AmZEZL9cwz6aWLUsSeAHdUyB1vUv+2871EZXQi2s+9M5fV3WBEBy79PempmJrefidS47hRsUjZuQAfzDDF57ExyNeiurBvPicxqylci0yKIzQ8d16qjpzuMud7qfsMJYSuyk2U7VKcks1/3Bo8dW8pAeZaHXkSS7odcYq4DICwnIas+RDmUdotr1c7Qb44uXMkgdEG7cz6DKrldsx0gdufJ6Yhrx0eXD48JUuK5ob5VYkuTey5rXJho1wt+k0CwdIg5OoDM4lAKIaR5xXm40R6e6zrLzwlpbu33VdrFVdXAAnYhI82hpsV36MF3Sk1gBGhIPtrMpnkLWdkk0le9P5ifo+WNqskcWdcl3DglLS3ETkJWPIpxxHXDRo5AkxojUN4P0KJ98chFI5ikV+ykriru1blA0QTXpPtTWpjM6JzUkhXI60thsRqa3BY59odpfvxsU59L7xRN2NcebW/dDqchX4g8pByd24sureuyfNV7WQRh79rBEhvR47aFJ5AFXH350Euppe0c8TE+jFf6gTIjWyCsiJVPciVULEP5ux/uo0ToW23vBSQu0W1ec/R0JYYScDG3maH7U4RphszQf20QRq+fWt3cS0qumlYqqdTgOhdxGK7HCrAEtgES8QVOmtHibM28DFAgVh3rv/GA/mrazkrNnTTXTdV5Ly6in4ZF2SlSg8GpCFCAkbNJZqvVEPhJLVKz7IPGHwD5C56+rns2J6+6mVFSdnk2N+9AMX4QxF89aNVkAJbkT2U8KqKKlKvwRnvRyT3t4cOS71uv0b5KiDRiYPJ7RNqpvS4WTuKJfKACdfO81KnChMmZs2erEwZcA0dG33BipFqdHLZkSwZUvfgoAzFJhKjiamill/ii4kwbGJXGoiEj8IWbqtYcNkbuMsFnQ7paARQCQf+rRR1pzdah/0yEPQDRHP6L0+Wl/diW9vey14xu1AV+gE1DNtPNZGP1hKN0dBHiuI24LTUIYtoFIuwcYCs9kdQXs627Qwqog7PkDUibSvLKIkW/BpJQ/spY6/7f25byyWoScunSOWoQzV+w7R3m2kqFfLlj6325xul0JdsmjtO5dk4YCD4r7dXrqSSqMvJ/ADl4sOBSGOTE+ah4IYVQVuTSv/1N8JKsV7vpG8s/hqflzFmNiWW6xYDRWRkxopADPdjP2O/HwSwXfIaVo1lqDlawETF/LB19BFTn2X3HSM9hnnwp4MWBJSj0+4MvJKJeD5P23Ir1IDmlaOVaOmCayYCYOQxdtqO6tEEiS7O2uqxPK3ECjufAjwJhRWeeCQpuEmH1gNpz+2qtY2shuSX5pujf/SlZDwPV7jcTov0HZfBjMt6i1scq70Nixc+nYy7V63LDXh5c1bdj+Ian2yOc7RCDA2aypH4IDV/lrGJ0wdfE/86inOHzBTaQ5aR6Y9Y8GeyMeQzdwoOOcvODcTfi3wc6dQPCnlM++3pPy/FVaRiX3eMAc0wk9DXgC2YaljWnuZRC84k60+rpZVTVoVM4LwfNZIQSx4zi61iT2ZBejlViCeCcTsjoF9XgFVCTprc4DcXVVpvcRbr6ANcBdxrVEvSMQ9jLzVNaRk1iGnAhmnum4YmsvwDHTMr3NgDBnOYILEuYCzo7khVy4cBVwJEhaYqiB0+v/ie4Fv1fkCWqEj95xvKiEFUpfRq2iGKz/lkQzDhX1GrB0RvB/a1WYuVkwHx97kdu5VjZw+ORNQI99Ocr4zUhI2VaNVtkYFByw5BuN3fq8439xzBOCkUktjCUdIgc0nEkcnIQIMmmqIWbLyvOgvhKOrh5gwUV3+KkepqkZTHu1muvRL5qmHnRCORgsU8w4/qWJPvnfre0hLFxZZTa4o/PIwClwLVa2xH3fYPfZnzgk0lUW8fapuHbKNlfRFpi72E8fAAuAQ01F2Rw8kqh02O1YAcJKR3KaL/g+B7CLDyR35Av9hl8uvznUxa3DvaULspgZ+2KteH6mOZvBC0AlnQZwLZ/7FvPYPou7+o4nUggQv/g8iDxdQSdqzGaX96HLbAy1UYd7JkglV6MWDQW9nppfbRavpS/OG4ECsVbbvNZDBJ11LZwPafKRKxZsHlxH7fGGWbxrw+VTGTGhdb2T0HAm7BCOkuV7MX/gmkj2Qgv1pnxTwYZt7BKXHkhnbzoZyu+CWUlhHDyOGAf5PKwEu4NCRCIrAQ5Nbin0Rol8Nwl9l/ROBTdkyX1I7F5uxwAn+3CXub7lnDPUCJaKrQebFTsIljTzBZ3MQzaBJs6KBZVYTCxf1xv7OO02i+FgGeBl9rwNmnMXFxMagEDBGl2EJH3uCShJM6LUpi92mLp8Yjq3rVeEIVYy9A93uo7bWTjCnWYAoTTDEZvw3Nj6RaJCVLD+P0TtQSY7+pXEeRmVh05/8RKrunzctsCsk8HTs7BJMNBp3TOlGA//3Sw0S6wZVdRN5VSssrmzK543xiuqEQmHxe+xsrzwZnlZwxhzd1ozwi3NCc8X2bYwDU1xOB33BilJ6O+MYUomQppRaTT45XMG/SF/4RBbgQrTAV0kIMQdshFwK6hzDdyc6WFK5QoJ4GFQg8AaMKGzNQU1Jbw0Q9bDn8czyAoH4qaho1slvpAPYdP/xLWgU9Baxf7HqdJj6FXpjPTAepWVRmX6CiW9OfdbC1MlAl+x1QAbQq9JXijK75dfpyWwjpI2acr5OFWNJ17jmvt1JUQdzseAC6ubJoXkh6e7PUzcwLTj5kMs7tGD07Ikq5Jg7wmPvc4WhkflAOAzKHqcf0Rl/W9owMUslDKA/zNtywh3DrNmLo8HC2/BtNpgQ+fkL2niUtB4uHjxw2dY5Vw7UfbVTD8eYamfmt1Noiyllm9S93wEtNBrE8tyDMo77+mKw1HfC6bUNS4N9mL38lyG6Yu3Zcf3cSlq8Z3nMlZKGXWh2qlwD80UPFfvAURzPYV1y+3iviCb5TXrMK235l2fJMYxrZaqVPnjUZzZN+HU39gr8oJIRLTTMZUA4Y8wFWAyd0hb84ucBoGySdsyr12+Zn2uY1O9Go4GkxbFz1mKdf9NJi7O30H07tw2NXQwgrLTXlktCdDD7A5ss3dy5ZRHfgzPIUMZmZ5K9vTrhnKvMQSkyqi1ELB/BysgKkoC79C45t/BqW/ddDneiHEugCXtEqZZvIgtv355Lpb900ONLvy+vGoYSJu/gSCsPZ1wm31le/v0gNq3Wg3is24dLSdrNPTaP6mONbNRz1adbOTqBVXJjIvMeBThp4toKczgrJdshV5NGBPPGB6wIa+Q63q0HUQCqyvWcIrfe3wLBC1M3UuWlSaMzI/VlXdTlbl8e6rBZ851SilPNs78RCfVuNC/RayZk2/APMlIBA6QCv/jpdwCPN84gpT8fwH2SonNz7XlVeq2t1ty4B9GQktNuvssK8ut0F0W5JiM6OQaxLoINKfRL7YtsOgCKG2QEuckBg+3lcq9Htwhbf0F9M7V1+yhMq135Gw6N85TJ3WoKvkJPr3nFD6oLwvyu80TqplyribqgorTQ8vtN+gIXPmMecXSw4ead9dyxjpeMHQgzW+5KdwQ+ED/Hq+DuiEC99+MkdCY88VDZ+JWSxIQq2eJ8aPG+yU3pGaO57FrM+F3W5UkPwx6UyixSiZq3I//xaLc63QScSnrN02uigr8LJP8W/NOREDzB//bKCrla3eyGv0c6JsGuK6kps5MqtNW3eDlhgm/JCzZVKGOiAVL30gofao3UDZ9pCPuUVNlAHmwYiUxQsOqXPlWX/SX/ZBeOEXUnIjgQjCwiosn9wg37vzRjdNQ/BexH7z6QOzoib5HLFnvQhtCyAQrv127R7W/2KEdDWBN+qjyyAKpuzaol/fXFxaDVaXgOY3XqX+XBWvxmZCxm4SKGDgmGVGYUgM/QNcOerN4P3cCY183zcOsbxJjMmCIA8rQ5ZQEOffRA2MhKYzvWmmKVvPxFBoDnXcMFZsXh6xFxhw9ycVK+h3QeEcrplke+BbEHhoRcrrq6Io8zwvw0wsX3T3jCBHnNO/1Gihqx6pEkeYIcIDIF2D056DoqcPt/xgSGGQz7vqhTdbpiWRkWKkgXPAROeUqrLsC0S7l30QrpK5KF3Uext6MikoGJAtdSfFSe6vlyhXhFKesbTZFbrWn3m2z0qsUTHvFODnaEODA5iHlscJLLAU/uKA2h7wS3UDGYj75Tkrh8RGYYL97+xflAgVJ1hl0SvLqs2/pHvG5pIENHfeMLJ0qEfXnJkJhneT2gdtwl9ItKQIAVx6c25Nc9f6W2oil7GSlKMg7zkEa3dUbWXvtE85x71k3UPaRQpWU7RVowCc5KsJAGAE/u+tyH2XnpYXpDt7e2BdzRzTidsgHL8TXAQ9oKHGDt1e/xMEfciGRnr5jS3Qv2dCNxgs6JasqCRhJjVambqUdG7Wnil1YHRxQxFcnAZvYnUjy+/v8pyohyBR0OqF0/NMcTZFL1a5LGWI9/xIUVAtOvJq8zoWfmsYXgwz6vwFDrGIqGViui2oxlVTIDh5WalMXdVG2+K8xsLycbDvCXsAw32Fyu3a+Of7+VBqqR7MThz/wliSchWkYXls5YJuG5uTyyzKh/y2i3xUDst0BOoTMjCLr8Rx2Vv09BN408QG4RBuzpR/FyXQZuB1Nk5TZR+60+n+DIgE6LX8FADpPM3C4GObC2qQGiSIxj87++8u6Nt1qM4jSfIO4qy7gMNkbEnUtG8jHfkZzitcMn7nerpBnDgxi7APXsZrkdGIliuxee8iPNIX+KT5JX5mIpyHBeOefRQ8uhpGJcz2JB7NDSp5Xg6TyeAMiKGx1ldUCFOwkQwg76KGKwkhp7JFcdPhHglQIjmytK2S6YJBB43bUTftOutkUtlj2hR0dPr2CFJZIH6e2a9eWq8UwuRzlYZnYO9WmJf2nQybaq5bID0oHJtZljQ9mdaGppMxgXqWwFGM1nCa97ljW96++owRzLI9B5LFHdxmIFD84+UQ3UPO9DqC3rj+0dbHFMdQVJ2fT7IGUFtBCh2EewfLbopYS7lGrZZypjjX19dRZgefP4AbLKtbIQ+GIS9obc8tQh2bpJNIaGHqaUniMU7ugFb3V+W9nVr0FNIuM5006jkqqIGirDeayPVYNvoKwrTLhhJfJyxu4YARWe3z/pMTW0ftzbrVXqb+HY53G0oQr38BeBzpSa/5JTY7gBWe0P1MFg/vWUh93I5FNI2et8OWumUZ2vv5GuvE6RYXNs7Zopz+Qu+cLBArpLJKjXu7UBy1HLAnj9AdaH1qCBSIW1sEy31ZPYLlQ4MCHFwumrz7MpCNDeWDhraHd2VZOrblI54hjNttSkpoNxwNtMS+fbJdxaFzUJWS/2fWqA+/Du3HDppMPjvcJR0Gc79SzXMzl1CgbgbDeDKoksC9wLIpSlroi3qwNGBqmR9RGImPbHNgZPidoZNKLDbVWjodXcdWDuvBl3a67A8dYdeCzqRCH5+75LXe9tR234Dr/3c4po/QNrC9bChuD7jA5jTGQgU6VLlH7mWCD/LMcyxGxvZVGxUyXx8LsEygGAYff8jkyxizbbMzMmKi7bWLhhj/gIFxLBMq/OXFNlNEcCXYtTEO5mBs8y1TvfYv0A1uPHHCtaSz+rsPN90ywG8Dg2lMdWeg8VAv2pZbbJYYdLLtuGSQzbvM1IkjqeVpjNc4oSm1ljmhdP7OnrrmdZgxVeQnfW+M8Vl/CRDfiwwoO+U/D6IDylMGrUM+I/JOH9KDANLldzsHHiqxQkDfIY1kLq899Lf+ysvVfgo+XYC2TZAuEc/kz8yUbvgxlexrpJIvbWPHkDYeaYjbFglL0vVw+va+p9zXYPasc4VTu0dLpyTO2Ok0BvsmyE2QpSKKm+MdEzXBabct3rnKMbAKZBAP0sIiMPT4a2Vy+k//JNd7f+nsI7GjZCXdu0NnvVWR9zi8/W2U2LMXujRJOaooWKOYDyfzPnBFKTgG9ZFrKcGwMyk6vM1uR7lOJaYzQGxwtrn6A+PeSMbgNnnRzOifVAObEQDRLTs6l1n1wlvyAglmFEyMmn/uTp7uCnFRODDzuwhTx/ALl7+xvzZ2JicrAG31A1fGFXmG2QYifTLjypqdUgEufeieLeHqG9dc4sPdNALq/BLNNimfY2CUKJGFzm3Jskzo2TjewcuPht8aA2jj40bYQ32qeo2n4k/lCEBiTTlBa/D/dn/rioJfqSf8hTnvIXL8ZMdZMr62O/WTNQjNR5Xk9o99XqPwzaXzyMxM1av56WrVhowowfUJ7VLXVX5/KrMmqI0hEF4lxrrnQZzAtzQjtb4iLJJgV3yVO45ImATKBH3GvwQmInAeXXkytSjr40i3zWFE3jeYnRTJXQxXyy/4BX/zIaRYoyqXCkGj/W4NYnGbeHJK2yzWlrleGnnNKjJvxOe1jNGqJJ1qZ64oLnDwSuXYBK943LH04UjiK1bXYUDDfSexL67BVEKq5VNgIRGfuweYXxVMraJlSDq19hSkV8NPq27Iq2M0zeQRVnvO8cn50M+7b7cTdrWB1CcfaQy5MejkHAcx8+o8O3RhJXzK+JRxBJwycgMeA+PM2d/kYcsjKPunsM7tz0bdzKV1JODGDpkaJUAtZpG1RcbsXCG5JJEpRCcqFrOHIIeFiP/n9xZbIIm60uDUdIzPvSsHq8pGuIzBtNU/e6BmipubRfkKMjae6NVGmMNKgkBTn1hMbJkN6jKDcuC+CtSq27lGxXUjOAoRu/steux8viZeWeYKRa5t3oPnx2S9iSTlgeugxHJgZdsC2eUbr4HE2Sev1TG+UvPoCJI6ikhsnlCQNlWuv6D6zVhd1pgYXJQi3wM6tU29X3oSq7DofUwCqxT5i0JVBfXtx/Ykj1XCGUR7r82a2jKwBw5jykMR08PTdVW80ngmlOXHHLHY9TMgOqAcU/rDo9Q7hsEhZG26GI779UXoT+P14qwNWAE73y7vResyR26NW1EiyfjkXlBx4m8Q65z7V4yMzFwI2cLvJlb3XGSlQeZmvHDGAcazGdQqNy8IgXHhj7nu/8NjQCzge6ukP05kTvjltFlS4JGOdX3y1ualEXXXd8puHYmUq5nVzZgeorqEDX+1wEirKlgEHV5wN56yWYNXyCrOQOteFsL1xJT5vHA9FXhlnNsyW8mCxUESkqQoJfZZM2Smsn6R/Om+PrDHFZ5+uDY0smWC0763bySmqoM1vNvD0HTNrCSsaS/DKDiwe7CuFdAmt7Cp/2J7jPwD47RTAs90enDDRs5Rx5CqMeRBmo5oPq50b5LqOmNcHQVYv+XzpaHFMo+kJvZAQHM3A0iEFhkZoODc9TOxQytELOyssdR5O68CY80U43KDWJ//50wTIr1SHUraPNKRiHcU3wB8LSQyWHYSdViP+uXjyVd+EsP6ztZCGwDmz3FIuxMwLmdXD/6smH9pxkBgAlMdxlNu3JqSVYMvpQRB+vA4iay/yvGm3YP3uMpv4MKA+ajohTM0tO+4jWp/t6EvfIM4mK78dT36UHtY0k7llReFL3QiRYwMJ73gNTQKE6gcR8lEgiiWh48r5AVEny2INCGiXuGusUREeh0iRpLRjIhbyYNjUnEyBOTemL0B9iYc5spV71nBO+Uzi9S42gEwvJ94EhDa+S/xcZ0kdZ9Qt7gRGoaV2Mk13W1tLSDcBY1SQbJGrx7ZOLCaJcpWkDc2sTU5WN1Y/5d2rA0QBBTwz/hqR/Qc2vg2V+soe9rlYVKGXc7vdKa7OTclptzT7unnGZl5yESApfYJUWkb8JzMXbqfsvgcfFQWYp+ZtIcJTnuyGvXaH/zjW/UD+5XjQVRQZEsDZ70sNdjonMsP7qA/cL/lHmfYf8cPqfr1PkbrRnJSKq0OrTEfsD/bOCokEww3Hjh4+95s4oB5YoMzB7vH3N6iB8c5C9VM+IcXzLY1RvdenkOI7dfUWyNA7eEIHfHq1HQO2MI9cn8B8HNL1g2m+AklRa6EyHZJy7CUPZ2Ffr/XP1TIdKZex7etiwuPOED38GfMFI4cLVagf8FESJZ3lDsoN/jOdvHRwdyHSwCrRnNnk+Jji7v0h1A/pvKLhDRT83yxouJ6MHFkqVE77MK7ZOAF2lnUcprkS0uz3/blcf8GJ6hfQhA3rmvfm/ypj+yNc9+2TzYgghyjmJMXyQ7/swAHIn8FEPU1ZNVufvQsAk0At+lKQka6ezoJ9FPQD7I++Urr0sZdbc1kJwKTDeHra9OC3DGidni3eh6/VCwEUUur9Hq2+stU4UtwLH/Y9yQReHfDHv2j/pZUcurgXLJdrKhCdLN7+kOXYL1FMoTMsxsRM3Y7e6s7ofJ1dCy9eZz/1J4uHsl9B3e74wvwlkIUd30x3/CyfgoBdTRMQQG55J4shcDbY2hCmaBq56tYt/G759iKWzfU6Yxf60o7o91FDTjyeJ2sQtSR3OpZe3gGBNj7sEcYeo4JwwoeNtOcP795HR7m/a4hqsuSfML5JVg8TTiDglDgCmIaN4MhPiPKlX4eApTtYZLSVfziAzK4tj2OVXXdEAFTwkEk12G3VC3wP6B4qnl/7VwnK1DCabM+OCUwJACIwg2k+NwuCaPx5O/oC8AaGv9vcWgBGpgEQpUF3nZXqgzfIdU2llJP1s395PtW3p9sQPCakbrpCqbgsF3DHOtZtJJzTUtOHeZW8pMFXNVYXKM1M8L2UwQqdmwihEFh+4Qm8rLmvWXRYbR981XjkPAd1oCKgPF8fHmKPEhi1vrnXjXpAxMYqcNTWE2Y8WfEMsJapBRifjSC74lH+0NYA0gSJQS8mW16JZaLKQGVR4kaWRbqGrwo1Y5iRGqhgOToXfjcM6NjokBFqdfURrvq5TW8t3pBvQ5Ajxe5sgVJLRQfFa7Z9G21AmpCvyzjyCkpcLpNrz2wtCRd5ghFOknhmlKUgrmCCRo4wacNtn9YteCefavYZoAjaVVLySk4gXvh7kKd4hAxm+/njBB8dmOB/4HzxQn00TyO1xrCTirhf5nCns4UxeZ5rTHmPLVME4MOY7Nzp3vU6nviY2JhcAAuiwcjKktmU4FkIMwkRrIUAoOV2BawZqgzUf/jVabZe4589frZUf4bq2WjB6czNgujceqWIAhy/San2wR3o8dMuXk7M4HM20WZXTVhAs9ggJmodoRgdJ+mKtydSC97kW0Dm4plkWwcN7kRHNEo9l4vE/p6dBls0YztgoJBNo/sIceuvKfNGFhjEUKCgtX9s0ir1GT41XxFsZTgEhGe82+REwgPR/sB+zIlupQu7XoROojkrr8kQGBNtEtiZ1BNcKzHbrsmNMlcmqE/gnXj3DF+M/XAqHGfvZMu/K89zCxSNoTMnLypWBb0BUHwm1wKtv6QKexA9A7x8UMahzvgSwOJ1WmCsd5VrYZHS954VnNcv9JEDWUQfadFz5sI2NJvQtAmiLcwFgRJ4oFvVWilYb38YmjSJRq/X04TWz31/pvHsi4TNdf54W9ORpxxHxt3RHQlkc+FIV9jAKisOiI9cwxNV2/3toSZie0KdkL7T8BQxR3AsyRLmnoQbUxEcp1bZYX1qSajtiiNaiJ5lO6JEPfQJHKXal/Zh1pH8ePSBEthvkSjbD4OR7YsubQwpbvdu6MotbWmr6s1ir8na0PDY00YCoROKXipxGY4ir/lu1AsIx9oAikCLC2tCpKPlXi9wtuDAPtoY9QDy1+KsaDXG2eXkZ2xBwTV+4yc6rDmhgXuM5oe6sU1ojyjno0kxDQSxhU4Siow2P0EDS4E3qK78LPieofBmPhrD8AQ33v9a05bZiPiTxwPf9tQ3E49so2JXZu1UFY7UADSXnnLQgcW8q4cAYEv2UKqyc3pIxtTaB7QUMwSqY7yGEEz0dyw1+q/cS88QJJoZcWD8ZuE9o3m752ri4xRsxQpSyfapTSktm5SiZWHKVODeN6Zpz05ocMGjVMFJoT3ZpVXhO7tuYLMMq/W3xTj3DZs3yRJxMt0rb1LS13Ot+QrzwzMJl6/W8F4udRUDWuOToG5Lf1lcbOGJFty8FEU9HNP8gquwRFIM+EqhszpqPW7eOATANy7SUbMAa8lF53/DaCMDViNcFzRcaGZ6azWJNFxa9Q9ZEHBjDIkiVzXcfSGBpsY6+DZcJwxRkHufK/gIvl5aIvqG5lN5Y+AedJb0CCp+aI4wHCm9P43uljVsibWtL0GQtjEQmvcy4QpHS1Zm3Kogkf41qCLaMeZBXbrTtbWgqcdyBTBwmAWbegrlkYKbxOhStiycWMRvzevmo85ca8RLCk51R0e+cDYNxg0qBuDYhzvbHE1tYkxukHZrsXkoPTHAo1Jvr1fGqVu5AKIg9h5cTK/jnhTOEsu/aJnAwRl+kbgupqH4lX/QgCDv4Pz3GS7KMMuaVaOY1fLtKOVOr5Fshw3gFqckDO++uxkywBOKpnqvRYgmiRq49gyIsbolG4BQQXhVknvmg9LhPP2xrLrJJxJSxxoqjVZw4N2aoMpf4UGj4ju0yNDhE3LT1VIIvOvo+NKnp86VD5T6KcKhljrtiuXul2oEhuzRbq/JtuBZhj7/vH9n8T9hVEpDZdx0BeFCa8abduRzG8VZrVsr1Y/1+0BUqJMddmfFjkwVgs911J4FMgbD13fOChGz65r64td2pC33r4JbY5D0JgT560LoDlGu9LK7ojYeKHIZYD+2/FtVUzKLFyrL09FjDbDRpQqnHUhuzFjl0xkjAKbd4FKOK0QVq1KzMlMCKPWYRYZLXvno+a14aQt1JPk5ZsfNf30tpyf6UbhIpNfeeqsEa6sATz/unHCpylpcIt5O/CdoSZoBolbY65gg+RDCcAWBfoGaDm8umaBtWGCdwbXrRySeLVeG8gVZVn44NARAf2N3R5KkpdizdDUx3GRntGLCzzYuZyG8Mir/j7BRzzAxuioPdIuSl4pwRmblxUR4+u+33DpoJcURN3e1ihw0GYXC6/OKlFSJnULQBV0kmdXTTISYAfuonn42Z5q0XvMeSwS6MMR7VaHNguKGJmiUP61HUalFtUvnBtIlLY/gkvc4eU9YBhQB+nLEnxyBUtJbAkikFACbOfCDmfF5NxS2Nl8YlDsdYNLY0LmjmRuNHfUVzovLvngdJaT+Ltgj95fuQ5BeAubJFA9qow0xLbr2BOGix+v7Jsl+ii6giczc/hq5oAvqgp0xLCNdl7LunCpoRiKSWVokNiB7npPHpHBxUKPIeCo+Tzskpb9dL3WmeqyYFnbz2iPTMIywV+bAhSB3ARYZg7CA4L2oM/xHwgBNjzngWlXejbbMWTSkfOLIiJtWKE5Wvoftz8JTrj/Eyg0KvuLv6GXWrwshS38EhvAaIWIDNnwRAuXsNzay2h11s+eo7gntCcI2ZGNZu79WkXwS8yMSacXouXtpKiK3ImV5uOnblES4TpGP/nYTQdbvEDJN7nl04GbV+1U01WiVGF6E9Sw+oJhYz33aQb7HI47b+YKZN8vTbFkqvV/HveIssaVd7JdmURmdoJrsSHV59yQY0TI5D1mlYTpf7ZUdxerSWXWLsRDCCu8JhRswRPiMemmVgQ81lwfuX4GsyjpgIQwm5vCVFHzgb1CN+4oWsDjtQdr9BlxtvRBZIO6FMgQ8BFB0YCvFC35gdcUl/ZpDHbS92Jln2niHRPuE8Ir96mnOLmEQEfyHByuLnbkJnvwMJFvMKI2PO3i31KbzxeHImpVs+DvoCe/x/ZhbeOpONQY3o/LCek1oiTIT606JljX/mQ/L89txxxfwv1qhiugYzhfOj5XhiNMqXZvwn/9cMsIGc6QW2jMdOoJVe0BlfNzg9jdZA4i/9qrkdUDyzAoZ2mQ0N2ZUXuUKabO+pbdR1M3sB+uFCkLVkzc0t6+7W1duAuQOepbb1ncDNBeifTN060wz+wWgLEg7zRzb+GCAcuAeIZ9wcVBvB2FKedO9VRZXLg7bpA5IjTaJsNwb2iwNoQG8TNvM9+aklcPU3++N4g8dZu0zDH+zb3hv+6cmrLDsIqimK7tyYexkxGrtwxJgjG2P3lsNjBrspfHcWfI7nEi3S07wE7PpKfLnew/14+GKHYiMGA0jztB+MkWEBTWy3TSViAjF53PJlH6jP0GSaiZyU7/VSwfaUdFxyW53c2t422UY11XyAyLglZYpB7Qz0MAASsvW7IyKLwd6WBrVq1AttwxrHEYqo6eDoI5I27sQFDF5aM13Wq2akYSI06vEZw8FUj7C4aMrEDi0H89W9OU9N/WEtGVR4YQ+9gmlSmzBnDclg2+ejamjAyQPil9D0CpYYNuHlE1RD+xkjK9Zv+PbT/OgzgRHFYDKK1sKppZmW8IbNBLpRzuqQJLSzJ2+hAiaApMh4nQbGyWoL0CbvtGd6dp1MZE3vDQRkTJNJwSXmueVHuYjkZ6R5oNDQQJM06XFN3LhsGn/3Yn1pRTjNLKzHl4+WoAoM+j2oZnRGljcYwPS4xzw9HRJecQvOSgEEZgEOlnDO1E3gdizgJJ6Mr8RroQWdAx4mrw2z6cVNECjtuyJSP6+EUlk8fA69Bfl7xCkIic4FChkwsqonWm1VR3R4EgiIjgh+jExMrXMIny8o7oMQfoiS5UNxgZN7asXrtXcdfj+z7XBI3NVvCQue8g68No9qTrdKWHwt51EI3dt3+p1ioz1Rg0Gx8dd+pc0i1XL52pfUI0YwtT6+mVJ7VlZ452nOpC7E3bLToQouRZadp36nzO4E1bUYrV9hZrgX8VYwSy77KSSr89tJprUjWSzNyfMOQUU7jXo5fyufi3OrSCBSY8gACD9x9Cl3Ikzz8ZO3BcUKgdDkUFr5DSFDCw5/kqX+MxMyBkZ+DL3gVN8WeShIgIji+0XSiz0dudLtWqR+MFcuvjHJXA9VzC32iaH0LHmpmrs0xzLBznZQgRJjgjGY8Kv1pzfiEVqC9rtFj78IY36UNTWag0a+adfpWCluc0SnoQLuIDttiVx6sWNL/goEQf8ch199aizMAvVO44bx+FxIgaj57bScAEDzGHvx49yMvKoSDAQNuboeMgDiHobrcVEJTmhuZtPwnJFsyBZb3e3EkxxQQWNouWLyMphYFGr5+F0TFeGAL1rDPSSDVk4zx37p1T40usXx9H8bDoe3J4Jxu2q6vHjHMD7R0+sgR5YcsP+cDYAU9BdoAu2yBnWj0FGPTlbaW1eu1Wtg67PLIDWjSdEEP/q3Qyi7uQt9e4duitk/vBhAdeWyaEWjmqTan19xFZH7UF4nmhX4eDapXHkiaPATnpgRp3F2WXIhi/zVxDmpHmLipSjiKiwtmP1H112J/0DKhiJa4s0+4fTtihbmiW8WDo7o8n/oiM3GauARLnKgu8W8ExTTRlH7CJx4ZBwa/xtpbeoAnAabHQwU4lQ84M9lo+nlAuEvXDnFwVVzVo391B4JVL2J8QgciZEUfazUMDJYlcoPfM9Z7Ws0L6WIKaaOHi8NjzdxafOnTVL2w/Y/v0wlckDuKFwfyAEJYmBRg6538swvJSYN1PIrZRh92LdJGPFIO3NOEleCzGn+duGd0vUOctJTFn6Y9a+4nZkcFTaPN2mYdEPFmK6o2mH7PY/SoGIT7R3ufYoldhK1KSz8XSQBkWWcaced58xM+0XO+vmeu4NiH453Af7XdVIMWlYMPk4SBD4NSGCoTnCb6J1jICQ7LM0NVWDvJE1GXcjaiYzs9xl8EOzWNkDrTV85PRbn0pGq25cWvhNX9gMWt0ekFDOLI8XSqoDhUaCXMFqqNgGRq8C9otqGTHp/sLSsUoOLWR4wbgQeF3hDB/GOnGr0twflv4Txik4CZbuiKEIM8ITznI8QhyVd4GlZb2bz6jPQKFDaHcxICmW5Szm86Pw/FsqBa02eqSB2PJ5yyYCJwKfeiLnR/rwn5h3VlH6QvZdXb9GkSHiURuLOv5Tb8VEq0hwAmBed5S6seG0QX4ljKKJf0iNRCWs+lUegEoqpnHfs4ZOHxLwem8do30LfswPsgTccjqvEMFJwe31S54BebMfga2CB0YKTFHObiwNa9XMGybs/dQqQe3m03tZQhlfqCcUMdhZRl2d466a429rJivbNmuJxqYVcMFu8Y9OvgkDaQKU7Xmx01McgAQmXFqjiPv2Eyw7rZMkEReVPbSOY3NpRcnt9zXo8NJuCn6RfHEQR89E3SQOkm5HprkoU5IfPTPBYYuXFhYT8ytMzJlnsPUEcLYbMDgbp7xLktw+XvJKEC3gZ98hPYQGIZx6ZtoxNnhoiLMxCJd4Z90xaeqb728ODdyr12ZgwPD15961i9yPfrZHwavZl3c8K0r4VrFmcGf6p0qoMWW5BG/xn5YZOdpzvsmSfdxyIn4HDdSfJ4++xWPxI/1M/KPqEeXiSJojbV+JrPGDNbLjBalEdKjSuDoGAXtq6nM1tTJIWMWtTSD6QKeok8+cHmsQFzJ1mJwt3aa7y7RQwm3+N1W9zwtsXhPZHTUnl6rVD+7gwZhoHcqIGtCMp2Up5mfFpH99RfdUCki8H1PKtvMOay/00WOf5YWrDDgm1z8WgykXfuuo3mDDrrpQOdmhaKvGYeim0yUsbjG/KAzZRqwbtJkJPZLSnR95gJU/L+SW/BQgGzZYLTD2oXDVIZpVudwAe4SDXhaUeJV60czAL4plFCbWSj4O6V//fDDoJ8HTq3ScGBrjew9un80/wlu+POsWHj0FIwadJK4f83jmuZwuAIhmC0nMyYrhOYsDoWg/OplftcobFOnsA0HEYcdHetL/CgbCL2yD4BfXHAH43ZMLKSB6lLU4IlY5C17Y4kTwQTtsKTR3VJWliQJANP6lUSRo87l5hbYawQ/GP/LMe6/qFud9hI1KqedTPW6ENLsqLA3UnOhvJoqRcw/IeUjMBlgk5ChPBjX1BTFLNPU6YORArZH0e/yuvSeXDgXodu3Um07PlbtYGelvE8xFVuL3grLcBHgP6IcTnanlduCm8Z/zIAcBp4pG+E+z8fkyFx3NXaCVxmaS30J73ZexJTnUP7oW53nYuvUiGMUTBp8Qc6XFWXEo18TO9mSxglNng/8Sx/iJt9J2PbxPpjr5QsAyWKdn4oYuBWZhf4QjDaD1SJBYeKZdoT3Z2dSOyrZIipVcwCwUXVpd7NGXvo+SAXRzO3Wobb4cC61sS+hYx0/VW6nf/orWYafb+1NkJVpqQmZDfyWIgLHXJDcU7u6dzBsuzKZcCYIzf6frzzyqJCbcTs2pbvdyozsVBdbTKp8229xlu4QJw76fjBS/vFja8AFr0aYRai1jOn2XRLdr4eSlTyQ7mso+LUO8q02Yr0ptqUbBLHf5K2zN7IYbSxI0XEeub/Wr6QmHVQtFx5Vohd+vLdGlepHPzFTMhxDz3UeSoDmZYp0XwghWk+aCh8mqVYaqSDWCg4555t45SE1PNFiJfjovd/yrXvqRgBe9mUBbMQ6UqKBXcwx/0nWmm6RWZrsqlSW9QeG4SiPjL0AI9Eyg96Oe9HK7OqL8cCX4Ap307By3K7donM6wNYJjBHEhilJilr8d7IOEqHrwRBxkcHybqo09PHDp+b9kKb0pDteS5nOOC29Q1yFNSdzylaGTHfbAp5RF41BNSuIYG8XwGFhmDmpk1a6m2FaueYwcG8SQZ7d+2FUms77cKVBteKuvKhkUpI6xTCOgb0VFlpb2zaPrOO3bbbE3ri6aIZVZAkf91bdDMkYdWEzLVTtihsabTvS9uZJZIOfBrxu2W/YBRrVCxLSTnmiNxtQLunibcaC8FIPEAXzWSZQTidsitPFBxBAiiWvlkp6ORSEQPaVYiXaG/NOUBSEB0aIUZDw1P7ttRCLxNl8LSDLtLrdxs8trGi6EogfAfOvl3IxkRFHNxyP5z7tuFTQM8ygqJSuihPnspVHY3nhB1oNH2AEjCzBsCGTKArlGkDYKGvEF8vkgrdnF1uPrNMY2ItnyYS4aKpZ7J3jheC/QRFva1mXZrumyI73xYJhVQSFHERwUimQwuMq73qBo20ze3034Yjud4cA02TMEGrSAB3hRHPrVaQsfl/OYmOVZy9uAb9e3b+GLTFeHz17T36f7JQiRTxi6v6O/3RE8v7HM01/kGL9cIj/X/7HnYgwtlKjLZsMIVTNTTSESCVBSMj4fm+lMSig9FdEHjIYJBxm9WmSTLfrBHO/A/Ov63tCB+54BJGDOFkBu3rAvV/qXL/viUlhCaYlppmTMmLkaDuagmuiwQ8JeyZS7Zq2jGGzw4adwxABGjyW44pJF3ui8VPjtWw04RpEwymc6L5hhqFYjuZ6FyEMRkWs6vPDk0NfZSo2ekrNjB8SRxJbFoKgL6Lxz2ZyLKr1Y7zEfPIVTj5LGnUKJKGv901L7pCs01VKDm/rOU3OZaUWLDeDIKjHURiivzxLg5ZbF1TK4vwfpBJbMhYiEYZ6yAjVjIAEaqEOLIbMEf83WbUWKFM6TwVarsEOVgfe7L0j5fdyAGvJaphwqT/0wAC33RqSputmdd/g+hH4fb66pKgp0U6FnYtv+Qb4S6Dli+bK74haGg68JqE6UEju6+Vww9W1o2++gmy5S8cAO5RR3P6BVHKzyN4lKmluPAKWnturdfWl46p2f7FkrNsMwLaZWnWeph3mXnfvoZqVdQsYcuu962GG1G1MEiIRQgu1V8lZ/as8X9unnyzwe96cjR+igA9rdvTdWbu6y++8qja2LndAOChuSqmVyZD4IOqmhOHnhbqUQRVWmZT5swsVrP7UaMw6QvO0kCOAdgCrOoRwf9lZW5NgY3sjxWlh62FGpkXKAeQ++gFOsmb+wqY0YH9+vTfAn7Di3GIONr8V/oXoX4V7f0+93xp22LROM0TXFtLYkzvJ2qX9l7l1JXoopkQA7fPGwEDE8R4hbwIV/bVxwcn2GtQYoAwBCK2hfwP0PIKIMgJz9h4UHerWMvqt5mL8mQq2a01S3Qzl6yEWueD/G99mKlJ6KvMmgtHFGoXuHw1k/5DT1BWf185aJhjzndsH5Z2GoWcbOLvuhgXGhJbzB9T7LXTNYH1E9rYvxo0c7u83d+MwKp78XM1GEcGh8fVN2RmOWk7/qKD9S+puZEMvAV5JRhzt/LzbO4ZFX+tlk87zgQuWW9btQwBQkwOG1S9AKO3pSHm2sE38P5SHBhj65ErD06leDZWuY/HMQz4a1fNaWoxTt8MQNjyMYPYeACv10rBt2FWXqOUQjjjDwFlFBGx9pD4Wi3AnzETi0w00mZIdLodvDYWU34m3B16B8XYmE+v4vXttYMGdKkQYQ6U0WTf5NHi5UIUpHyNhxyEF/Q/dzqdHKebBu1zgx2pxMPHZKoOOgn2FigE7wbdtkPST/uQ6Tv2mBiZb3bQoPFe/JtAguT6Upx0FznfehARuI7XNU0knXSjInDvIi+v/Vo9qjWd/GCfKIiYi3NBFCUuXzVMTKDOlbn9L/MHZo37ArTjdz+bwDBwYcp8AuVdVpHyfS4IGYQM8m2oaxHOZAuaCLIMvjqGNgVuq5dSjCOYwsIWwz+PDAPv8OtpaTRj8zZtvQhEiBcscEmiXcDRcX0unzUJmqyCI/Pv22YSxor0aQkHp5l4Q7oCjDjZPlkFF+H4V9FhfOohnfl7bk1aNrSdNQCvO7oza9gd2zQ/8N3bGJqRrieXVtdabR2zEYsHdOkFLkq/n6VLpgrmodEHJ4tRmrfGlkmnCbY9krsMo/YoAKwy+CmkiQDSBV/X4+50ZEWauTOEd+5STm0GYImrd8rDmvbVYJPpSBfo6O/6mUK2QFtyaP6Nbf5wyPpz5+HnoQsna3ZxY5mlWhjOrau2Ss2PBcAXNfwD6MVn+yelVKiImmdpkhr2Rut8lK70m88Pye9KMvGB50RzmSNNvwnY03t3Hx8NvkjW0o5OTQf9SDVLFKEvGnUsc2VmUzPKcINOwq95NpxZeFihNzoFQzEOPi9PoiriPvxvR2ikAICONd4ZrnnI7TOhRq0XxJcNYcAD9yprl1y6qDCL4ce785tJq6HMXzCAkDFHb94q8A5SicB744ZhoGkv2Axn5XrwoJnhTIUwWInhpPkcQQUgp5PnnJ0UbcYgYNqHziE9AXU7xbZbLKQbjUCjmAYaZrilf6oCKPcAQWLqcQ0mfvYXSL3yZqvB6LkscypXVANKncRW4oQZlcWXAvigY07DzFjj+BXfI6kqtPyvynO++ufNpVEhJxcA5cdatfFMCi+VSejb5o9SILK2TQ0gSZgpAnZxAJOG1jhF8vI3tCi3VVgUwFbPedyWmVg/J8ItPaF+pk8/nOV18GMePeIGLrlQ5mUhySpoQVMxvs5+qSgoxgyijkO8wnadP223vRjuvE+pRtk8pm3mrqaSEK4B12GyCrw1AjfCwdLBiAKsepg2qTVe38nuDhnaxHGuAa9KpNLpLGTCrjr8YHGRP0B7Uycih1LGTe1YI2b3mIh/Qg1crE6aTW+MEV6UvMTOnCkPWf9FWp0Y3Hk8Gh/oSMS7sPeA+q2NW+sistQXAiXbPOZzRnhOzXF4p7f5Qu01ZgX+hQQ+d4ocX2SzCPwuvnQsGvt4Wy0jeNEYGCFeX1nhO1aIMwyPgVbK8z1n0fihjMLzr7lrHbPNLSOFuW5MjIMRGXHLBjS+XeLjUOLatRk0gVGleZmTpVpsXmDIL7dHLviUDgZdz5lLiSFvP7DQD9qotRIJ/C0mAiwpVds80g4Ap7eYK6zothf1Ov0hZ6E3Yd4nFCEzQ3/mCIaCfN9aTwBWYfle9R81r7QwN4kDfTw7rYmpWHOQZmPf6p8hqlPdg6HnoIVdoD3TjHcYjaytTJ0LhrNV8z7TRvGAtEJ36UeqTYlvGPWgzgbB7FboB4fdLe8oKFKbLRKzCyeYwkj6Q7EVtuBlpT7+IXP2KdleWT/YLqYg++UKiSNW5rgCWSu2MwdR5LbNRx9Cm3eWUqLvZxuo+3B+++5Xly3ccdi3kOPzqAOU9FD+ACLMLo98ALdp+nsMrlPQQLOdh1J4OEDncaPohSFiWOeW03J6HCdPlzDk7TyKZO1Fd8gUAh0tf2/n9siBcSV7fgZKsNqOJKtWRlHPpLla4fhcxXShU4Y6HuHafrCuuEupy+G08/SQxDFUdcw9DhI8/i/F7v5xqFA6+e8x+4qZQobcGq1yyr2Tr3K29cGfGYqW/PNEAEKe72f7+UYfnIA0BqUYT0Ng9Yw1ifmZRxk6eAsVHtyLN0d1+avKZHm3hD+qfxS8iF4k9UOuFr36BzgFmhQAGobJsjGHD4W3VNG4cFyhhvh12178uIv+yaIjntJsL552aRQbjCP55kS0eBwj8YMJD5prlR7hga/d5+kFfvL1jjUQc2sZRRnN/6V9nZMOaAGTRQ9O5HOsEvIazMK9CghSgEjl8lTfqVv+wuX0+OeeDeoLe35WBLqH8Wwho5lUQhc3RMXLDXRLB6TsuraJjQST20cAUuAPNItSVSJnefG7IxLvLBBdiYGrq2lQRNZPdqTM3pQmHF0pgUpo3yQYu2dqxz9gPzJC3pdiIRHltbTQRUshgJH7gX41nMz2KJ2n4s2wUi5oq96pMLzOJ0eg0Sw5elkkG6vrDMAMNR+g6lTxpICiUjlsx1gTwb579VCrHUj3AXSsM0lgZtx7KE9juBsUlNA8rMP5D7GlkWf0TwE3BMyubss5oZfwN/fPG/FLvSGMyWXu27MnVQZy6e22Srz7ovSx0CVLyYFBooaqdPQtrD6x9ugjQto7+nRC/tHCknmnmsGyF1BuFMwLtKN7dguFkGcERVmDHH8n2O+fljxn7udF3lzxVKuTUEame0zzaCChrBNmURzVSX2oCnGTK8S69VpI7/Vf8ZbVqtDeC33gpW0dnv51SrvWh7AngQHb/ZNzDTr+Q0iTTFJwEMCBFt+en0l2tYYwKPvCg/PSFHxk26btWMVtjjTYhLcrfdTiLCvUp01L/7owL0eJJyxe9eycNcGjcDqnRWqLsa4IvxFaz1KFakIdlhrND28uIUqhvX/rps7swSyptg7PhcHZs4fxaFRvJsXDUC2eCf3wNpqiVP5WVnho9mw42lZuZdMACwlV+nx40k+1nOo0UM0FRoMgYR+fMqB4PV9wLrC41FtoB8bOmlE7s28EdVWhT5KySd/d13lHQG5E1TBpwIbQ4azBwhK0mfHvg4kqTVrNRp2PAiqsSkRsa6ncmnb4K0nEDgvUqOJymvUX4WZhqLusEg3q+U8gipkfDQHcl6GKvV6ayVG1MjkIOkWTQD2itUH5+dpearZonDZxcUcb69RvTnbkIw07twH3l93UzNo70Qb7iantersJZhhfHLD3OVU/Md3nygyI1H/pa3RNaE4K/76ixlSartcUbKnz2sF87M2SvgijM+rr6ois3qRrhShcyzSPTIvrH8EayS1s2AoipWy+kJBCPmDgbql4B/JiIN5dq8t0F8ljno1nATdtQbP9X0p4WumUTnijZiMPXze3C8mnAjUNEFUxd4H/pQCigjPBUO61EgDQtjuZAfFCq6N1Gq1gtCCjBT1sWwyoaBQr768hPZKZKWrkgDLal1PcwYFAKE4jVPV1n2/mMK7bvvL3aIS72YLlrziXpX3CN5xyHErqi57egW7bew5pQ+MGubfHn6Oew19nLu1BCaTg1AAD5g68cx5W/lfOOfx9avAfO1JaZ1DE0lsppSjHhb7y6V0Eq+lwDL4DkNc2COcmV+SdSDM7nLFskEmpcsUmhWQpuBE8MCC7kqc0IHY45H0EOL9S2WH75+9+KiwL6B3eJRMil04MMSmW2CjXIZAOlfWHcWzwdd34bPw9lqgI8iE01V5cxTGyrI9yPcFXVatUGEv37nsfWS4mpDVmG77IOEAmNQ4b6Yy/exG9K4z2ruCPoh3vWd1beQQaAGj7OdhF+DB+SJ14BQgkvCfFbkLLok/d5lCrRDBQY4vZtPIqx6ls+3yflkiKIjz2P4JUqpV0qJaBhuel7q2ZLCYbVd/cg+aDoC0Z0YBQfP5x88njomMSS54F9yG0kvFXFbzXhxpzol9mSqAJ1R9K8QEUMyrlDeRHHV3l79kR/GgS2uQpjI/GSlGA7I9Sk+DltnU6WsOoM8XJvMzUUDn9dhWvDIZFKKeSW5oPo+AKwQX/XfGKYc/mAnVBLssh/oZmVtbcboLIhbPMT5Wg4w+IqF0VFxvAXlh4MnCe1xdQxkUHheOuO579N8YzCA5woRMFYeMIngA75ouQzU40VTRA5+qb4gzLmstYE/J71jb3AirM6gR3Sg9uAEcrXZu+AEIEcyTbAziFaaaDg/amB0Q+zR+pWRX9mVGLckISJeQXiicLEG4Dpmb+OtqQCug/ySulCwQpLxwX0/D/Gnoy+sFjhcDCSPrF+KU+n7CUhY+/eN6k2pvtgDogBirCX+4cXHjqXu2Tlo22BlJj6tJJirS+D8tj0j4RSSEVfMorQ9/WI/S91F5y0yoq6WPga+ak+amDIlVJgKPahqKMLT5Z15DRWGjrQB3RE6PofkAxBwnYYn3Mu8E01sAXb0WPQWIDFiWVaBeEsYeJXy/+CLjI8ydflf8Wg8g6fGDENCK/eGMvInGhwt7ot3NG6M6oitcWdF8zYLlQpqZAwYzE/FZNB2SGieT6PNHGO2n2iD33rDsTOPfvky+K17D7wOCUbOOk8r6ss8ZqdcB2CRDBoM2jE8JXouSHPDVPQN45o8uIklwTi3e9TiW33D5pcoc3EL09jIIvMlipE/Fe5ndweDOoe4qlvHi6X6xspFhPzP1vG4b2RWhUrgPQ2CxwQgMKGUhA75gaafKYjybrRs0Gwp2EVnxDh/swzKA9Yy1h+nV2yKMY/8aCDbTrfdVJA7lk5ExrqWgOXrhh3ESD9tUw18V3aDYE9USiedoLx8IgF6AqCnONr6gcAVlfOi/8/AwTnXRJV4jQZI9UvJFhx9W4+BVQMVFHtf8KZxt2nFkyTsMGNmd6V2Oyfft3cDhUW2fyozekXQ+okXagpSrpNisQ5ewXTKeH4LBrqluT9JbzxU4M7qIKKwDKppiziI02AN3Ly4znfpmzx8XyN+NCpzBqAA06vZrovGBV83tN5qH7hMi37+c5XzEzmBb3DgnqYKMdkjtdl6gH65cusexDU1ZPpDaKHhMfvkoqshRYttmOVyo+gxI15J0pgdIMl4rPRqy+OZrxh6zsGNT2vwlFYDcLPTDvsMs6s+NdTZP2q8IG1AHD7yO5MfAtUfAaDAC1NaHei/GsgDJ2BLkv4GADQQOgIfeyUy3cCNFXbDEHxSBnDJmhDhvSkoy3gaAYAN4pMrtqAlYNHBSsT9hNdzs1NQnPr7kqgtSf2lpLLsfVsDe73f6duopt0sX8M4GO0XsHAby2R5x2cRKE3j9NjjF4O2OnBOtbXU1tTNAEwmTezWO34QIyFSsq4RYfLgHpJ54nTYR5IUndNtRrDTv4fnJq6rUr/5UljW+YgtSyOFMMs4BklIAdSNArfxpm/IL6eyphOySwVzzpF2VK5qtxuDLG6J647CBa86jTtTAcJtwl/D1TT6v5Kr8Js+fgSCKsTK+XYGeDT+3HzvahX98yLSSDkU4lNlxzgnvNQq8GAqryehuuh7KqrGbqG4GmuJLx0CR19r8HtV3WPq4teJsFRM0cH6eG6sPXeijaiVA/pzr3PEIJkd1iMJFxnQ3Oh1cKb4WW+hGA4GuEQu/SyR2HREzkVRB9og+U9S8jAF2pH2LQmdp43M/vMqI9XLFKsI3Rdc7iuAN3kQ0hsexmBSkKZIS9unRo49tkpOEfP4g/0m28g0lxSPJchlONV3TIsB/ySxf5vGTg7Qjcg/HEe9mZAN/Y2dTqNY+aSaq0racy8naaBdXtuzFi9harZohPeOa9KR2LiLd4NncLcFy6PsQAQwrNP64R4EytFMe1OB0G8u9v81VpLQJRcYumypaQqS38q4JMQGtvMbtfvpSWWKn3k7V/EOjVu87ZuHf7JlqdcHyDWb2pJpliD+zzpipCRYpFT53t1NvH+K/583fT7Lu9LkpHb28ALWNAXSprf7INtJmlSaTI/6LvJoqo2XOhL8ka8eH+ntpXG2hABx/K+9dSj6EQVCCz0M2feYGyJovZL06MxT0jszVXa9b3agyTkUaJYCLaPABFCGZNrzMsINEcHnDDkNVZpv+V5ZWqXVkKqQfWPp8O/VjmPcwGAEPuJEnNgsL+R+TEwobPSLOx7duwEYgkoTo1QCMQi9v274W6vP1TK+QxhxbLOcqFgZEBw6VTKXoCDwUCyLjr7mYvx8C5BUkyej0PFtTu/fiAxTlel1JrKWrNbAr6wmqFLGCXNwhWt4T6ZloeyvlgO/h89OcUtjtzNnwk/r2LW5ZyIFVdb64iDIynnod5qSxC4euNOoym0cOrBua9NPbmi3Q15Rm+ubXCMdxoD3yn9DpoLrSZUR3+BrolYrHmgTTLA2O1GQq6wFKfw0fQruX0v6aFvFsJIog28AtcIvXq+OcKebFo3z/RwtepmmKyJ9QdTs4kQ7sodF5CjUDkWKEZDI7jx5yv7hAqxzRmV+d4gOIuIJHeDAzXJQY3HVJu1tX5fllXWpQEsWy7Uno+T+bSL4pJrU4zq7TBwvD+iMAZBO/5TKm/9FOWlLVF1XfrypraVKHY+JWtvW5CaU82ZbxYmwfpXC1H7qB+Cs6ln9tLUO8ClUP0Hg+X/abX4vYg/ZT9eEp4PWsdu38ElS0XSdK7c6P9KQ8MIwyEOsYqqMhSL+D+yZIzpo/oUo5hq5FFoQpKDSSHnlWlHPWSCIzKyilHu8hMJSfiYe7icdY5bdECPg+izrBy0mzuj3cRUK2fhVtvVmncX5nbZ/XbGQ01Jo907V7OGma08o6dSpw0PD13utNJ3BQTjF174fU24AMPfM3iTJM6u+JZ9pYE94UkAzP+1eja7Cx6B/RjCf9jQIm75QQh/wqqwuHBzS9fOgZD1K/Zl54KuCy1UVWuRuXKvvaUcsHRoCUh4zvqhTYa+RB41vAxDHZdaJinUp0PJPvuUlXyVU7OyFmtusXtWui8eX6kHg5KHVNwfYKoSb5XtDh1lV4X0tBAwb6/6BmLVbugKQqlFX6j/ZepXCRrMH6QzPNxT9zyIERHLstOS49BKrShvWf4RtsyQv8RwwuNdSJvCTFYIjIGB9yXqS0hRIu4d/U230/zikKUwC+vP/HPfMyRB1ze/LA2BSbEoszGAO7PRUgENzSFaVC1dV6i7YCutUuYUW/DS4SRTX6XDdr+2YCR9Ndbex4XXecRMEY0L9Z/1f4orJLDcU/KIlT7OxZdyD/bLGJjecn/MifZ0sQqYwmbCgnBzAJZWd8N0ZDO0yF6GeOmthFLwqQ07FCSN+UKDEUZ9FpaJK+xAbmDJ9stFZ64LiUXcgxLtIWQBkN3K/jUdhgW+460CrxZUWGCidcvKfw8Ykr42WKHiBTqjAEgrvL+mamdjcgoVBWYhTUSBZgBoH/d+Pw3rmVgSKMqEmVQZcKrQKUqVbPKMpjetz3sZUDnmdNmrQ5dFh5ZWgl2s1Xi7giimviuYYkFDVkrJQmLUUtLwStgatR7fGLqVLKiFRSKFfs0Yi/dZwc5pdkQXxRmzctb+kMNfGh0QsT8OrDxifaHnLOfLkDo9upMI2js5rIVSr1Q2VprWGG8UPzAZkVDNqhy65C+CX0LsQho13fFch1V8jgONt7GFLIMT4biQ31Rls9GXNz9iiAHkvcUhKNGmkzHWndStWPaDircaNR/5vR+Iac4kaU3jZixeiu0eZB93yBtvZEewUokX1o0yOlkC2Mi1msIl2WQj+C3hkqPiucvp27+HBKCdZgGy6a4GedfTN3iZ1zsigsFyXDpo48p8enszfTmM6eyNdA5BXUkDFMpc9xASekl84icqrQ/TXg3SmOBdrJlPY3jPBaFIyEBmTWq9jB4YNy6fdVBcBRw1Kgh9h9higi1qKXAL/ZfMnCtole2AaVzCgeHl/UbAPRAsXwsj+I2GoHnia5VRCtca/+SaVeGWgNCRpIy8AawIB3qzxbLOwXvc2SU83SEhYiUQ8hN685fdZSEw8c7hE61mLEkIKbrYYHtEkgsZObbvMA7mSdfO37WObbDnCy+t0EtRl8nzv4ColoeWF9IYd8ijpqJhKSFDQgeS3Q1QQIQCwSH9w462/J1NDxtkpEknGZhag9WJbW6XntaCM4wYdd3Sn5O2cupfQMe9zascqPd9PE3xyKBaokdfdObb0XGLcdYQ34kstcFQkGGKu9pLqhlFOCVDggjFWBpKq8416dkg4y1DZKzKKSZ7L05PnrmpEavc8Tc2o9v58cgikbCFcSdmGV6kzDG+v2/sx71xIUpe0IJ22tvk5twryBjU5QVj2wP2AWeBl7dM70Gl+0eG1xsf7z2f0XQ0fpTym1RVpdNPWVlhwxAsJ40Aki9g9SVN013LC+BbiVKBgHLlXBZTxN3lqN0umWUTRkNTfuN2i5b+LaUSq6KF0pwsfkOz0uU3fsmECFOIwi+7re8FbWJo6DWjhnB8kPI92h1qeeYBnvvDqFdU/J2i2F0iGOO+7qXRdjHiAV7FPi+E/67E7q5eET5PZboo/XkAcJinU/omVujfELLVRKYr2Hd6mNda4f6njlgQhNenAd7gvze/A86f+Jt5UZ2umewM4OiMsdPmGe5MFPER+qD7o3ALpF4nUef2kk9oSD/qqurdu7RCcEk+Dw09wSHQ6IpN5M/W/BTytaH1m+t+B+4Q8C8/u28gU5N159pIBsEbwxkVcVJBlUkbJ4Ibde61Cek10h2ucPabvG4q07QJyiULlvrPurVI46ww6LmdClciAylbM2YBPYrQyoIB0jz5mQJIUiQ/1KZPLCG3miBn1C5cEnRfWvhREBXpfJ5+zADHEcOzWmX7U9C8gaaU/BnKVI6+FIhc0gEuDET6K/+QhJVhFspAGoiwE8eKf589I2FvKj37qhbnW5fugeaYQytd9pSyRWxf7fUWRvnid9BjlGve95N75mseXPGC1Ff5He83ckXsD/FS85+jOV/pljtqzzmwcMxCBJ+nFvmWL7Y2zcVVaH1pM9cSnELkDchcoBldtSlzB1N6VG61T9JJKv1v7uVtpMCkLURSQVqRNnlmC++3PGz3canrQQYWoj0QUTpqCrwtRSUYECL+3HPo8SlcGAMXSu5dL2CFdCml1WyMu9JM1dBsgtQnYYb5VeGFKZpebN/yhThCaII73YO3FNG8CCo/yYwervR9GHsjq3+ZHpkpRvQAS5a3frbblapidJrRURvZPsN+AU35RqKMHumMTU+E/iLoC8tHsSZ5KF2yb2EMMrtP0FZGvoVAotkOLZuQCOsANefji2nQQoWpiPAx+JhTLA6EyPmSXK/hFzugYUBUcmTMknE4xvGGryZ6TlS6IOnDW+yc2cFVqYuHBUvyWv8Qdi4Ey2Q7tP1Lu/DXAKXbdn5vTGQlEd+xwN5PYATnwD8XKgOvOARoAFyVePgoFgJupu/aZiAOQCWUl2crOuFmQ8RcNhHIzXwrpMxT7VR3Eq68yvYZ7Ni8oqIwdLR7+O4W3DkbTQi7j6+0jWaeXvd4yJ2uj19uwT1R49HcwBekS/kt/kgXLCGK7xB9l/ldp3NaAHxagZ8YUJzA7b9v0Du1iSItsZ53Xqp7XaKmgTNCTVqPuH4JBS8bSjemLx1yPGhBligEVtKaLQhQ/O5VDuO6P7Exibb7QgAaJV26ypzzZpna4HoW9Hhm0woKIh23BqhaokX8cpUcBKF6UxwG0dIVz60VGzy5QV86Jy6eB5GhQtLfKZFm55v2YPPgtcaC/lCYpQlHDFC+EY63W1oUHm4+9mkRuoHMYQtUWwT39156Of4AMcppTigruPQ+W4AdNsBg1jtptMGNSK+2F+eLPQcf5Rt8YH/uH89rvc4UyvaLx4rK6ZW9mo/cj9Z8cZ/MdoYRw9BJMRBYUEvef8HCJgExw3cZTURlARpKPp3rYv0F2ThE8I5m9aHqAUzXZYepeS57a/2uAPcm+NJFIP50n4aF7L12Zz8lmcPYIn3oXS2jDVjBo6Ogm9QEag0E5bMlpiV2vAtipYz/uVWwNclzLYmWctpITQ5LGEEKagxRYeOZ1VF4/y0svp2PtZMDqjG3+MVoDeRUVH9zFaOYAWzFYfkN6E5qMNAtTJEC27kxaTvq+SIu8hp6ZiO7NVZlucVYM+s3tjEXGJJ6ETZVlVJljzeyELM/oCJkbWGd3J9PpI4fGQtKTJmHIuZUmuU1MMuqhUSVfQCjqD4m0p+AJvzYt1eJZNWSstVKoZw/Yd4WEw5Uzf72Tf3RIFbOcxkmwFoUl3YfyZFdzInkkS8SpJbnYNbiIdhAY8Oc7V8U+SGoyN7N8C8zO8B1mZqo2vz1mugaJle9JXD2VxH2JVkVhrg6NBn1Gv1tMIg0ZaVviFQJdgshWHN4ItVCtptRTU4cdwvnqWS0pyFj4llc15JNx8xt1Ywh7/bNhBQyiydN+Lnc/1EeXGqkt7YFTy0OS2QYW5EeJMnHWI8Eb4emj1z8Mv9BMFJKtgUKrlmhIEx1JAMNp4Wr6CEuVtMNGTmXgskGeDFiqcvRNjhzEAFKurw1qLgpLrf+k4c6/5xmkbiZLNEH5IT7gL5H9bl/kuBw2Pu+4DOHTmwzC1/FMii9TV9MksiDoyV85kDAhFfYL6q4qIfBXwuPxNelHaKFnS+ZoN9N2TCHaUT0y6dTNsOOnsR6X+DZJYjbf/px6x+/Y8r1ScgpY8V739ugXc1Bjj9P5nCnAcgVtRdgVhUHdb0t1admCX6/DAfJtmf70QsxhkikSm8pPA13D57QZmh5HflN+12svWdjzZtt0kuI1zlhaD1RoXfudVKaDG6zB+aBiJkWpuKCibusu/RV9n0Z9RRDY08iAWnSu/2twUBxtRFAIijecSjaodn6LGo8Z9H7UddCidCyUD3/ENlJUkx8N5w/olxbv7DjahQiQwFt39h/uAVoKT4HY++JQoSFRqjU7np3ScqG6U5upwkyKfsnygqs3FgFaBwrV0IQaqenb/h+bkV9YZmSZKD7ii7prEuBJo7z9ZkcYBpoYzIcuT1pe0rdMLtJSXb2nc8GCbVrzQXD6UmHfMPsTHerqZqtgB5CDEEb8WbJrUtypzZue4YtoJa5SrnTcko1NqkA7HPIzvdaEd8xSTqf6IJIQZeJVgwbADoQUMSoc1edPXwycCWsD5u2eGBAXM5zaqtKSTU7gUv9epB8Qy8VdmQgttH++87AhNDTnpaOZT0J8hSO8lCBHQEJmxYVvoIdDND8JvQDF+rGmD4th8Gp3xp+8wwZIM6jqDYB6IdE0qK7KBUQAQqWRgioA6opV9+TdOdwz2WUFLkNi9dFE/wXwuiAN6zhO548mqJGWyHhdPrlteODQOXlfWp2ESwsEoibSMOueGqZoZ0GThlJMjRrhM5mrcSvjSKg2ecMPI8iMWyPhuhTasU1D4bbaTMzAySZR8/3/LHfUJ3fESUBJxlf7NJ7XrXFJ2UeIpD/AEyWsxXiWUR6YsSeJL+ftLDZVcpTCdoej35ZbvtFdQrfpfRUp66xIHfEHGVvd92iXB/GBOUjwUs8f9ht7N/z2squONzWRkcXGwXgGewh2jToYk0NozqO35xIoynrgabliJ0MrO0dmH9E8UxUHnbKSuSRpjB5HvzACeztKMpGUMjGfSWa4BmJZip3QZ6hqsF6cnZPmxgaDXs7YNMGXvzqffl9eMnyT8ckhsk+nFJwbAS6FTPsd20W8ywjv2yMmvWwfxVcnLeEjvnPb+9UPoPheUr4pQJWhdmU1zRw1UmKOZd4Z+wpsYLuK/6G+IU2XVbD59Z51O2bD0l3z5V+xuJIQXrKELnAqSLHDFI+nOY+dusMx+8B4QLz1Y0yuDepu63VRRX0JoZAtsY+JoMlehhmYpqbxu1PicJYKQyVJszWN8iCOGvbvVsHVh3htLaeJGNBlh49G1WslM53i5mi16lrmGgaWBp5vyl6BcQocUTAhW6dVCfunCMW2YAe3lrPOUn7idCZ4WkchKQ7GFOlrmNYIJwjMfD1uSQBps3InrZ99iy9eKIk5TksKnpzKImXGgCXchKJXsJUdFjguKLVerleEx8w6cKw4AM1YPJBh3LtNbrn089xSyFH6OghSvBAuXvnCuBHcTZ+qBnrVEqZfT6ZHUG0lPT2PHuJFzU4gcMOBrZsLem3DGjSKKRwRSDQLN7eXC5ueNQqLFH0SNS4Q1+6wmVNYOo1wlapYxczpvDQOHrJJGeCISqWPWeDmmsv56fbQPSrfkKGvwvis9DXeCu/iiWWd0cHDiFaVpEHeDGfLeOrZiNdFNsY4lYhfYaZQN38vuCR0Z3RtFtzuTL49W5TUKgVDdW6BNEPJE1XI9ctoDiDaSAtfAvwAGuqx5gVASniGtMJQC3Hg2xGrx8SHeYJ4d75zL9yZcrfpeefrCDvY2kLYdEm1Dz7Z8aWWKwFG4z59fajhnUo1h1F8jPvAQvsYFTARBQLF4Ghyw3tAAdApHUGfEZw6avgw+GdN5kCyZDp5prcpN8A7ZQNlDkULD/2hvdMnlWi6reZg4g1OSk6st99BAZcqeQpPqn7rLAagbPiYOk69I5LBZsxCKDIqDVV9uzXz+tRPnXN2Mr61Y/8ZK7geBvlcbkozqE3KZk/wQSwySiW7q8OCluVBw6EnT82Fj+GvTduwV8NSnlwLEYoTNTZlShlsuwJO9ayQXQ0TRBQ2iirtgoo2u0Eucpt0LPQi40WvaaxMQxgSdrOrznesiOT6yCSbQMi96edZrJKTk1HnvyxJaOxoc6Jn+3jhbg0hniGEE7kO5ab7hPZDEBRD0dsoDXSxBW6XLnOPgNNMKS/TI2/iGbVNf6K/114o2uyWe5UvQX2PvPxKikMgZiby5J8Ft3Mlki7ftwcDmvq2xVFdIV/5DfK3vpQqeBWK9K1ng1SKch777QHSZfBcXgGpkKzdKE1u7I5mGYbLcDh59vyBVoFDnaEyoDRxxao/APXWNr0UEilmHBxgIYEcIJb/vwa3b/PGnT5bxhdUl8mqX1BtsfDx4ZJ5BbvMqCIBYEdNPe0xmG60djLq77AT00FdcGO/OGw65onUkOvZFg5qmDM8R7DczUQ6nB3fjXX4r06tuP3qCvEbDUk0WE2iKjpbOExrVDTul/mhGdJ2HRqr+N7gJRSaZh004/6PEwA8D+HvwhLOKLPQ2GMXBSYWR1q32FeAmyWchDnTrlVxYSOVYW+nIxwlI+7ztGLHOENEMwBxaNevDE9S/mMtS81xj9uB6PqxNetHc7pKNoLfeTrofR8gN6cvvWGSDX9BlbwhZtXrPuBijRCVaYpUrRBy51RIoRi3VbtYuQyQovggBgq/go2w4W4U4C8yh32m47/Jiscnz6K8TU93PF+zanVwYQfbETlTvuYTO2IB14ik3J1d5HGVqIG/BSYQ9M6RbNJq6O9ywoFfbPulIL0+RJWH2tzaM2w6kZKOfzdZDkIvOTZR33G6oYyVsx5h7vDsoCRvKa9u/seAoWjxhIuI7dplCWT8+xgc2FFW71fzw+qtS/5z8p4pYNq6+iApYxUvfXeeogvFNPRDP9b9tUqvKLKj2NYr5SLTjFHmMg4c844ovx5fzHR4bgn8SlDZziGpe9OR7ZOe9EEKhHQrt+vZ6uT+2mjuLZaSVFOyRUM+UmFJfV+PKASFtwYE4whiRCdLWqq1ctQcgKy374/PiC4rfBULl3rX+Wsm376bAmLAqZa0cLSt9CTxBqYau/C6vXDjX+NQq4AKRfgciIwR44Kk/kMovzqNba8IYB1FW4oNSy01K+Saow77LvQltbJRmeeG9jRKlN6QRQRgecF0wIBYmrK05peLDs8vtS0SwaeKhUAPPq+so0TJuEjXxSBoFwLyZIHq6FvbVjpBj4t0rQEVA+7ZYPdTI4x+A+srwvz32bhYmErgRmvKJzanKLD8cL1oPnjN+XzsNF8zGUOSUaZqCH2GzHl2KNPmKWo62RIsheuzvBhdexaqbE3rO682C4FAy6xf5vjcopmr66UYSJAuX41hg3bdJElQxzUrVRGGFukG7W2FE+TdiZRU+S1P6eGTN6PgVUVmoldOWt12FkhHQ3iyY9WMm2U2ccsypxBGX8gfNK5FxYG7GeCpJ2K5ZpWujGV7sJMuftibvKTz6KOgtKXBStD0EuLFmspZpq8M4/teY0KWgSruMzy4DQNxzfWqrOyLNAsijEl/2wu4gvXkYZIF9hroB4jGaon2ceaGSIFBne7LmJe30V8zb6a4W7fJEtGi6zpz2iIp+s36kEB+TMArC6owhmxHAu34NPgXAKQCyLZCb3flBVc5gNcZmg8qMpKxTAhsKd/FiLxa+Xq+L1zqia3l46UT1DW5jNyEyBU7yjx/0tCgFpUl69dM5HF508oMDC9Nl5fbuN7QRpv4wwu+c8/mdkr+xWfI/nrd/BSKgDIK9FIJCy7X+I+CjxzTDRGuR5n1Y0iR9fh12iv6jvWcC0ExPjPrjUXHfnjloCoEAMF/0gODzjAb8yaPPMCB0RdhGP7sx8vlQg5h7xsfrfrOI5hzcCfPzbtNTtmvyQen5NzpnBflw5kjeCu9SQCx7WAPu0z8+LZK+TItV/HpQe7R7IGwmNo8ruoP8A/k/EGJgIjCAXO5WxbTRofjMNIBaWXJumwFkU9C9rtk66D/ZJ4qYtqnWIZ96fw+WWBvtE0AEJ1ct4naCq88FpWkU4n33maIev2QI57xV2jUK2hh5P94W9OuJIJ+wfOaPssCXpayT/lXNKCfARJKzNjH+3bhvLzOpj3k4Qaaat1xFKwTglP0+k6ruL2JGZ3/hKvpQMC55ltsXjVq5czKIYTAYCw3afjK7TyWV2ochzblqsJKgfyJeuvdC0x7z6K5bpEjpo+lXWAfKZTVKBYgGKl2aa4sgyf/fuiBpnxKGQ064YunOPH6ratRw1V/wNDMI5XUnmB4mqA+LWFJHhRIYJW9WvAVrENi1nH312aqANyvAcVG+yD2q9s33CwxUcBq6C30RPslj4tpGB5YmeW8xrVANqS0K3leSN9WLVf3Xeklvdxf3XP2452cjrHymZjOXndlvsXShj16FkhazyC3irgBU8/ewX/6G/NmCfwAM3/8QiZpWrgZfdmVkPojD4/0E75EM8R7DfZY17J2woeofDNfOWJDHr5MXEkFyFjU8ev7fIJe0zP7BtxeZgpX0rGY6hG1FyHvmEk450ElEcG2FAiiXJ+E9NeXMzW7T+WywW9j1upF8pmqZjK5vrHhquTeUnjTNo13B+wGvhkWv2b8WXYosI4BzjZkHfgJ7HlX1pUhmEI0hGxMbSveS+09cfZ2CSSFgr05UcUcbq4zB0D6Uz9IivKqQnJVJnyFBVhBMZlUhBpItUbj+NokuvLW8N8jfzkZFi38Gsv+SiITsLFJg3b+u4EeJHeSFEg1iIUHHlL9WPZ1KMvON7oPIfy4Ai5cuAm2h5ZvUaaIJmlhPZDceW3kQxg1YGWR8LKnWp7YYB0IpDUyAKxIVB2QBxVp039JUL+hnHkk2upyzUHtQ9Q6UFU6BhGzdgDil7lcRlWzAVCP/W/1BGMckDR2ztZ/UjP+l9nC1jGSPp67xSiGtX1SFAQ4GqDTmyGLgPKjEI84VEnxPhgC2ap96/eQL1DbvaCEYIGKGhnv8knTKRj3CWP5eNATEzcZCPYfKUHtvgCfAzvc+9yFhbUPnpluXmdgsJUmhJ2IgCOFdfitsSwJVs3eUNyG5lBzH/cGH/Q8j4wxwJT3vURxSsSJ9wGk0iD80p2xjsQbGg5yTrJLiJuI83W4S5ectxJ4rt4vyZ5i/2WE+fq01lqEcb/pOVKw/dKQ3bcZnZ6t0JFC0FbTJ31YryEeRHcC46PVgDch3k/TlEODEnBRKKHp+Ql9bGolgYt6GGn498FpcE1s2KxHMndCG7RQ0fQEv9dskP0i38pjbRJ/dltT8ztnp+6jKM6NlxXed9enNsZ0xA8oGiceBySDXmSt4LsJi8GHdEIt7zomxmZh2eJlbFucjUx1ryPA+nFZPDAkSkeljCyW50s781B8lmS9d0O/P6BL61ruZKoAo2udRiDMtcnVa+V5bReIfOjjHzj0cQC1E6+sMa5YF/87Qu7UaZwqoV4EGHZlT15HU4fzUld5GZrIQXifoC4EA2PNcCX4D+EG24To9EHcPL871+YyzzrSgCYhvC2NKTiZeko21OM3vUBhioht7iHRzNFSsf9djDN60jr0UjA7qcgRjvN5QMUGMvX866KExebDIRUIeGEuY1ngD/ZFUh+LMLCpMxh1sWOle2+E8w8Wh3/vGl/Sm537/Ja2/4pA9PYjLYZpWu981uk5BMlx14nMt4J1LliPBUCcVzdB5bwourPO5mvoUILC0XGjgIl/nC4YgMO7MlLUFlGnEMXDlXU9BC5BrDap0Fn+5NbHjgzidD2QKurEmeZbFi7QcwUlNDakBpAOyyW2y7dMdO5j4l/RH0liuB4Pu12S6Wfso4qCGqXMOKYd8f2mTV/Xiga9dGRXF+fTBXzI85fZs2ph1G/FlEgqorr0o3lDTobB9i1K2g3Ge0KwCWp1vlJ0uPTVXu3QCIKwne3BYsG/kpyCAfBSyXelZ3PCF2Xr45YTi5pGRlfjgJv9Vj/e5WFI2jtm8bGhRNTc82nZCfRUccIm1/wAdU4jQuRyzmANBTgYLcgB/NQf/PbnW5CcIkvYdaGnVKc72eiLr8VM69smevRitdFLpjHKHXucmIoTNwzavE88RswGSh1JWMtc0nQNYy9T104nknIUL2EGkNdPSa9z5UdfI7S2w/bOZQejcdbaxlHdTDcM8wiiDqgXYqpRwyM5tlDyT30eXPK6NQsSVuVBUDa3w7Syn4vYDWsOLQI7e6rwkfgLD+Et5qHqqMUqCaog2WYoB+ARcpivHl/vvtrPsA7V22aWZ6dH0nI5OQ2C93Hqokh7sSyZW2QIetfX1CMDzn7GSRaPDHql1uNiJ8K/GXm0LkDYiwFS4Ud/ITFiN3qhbSZGzcNQq+aN8ApqSjOXO34kPDrqjRFwBFRgVdBJ3WERW8ktaFRlCk/8XH5cVLXnvUo8nglaWwYUKEifGiAWmvdvDcuQUVveKxTL0o7MlBhoWr/1UhLVIa3zUAIyypV8HHocE0q+BuxFYNkKvQE6fA5yf6JwMOa6O55g/+52c3PsF574Jtf+ioDtdqFVrpcGq7NdiidqQofYUrQrLOxpVVblwWemEsR3RWrzJ2zRTyE1pOC6mf2u8qovTma6MjdoijWi2o9iGX9iHhtAZRE5Qd3gVIyZUJFQbcYMl6Lnjj9gFFrcEeDBCknBprEnnwNdboSdRAWeZQIZnwhkvr9eF5dTRk0LlnbfI8PAz8Bdj9Ru0ZyLxxOBg7XWnmoM6iEonmThMPXLW0/DYyphV0RgVrrWgtqOg2sx7GuTnibzafXrikrHaYHkWo0i58vxuZv4rRyq+nutFgftEhptr1z2+Bv1ndW74euA16fBGHUgmqIQoihpAjZFN4/6JnDA9DXEn/6IuM2DLP4CpsqQfFK6qaTkqMGaMNhznrfGuoHYlpB7YMa8eU9c+VdROygTuLfbUllT0RAmkLGEQhXzC40y7JjmAcAly05IrQKmVivq42dP7M3kNqyOCKx+1HAXvPRyTWnaTFNRC+kNi9ZA3TLfweCA/cL+wl7Ee5IMyPAb9V+ndkiwX4mDn5X0f+LYGItwtXwasZzP+Jxpt4cPjPQSoga3jqrLo8N/a5b4qzP+qXzPMnMX43uCB2XKyMZO9aESsd/yt9NfdH8528ukzIfWEK8Y7uCN/WOjaVcpVwj0dnCsBtV5ARf8TALiSYKGy9JBWgKZFOaHFOMLXW3xJ1hDHncXD5UXRrzQr3u3HTXDOCZ0U+h6MYDacyhpAvAXEgXmtRSjgmXc0Mx3kbBqVV5XVDvBUqqFbkQJGwnPaOf1+R8K9x+Km91j0wL0KnVNFDR6utfi3BUC7DyI6gGtqcUg9qed7eTj6xmrlyZQE71v6o0rgaBZzUf1Np0QdVNKM9FKwc41oGvDdha550eDh3F2oYzmVKiCfV6TOwWNmDBGBRoQ51nmHauetZSTe3zgug0KahvZQdPXm3Rq8612Oy74RIVippADY8rIfnXLZLm/1ceKhJ8PwChNaQfuy2IJjVV6B2mmbpd7qKMz4Gh3V029pnp7MkHQh9c+uvdQeHB000p376Hnvr6QcXuuCTogLxWfiDekV4w9JncOJHhQ6UsitsNPxpa/PA8gynlntPT2o6GRut4gljVB3vw9CeTP1DK1vtApEIqMDVyGIm2/dWKbkkA1qYiUaGVa2KrcmoeWZ1krjr4+OObdM7Jrw+E3swB6uqwqTV4gbuSsxPUCchZs7jDJEQPE8Fb4OGOOq320rbVVkTOLAgWsgsCvV4LlTUg7Q75Pri0SsoBIRIRDBtSNZGz42UfYkJ7idaOhP8Z1eCi15oJZ7HgJffmQ+CVxoQdnDo227wTc259iJbMpeBW6sZ7ZNh5PHyb0oUHB1KnUwC2UMVfdGgyfGgj6T8oYYkra53TJWAkqNJeogr10NrOlbixmBXyfAQ0Q8c/6A+Ydl0tfZR1vUTaDE8DD+aF8uxiSr5buCqCjR7UR42B5A1XWBVNnzc/qQ4U25W8CR89EcAXe07gNGf2nJg8K7Us+ex6YXj9qomEy2wFToemgLvj1KJETTWcBm2rezdxTQ7jplL9eUFdv6vXM6KpMtMURwZGvCdn/ZB6hyC8Ur06q9ly0WVrJ4KuF3DsJ3Sc/MOYN5mzMT9v3zInoqJEuHwVab6ks+19hgXlwomrY6DlaC8l65X72OIfDuO5yh2c9DVQMDeFJe2b0Nl0cLNNJIqe4hYQPbOv4gI/OKPUqr25eCVn5DTNTyNY3DctmWmtfzDN05tuae+oMHawTw2ar/XCflWJyAIgt6HWARsIx4lj/SJGl+gmRB1QxarIiH5eMZKnRj25seY/1c37SjpWEAxI0sQdjfnhPKzXOBrqw9s7ytKfeeD+QTlJVyS2WuP0rq0ZJX1OrCXrtQr3uJ6ULpsl95jLfN9FOV2ZLGkKyDK5lUwE/sIcweL759JaLCH1fVCQAwxPyHPOXgIsuDjMHLaRU00MsKabV0SoYnXiWXxrVHPssYl3UVlA3jrwpm2IfD+owIHkrRyexEVF4l8YLzPEHXmoRF6VGPTtYwB3qdnrKN8fb1GNtTL/RrS0ZFirssSwGq+dHD0czKPDmP6AIK76VYwnNSi+pKVKvWL0uXBuZ9WhncmH7C72WlFyL73rmdy1y0Sgaju02hM4B2Lb6r/rWzs3CSf/aeM04vrIcg6ZPmZe/kcTXk5rJgWPW6/LbDAwnQrSgefqr/yZHwWQZ4liPrHP2OB461f9s4nLwBKSc5RgkEkW7tPIEsAOGoHkYO47K6EEHBpO0VJgj0ZTm202AncDfE/I2Uqd43hHvbqWGvQY+zNmQ3keGVLWRNAMPa5JFD5dZn/EPxVlzf1pTtOuoK5r1qrEJE/Gc/AxX0oIXmnFT/GzSXpVMmEFGJJJDu8nY+TBm2CLX/XPkKFZ29IZ3ma1szF8Ty1j4kvhccThAyYceiydopqAnKcss8vA4pktEqXWBvpk49a33+hm/6iiaCc9FwXCnh0YetCxXDSQFZ/rngAOR/pFwpcOEG+cXCKLN2zX2GoEqB6DnjIaXN2TNkR/7Jwk90+KGvFhZvp5WblFTxM5wV2EoaT6DtSttA++R1+QTftARd3URyNAMxi/9roYe3WtTYAr+s2oFb0/lpz8tseFpvrB91Hy+Mwi3NJuBelLquE6FW35Z4EGDueBXvMeJukph0TgvCKnWDyIrc6oKG0H30zwzNNQblNh0CzcNlfiUcoibFJZiOAY+/00Y/Ykpz1TvFrhJGhAgOFPVYKHYCqQj3TP/H14nCWa8DdM+jmwWqjXx27+JRQDgildmYFAUCkLQaM8y9tGZyhxed3c1O/CBs37gKx6UMY2G15hvpII1Qg8Egd/8AeuUvTKlPSl9mHSJOhoJ3opYjTHw6JULLHMgnPt141DDkHFTGGJTP2mmq1bAytJZfTnA3SUJqdK3vVWkb30gb4SBYpVthnWsFk0CpjGNCNZidPHu1JmZFlQkzWKyRxN1S3rtpQbllB0582VR3/xkSDO5Lkafsw6H4FtiW8oGbERrFCXMyzpzDSzcJ7A8X2YJaR9fvWiMFOq3en9G4pKuz8SQr0M63gJQpmP/ZgQ3rME2URwM6QS8NCDZ0gDyqIwNNgVJj1tE0XejnMtYQ5mFxU4UviRE+UUXpy3cIBJUjvvrUKcmBSx2d1cnclU1RzxzU84Rob1joLyER8Cpj3A13hXHeMGzb7FSpjn/RpAgJ0+fiiFejgZLrJq8g8z+5Y/AwIFknqNhYGGXIdbAVl1xaCnpdbwqfikxMIr9CBUcpK/MDm7JPsUOW0gf4oLhan1E9kty6zlEPEFHq3szD2QLzBxN2E3Gw1bSQuJcL9L4Pjc4L1El7I5DWYi/SRC5/gik+2CBtMcviLHuJHXtxEjZnEm/HhrLhH6XaCPvhPQ13FNV+PHZPKNCFcVHHElhk/rJvPaAVSc0PX+G8VcU4GQ3JvH6AjHl39Q+9gn8lPFRzWjDEX1nJHInjLJIuW+Vjwds50QFd8m/zSAFqGg648LxybxV0JkA5NNAwzetpR7y+voOp+lC+4+iCxxSEMBwzXoZPVWZ8V6WEclWlqSO2uyWCQNHaMkFH5YBrc1ZzBWlxxTRMxLVML4LcvagQ/bjkUTR8zPwgtY9DmSX/YZPQVfc0+JjcLaj+qp2o8XpUD4Cl9aCZoEC7/UCtegwOs1ap1UxusO399thRXporNBP885DH2RJnljsrgglmHjl2mnOxiRi3HrveevsKWdsKSUlg+CzUKwY36ntr9Y6mncj6Wi/kIxcP3+X0WLVqc/YI/AEysYdwex3oal2VsrPUhlQ+MdEi8sxOvRJlGS5cmKwXSnFA8usgHWAgR8MTjiBA0jXf1oTIv95g3wjnol9weidQQk9E5tU6FglngWYks2HST6qJC7McOZUBB+dmkm62NiWRlGvH/VVKuFb8HhqRxR44lIkNWEqsYI6i6xYtYAilGBHcScrUJB8ZpLolSxAPqc8UbLHoULpsJ8NjXw7NURfq/vpASKv7mm7wgYtbOhx5vBBMmqg95+R5yKyO3CkbaWKNScqUuXQjsnq/jm6ovCzT2s2BjBYzf85JoGm+XsCREnE57tK9LkiXJUHemopRKws5af+vyYFNRtbNB67W7EIDdPMeptFdzSNz3Je32qdf1EnV50UeWbKEcJD638Ol96eqOdAxlWCmCmK5BL8qUycaaqZRyVJuuQtce5jhtcbNnu5vt/l5gVfMgPqeoPAQrlaEI6a8r9tdcg1qSe/p9EMFkckS56lCORPQEWVkUxs8UgOGgy+wCPXbjHjEGOX37kSbwgMfJs0AVhJoCT/7zqIa+QkFmcC6/GAmG5BsOCl7f6DxppYBjr9YUCLVqzTXn2uf3pSAAYWoTddAd/AuJySnS7dzt6C6VvgCMmRtAg1rm8OyJX5Fi4VxiZVhcoGSbOfoLULFgN2aNSRHr6JJ7plwLieIl/QzvJlGvZ6ONuo6RIzpyNeuIlpNpIAPX5wLmvGy0c94NQIka5hx3EKrQb2IL9br5j6KA2rqRNOM/CIxekltWPPpPYueBku9UqmLxwQg8sGb62o1Qe3KVVOuORMPxAbKYUomwBvWeMzgBvFIZS82mxf/1qPv0l6Jg9XeUE003+yZDdxJCiRQQ3owWWxBPYdoGLcjMdRxXE7h09ognAzy4FAtvVZJmheTIVmujfPi4nK/RVSPlROfed+zAUg8rbXTRKs7Sw8E6aLDACLL1Q3xpVoVMJlsznX17sWIupu+VloyZ8S4EPFLDgGOoK0fyJl/XDGkQsR0Y9wq5sOe868OILuGd5PzMvlBy8g0RDGGl0oCPHrqMnZ0lxgGzeiZmoGUnR0ClLo/SHKeDsQuPKMTKW2CcPLQ8OEU5kmcMh8IAJ9EG/p4ag6eemN2ZkAd55iXezIxMrCQTexAagxEDQb2PNJjaIw3DIoEj4LUnp3hgJGJU/Sb/MI5L6IeD4vxmV9Ew1YT+XXcm7v1FIFmjWTWmt+/T9tg3vA1T4M+yfZmTiNY2u5stlf0G6d0DPfYLgVDYumO8WeKN3Yoq8WU57dZExOttmoNUh5HFx3sVQ4EfApCmbnu44ZApFcKyw49wx27YLb6eEjUoGjhe/U2kYJjSeZDBh4+H8uApzJwVkUeMx5ynAAKy8fOhtViTzMnarQ8QOZ7TWePoG29uU1CqJ0rc0Zp9RLUu/B0B/yaw7+UAtYIzdhU9ywWSc213Z7gOFxrIgf2wYFJAxbt7yJymNaMb7hFjNoXsM8DBzjUWArkpAh6V2z1O5H4BlTHcKx1m65F9J/TjGZy8+UAEZ/OSjcXZFVjbxTYGWMyUEMO5lM0R7wRDmc2vHwKdNEcoHRP0dYAusTPnCd76wf+/SMn5DVCQUyeHRaMVD+ul9VblmT+6XroPShmLpTtlk5FrUBNyl+MIw8icM+KfLa/E8k+N6UtKYtY3hsx6yu8IdAkwhZmadAMi1mIOF43QGT7pakYiWKyGrjsWwEWLfy5sfKmCoxuE2hFuBArIEawW046MyqJxi88XdDeQa7AWiLGvu2EZ/6PIxk1TE9kV3TOquv67yQ8OIi03/j7QWbSjiNdTFOKs10S2fpCjrmChM6vGw79n/A8WfSDdpt8JMdr8CWeRoaFYF3d6Kiqv4O4zHvB0bIO5ElSvw5A3LqigsVEiBpP8cbpvpxzr4HYg/6QXPXJ5gCdr4391is5j79nXQX8Vds8tXjbDGWa++soJIHfzRjW2/nwqDRd+W6yX/5bX3A0UG7Z4ja3aZ5NJGlLdvbQeEZ8OoPAG03bpPfpHeKTmDVWdB1ry1N8namMa0ODDPT8vC0uaol7+4My3eQ/EidjurWq8iVwn4D0NYa8HGT0dQi8mcZkzHuND1nlkRgdWVy3YEUFzxPXp5/FKF2p5QKWoMuiXCcm5lYcEtJqiMLdKE67A8yYzoDr1ECOnZtcmibm+Vd+OqrhNHFHIq5aIkuHp1JT6cmf051f+Cq/NPu0Vz6i9pc9ZAIvclUJ3VL8Ydszg95EVk6jhHztJ1nkbeZjaQFJveULhhzmj0+rAvalkX5bAO0DwZNBmyZWVVWbhBL2pgZ0w9TWxlxZHmxnVGrs8oCkxlUTy4aLVklzzUjTC4POawUtyJGoITY5FJzTl3G5q63q07dYveIfWuyGFHGWnX6SClNmbnzSxKtiG3B+rKTauFPbWPmOmyzevkLcHqDCQDvYlG7RDBCHtvbsV5UslDaHjC+TPZXNfhnCAmc3NHG6Hv/8S18XjhxBtIoZzeVp3XhjYeT1lHmJJwYW/G4hZshUH7XvYGvMkFmjl12dfAmpSyPKVYQJE4rQpCGzAr9LsTPQ2/5VBb9CK0QHbBql6K1GolsZfVy9C8LWGp806VXxRP1OpDnk936jhoT05SZ88frkvGjB1SALeovlMrzePgYKzSOH76YmlruqjzSw9n2g4bM2iLleUyy/lirNb6IZMXbd/bon1xnvO1qRewNTrEocxNDqwnpnI+0BPHPKkkGRmFJZiMQVo+l9iGZmYKIr+c+dnPMviaIFlXUvn7SAertQTjHUD5QbA0fWIOtf2mJX6qvBiZRzgRJgXeLZp4533DptoymhQkjpSIyhgfnfiX5uQSzDVzDhs0xXsP/0VpTyEOz1c5qRXuOmM1OJTWhmEcTDnJ64oALEfXJAper97emRa3yTzYr9Njp+k5s8wH87/Z++yG8JCpkippqKsyBWMKmnuq7tmS7njXqseYP1iWz06fjlE3kvORd04vxQKmDJ+RaLgPiQWlKhSKKIZwrjj8vRNWgqWssLPUzBKHgqzF6xban1jcZE2bdl5Poy5TAtn8Tt0wGT0cXy2Ukyy+k9yvShsJMB9gkO9BFaJACmuSSwdV8RlaJKq4Jto/QxnEhlXW6oZJ5GFbdqThgjcM6Fs2WjIWPf7VoJEfSgRG4MkzDjW/YDw/d1f3X8aBSt8h+V2mxBMF6RdOLPXPG8B+BfcuZQxVV4Un+BdGVVrOkyCJ0yjx6Vn+GfLhmIg5dampomOdmIjzvHBi8tIDHeqyz80Y6NQEbtSWUwuEiDk+mYuS8Qff10wrXTw2aQKTbjzbLCLwnmrsQmG+6HXMuvWwk57IMspFOpq2qcQ/2z8aI9/ZEdiHhe1X7i323StFo38sVW+tvFxbnmApaVlr5ZEgRbxUMScwVhojHFRduw7ILCVeXEfqN5F9Dcaq2bndBHRV3HLX/25uHtv/4GlNqCj8nWP7QbCUnVJyEAfJh17iY4gWArNrCwQx5El2MgGHI6olLLdB1vXWtuGFcWIa3ZHGGz9V9EY7W4eH27rpN4lE8f7uunWPwQrcigJtO/fo73lxsimZve18T5w1/uroi9lCcg+RYVLTItKqTHXoSDkiaqnHTJLR7e2JDKKTJjKJRvYRBaJ3mz0zTzTVejBnPDO3eOg2L0bJueR4fcvw2y/MNG802x8Fl/0v7bsQxZyrg34vrR8x6GKIUSHLS51lvCrVlThgzvMlHFCBJP9hcR6DyA6PWt+LyII3b4HM+HCSqLQ1Lm6GAhjt1NzTNwKxp8gtf7PSdeOzCIn7TjTPTf5UaLzYwBFbkBmFMuc+iru6SOvK147HgR/lMr20c9EDMEd000ZfgWslFwyqUiuPf4GrIgKxr/jL0CFZxMbt9TO88QDPj5ASDOulQczuGUb7e/UN2AKHadRYLB51cjRPoNbdN6gNeo5M60F80YAwktr8GKBO6geBjT4KFB9hEDeWzddWU/i/L+doj4pjiRuTnJcUSjs8fQ2emm5wFp9nq0ydygzwz1NEpxI23HAObJfurvHiGMpgLdM/SdU5rLAA3GcC6dFecDDTxnDBFKY53+2cv4/cMSUpEIdSh0o8D/C3f7xDr9/g2L3l53QnTM8G2h0zEgSyc72pfPM1ja+f3SNrt5Zk1WuqTfOP5CzfjZ8f0ZFdF+SlYALZu4k/QZpAxQXR3cmB+jBV1WoO/CszlRwFZp4MMyl7V8zLxQgJjmzvSwgIdZ57PrUw7YzaQSx9BJfHBFRcd4CMTXx426mjvcTqYgtRz9i1VM+to8PJbrbGrc6as97AJGUbvQNDJ4ot+9wpULPjQWS7aYK7g+4g8ljj+xQh2VzitsI3J0+s14N97Xru8PtyUsfF81AfAZU7MMVl1X6JRXExAh9UdaT/sBcdqxpSFDx2RATdJkou88HWKdCROFPx3n7+535TS7CkNUWsaG18+TvRVrZrs7w5V5e9m8O9Py5RkbfQUap6kAbWRlWK6CvCBLEvJNVlEjSHHz0p008kG86gd/DCpSeU4sx2Ypf4AWbLLzrIWiXxgvhx51pmT+UCmyfrITxQr6xzAk3CIJ1srjosCv6yN6Xd7Qu7pg8EkP71KUjLC6ELn/OFFwU/yQR/cDr+rGRtrwFUefGH13tHl9i8xNtSRxjGqs1ZWr9/bChxTPef9Eln6fZD65GU89aiH+XttGsWuxIR/5b8FnmNGdYvir796Wm2dZf7TTnzsQimKKxJVLOaC9Mc9NZXShvlx+/m+UFxo0Z11QX2pagpfe4PgH0tCSxvfFTf/QIUTIKVYb5QmsHWE05p0fmyFNCodFy8ti0nGjrhrdbQ+ZQ3Wx0yOD9skLraFTdZRC0OfhVYMG680NafpD510hl4rXs8i9CSUrTF4xN8Bz18OAkJycIFwjCHRcNFkA0YVnvjZs8cz8yMJhx+6ipRKknDjnmNw8cimNdbXkzEkIdOw73I0rN6pJtKQSd8IgnPynPEyNHJfMspZ/wnEjiOwdTg0uRrb1O/Qc48KQsPFso8G1Ndo/37ZdzcZ6VtEXhVs26RJ5SfYv++Y1zWjk+mwWoOhGtVkdlsN0t3YA3eklvnXRHeoBM7L+bCNYd6xt8GuJpfPbzHPjO4iYhEKtONnaFX0ua1OnrUJGEGTStiYU9bOM9s//iS2+fYMFhXqpmvJJlcDBQDqxFjvEhH5fLxGMQfv0qlvH0H2PhdSRn+tyZUIUXkiTx3Uq9ed+Wr4muTykyA4OKg+GS4lcmil68fsSybQ3KGWrnCl4Tv/q0fqYAQzXTziM/OtVLWrk9ONPVEuoOhcqlWHj7M6wMBBm7dEfBHEUJ9D+A13Uk5p6F6dgkeu9j+IfYdv0+taZZ3FY2zHXZSHul8/o8lWYtYb9yYwyv2PvVm86qKUPrq5qj+/5R8AlYKaH2iEeSdVrYZAHMu4vZ+5/gUPJ/X99cDzN7plZ3sBPXFDe/NTScPIMC+59tYBYNrhRlsJ/Qcnm84Lz224kEmKEVZko+t1hi/MzSdRaEkHCvmAvl1lF6l6CV1L3ISNR/09hQkmcGO8jIDsMkIhuTubc7HlVMjCZj7MaMXJJgUmfbQFWOwxWgekkIXwn/oYJEp2hEsW9GhPQaMtXFQorRGMYWsZItIh2INqW24s/YyK7dkz9fADbDUKYqItdmhN7EBdvIYyyG8CDiFmEDy1oKYYPdRgCleoC7vuggMRKN0etpUhjwaZSapBR+fDgHh7vEZEB7JVZTEMNrF+o5weekoHxak40Y4Zubo+h32bHHA3qmu44PbOdUYKFHpdmAGtDsorpAiaIKEFrWqAaD7Ju7B0AqAf8wQ6sigPelZR1ahxUBMM/zKKVPR18MRJjQuxNdOIClhLbxQ+oQiPmxUvbrIAfPJeOkpXTXZcCdXm0E+sJZ2pRdJrbw1XFiWH3d/vTBkt2+KFO6LGcSb/6eLzib2v/MiDLk8ihW7koMFbxTdgQV+YIxi9/ull30yS1PRNkDckMTvT426yDVOs41LVa1YIQbptEi4Zwmr3MNeZJ6NhfZUVdcWtuEMrektIMAEJo4uuWwHI8C2lvOWCF/Zi3gXh6C+ehn2VyI2Z29QkYpGbW2kpIq/G7dOtUUaXPyJensKluwWhRyGP1YJcV56ZsvSuf9eFT0rZRRXxxebCqsIsrMh/Z1tFWn1Xw0s86oF7KYhcZJ4clBNrJjRPwICW3FF6Dx3Q/QGLFty/3FarHwCbhNd5mH2FTkwY+UQ+zPzsvzRUZphYHPaVVnOr/AGaWCtcJXX1OKXmBFM+dy892apJWTJSr+Snx2v4lQDmnhvlkwFdfeJ3LuOo/MoM0oz2Jdh2XE859uDfbFnYeb+cvW+I6/5DkHAiK9Zp/i+FWUFP5lIWw2h6J8q3n87wk6Uyx4DmudzDXrN4ffYeohJKVwhMx9aQV+bn7r918wRw5XDkpvztMjh/kIzvmxgVBtC4hccYsnEKlbqIwS9cpI4aFkGEu5p8rV02oMYkh7WVePwhlx1TfY3QxLynRtuhRMPGq+xOU9JqkrGLGZJlu8K9x036RzReuDuVaAsClVsDPRfBPIMl/tyD31jwKULbq6i1lydvBXTctWFa5vlCp6jy9ttwPg2jBLDMiOnbw/N4PGwrYoQevKGjaiLTqiwGVVkCby2+kD/mQtajW3wC1IhXWkOgOu06DrJ/4clU7oZIdGbenfDCPpXBiotQ7wzABAfyrKVIaQ2LjEe20fe/ZixH/U35nT0q/tKmUinQm2I2QGAJ2Qdc9jx0ipA8ZJF9P9MEeap7JnSH4FqqPGxwDX4J3OInahHmJZYKhl75PYAH+2cGGZYGPgBoIHasfkxeTrsfLFd2UEwx/npW0N4Aecas+YGYRTW6Re7JrGVWMs9/hIP0IbUcQggjWlIDKe7oV2pHKaf5NydkEBUVFOuZIpkIV4uF7FHuarofzctxNw944bZul/hbISWF2udq87seQ4VJulZzVMFee79lRRhl98wNIAw8nH6VmzK1GikbCoPlqRV1GVTvjRJ3v7DiVp0qgRwPMC3fRgyDrG7F3Zbxhxu3L2fuUL/yjWnUv5XWHJDEE6ncxfItvj7pWRT8lFMHK4VYQGBVbCUkYcnC4POQ/nkRm84UgRWCfDlxXFAsIKukuJ8Jva7RmFPFwhHI7mnzMkSmgnXtY5XcMU4kEApHlygFrWY4u0F9teWcjyOVIEEC8cDyMQlrqMnuLfJODaJtjnu67yzYVDQquV+tw5bQ2m02tzK6NRuA1znWRFucZE9eeJJiahB8xCupMWAJPE2Pm5FIAdroBCchfQs6Sc4vOJmxupVJkymaVm6F1pT8nuq7etXw/+VHayq6rz47U3w/w83RGUPPkkprogjDGAD7MMan8471mdkkjbKHJCB9YrDtR7nRBFsG9pMmv0Hi/mL8HBI1WIsYbLZFFyCyZDCOgew5rL6+5i9KC/bg4jrmgpJ54UB2Lbh49Cqfke6fqJjGyADrhNPV+TOwRm2BMP2IItAyUJeqeLSsnquGzUXqtaRklrfFv4NSwxqQAqgRFkTb6OCS+tB26L/FZydWlgsoVCzSO4Zm0aEekq813cotjmVR9RW/0yxV32SYwgeEqNBD7dIsyty79bPPm1eMiscyBh12kyOHgB7yWOO8rDGP0GluxezDliVmsTGJ2CnXhgk0lEDXgvwQ8FHvvWpMte7Ofw3WNM8s3fafr/yM2pg3a89zkmH0+G+kv+yChwDQa87UThT5sP8tdCMMq10Z0kN6i+9b0kXMfctwyS7YP1OdCeiPc2tR1uWPdLcogcrD9i/KBwe7SKMqsDOqimYBh9fFeLn7fNIKZO6U9cjP31nPGBPBjoYwfMRFbdulIEg4d5bkUwyOdAYlO0pQcZhOujeBAjbKmWFC9dCjx4ywVlpP2cIDoAT+f3JZ0KUKHH3CoHxdZeaQ0Oz4ys0ur350zAogN+aX8Ufzhz0zOYJaALfT7jiH8mLIm4Yewxi9ShmReplwEXkmX4zex52+ClzdJB1J+xlASkD9RWDODQ7qQU+dPh60Qo8sd3VSvTs9JnXcSUQt3F/2LlU2WbG1nuYqsUsd4l6Tnytqnj+PPVcnnQaHOPu7QLnfR7PTB4sy8bXWt/rKWU1n9ociZvznn5VJ7LC2WP7l1c9Xc6+R2Mdoy0qcpEKO3ZVEZJ6Vdh9t8HVuyq1vCT20yxQXR2E8ROh206FPhHGQLE/SHclLRg9hWliQZQLQhmHxY9uR3kkcyTZkW04cco2C6YlLBabBzQTNlic31TVoLBbhhlGtIN0k5NBjFXQ9MAXxJR+J428Y13Zy4RR6m4NFVDxfFC+Yn8jF46pAtdEd1nxm0SB2LvQ9BOuxciPNvWcF3BNlmhTQPNBu4V5wEr4MR5SaV+U97DB0L845WEmcpnXnTXjYjh/mUZr0yDr5MHoJ9Mdu9CtCLx1/ZALRb0/9quCjeX0azC+rUFWmB4lMlIABMlg24vAc0JOO9K/uLx+rQXpEmpiAvr4unuUMYCENOkb2cK2dgEXNxEVUNvVQjiCwyt1sWntX4+6IAilskPaH5Y49ofgxRfMRPStRA06VGmLQ+D7JsQ5+g6Zpiex5huVpmLRqfotqWdyvBIINV4lApl4Yad41C44pATj3t4m+NmHvfuKBUep8Gy3SG4kLC5ccgEGawo6qofF9yKeObj6ZZgtpaIpx/BcCYTyK1CZQNhrmxvjhmMHpkDaulCs/tPonha0WV5wOukSHC6v6BtPlsZHuE9vfphoUqc34Om+MHV5nbaxrpujUE1w3as5XKHRdpCGc5/MnVCAeGdDTyowgWECGoVpdZMsZoEW1+Yrzo5ljTykTilSmNJPtAWObQnJzvgL+lGNHDakZla6dyAQnTN2CRcJV5Yjfir4gpvOufDGjBCuWEGWr0D+iAf0wNyXqDLS9u8EcxhUlhhx5LCbDF2Je1Aux/pfuNrYy2lLQg9fkHtBRBKxOoGlZwdz5mzYJVdOcBJosBmUv+KH6jDfLENZQhNNxGdyPaLGPQUQiyoO1SgqUSSm8gUF6owQFftfVFix0zbSRCKmNgLDGnWcxPeyYUx/7J6rKSmPSPZ11r52UgosluYyPREPD92p/78ruMV47BxZvwhTU1J99v4k5OvvVOZgay+hw5LS/SpiurU5FBgsQem17exSQ8tlb+s8w0yjL5aOZS9i46dbjSNr1Aej5SeSE2nRYfvK3Ei1XgXeCAn4YTYgWh78WwpoYoF6Z2/Uial3wualZcgdJ60/DCtI40Q3wWB3vWsgKYOUsn65kd4cRdC1Y9CMqTux7KOg2tcBhjWlw1VGLU6YtkXbCMObdF/WtrhoOrO77WSxBhwA/UgcARWkdohCDfu1iXqxZF/G5qR+fU0AYI8Xm/miAQNYjVBGc8bEga/ePmnxSx7x/ETvvQhSDgIF0EUwXiGxVfxHw60KlSoekGX8yX1E25HcjeXD8h2vnFsYv+72uGgy2DrIKuCAN2fuVQolq4Y2+7bDwettXAoQqXHERNjS09cCaP05dogj+7jcoJIKqPGQwrcOZGxglyKADr8Jq0ziyVSo21QTl95E1HNJiOZHFngOcrzwvtGCBDWZIHXoOkehLhmc+G+eBcUkh95uIeoQNRyLCpgCN9udyl2zflU93P/C9aPf3Y5kjxw7g77X5hWwdMKq4N3aqkPe7+cSw+H8uAKWexLwMgcVo7nMyOgyeAgvF84/nO6ocSEohbalVpqCtSs/isWS7bJ64mKsq1X0L1BL265Wwdu2q1l3PSXg3KQyOcAeHP7BUuPR1c35XJ9Ld/18q+PZJmt0G6Y+DYX1qp1KHrAL1dbQCCicCtcGPXkObezdkJMCmo16OjDBE/tial+ke0Btb2eb+BgUZiq+FReLoYVFvS7k9tV59AJoizmzqTBsz1lc60cyqd5d80DenF7L5I0AH2opls09DShfObx6Om132VTbihoGQYlAiWZsU1LGk72o1lGgLMoBUEDXwh5MhMo6LD5/s7lu+ltuWEc2mqVnWU3dYAzyPf7Fl/FCulxSDJqpNq8t/UQId3VZjb43xf/iBKU3fINCSCF7kHTds3uz2Y1BlA+u3Xr3WKuiMawoifajwfqOQBNxNmsPmIkcirXL7Bg2R2YLO7f4L6WIfOJBfvtjLQw3ZN1+DyUqK7aoFKfja7egMCih5rpzBDBn3j9uxSWt0yHxffA9YEW6InhY8ZcxiAqUEYQVhDxHnVNXkDTbTwfjiNGQ2UC6k8EvrN+xzww2y5xlpvip/IHIVLKBBGBNSSvRTgWzNo/sUP0R4OIKUDnrIcXXnIqPHnYA/0XsXIdKgW7NUloepBpXGtYGBSwA6SKWbzXwhRn1DZUhlDTJh95uQfDsSdeCXAH2aZDJKWTyheL+lsf6s7gYe7y6kvw5Lp/nIS/w5ZJK6yXHAUGARYLmM/STWvIju9Mv3M8nC4IckVlDb0ozeXVrOslfmnUgCs4JHBgtV0TbnfxKolG01FMO0/XC5tvQzFSlPvy67/zks/2/T2U0JgEl/VmmHlsgHvI0ucsGKsK5yuqh+hnLZ4qY7Ik8WJlnQX9h9K/3AvmhWUo+qxu6WZqLIx4Ht8ncgPq9uIk/idoN1QlGdf3m6lhMjgPY1f2VVT3kC/gpTYV6TWgG72zP+baodvifJde4cEOmjuLlab4Mp4bbnH5/s04DKZsGpP28fehUi9rb0uaL9v04TCwhawXWxwMxRA1jBQMIrIUiY4wcl8G/fn1hNA5TNIn4iKZkrlSpIhC8KJ1IG6tcNIfjjjFdW5b1weG5o5groaWDkOSuDtavDAwHuZBbUITg5CpKRu5SUTrdu1R3ifdlhX4nWScNFxLLrhyH4OkKoA4gA0e/lOj410CXbV9z7/XRLiq6i+WvqLnGha/i1KDZ4VimWxu9DxbFbYvPhDp2vNgpIhQ4fOxBjs2M1EiRbMAcbiJ4Z3N6w8RuuYIHghlZOVe7X+Vf4rwVg240AyHsngxPcvghCI153/1rQT7hZ16upV788H898Ju+gs5qKAfF+/fLebrfsQlPlJll1/1MGU/UG7/Q28/3QZbvluFzGbw8+qiBKVw0V0PCQgjFRS1FMI/oAxF2F+8moNDzlEHaCmRd9hfpqwkE6BR02wYUehI3W4DuJf79xmjnD2NfqgAJWLMQUIGxinShVXLYIptXM+Tcfv1L9lPRLtvXOw092jN9RCaBCGwTJAIdPB7E5in3yuOWGg073ylPxy2xRywdbhVWJ+FWOZRd4V9DPubME7J4Pg1xuM0CTJKu3aOWNlH+ljqrMYngdB6Ddfdi9tlYCanGWd2l3bB9B98vLUuZW8qtYxMc2U8BMe3i0/WwiLdpbDqEOg/n9GQYg5ZJhIF2kyVIrcQxgjlJ08y+/QKeSiwl6V/4GRr6FOZTzGhh6T/msUGsi4Lw4iJQSUDhQyvIZO3x9FI7toKOCjMGl0QnWOnPOF8Jb7bqTt0jSrRatHzP+wknICmUOJ8qfWYWP3lXfHqe9VSN6H30Q5Vo0DqQa5Gaa8ZVGB7P8ncS0lzcU58vymZcVGZHZrwQ0b9qQLZM8LU3T7a2FOQgxnK3qHosTE1n/Nh6dcC5WSgTtwXzLNrwqr34ISXTMFxNthlp6E4EZ3m2M2QkUBFWPKa6pxkGpwgVLxXy2VIZNyQvo+wjUYwnRu0xD2sB0c54Cp7PCfjYP0oXzzRQhoX72/SpNOSDHRiOmJCyDEqbj63/+wVCD7ublEfPZN6ioQJSt80fzl64xgE4JOIVHFrB/ck0IXyoqA9guo41LQZ6A9MWSFIQuPMylLE/agLnSM4YLVtaBW9ErONiWeFLuppNGMyk80za+0sprk7Ju82hmEwsqE1jLR1swc2WRYjG5frUyLHKzGrjg56PCRMCXgfLOWFQ7a8aPVxpCOgJaRkJVV5kyleOTaTtIUj0GN4f+d+FLMtbUJCqL/2S5EdpLUbfluv6AeXaeOt+yQ00laXgF18p+KoRYM7IvzTVwgoI0qZqMlkr96ATg4bZPAXCb/gby6VAZGeUZXYkX8u3o96+0BM73r05XAMUCl4Byw7yFhAbfVDwFuxKPYCktilLE+TUS/a3o/5FRqM7SMjEk6Ks9kwKo1wVkeisnMYUN67nmiiEHhVeTdy6mIOfAjNx4U7E069/DABgjEh2sv/C2r6GWuyp7tx2E4YGUmLebHqElFoKsRsIOSCsw/3qIYwyLRyZpGuxH8eGW5MrkHWVoTQg/hwn9dyNPUjzYOaSszGzYP1d5VWWPyyLrtdOQPeH1QrDqPhYQzSfRwwHhypfTOqL3FBkWvfhi9qIaOnHg60FIraYj439hLfchubK/KV4wLwYG2SAal3WloXPxo2DRdfVKR19EE4qV7BSnJPEquiKc0WV88fYx0G6NeO/iZe6EZBHkl/CKoY9KftYmdQ13+LGjd4Ab92OobRZuBnITRtkBGuRioG1M0bpZQ2qHekQSp7tFktG/nNuBSrprnMsQ2Yz0TSOHwuZmzs+AxNJlB6Gnd0tdMAPcCn8J6SbJsoSktIl+MPeioWrgpq8WPTBrtV73fXphLozFWo4DxCiF100Zit2N4lE8LITQBBrXJBKrYtK33mPv7bR/3jtgup/PVGfxWjYJDg6L7QaN4gNvcBsElB6yRB9hmambVcm3bl7AY6xXEixJuuFQVq7O4AC5Y/eo8SHE9Y9wsKeWKL6DhXDmqWFGoLKRxUAwfMCr4cS0u7w/PqiGQXenbdmUZnndzBGEv2/tZimrW4U3pbYXnS6MBKTbeMygF7UkVN8zJgq0itD0enyH+pzLMGhMVF/EUloy/kZZiV0/UKkQy5Ok46uWU2WQvoDlwGBTujzJbr2+9y3EFPgR21WejoTcF8oOkYGLju+4Df3VxseVp275Z790wuFSEWIkG3Vh/rHaqnn/77pdcoFbE4hxtPcLXAk3mEVgTHTABSqUNqqTrGPu9NnpqgKZZ/GyMGBHr40f0Ho9I09qEhosykB+AmNdohUQxsYD7niqCyN69Lt6EctE42uz4yulWj7DLMbrk/N6EZEm/f4RWixTTc3ismCfYMYVyNXWGZ/xzwPN3r8JkscgCyDg8PDWEoJvj5GH9JhdaY44pTgUxBmD/j/5t3m3rzVkhv0GORH4oLYNEWz4oqpoFL4DPMygMf1QCy0qL3pwFx1y7cWsCZMpv9Y+zIaIdV7BsKDgCq6stcY5AHAFMe8+vqdcKA4M1VI+v1OZr8vtdloo0jwfzXzo75+cx0ZvaghJ5C1AcziOxTPEl78lzSkE7ivd3iRyeTPZmJUOFbsAc3Fx9LKPI3VUWIO1oA8YFd6j+Xfmdgx3gKrTXd4OrETdA5M7wfiamMqXyVJwN28qgECEv69FBeCUnmNz/GTNXWySYOs4wO6gj19aPVWTL7psjFVDsUhhJYaQjSh97GglgaJpLPVV6imgfTwwWkY1I8McfZEoUBFOEr/oi/66LOWtT2kk8BLtvMIUYWn/CakRL3OzH2Ft7mSfIoetAothhnGfyg8JNYAn7yglwRP/oVszYWvhXPk1o7ZyMVaExTjSliaPdhEFYf9AnCkvQK0Y7iATqSU9qbAPmGe8a4Z3vAlvBc88OR6hRoKfqsOgfU19DZIvGKI5ynFKK1eF/Fzz3EJoyNa7bdKfOXTzYtrxE8H1A5PaZ/Xs9np/PS7nAkXptBtJqkKKph2A/P5JZq3v1GdAUBad7meET7rAJs77mUTMne4llJvCDb7Uit4LWepjuH8iYKQKm5JijmkJIOnAphYQmPtao5Qkc0+SKxcoSohK8MOXahpK4B/Qj4G+63zzx63xoky0RNKrnlJ1TbczyCLqFrYR8Z7To6YdX3eeTu1O6vwgAED9TKKWHMKGSQSZpYH5gmrnvbSYrXK9pTWRdQjcx0tok/57PJ7v1VkIHnSSS8BkCqIKGHcDQ5QCnMlddMj9SG7eWxuZmFnp952trGhNUUPCmRRSSW8stu4HNEQONHxM51l9SWEa4d35Mn13CM0Wh7o2ijdUy9E3/sU+QJCEoCIqsgSWFOFsH3utP6QlSSpErx8OPPNny/M/ypqkd2dGmpCAbRK8N4YrAotlBw4UZVntkCMHZE7CdnmMerz8PFP8P9jRRM6r0vLvxWkFe2LP07AUA5B4j4pKEXrQeP/wOwP2GbJ2jGJZX7Xohw9hFvCw8mOnccUUcCwbzQYGtwXMjLW+c03mvB8XyQiYhYBUMHcbbfEqF7gyBsN6uBSWUQMq84ljo0DBB1Dv//U3h8pHBb9Fd3d3BJDOudnw98RvEzQnwdXle8gi6GOmFvrp91jmF1TcJCVKGwF1RfC7PZ6Jqgo2XYWVfhWA34mrSAHtjPJ4OzDK8sI5k32IIBcCL+d6mvtRodcXVjRn3ysCRH3WXee6IITiM5tpfFahhoSmpfrnSOwVx8OlcESbpt5qSp3TgsCIvxXpBg/LhWaUymjTGg7G08l1zp55Au9t2Fet3TZfdkbULiMH5fTbENREV/JqZRh+qpcYStvnfUxoJw9TZNHXXhGa1Tx32hTaFUFjI7jttcfPC1M2hhPX+BKWkqrvIq3y1QWM4y08pSGrzFV1ZLE0Pkd4JUfwCAkAwaFKPA6Y1OkH3WnN0KQbItSt5uG5kSntOGQgfnZUaBhv6M0ehcenoQYFd9rfhY98XiGqtf3bw15SLlSi7NDkb/MMPaaWRBj94e2Lb/ZNOeDz/3Qaay1qopceRjUAG0OxBIAdBdty9U8nzYvKeGSIv58xvtamYWcPM/kGtQYNdLGw1KRL1tiQRsVqxeYEVPpRNgtViSKidtx6RJMYMqAVhIHFWRv4nHQpQeKtWCb0BNa4yqTjLIja7Y4FExVAUyxMtUVjxylZHa3c1V/pFzI2So6bbYI9HdWB8mSNkud4N0/aw4n9TjJTNbZLdXflQi058TtF0Fz+ihhsIb3xI5UGBCDejUqaTJB5ctQkE7GNorbneuWvkR+1JOpn48qtw7gCgg4mKdkRQg8pg6w9/FyQuyzQcGk1dV/foJhj/K8xun/ZC2cabPEdRezFvFRF0GyrrGPmoQ8fryT97i620BMkeLrR2L9wvlOGnRkHSl+B7eQEPhCripY+2DT7ZSynC/dhbE2jSnh8+zmJ7LxBQ2Lt3/ENC0cIJfAvE25Nm9Yxdbg1OkkVuU3Do5U1GgmWDdDozKj2hlXJQDIPM0ZTGKypCUNvtLZB0XnfSchzehvF6re3WKtIzZ5EXn6GQnd7ePLVr++7FGs92xDFZd3hNVrrVEhPP41wypZPP4eNQBkFAZT6SjsiSosP7+iOZyzL+rjAtbV0t7vk/kO4146cqr/c2jD67/jhbsjdEKEn5gH7/qs631J241nmg8PHMpdj5Xve3Bog6KwRDrERbzhHYdJgoIDjODaWugQEaaYrLmAUdcAxqKk2NuGtLnic0QsGPhcC/jqwIlFXNh7KJPXq9QT3Ej4UlSKOm8jnEk6HXrpuYMMdDMhVp9MVl97GEyEjkjhneJ8BKAKG/h56vPl82xqqvZ2ZRt+WV6p7QJI8kXMzLrsZwL8w30Qhd5/5zRIqOl26JCgVWgWcmeKFftjdY8wgImkwuY3i4bm2N0el5MQrWBWAF7tKBw25Bk5svwNFKHRhDKxGj07I+quD1EN7fCC6NorEpzWVyJAPqhpIGwlfRyEXCWb82ZROEyGPrXdkiKFYCXKFEDqvF/uKV9kH10aJio0xgSLcib0uR7hCGy0OH4Da6jU53KX1N1nh/Lsj6APtwm7WWyFQm/mSX/IKKamv4Q/wlh3drbeOsZFkiywucvf2ABEuCSCs3T/Y1wxdDEyW8alGEEqO32hv61pymevc1ExonmOX8AfSyV/Fae0oRgwm9lFM3cy01uFMzpg/jtv88yauDaN7Dz1qZ1OGahHgBn7bRQRjiZ764YggiC7zRrnBXdZhmUuAuKNg653f2Dfuo4hx7gIwgmYmSOmBpRdJaohcnictMDDMvA0EdtheXTeBN0hXzPoLrNYTeDpZJhHFym9gMDgExKJDIXQ67XDn/vwFqfUpGVs3DYxIv2Qmib+rK9OV9V8xGEyxUCAMki4nB3Qil52gioZFvHYfClja0ZZ2D2L0VU+UKi4OqAYSoCD9ZoRAfusd36B4jErNTBnc3SW7svcC6vL4IO0/brpHbNVABsWLneGjjRR/RSNA594P3ZZuJ2WIKkBVouGB4x8oDz+pC69PpBalpG9M77Lsc/TuVpMAzRLlbFvZY1W5bmGKGrtzlMBhqDN4hx7RtS1WkbGUfzaDPi7uSV/YV9Db+6VLKva42DdVmvePCrp/1MA0cf4/leBkaawFXSqfcLx4ig2/xJUmRLdrilXFE88fJftFe2o7X4Qbb9lZVYbH/TRYfrMeUDgAPFlhvLHaT6sAq6dnT7YC9l084yL8k3rjbPbDIZAVHMqOfzBdSjlAndlI/SGLuOHIQBg/wVdU+wqMIit6R75AxLCNH3rDuE9pdxQt3jMFSmErKblevvw1VvHSjJKthPhURCB152qs4TU6DuYkXxEfHmIl/Xqg9NnIh60BHRkAnTHjzteCBNYC6pR8sK9VCEwBDdP1Z7PPBr+XaL5x+YGrQ/60Eh7dsQqVIJcSZR8DaJ4vvkdqb4X3oVPbc0ZBpZ6L+L/p1JJBcsbTERaYuU6wiGFbN9aPsHN3Ka8lbJEWMvqtRD0Na3SQhk5bcL9TRskBTKDPXSJAC/u6GrdFGB4mvtG9dMWJGNVNPOfke0ewJZ3FLx5yWH61AtKFSFWSMr2w8kKjMwOnK8x6+iZ/wXTUqIxFQnD+NLlpa3TSxxwhwYhHmtjeR7FeYSyMch6eEdPQAR4MD5c/H9eF1rAk55ewqa2KtpXum+13WoIKWd01Xc+/nM8JFI3FAiDdgQxzqTP60qrQYulfivibGkDZ7i43JHO4OsOXfAPMxG7120bhn22GGuHW0hlqeDpP6pq1uFpy3o/hNKu4RB4yshKTA62Bo/g5EgNnaCmY9YM23vj6s7MfCNqzsyjhCnt3S/EVczmF/mJydzV19Gl/7Mnrvu/pLkCyXdieVjR/ajD0YHMRpbAOcS3YC56TAJcbWHkHRe4zB1cIf9A7RFvWXPJVICUV9BL/Dk28Zk1EE8OYYfhqOnq5h6uUWbi+0Dbvi0yLN6aVw6TUDINhTznzfZ2O5r7S3HLCLS1VzFQNCexGyVAonVS7EtnxFarfoR9pypunOiNRZb1cnbmudHRi7/PCga6B6fbDFjYum6r50T9BPn1x7BzDna5JWbiXVlq4EvbnB6tEECdubgyqZWAna3vu5tS4900W9kI+GcjD3DxZ9G1iYnB4JFEtBq3pSBHqc6uGt2DFnOYSascPj5KFQVAWYhATcMFsXVRWWVQ6A2g4erhFb8Xv+0GVj0/tdxY7VcxPf86Rke4Fl4Gy6QP3E9JhbqBSyqg7Fe1Dg6Fhd3KCZvHi3CVD1MOLMDb+QtyIuZwLKTplEpKHYNyMABUkvQvr4WdYmOLhvsS7YOMZIZmT+7qAGpp+lCqKcU38AfCVxI1nXG12ZLbTkCV6twZ1sniJn1pQrvfQYr9IiA3g/Tw4tZvt4D085IYlw+K/Z+RvFZ2e+E/BjPBv6u0j0a0Y7VJtrkwhkNO+250ScAJtB6cTRneKx/lxvQw3o02K+S+5sWqlXcBtiavhyCdHVO2vzMPevj5qxcU1HztCxa/pihkFQ1WqoFwC0x2EPOl4HoXjtU6yDvsRniW7VlP7FmBJCZkbJwAjU3C/hc1nX/SVPdZRn9PSkvxvCYg70gzjbQCFlqheTMcytZx3MtRxnqHrvP9ZL9mZwGTBkcilntzshbVHG0JNsf9LxjEaJt79qfvQW0yqFzEWirPydyOCOb7l41+yHUZbXsYMR5yxn3XEA5/mQuJ62QBxfQ484IwMUYhQk00iw21tVRCrcP40O5SnLyTHC0ihXOa/toJi+8TN2VPIcYzCfA1cAk8dUiijUzb6Qt193v7Kh/4TChbghh7AOOMVOMMEHEifQrLWVpbg5vJBfpZm0Bdly5kLGCy6Brv04gyUjLEeoa3c6T7TlTYtfDmILjNYvUfkTRUK1V5NcJc9boBZbuOXaNgFC4k6L4k7XDN78WK5UymGYho12SalfGZywhMlRyFJo/wmq6SjeYH8nq9s+vy2sP/+LL4zTeU5GiQLZ+9/xacLbQQArFAGmbM6Q2aqQbRXpKDDhhmRNA4azjEKnZjGgybji5ZiXNw0Y6FvPLMZiqD13lhSHANS5XQ9b1V9Cd31hv/O1/LrS52UdoiG1NgLM23zCKM2X48PtCqQQZHXHssHvIqSZPWJ6o9pcWsZnEGdxe7SYkiBHBnv4YvSz/vWiuAyITiNGZXZgJn1caEcOwljdjXHdNrzIlkrsIQfm997AmmWSF8PohjiuZRvBl6VKIWfhtopUT/vPO2znh1SgOmGOXdyiB/UyF2Z2IYro5Un1BzO3yVc8aKtcIwUBKacGkmPeobAVh9ZWeLMo62sU9UC9byes/f8oBQy6r234dAQxuqm9CxZQwI6vY1r+myIbG7Irer7c2N6KDFjx3VIR8dzfVUpXUrpwk+osC+hHlrdnfpIXxQC5YTzrpwaQsIyCl69x1NPqjC5YV6oCvTA8aGFM6WTN7EE3sCxThQe3Qjbn80p3pTyfwQlt45MVTSn82P7By7cY41aKtFJgiufqfwegmZqY4sbXsrRrkzK/7+EP204vh1JcscGuoppeJMt7S6lJjely82rDc8Itf4kFz8zo25q9hcMLAFa7TbXqdPLrGgCkieFGUR+sVgudbviNnwJ1SdB2rgkj7aFqQwEBZAz8zsv26Ulapl4MTtI0EQl6B1YVASCpWSIhvUuNUC5pHPOVQ/U1JJDgziN6qf7MtfHV4VG85g1hxpfofmuRuUGwSiByzeGu6CaBi18tlqAqY6SaaGgnhHM5QgN3XNpakZkp8T7D+CEsYFVILgcmXWMGw0OGP0N4i19B9f/iFAvEB1kns+V9ueDiOUcYEKTQdDOCWtICu7Doav6xYGjWh061pINuFD/9QFypl/FHa4Vno5s9xF341PYXxVoCP7/ypcoiw5Vym4LQfUss3uQOnDgK1iXySspISexI8qcaQtV8L79WD1Bn/Q//F3SmsGiHus/aZrP6BVYTw6B6tNYwYFEswLfFyKNln6htSpHS8R5KLevxSIvRG5Ro37U8YzxWYBEzoVwdFjoBlg+UqFrTWukdDqYi++hu3bu3O4hyjwIe+BqgrSLUic/m0sd+IS3gNISNO91EkCo0ii9WeFqOaSKjScrDECwxSnX89SYV23xXfFiTxaUUvNoQjgFwXv3AJVUfeUcGOJuIGPicb1EKcPRPzoQJuEsZJc5PPGo/tM7xS14lRUhQ4AxFIO2+hqTJ7gDu8/bWxnRbWphz9jyaFNouUayx8dtv2livLeupTlWrWJ10MDIpJqJF3BKEEzqG3udBe02KGIIRZeKoWxSNTx0cs3W2JvYfWgeU7BHHUnOtrxqlctZKhMZWjrvI02/+2qyZPnQ0ZsZge3c4/zT3A1ecQgXy9S4q/J68LTZbPgB/sxp/b2CTMBOdjvGYsDTn8gxeEUTcFRZrd3vBlPks5iroebPP50LMHFKbdzWtDp5BluJeqGOM9y7M9lmAP982JI5gxop4reDfwPsquCacZKxU/pBK1xjUtutn0dC1wyGrkDSNHQTPCDnfOwl8cLaNIITSnqkhF0JvW1QjYkVzMKzm562Rcb2s9b62AC7EacrxTFjR16Q2ITlzjnehELYVWCuCRUSJAsK5LIwmK1mhVVnr4q7i7wxzvtGAGW4S1hnIM420G7sM4SAmlq472NwVLIKKDcSiFfgXC+6QRGMBZeIe+KOJMXmBRs2jcfYPAg7/75ykU2wO8a11lJ9kDCk0jhe59UnacFzeR/p+lFm86Vr8Qqo9/zwuLrkbmKVBMUsUkfQaZdaNUNXcg3cWfBKtsd75Df+F3eLrWR64fNKs5KcFB1XxLxfV+1G1nx7qTotrL4lRjVUn5+TuU92X5MqQgylcjYlBL/oNgPC9/fzvD4jGCaVp0cNgVmX/FX8lmIWBXz7y5QOqIm6F61HQtycfnrRH466EIhdsrM4rZcdqf6tJ652m0jqEnKHCtvtVeGsl9Zo94Fh7Y/bLg9J0ZEWcD0/uzAimVph//xvbWVDDhh8C4VNvJChZpv8GXb+WPCA7cUClJOURzYqLGiSldGHiPuWoctMjlNV2ew9wf5GQcFRB0YQslv1BvHLVaxC3X6GGzsXJrq8UTZSHaxyKzsbVQJxEE2F5GDS49aAaKhYnR1yTMu7Tm9giLpEMor4NY1cAI2zUbAHTT/DmH9SaQKutX1IHDFQh0bCT7VPv+YWQwtJHY/OjcxbRb+mZrnRQojHYYF2vqdOGUGu0+PrO8SVuIWE7Nn7D6gdmdOzShtB8FldP3yF9DC/FBPhd51ddZdOaEQXfxeHGN6EY4xtLr1x8o1Wc0R7fcxrvqrvtpRC+zhHRHvMLR3G13FIgPPhf32Vw1pTQuo0RBR/OcjhD/Eu/yERgRB1OkgiYOgG0Y01PtUNi4KAYSXwd0t65Jvw5hi8uDZB25hi/VY3FYR6MiU8PnYu7aLEplzZo2GDdLWqhlw4tHZV9jC8Xnin88HItT0y7s6rYP7xgOxFzVCkNNmJzZeG90lBcyxqa45CLb5Gt70VmrLd1zNbMQ3JhKCY2do7P6DPVCquPQFlzRatgsvISHZFiGGjB7/eYxBQGx3s1kCKMzvKFHHhC0DZUTpMqEsGP1Uj5FK41XACU7kk8bkkbcTkIdpTXrtEIWRmeZTL6nfngi0isOVuFyzXquK0jWVYjwKHP98UULlvHD2ZNck21NJbHXv622xfZuNB6Qm28kLJrSpNyrJOmFdGV9U5Hdy3J2Lj1b5D/8XpEjjV6zFwrGWA6z712sMXLPjP7Mx8eh1c9AJ8RSAE5+uTunWY1ORM9HeeCzPVx+yRs3cM4IJQWMF3Ulplsluty0xnDZbdCwNeCLqZ/Nrt9QJLczGs2cwcm5/SRRIQUGuh1pVP4kxO/R3DE4jvM+8wayV9IIdI/qih+Cdidqv1DHpdEuMUTr+PZMqiqkddA6qFlxBVeo1mE+Ehc++K0DOdrAOgK6Fa56f2Is+JXWXuo6uK+NnO7Yi2owQQq/Bj+LgDgYAUmf+web+ppIVK23oAiAuaGlptFSyvPBwsiqDoiZyJei+Pm42dEcB8Jkk51OYDFysh9id05Hkdsj0PXwinHfeXtyzIbKnrYxO8zvSL5sPCLbJykYcdG9hD9P4UIL22rHjzJGTHAhcwfFhFWMmuWSObN2YQo4fnYx0e2x+16waxMEVpryIFgiMPBz36iWOoFGTJoQ0IP81dcUVufjqUWx3GpBffPXmFZiVxMXiXTuGRhkkDujWQgbDgYh+FiNx+IU0PJX29LW0O3wPOujbF3Gf+yfCtqQzT7Z4brW8B1ACWlYsQZPJwqUAlR2fwVBHVsv8VvnOjKP6aNYgHHKAjsnBEscjn9NKBbbvIKc5PoRSYNKGnI05ZTp4Zvr3Yh3lVtvAk4vO0JDYtLoJnwZfEXy4/+64SQ25JdSaiMYieouotrY4fN4K16+KNKZympSFfjHCGh2C1YpLsNv39lDPNZITS1qFmI/aooNZD19FzymXGTrIV5qIn+tqLvoE3H+zS0TbTXWqsmKItdOk0CGmcJLXrNktYIS4fnzCtmTix7Ml0bzfiKr4KqpP9PKKJ27WFUQlCTOMWdTROAQKEyEaW4sFd16uXp+wFu3ZzyGNzwX4pXWXEzq+2jYxoOPCyTqs3cZ/PP7ZBCcmHzyynG+LofsRZ9/AEUsqHjVLn9AF81sziOSbUu89wEWwIgDMzRIE+0qBJSm+fs56fQ6SO86RVAsAKxEp8iZzsI+xA1VzN9Z1hos7v7K3y0XK1nEd/Rhl6P1ZpwauUCTv67CjxDbI9CSx561Ya2rEBlqOyWsvg1VkRREhX45gAxb7v9ynkuQzqXT7S8H3m5w1R2iCEpAU+KLwuAwJyRBvGH/0lOoWorTxezBLJ84dJzTLNpWi9MW7PNJBEFTLSA1B21WHkucTOnIF6k67MTMXnZ+efUgKl+uuhlH8USp6BJpRuCy/lc11jAo8+a5U6yTZD6h4Of/d+4ckaoNOpkSEO5E5bUZRX4jymfzR8AfQ8aAeR7FVbKhMlzA3isd0yrtSHJL0hwium/h9aMq5SdKLXFurUeIgtjJ2qUHQDTNROjEdmgNf8vHk8e3nebhEA//VoVoJfiBfNTwX5rkMaIMyne+sH2A9xSuz4/SS4LBunZ+JhwbqxkTA0iyREfG5ptKwebUYs2zq97BfP9yTCFaAqtN7pCr+HrqsJp0f7qRir7KSyrhRaq3cVtJVBo0T2dCdCoRVRNEZrJcZjsVQNYNaWw3Fzzec8Kdz7MP+gl24XUeHqhxSYzh9CEUNbradsbSp/nl/rPDCT/B4PJJamgIZWnp7KjfPSE8YlNXAZIQ9IbWgOk4XC6xU1BjfmrxY3B+gO9hXsYmO52arBPwZVCyLhN9IT0hKscfPBzjmaEyYQsKkpcGYyBTIGUAg7HZvY/6gliEcmipoAD30GDEYB+q/b4hzBOlozf1VdBuGvNikZipihpltR4kOHTPc/ti1lJ2JeHNv+USiyeZIV3oNf9KT5Pb0wZ68NTHd+m/WRfB3FL9EbiK3cye0knnRgFQeDqA6lGPvEE1uV0cXdmU7sGAfBlBMP3F8UjT0r0J027YwfEd1UyT8//kPTgzHwwZoTxbiyoRg/k+30WRom8tykQl8uSEkDL6hZdB4MKTmGXWRktJvWeV2OZejILxcIawDLpf/4ktguKxoTeHyfihJYhXRgVZIqmB/9zUE+ezeTyiXHjLmhZqUtEeeK4AI+k0LAveTFxo9t/ZEtfh+x61ExHGUrTYJMgU46bf8EtoLtk6pizS9SrEiX6l1Npebh0ImUOQWHJjVDuX/bvIKP1j7i39HHN/izjKiLcVwK0AAoIgQ2fO/0f0t0SC6QRlqhs2a1Zq/JN8UWwUcVHfOccRvodlAfVxBBR1LbvAVim8E5WKud3hxFrnPeJ3D/unGQfzYZ9nptvBwnDYSdGntpbw64A18aLQo8T0YE49f0K4VBGE2Kw+OnfUPNLtX7h3uoR+po7C50lVoZxFvEFx67cpunuf4Q5+H2k79DIOXjj9wp5F7tckldz/8DzW3s1B+bGhTm9+jE7XBZgUSHJNS5yYsBqWEVbo6WGod2GkH33wE55TA4safki6y3pKUEqTsa3K4D2auD8njK2I3EHKooNfMg8lnEu0chbH0apX731tQpNIAaTh2bTInocx29BnwkzG9vKZZTRmc4ZqTebl2+Y4OxQVy3//v+GmWfa5G9+BhgFuV0o6pGSAcldbnjdthIYk5sqcZGHFbcCtJd6CI2OW62Tr6TLlRfd95Ra2WWwYqo2MTvKienK76MvhV/JHesqwEYVuer5CS2sjbge7o7IpDyzg+iTktyRblj+QKUfViZDHPs0kaSVlP40EscTpTfnkUaq8wWWlFdu/rDs5UNOrhyruq8n+qJr7XVfSGLIvt+QtLqaNpmExhN+aZTt1YGd/xX3/01zAyQOjejrskgTSvaHhbn7CFWcX9+fmb43Cw4qaNi8a2DMvxAvrfB1FvbwPgKQkPYtsyw+CfYANBq2YQv+9FJ4DWxZxeW3cYuKxaexzbfcmWCf8jWdFsc+0R4ilQ2lkkh5QU5LRCpJTpoqK/FPQnI5ZqsYwv4w+gOtDAbc8/4Oc2bJ9GUsXfnD67Px4fxr3SO6nhSSRtuES3CwwzGfjkLMP5gO88M4NWri0TuMOPFMMEvy1pzrmO1I2Nmd2jZd6stHL3IzaSc4cIL2fu+y4dgZBKMjnVuvXcP27nsxJDHnaP6w+x116wd7JODlvfjL0KAEF34ND42BhbXzQO+LFlb2y6pf4PZkbM+xouVLdY3zqSdlIhskW4XrkPIgLWUjy0kHlX88zjShsRnf3tSW21qAtHMB1wly8/h31VtTE5jR1IJhGNHsKcsRgfwJP4wblFkA7w7507BtpICREQDtsE9nsRIfSlAETb2R8rtdjT7xK4TjAiLo6ZtMRYsfQD+HxqwE60V0NY4/dbjCkC3tpjPmA5xLzVtWaO4/B2A+xT4No995vm+EB9LRLpOPnXKQ12FQaKG4NKoObC+iKhSAP0uf0VKxWg4mpvBk5F3/kgoph4KXCTS7ld/CxMwSDZ21I9xNi/RwSawAzALPiGMAYNBzmTi7RemRcq2qFvzl6Fre3h+rGKsJ4WTrh0/RwmVq0yirlSrRf4mT4olC6aa4sVt86Nt30FtPmt4b+CChIWksCQ7NhnwIvnFO3qf3z/juOMSyfxphHIXP0GXjWPcLB8FsVacSqmVWTeH1F+h7hWUgcwGm5c7/Y1wNcIQe+pQqYQ5dsNyJ8JtAYM00nD9f641WhDSTQuJ+IWAy70+wOgG8KiuDxjVnz6PWj/+YW4IybpHmK7iONpltQN9WEY83YJmrdCuoXQ0VjVqsiQz7YKhftNyrFOSEyK1E9ItKFwSBr4SeEUyEwMojvpLLDXJ+wgo8y90/rBGEc0engQyrLnbAuCCxzvXWOWRiCxn3dsaihSR8roU4LzwlSma+hfjCV2HaqRTEXWF2LVY1Nti/pGywnB8L5XOPxQn4bBLW9c7mmyKx3c/wZCY8124mqZ6OJfcn/4knA3njn9FtWJ0DeStUJYO/m4hEg6Hc7i3E8Ddwfshex3DyXffMAKH3uie/ZEaJBTK0Ru1SwTwSDevnLmEfquZmDazbZIRkmNeX7FqWDLL+YTonDYiaRcPIHynZtae0cBLN/pDeYUJO6JzLxpHpBqGzXk0lASdxTSbNjdiG1FNn+yPMfauR0BwS7Y8XeY3HQNDVkNrxps1Q5cDyfmsZljNvWCOqMCoRHF7gYBRhGTi5N/72R9YDJ8LHn2S0PZ4kNv4fg4DfV4R9GgWmZqU1peWCfoLdn7fj7nxZKumkIB/pknAAviNcyu7KTAdFnZJGPeRVcb0jxIeSgFEli0VYhULdibKSKZm6T9ZOKewvYW7i1OPZBDWU4Kk0VLipyoxRE7hUhebezWF94UDfcZO4v0hDMEA+q2J/zkGW4gYq93TJDvVCxY9Bdx+pKvZ4IuJcmuL7HoRyQMZ7eXH2/e3qHb3JmeQwcDZEFZbjVFrlJU+ZwXXFVow0PMIU0M/yaGloCjSEZhZEs25/yWRhgnU0J2Vwhpb86v/mN9B3/qLjFG6OjjEmfXNm7Mk9B2k6/mx7RCF6o9o7TZQpffUb55eO8WhtWlY9nl5t9talVPz5xA3PQpbM1AHJDqlQun64lln9tgjBNw6+QmLx2Bp0JX6zd0+a7z+nORllWKbjoW26WzLIwifPPhTpQzkgDotU26FDVqtTFfdcAKqWkPipKiEIM1SDSjUMp2wL6A8MXOJN14TdSTwZag5Ywwhjp8tZwPasvVsiGr4k8Axx8Sp0wvaNNj90jVivEQJlBsj94Zi4KV7QoqiWbzjIRz/99m/f8Is6j0AF6hexbAzE0OwOpNYgA1kycanFimC6hfGnjpHaX0tgpoS72cabFFCm7eQ8HDMG1AkaUYucr9CRZi861aOtailiVE3oYqC5nA6DYPNZp4Zl2RQYGZXYdmoyBgi2YP/IRMYIXfQBxxfCrrsLyxdhobRsnYFFmYaDv9c4YodBjXL3jwcpu7srB1amxUdlLCuHmjPbXqL90Ow+VTjjs+tOhU28z0KycVTE/+rsrSWdvEOdOLHWWnj5730esVy85/aJbVqkzshtY73IkZ70ciMIYcSWr8m/LMAwiDdRjMHvNELkuW70vhkGpvlK4RW6MuJID4WyfOJ2UU6L/SuYPYQPsR0KcaSkI4OE4Z7pvN3A3ZM/ZaQkeWgTReVyo7aW1V/bd476yGV9ouzTM0QURmAr0lwqomqNRhqgChJmqGiAGDeM5rm3FP2dzzDZpF8aAlHqVXpJX3LtdLV2BDAp4YgoIr2oXqqq4akTwOz0aG2Sg96prdLL8Nc1+AdH9dQCwY0NPMlU0YILsCNQOJF5gCaqtuG+6+i0zZ8AigzyLn7jjUilRIG2gjF4SaM7QfyhWt9nkD65ZiLqqM11ST461I56QRipLNhEe6mNFj9VWHUU6soknaXW5PFbkdtCQddHXD/DbSDcpwlFWxQXywrLwsssbpp7Ds4Uti6hlOdIQIvjO6j0CAjJzrqnxg6B/gJwy9mkUUdv+r7bbd4tWb1qUWX8Y9XKOhNuVynPnehMGeU1p7ScV/W0r+ZeC6HK75QSLghHxiGlo/yKXq3K4qDiUZIovSDpV5QhDE5xpznDzUxt7JH3Sx2uTj5PBxG3BC6lPPClu5AUxLUUVCI+cnnY8drtds7ULsWvwAmCL3IfgT0o1octShHUA6xAJIHCYLrReh4I7mOT/BIdQeaL5TWbrEZDy81NX3OqatYyVO3+ARvki91sdSXnCoayhO7iGauE2O0HdXCLKivKMx9h1RyMF6brMFC6t9FKrQwGlRUWzeN3dcEJpbExX/JycmmK2IgcRtvE/8BCWpkCDZgnlnCZ3HBx04/CvNYddV8RVuqs1n3NvIaeCGDQqGXFcesRWjmfdCh55rs2vk1zZ6ONK3/cFt+LKUtrDB0KGDvDk0pl0nRbinuURB8a0lARgx5uqBHbkZXzCIRDLOq5uMcWjJShMpl9PlO6eym2akivRrcid+1yqXlXB8M2x5+XWF8pE4TcpHYN/n6yZmAvL87sY5mu4+W2embULsaQqkc9Ay4ECeWPCXa3ZFyRYx96c01LB975mDD5Xz1Ia45rWlElE5vnPlgn2Ejyq+HDMXjxpSI6h9VQSj2s8DxzsGsPktzX/7CmEO/OeKqv4vfo3d7M6jbUQk16bFcDulZweT8zqdqivon6cdgGl7RbJU0872d7SPgfyqIRe9qw0JlSJTKgaNRBuTOUKdXtbHqpOUCeozf9ozUGb8pvVodyFpbKn5cB+KRNPExhccPD265r/X2/qXr8IkQsuihw4qL1/mK3D5oJjrNtLNqpa+HyvLJbxszZW6G8Lap13jgjXS4Z/RN0dP+eJbQMkwxIbRrULUrYhRZ3XKRiM0vLY4ZhpRR2cwmsGOpfSz7dsRci1orIhSvzArAM29uJ4ieA8FuwNXhQOd4DEsDephwK4nKnRypzkZzsaM0oAG/HWsEYCzeGTjk3AX3INqSMqusvChdAunqnL+LTQuhFNcTba7cE4tm9ZYxv0E2/EfPDNGAek035oN0NxcbQp54MWIly/A11l8Nr/xmM9TwarBLwKNVx8BocEOpiBSGuW5+gE3OpcxqmYMvqVhoYlt6zzzNFVY9TCz3tVnSo6Zh24TUV0VoMcRORi2bMQTKyqFd5ntAU5rwCary6tHrs5LYkFANbr64PM2Hpuu6EbFqYL9UGaKpHouA4WUAwgrZ0i35B/LlGfvJ1xlUtLaoF3ErhSGnigbni2yT+yFvSoWi8g98fovFl4Eg4uxXJYk/Ps8h+H+G+ausfxgRd1MOXbwhenLDuEPHblolj6UTnzIT5uutrJKk5FOO9zStS2o/v681zDXDJ5cetDWvLLaM37v0ua9+JVcBmp6pxeBlQN+2al+m7sN+5DMM7Y+PlbDGi8tdWVekZtvH9YUOLMWgkVN1NmyxQKn2y5QMHV1fF1qEZ3Zgmx7gUl5F0SgpakB9gMalIiJFbaMUthMfXOUwDX580OmoW8/4kiydI/hHFe+tL5ZBmUbAIAzz8hO0h2y9HhKsjGxaEDFxBjwk8XIhfgQ0AsnuU8R5rttYWqLYr1D/I3ah7Jcj5eG5NPAcaLH8UwlA1MwfEO28WmBUodzSKDHJIetNdvv4O0aQEf9FAw35nlF/r9vn1xqt/8jlMtrZz4ROKqblUx5WB9PXQ4wCZrCJVFbGUvdBmumBZVB5wh7loXPso3aEoEx7lyUWGuNPEk/zabHxq+fDwuOfxpeBlU3/oC0hdGm/CoDEkeQNQ8yzIVqwZgfWjLlEHBXlPmx60wKuc702Bvl3ijITHvkaeVMuRUgw9r4ETy2NUXEZHLSlUJ8/nvrJ+SoZcX5R0s9bJRyYU5mi+usK32uQ4V6r42UrkTVngLuylNCSaJ3Bbx4OzTzITqZrSx3UefxJFgDrlRvALq4N/N1huu1I/i2v9tRJW5dMLj/fA4dVvmalCPIAm+Pa7Y0S/sDrFKjL8bHXoYcPqUjiSttonHNRkcfzWfzuLhkQ+8q40yQlF7xIMRZgAX6khdc61+PUKzJECr5LNa2iaD3arthjPzjRS9mOTl9+pw5i1wicc8C4uZ4kmba8nQH5F/6Hi5TJaS0LjpBiInCw3GREMdxseIjBMJGQmxOj6PA8tJV0Kv+xFqZOEDZdzmHd+01499NcrAFrhrHAbn2QYW3cWIoSrmgEEhIdPbKIlFPgFntEiovBDyHMKMtTkEd99Z92RZBNFdJT0p3KYVjqvicMlWNvR5msyZ6XfP3JeEjCwo9Dhhbg4uZSjtXCgu6nZoez1s33NETL2KVlhIFvN+wUXvn+L+GeptAYdjObwBGRL+LFpD7h5h8/oiHJctTx9GWWxFZ7uFTbwMyEmcLI165f7ULZNee/ugX+LLjeA5ikS+S7gCTcYwVOA13DlqTKbR86wf7QA3WZXn0K34Klg1DaL6SK/ZU83zFAiS22o8Nk7pom1O5OyLbBDL9jxl6sOJp74I6bq8C6XDBz5erE2VthrKaIdyScw4lkDeql6rgi691P0FO0tcn8Un0AXbZZUXPilukr/WW5by3pRZ4LhyuEI1rvZYQC0V6Uq/rJsjWCg2h7x/tsDTSdderLmIdaXFiGcdb6lafp5v3rsisEvz8iMVbI0NGPzLMOyfRyQ3RVV1BlZP3gJ8NltTJHbQPNxUbbs+tYrIgI8y+g5Tntp/BaarT2Sqp4A2jLnJW0pTy9RiiVug52METi9mhKACqTaVAiBI2n7YttNSZB/YZexLqhtCISwX0DM7nR4AXJDnTvNeZZBU3Fgi0dQc+YjN0buOsQn4azhRD64xw8XX/9NQIP5y4KtdW+bIBERQgOxoENRxgpI5mUU6s9YuhJiehbEkdXmQZTMiuRmpg/uCnK/nSPpKDScOZFcbupAjL9pQ2KFUOT2UfCEleUDMmhkE5hFUb6KguzRnGFlr2AWsWBLlfWw0/UhHsIEcSzLsWbOncVsomQtUJodId/0S++p1anDxxxReYL3XdD7gnnl98TkWHnk70trsseMi8LdnTt5WjmlFkzuPXIbdarbAV4NGH3IvpPqibAeI98gznS4Kon00TJ3ZZJ6kS1zIrpukRbbzI4fXRgQIopGsoi0dhEoFYvIZPedBgohgQt1ytuEzsVVJOyp4EWvWEyPrmjrJd1nMBulGN5pvcftJlgqHTGUJeFLcYQu+obRWxYkFmN0DYXzQEhedCaLbq0uJFDWLyMsFjmgdpZwCFio7wUmnbAYWScrvxrVr9ugJ5eo4bROocswLJMvck5p1Suxt84299uHJnclmWcBZe3e3krmweDF+G+qvcLPsO43OfyHcJvYGwexSMvxk9Pe4BrwyBrjFquzEEK2kQd6+2hCIeC3fN/+zY+n/q5EsEFVTMSONmYLY21m74uMOeHPRsvGi45spTHxUjvaruw1r4ZEgAqPFPdUYw1XieLQts1F57cmIH/aZQjMCiucAZYqdL4FvvbKp93wDgxGBDvla6nzOb8Ggwk3hOzyMAi+AiMAOp4ch1XJbGWrfotcHzL5wx77J6P6Io5n3ITw4mDLBQuVX0kCwXayukn8h6GqgEC89S11whzt609ogGgldAyEyq3TGkoqiV3jaGwybQ+BACdZ3qhrxcr7DsbhNaLhdXo6pQ3OrZCeFwFK//g5ferLr96Sjgi7gcpRsSBWdp1OByDtBQD+a83TzcS+Zig3v+Sy7u3qcaSqsxrt86qIkkYOEM5b4xVkBgKTwSDAyubix+8uodEeg8heBqzxlk5bQDd2wOn4hp4YDw7ygmjU8ifoP+cUko3eXBum/8V++ZOpWt2zovUfyTY0Qg912ZuNwY1EMN8s9n+6EahEwXH3SrCTX3BaqTgmVpoZhjiwB9NwfYuq3cBgrE+QYCLN+uyMh0eh/kGszHLoo/L7qvAovxBFQ3SuLbP18H+Rn+Y/Ut2P3E2+QvxsBbZWG1yRVEOZ98cgLm3XRmmo8sWkGTlxw4oROMJCstf59zP4Beba+VnixAU/9zGu0xfAUefgYvD9gHvbWgCsHJLp7s+Qm1lHgqJji9yxHmjBONKGOEhxjDbffZ1LNosZV7cX8oZ3tUy3IKKW7plK5e/ROlceAxCWEJDZUU+y0tJHNJH2k/kBCo7elupGT0QE4Hn4Ww93RZ+EsflYnCfZtklTBn6KHahbcwStpKm2ngyln7JPX704pO19MPA5/BCBtMhgBFDf3NfcMjCU76KHRFrH76xbIkU3VLnUniMVgJDgAFolGFWgO+v5fEA/Z/6mNe+VuwVrnFHeV6D6QqFVNdU5yR72/ylpeZ0z6cCRoUkkADUALBWrlQElj3wpzobo8lGXG0OWvQ1DLTfdMnlhTstmy7p/RuJyIzm+kvRgGu/Jc1NLxclcFP2hJhQP2fIIC3xpXEyO2F5wPvLggPDiyjZJShun7lpchztJvCVzBpNm4NcYehB8e6zKL89Hy4K89ONY4MGS21Qf6TmrjN5uhIZ4eZ/9HmWT1xEb7/ilvgmsirap3MVedWheTYd5SUHz69Y7Xfoh+XvIZUU3tMBssSuDpJC6M9yURHvFyH8SdL1nCARLYVhDdqgPym/bA22cJmUT27cOJo0u7BC0B9GbVl87lLf98EWW/vndwo1piQWjahQRpXnSuBN2CxNxUwZXbuGh/APISdXGZl9g64xHHmLmq8faJeZTueJZWo3SwzYU1XOtlnQUhlo1qlCQJy5cYX7A3Uwk8YvQ0Q0dCyP1E4WfZriAKQHUF0Xf1w8OP1G2ZZNBCD+6jRFBm6k4k7SWJ0b22lJLyUROdngaZZJy0Q/suppONwDxkQy2hA9arWCLcakcmEVNII1oc6hWO9rvO6MWdyh/Lzs6OwK/5R62DcjuqIAfzt4QC0o8GlIpyl2+7oNdTfyjkMHxqgRFOhPTQtQgY91NMqtBBFhevQL8enCuLN0jDXUTcOI6kK0fHcNXC+wcGVnrKVc+GLKCN7OU4r+QvfAnhtabYV3WzKngHmUnbO9l2ozerbvMRj+uNWiWo+X9LGCoop/SBPaW2LmgPxpcpP3GT1Mdr1rTzzJqTzzV8IAXoDmJNMgdFWeY9+4T9pzKEmlLRozpJtQoHLAZTE2dhrEjDazeysUoxQFNsFMgQwUOSkhCru/7Cq0d6Ha2TjOfnEMo7ZrEMBEkVWKDD7JWt7SbeX3rvF0O5TjvkeBWm42h9K/XgkkwNks70fTpDeAedQgmg5tSDdZcwcDh3LT/t2t+iuHby0I2LMvcqi194I8ATWou+I2qtlbhX8j3O76dufIhqT8P7dD56IhU+IEqZzHWWoNVQc/S6XyhIbdJFleoBv+DsZ2qU2d0kdYIDK0u2mKKcNFXUAPcyKwDv/ApHvcmHTF6z0swFCRRmj1fmAh62TdazJ60PkmerIoppgFM7m+GvQ++W6jGjSDoFrQBat1cCu6DJEm7P5hMtgCXfOkVSqrgDCqtUJnDXIVR7HGm9i1UbM84Gt7xvRXqUrWgW7Dut+8QGMDMzEug+4c1ipx/LGc9b+xKcm4Aw3xB+EWituZyY8VoTEbZhnxjZ8Xc2xzAb9Ha33/ivjmXQIWlXZvGJwR2PGeo1sIQV9VI2+SCkZgmlycDD40pddiikAVAJmrSbvnjUcygCYPfwJaYEiSI2cejVaG/o5cE9hoG3qes3xImsxNnXBAQDuzCEa2hdtoR8NGHdirshkeCLeVoRgV014FpGbRyxmpOzYNBhTHlDzlrLU2ZXxUxDNNjI/SBY8hpAWyyyGdLEqIYJdX339E08oblVsUTipDUrS+54cZ8N8+i4eZ4nwtPNhKNSsFYuzYMJeWgGErRLpQjWXaMBtgdWlGHqWYrdjSvbg/ESkxO75mWOsCUUTa09nTLuk5fL0/FmcpxQDtCUEPBhWdjOu+V5+ToU8ZKNmMO6AWh2chnyAVrG/uUeW09ShsAQqyDRDm6GDHKOjUMFyksOXVXBaRKePaVEo/r7Vc/26T2lbP8BcXQPT+3uHGwJD5QovbrO7mhgIS1Kh/hpEs8hfzjJ+ZA8jTi6P8Mv+v/5dKLTkBwB1FQKub0nItSzlPKp9kssFac5PylcdNaxrBySbfCnLR+XUKU4L3fYlsdke+/b8JvDaPGxDx8WsLJbF0lpYCykQcx6TkMXChxVha7lfFALztjH4NBn5EJpAu8HfHufronryayrc4DWjrHczQPPd36c7e53NYH1L+EhFS6o9XBc9RAKjnhO7gIS+dKz/PIICaIdZMQ3p2sQ8JgDVkYJQzry19aHtHNGWj3d9aHU5tseDVwNtsGSmiXKedrvfnRSbahRxkOABH57nhJsDlTWeuBfii56dLJpd1wWSqb8yHJhKnNYWTpX95L4Ysct8sqUEJKSSIQ2N4aryvzK3Xoaxs3k5B1I/UCGVpHv9hunKjtTJF5YevaFty/xZKZjTQvR88qZ0jKrBmKY4r/nQn+Kqxx5YHQSrnDpy6Or36ZXWhjzNYbM4HL2r2TXqmEVycy+o+GzVWY3cOGRZLwUyW7hV8F4Cc7+Ay8kb/ze/IQ84m/TK++hSL98nDkq6serFnocgPcm4nX4oUXKKdxULLW0EW3awqU6gRyATkusMh+qAt3yP0uNSug9JXKDsFOf2Gu7PhN3hBVrUYtmEl6WO3Y8AfyGzyws7wb3LqdVufubBn7FCyC/DC41qcQ48puTaylHM26aonwsq8w3bD6/fgOFSUYuSzZjtc482YDPIuSBT+LfSqipeM+66lvQkhLfTSdwpz5zCJ2aESFeVc+kfkPraKs/mcA4oCJ7tVcbzjvjFEXpZjCzHi3icxbwqQ2LwFYUzMQ6NM+hz6VkRVZpd9e6FeE62EnU/aQi7flddamUU1DDXGHuHFzBN39Utu/CSDU2UbGtCOZayV0S/BeamtvvMscyJLxLIy+NN48C6EXV9dePR7mooqW5wdVXUgW0rz3Z7WSpM87ebNx+bgIy+G5gyqKTDz5R3t/OoN9P2rAMIf5yDhRu5IZtqhYeQuZ0KxQj0MjSaqk/fy6tspMTEsiUrZsze7g/2kgrIUDrOLuWSajeXQqKV+H8oYY5PFhvi4PceE5RzyKoKnzsyZlq6QV20QXp6hmMDnmjN+/K5Fmt9VtFWP84VN5/U/gcr/I78tCzYevqzEiGroI5XHugRjUN54Ap3zKlZ1dSIHQyzsjinvLq8y5MSK8yZA1LE0AqVLZrNEhKi2ScJBZfZLuZfB9WX0yeTzT41+DZQuzooMZcweoD4EqnNm8JCuykhz0RJUapnce5aVo3IJ0h0ZVw6HnbjvjdhFkPjXbEe+Je5STGD7L8fUwAU5g5o+r4Q2S5BdN2slkfig9czby+d3VrY8VWw76y6CFl2sdxeHApNp9ggKE57VHx+ui26U2qPW/CSPS5nlKOc5yICqkOittgHtFbhYRqOuEMMesKRajeo632SfXUWKH3civ8dmQ12iHarJTVS0NpBv9nnvjkw+PEM47CTerhn4nzprz6EPJ40rnxBpUiYRB86rDByNrIq9CiViniI1ZNNSLwRunTLNQM7VzjznssW3nvHWKi0tYLGwzY4/hqk2ChJVgP+SHO85oKMyvP+Y+sls0OXGz+knBCA2HZQecR3ULau1oIum4M7FCzJjgecOSyzb7YKk/+6YgHZzIX5upW18YaBBsXWR209MzKykURGTsTcOqjjOK6UR1DfziBbZD0bndu+I6Od/Xz8ys6yuMLoa+PYMe6QdVb1Ax2sZvI08amSDOnIiiTiUtb4qR5qllAhwL3TQ2Yr/W2ZGe5ZFYyDJ4dDC++Jwa3UUEUqr/ug2w/ZQMOp4W/RG1bP5tm13c6qjHtZwhmBqT3cRQwUwQMfC6iJnkFshwNpFgRWb//dJ5GN0N9mKEp5Zqs8bQ6F/S1iuYRIv2EK5aUoiV5oO2hMCl1l5lTahraaQjz7+0vHwLFUM48vsdPuM4BeoGsspiYLSRGZRKqtU04eZjTnkkgYjWfdhDyXbSH0vKHqHgqU/18RV+BYRRXQU4XIZm0H7N4wiUDZ3WG4cfgvgj1KWLgEYE1UQfdXjXn+qL9xhUXRvE5ri3tqaYkT1Y7u/eAP46mYP5d3sxLnExyEGc0fLtEvsVLULOVS9Ycbx2ToALfe20nMyG30v3E0pTCWnVa/oyYsjZZcOMJ1Jcsglfb0Exu61sD95iVrXiWWBHw26QkBMmOi0e9TX+ZruPcXsW3Tt1Y1fiSq1hwuNEUOSw1jsQeuPPYSKmAONQ8TfgzCnCXbvKOV5QzxCH1qFQpml6Hh2PcAIPJyLKDGPujsePIxAJ4KSnJ4qkbWksbgiVCqjFZu7AsWcDM00AcA6S9+3C0NEIpWEqdfh7BmBNn5FOO+HquJApO9EpgF/yTXuEwJWBIDTT1FN9RpQxAX8EV9oFdbrdR9B9Cp2gGH09j8H6ySjWDcMDIZeedLdsIt9KRdLtP8bE1uXqFwZhJp/mVjjzUNTwwNjC9PydeCH6Gz7RX/sAsbOG8XwdZde/xK2+pkM0I/D2AYKaeE1UFhXFeUwJARha2CyI6SMQzCyZ9wPdZhoszx7KOCLdtQ8iuklotIGakdDMtRLzLpymu1ND0mOl9gBx+brPrswbySmu2l82ukFJiy8JCeFowsB/wSPyLYvC16cATz7/bM9fNbEWg5D+t17ZjPLLDCnehvwVrP3jMORq6XsieFufK+xqpvMF/ZAfDIP0X6PJ0aiRQL5CAwg1FLRpU2Qbialn94OfWxRJh+heh7Av7kum7BeAss2JZkHXb1ixAFpfcPgRU/YOCcwV1I9RnD/wXd8GDWG5VQzCDwg/obCqcPMa253NNYHMmrnZxE1pZmU/if1LHr8GqtD6IpqY6f98gaSkSkSZuIdef+nuq1nTduT6+2oY8/1KnwCWCZsHxglPUmLn+LavorQlGxXz4TqSxBwMHv6nA/CqFXDJaRZUFTMogxZEGhaf3ycoIhkx+Htx+jnBNQCuc2N2o0KyPFPtR2D/yg/xcuLMQRGYunx5PMDIwDU1suzjloGnlf2anZlKAs15z50Ekfor0ENgencYQnX9b8wJxI4FlTHkZ+Q3fUmT/1vVhsYHmhoojKTNWPe2GoCnOeXHhTcNY6DswVTZ20t8OKAHksUMR/HdRsvsk+K54B0qF03/PVZkMJkrcsPPejg38GKXXSqCKIqXSh5x7cr1y3YYyEOwO/3fsi5m1cWWZpqey8q2fPtFLXxtpbohmdorwDtmF+1WdntHOBqAUQ+xoxhDDkfOO4bwqELJJ6+lCCm5qAnZac077xJCZv5SNb/wWJo5ZOLfhKR1VDYhBpzoyIJqfF8UM5YWnZQbQCxJK6tc0GGO+V6a6KAe0aUegM06FObrZfH74NhjZ+H2ZlvjHngMiiHqFeXrA9k4e6k5bM/r3pG6jgnmTDnqH3KnkdCwxn80WPDwS6ZY0i37LejpY0UvECzTevIQHXsj/t9RFfYpR67hELsP8+H71l9KpaoR+s041k91tNYkpilJ2jIJb7rkIyE5wQuaTyXad1aCYmnfK5ucuG0ciqIpnBUR1U2GA4nPYXXo/GrPh7KQZYEzh6Bh0pet6lxHIWxBqT/sjsB8H2WSnwHRKd3iuP3BPNh9WJUR7HNDo43CCDdOi7yQohTtmZ1qRq+Ar/I6JBXWQNzaBKOTAs9fxLeOzV+284je3vAHwDDosudbmcgMXueNMabaSMFynjjTxGjPHIQyurfGSY1eXaznhBOARITVmomdYTOgf2xYFl3d/fckpNB4EqVxgoLnHN8cYT8eO3sSwHNnnx+8hE+Wn7vxmVfX6D/VqoNOVGuZa9Mjw3NDJBkosOkgB6FcXs1EZTXaQBj0LYMpjbwl07CASmg05Nm6alwnjzy+r0YEo8n3JKDRPqwOXrr2Nc8pE6DHaYMB2OKyI2h8aLTs3+6X+S1WRzTF9r30vaE1FSG8cdu4bcXGJ3+PJ2IFOjMNO3VshAjIEVRlRR361YQbx634s1q5vQMXtBpXvn8rpcGf+aFPCwhxkL+d1LUmHC616cWPOD1WtJwTNgP7PcgaZiPBri/6/6keS0uNklByWu0bwC3CWuvAC94uqXJmjUfb0UM1aPfgNVOIx0HeCqm/47paJcYG9FDtXmbRRBSBJhA5ryjoHtHTXwamLRCgeWLPZt+VuB2HzWyjxomBMyJ2abPyL3cHkAUw2TXlOVPRjnh3856L5aeGEJF3AET/eESxIgKpx/FPhpzzmUhUw/8XjmUsEccBcOhSUD4dB9bCyVs6+Sfu7rl5vyyfHvyD8utPz1bicLOUh9XmGC9Kb9AAW1n9Z0OOotBNBphg819sTN4Lad5U2HomUScUMKCaeKeCPB77kB0nommRboaaLUakHKq94swReUiB9+yM2VKiB9PcgelMXtmotMMve52Ij9f8B1zDf+KgT3oaJfzFrNDrvX0Mbsh/wRnnpl2lrBKSajUtl0iJldTXbOlmRF8XB9buEcI6UDSeai8FzmXqtC+iKKZE1djcJY7ifCXb60XqW+ixucsy38+pkeYgTTmK1qAJtPnWMZt+Xw7JtfVWcOiLYM64eTCROhSNn5bUcrimcdl5n1GdBKNSQgj/QxGULSmVgeSecB4xebWDMR4p0gegosx0UX+4ISm2XOQZaLh5g+VXHmXsxf94Tfdte8T0haco25j7MA8XKovZtL9IT6gKgbDU9dU71fKfPErrrX4ejJPwwYgctszg70QeGA4m+27ZL/NhPwytWvyoQUC2yuRXHEFTweWRbw9RYbIjZ91dGI6vOu3/gF++VIm1AvvLj6TkmdLBIqqPRKdEHXcLLJNrj/f+PGcmeViXtdoBvoJMSXHm+/DSNYeS6JT0TrqooaFhFJjwjmVtGlkClBzo6gHb/vfnerli80ESggrjeNwlmG/VU/ly2SACJH/J5BMH0Z6x+KAqmW3rkGfsH/cZMb/DchvxcQeaT9yY2Q8Z8je3QymVdoN7Y2+V9ClyMQCG84hnV4XnMvCwH4fRwNrXq6ntlIm4VRcbKr7GLZE0w7QxiB6FJvDPCRiTjgEkn/u0R85t7LTQ/RO5jJySdYZUB8Ov7IGMz/LjJjqkoZjj44+424+QzfCQmPKlhQM6jC6iD18Jsymqh3mghjJoxf6Ipl+f0UFWKpVoZ+aeoQdef7c/L7hruD5u11xqGrGa6VMo03P9ZKW7ujWo6R2CE1GyLJLhcZq+yCOi6y8WMM9bGl2aofvBt/jA2voN7qndwmBk0UXx0Qkmp9NChOSQkNzUCcm9RoqGFBvISQNwa7Eae0QuzaZTFf3WH+GWfTt8hAWhsh8CTwAZMLDRX9q1+iP0xYh3tnigeeSScffYecoxYn0As7JauqT2XUx1e+44wQCdGSyAmcBq6MOrob+QUyk7EybE7Zr8b2r0jNMlUqRCUuxnhvjz2NKk9zNBzGIctF7g909MVoVG/5OGISZw2F9zq8xqmGn2T7cpkFkuf3/Ujzk9ij0UeOcP1y5oD+9m5zoF22uqvILy28DaoXGRuorpStpJA0xld2x7ymcpNPLpeHXiGdlsIcPfx5+Tb2hM9SnM8xGlF2/lvP2Xep5Lq6swUss/QqTDJS5Z2q2VOLgfHWuUa3auEvVgSlE3Cq9pRh58FAigmGSWQyFF0A+St/+XEyn9IfMpCEMY3MYhGd+o3d4dXm6CQstiJBi7G9T5UohWRPcXZi1g/47MQ+yxWAPsztnNZDSpfVEE93imjZ91J+wArHZ+71lbEuM85/ECaFTvlbn7+Ve+lYQinSEVz64QmqrqR0qVzNK+LJNBY9mJFc8csZxw0KRD+CEH6cPrYIdnp4APicwED6MwJ8d7miO+QH5urafU9yqJIi9Ohxi3Z7GaAKyYafhnlKlJ0uyVp4jxPbC/niFLWUV/XUucVqTcNlL9QttGPF65EbUgMahD+xJfDki83kgX8WWCvgA8jYftebmbm5XI9MyBuTVIzUw+QRR9m91k41UClw5dknKPtZx+cJN7K5E0PZEe8gdn+lyd4Qv9UiTPskw5SgqTSyPLucKoQBJ6bc42alxLlUEXyOAcSnM42nwfa+BP4v4y3f7Nvr2SCdtMET8O1si5vu+nPwBjVobPY2mUkgRdAlSR6ZImFkVuommQSSlynV1rmZiWYFp0YuT11An4SrS54k7AZZHVOEToiqIYf1inpNieMiYfNSw5lrn7F8VmTZyvXCyyJuvkfbrJJje2e+fRX6bU6dsof1cEMEgV0spGd3fATI/qIsktDeMnmc2XHYecWJMvd6+tbiNrsyOlWvbUtmcB+gfxc1X8FzcssDOU0+N2TOTgxYBDWSk87s0OKUYxiK43J41d212M9+0ztCyDczRroCdu3uiWXocjvJGwsT/uC0UOfH+6kI2uDyjzMmqCPctA/NszEwCSCkOE9egbqTFsKxSRJDlIJH7Ens4klpHaO/ClF6/y9G7KM/U3LcKF+j/xswEiNmmc/VIrUT9grclBGETeL0rciTbmweHPenzzFWYh8ULzmqHGZk57ZSMI50UVyJOSuwbaRV8Nm0DrbxXDdi6khCuhYhigg/qlv5WyM/Ta+kxHZRFPJQChN38BDEkQgPduJoIP2KFopnEY4a6NkJ1Nyrz+WgLAvo2DkxpVfQSw5kfvAiUGGN/vTowYG33nSW9cV/JgAxaWknKHDHptTVLhZsZ3fLJMVtm+dUyl08WIyKzP4WvPBK4Gzt1+kjYmlQo1AFCOIoxKuOT9UWeqFvOlH1rj1+nxMxI7lwazKsBVoCTxwzPCNRQUpdEiIiHskiGNWIiGwGpu7HETQuTMcbcxQmfm7IpQUOytCgDtmz/eF9gQiiHDOzSus3hOm9yikOAiyWgxM4ds1VOsjaE8Cb6Zs4fwfScPMBdbjhDLuPk2X1nPrNxXmBnQIoUb7SUo213YcN0wK3I9u+opDHYgWIJ4SjuAyITwQatWYNVO0Q7//tsPk096hcal5MqQklZ6hDPqm8HUvtHHNklm7Zxo0VyxFslAj3vblYhEGWLtqZ90Tiy4s0NV3RDd6mQyrn9FZ04pZoOynWYvsXK1wnLM+ka0mbkTy4+s8uGt3Xg7hCAPlbC2VYkg/vfHlp9L7JED2hFtmV5fZWcgZw+gvVJXnK8SEZvf+Iy2qOGX2sWZzRrYEDQ1GYsojfp2Fj42ibcWoS/1pfxhrmt6PP+Meyl3k5yX4FB5YzB1nQDX1Yx4ZslwVUfacm4H+BZAcXJOQEt/Aq0UYDInQFNYh+UVYMfbPUj9lmaCN8D8lOYX0G2klpC5aSIwp0P3nVfoHhKLXX9c0JKgEOeBashWnua+W0ohuZcpIvZcRqmTFcERCQvwZRdELFtAsXikiEugEKijLzAdHVtFqQoSUARxfQ1REdS5bPUja7V/xihOqOMN+rmt+jV9X9WcY2eT1Hwvw8553aPDx5Jov3zhUBCzd4qRy/mDmW+HPorse4fxoK1XlvDrrZFjAUqGBn685hp5VhWQIdPRulv9E/9dmcfTxXpZOZAKN8cjg0D0Xj9JE90kvuYp/osvJ7rtrIgIq0686C7KK1goqe97/yTvL1y0OzKXzKoKRcOtrZCLsdt96zCCZqVWIPCgzd3TfBMbVvVMALApvxok/dg/hfCvvOJlKTxqnB3EY65WDST2wY6nr+QVNtHjEZU6cTm1UHN36scBZlaQ9SnifwsTsSP7dVBiHyLjYNcmO75/mLoIQpB8KTKxmUvNcnN3sLTPFqCT6R6FHYQ8W4bmgPaeaaYwZx0Wt5JY0IX0GWeGqUZESQPrapFfFvbXJBtcbJPuLsGmGTO8obcK4A8lOe3lha1Uk0YqmR1XDvz/Qnwh3PVzqpikTTnOH9ztWrnGG9CHvB1c2y+wsr1Z98LXHSyS3DFh+OjLmNu1oCcMoeiB4NCM12gFUg8XRA4c+z11lsy6TaIpwaYa3n3RzwRWo3KFxpHsk6BPpn9uD83nUr/N69GycweCofcUVJ8a67qebjDoB3e7ieZ5LPhbNeOLeCkkbwilTbmTwWPv2eKBvQzWyzMeWA9hFW+5ngTPjNmpaXoXupR/tiepLaW5oJJ/o2+gNpiti7BadrMwpJ6bhjWXYxzLgYTDLFN9JuZi595ImG4DOzYogcV00iJ2t9175uDJ2FPG1ZeC69P0s6qMwM3Dx+tJNXuYNyzgfbxC9wPvoTSQc1JJE8+K46aGHhlX2oqnsKAkE/xgST/LMhZL6hnD8o1dwU7Z7cvMP20T+C5jFHWNPbgZ3jr+WFbNyPr+74SRjq54sgjhjG/Yx9lkyXa3PxkUO6T8WcACnVYqF+48zrXlAuKBv6g2AhocJF2HnC90994ZSmXKzLngrw2G6lAzKN+Gn2ea/GzJhVLQahmmzbFDi30nM9O5fpNlBMkbPJgmCRoZh8qlrwwte9CoYvvJh8BRucwFyehauR6UdWhWpYJbIGw2fyEjnBtpznAHbRNxP8pnMSZreSER8KtuUu6muSB5FD1hMW84XgXybzCdJi17zFNrFERM5M9M4htBmyog8DLsqfrEWookXwyQmec7nAyjE0nQLhNmloWJHAWWzQhSQflG3uEULB/XRpiekI8hQ925Zlw0F6FdtedXJT+7uyaA9qKz7b4WD0XPGbVkoDZ0MOo75APNpuw1WMTVD+A1+e9MgazKpFVY9JDhNxdX5qndRZ+Rg50IL41k/OkwWYAvCdgh9ZvVvAsIM4thjJvA6SC+h1QtgzINY6mZT4F88f0rmTDwPPPEtYudt756fpnqtoNpnogZb32jr2pINYPVDdtox8dx3eYt15ZV9ZMCLtL+1LUkU/r5ZiXwYKzu8FhxO4JKM9/s2Z98jqV/++P2VtkA+7cGA3sIOI00/RoCB2ZqaVnRtEQal2/VqDzAeEFRM4z8lEU7gjKI538kHDpDRAXv9EBDbRtLMdHXtT5aDF3U7dODKAlzvGhf3fGF6aci037zbvLeo80lLyv4olHK0eqO08k17W4MJlomX/tMIfW7MuggCXu6iUpkKiJEFsFttPWl4rB9vcZwQ+2f5nYsHb22gGkmdfa/t4PKyh6cLpKrPkqcpSyotMQpYzpL6xBPFQk/qlxZI+17hLb524/4wht1e+CPpegiNXeanpAhoYvjkbk5XCUumlH+Ub3jgLCp4/YYgDPgvPOmsH4mqqIshTsdbYk3EKGRGkWGj9Zb2o+kl6Lci1NemOAtWm4NKGgr3i0TH/cGD42mns0hJUe+w0SH6jPzKpUvJdCNyXmWqAHyx28PEDPYVfpDVFiVIasEW5A3k34Jnb6dsxw1bM3B1VXrOwbKh+0gyTvdJYLkRdtfJhm8FVz1LZYbZq3clur6lI+NzvnqhfWpF1s2tIK1sB5Sb/O2bzCUnfFu6tei9d2/iaHWqNRC2oDYTwZMi7gALs/P2+I/h7n1IZxMUeGSo4p5vLK7AC+/i42so3S/INA7i6nw+cp+cEu0jduv0DqJPzKM6DqbcJZvuxeEfdtVLijIzhsbC7NW8HoPflNVn3/BMAnfdQK4UJB4EIAoFYIwtjod/3owzvEdhQOIiryJ4m3KL7pP7DwAjGWMueMvFn0OFJsaVLZ6wKyPGewlTMG929cjAFMN2M4lvnuinmSgrMpzzg8EJpH9Drh6aXCOJJ3kXSf/WnxyWTcAVy5yJ8q55C7OZ46mllsO0X71O33ykYB80MFT48WJh4YVqLcudvy7eXpcCMxfQDAqrZ36flgp8E1qqA5T0/XlnTdHVSQPrB1/bWHua3K0IhqryOPBwGMLEt1x7puQvOrzgvSfXdUZe5dEWuUSoT9JIaCIwBxn31RAHzDywgskL0ZmzlTDq24IDJL1H5h/Omh4uDDs+YBaFdy45k/E3ux/WC0E3+CdEgpuT+wyEjfmAURduwRkoVI4/iTvqZ3Uef0Wk6sn1oPSYxogAzDPoXAO3apPBVn8t1oLk+zNAjX+70oQ4glNErOL9t2CAprYR/pH8uwzlhfuIaIdyeTk//6hA/ZspEqxN4LJWXirCyuwoJBp/yaZHNN5QAsp++ko55ZwEcL2ZnHiy0S+Rj5wJfR+xKAwvvBUoV5v83lvm5XMF2IDjUyYEkY4itczjlQsJI9N6QJwncV2lpDGd00F2aD211g93yizmH1sAjbakPLZsbjINAggaCMcYMUch21URynImnAcXcA+TvVFCkdlG/j/9FopqsJsv0BtIigN/Nx/acBky+939QEiZgitef84ECYe+cR+5dAPWeKMFJluL+moDRQlm0k4qTBsop/7PcZSxYlx74GTIxArOzugVGeT1nZ+H7OmWCWnb5gYm9u4Wbas95lfxtL/nuvc9TXAe7N65H273QQ5Hv1idZpxGCo8arlYpIFxsy9RrPkQ0OmA59bvFhHPFLaiYiaWermV/olbqiI7J6yi1dh+W4+FEfX2V3WY2ZF3+gBxreE0wVuVUsXK49K+rzlQBzoPLFWVxQxGb9GZS2aFuxZBkMbGsrHfYPMaU2OdeJ+LAqEO+gMrvhC0znBi0cfn3E2xIy3Ug+/BfgpA1uuTUquNLsfS+pT5C+V3e5o4GLEs3VrUT6oh4CY8A4G4l2l3kSvP5cwwsdV3+AIYb/TnI48j0z3STXXej+JDCDfFddzDYhzb2FpiLrJBluiFwkrhcCg5jHx3DNeE1YUvbE+CNaPxeDmkZwOLB4hedDs6YvUEkxRi84R+n71pcxgedj73andX5ff2chdqEpU1id/67ZarvBx4psF4HPSopgZF0UV+LPwxgsP0p75bhIB1Gfr5Di4suENFWAOC+13b4ouO7o6yTBrsIOAGsI94UqUoCXw45ynLr/IQCLdI8H+4pC+FtU1hUKHGZZ8HNaL4lZb1AG6Xwp2Ul/+CtRW3rvf1+5DOzt8iPABiEcA+T9y9p7gm112njKxrfrAeJU+Wdw7ywilldZGeDQ0yQoJcd2I4cSV5TZEHxumApJorPbCXM+j8uGcw2KOwhBxjs4ZZuBa0CxOIKlWiwNg8SrdoKEty00pnZwhJznEtOEzjEtXC39+YiCBbwfyfqMVRIsEEFcAp+lgfKF7VWpC8lNda+xRVRRh/JdBQXxRnszcmTS/nMQ9ZrcIsyDyOCVdXsztHY/7sXKRsxYMjfyJZd9iDcngca4sg5/oFTaJgrcHtk/NtjiCTZyUHyVWdIsF+2PzN0Kl2oqXGOWDV6oDJ5pZRjaP4phOjSnVtZQ56yhJhiGZxTrDitxM9W/7/onDVoL0G1xe2IGtj6LB6dnpsv+XLzl9jW0ZmAC3++Lfksq/hIyhdV3N6qSHKon2GkyIN0CPJEBiysPGb1gSPdOuIuhWpdi6fF2V1NrBTKeb3eq4kKwyMNkfDQ2zQ9YUesiA+rngLzOmFyPxjCepZsMqQaMNTHMeJZh0sZ7kE3yWJNCpTXQtxee5uJ0aHeWJXQP82bIzrn2NjAdWN6iYQTbmi0vuR2IV7ckWiInx8M61eiZHahzxy5GToRF1R51lsWBzXiKv8HlF1sQdlfODr4LvKdkPeZC7cQlRqY90JUbxFhxlZU39Sn8mp6s2VZir2M5rhhcYIabdcboKEuKTZsv2k/vTfNUE7RBJ5qqpXltP5mB/NqDONgVIPsZE9ZID8Ki5xwI72ZSzj2r1MpZpMqpi1X46JWQLOtpX3JKdSm1EBi9dOWy9iCk0qm59ezqtFqqjYKZJwxe2IgQrk6ue7Yo9r1acoZdoIMC9TubYnmZKtNgxkS6FFGxGJKUBgLUulEWhHbv3rpPAk8Eapvj9gP7qcwdwdWymdOpVBB9D7mNoTI5R7pq06+TS2wiayot1B8CT/Wn5e8RI982T0Ef68Um1ZJQnjPh+q5M/GqlyG0VxCxy2h42M2MmYTlIEaGQ3CPwx6ySsQpavNKLucFnZbjKfLHl1Z/DSmxe2iq6RgPu3H3fCYSJR4gNHeIIpo6ccglF8DnplDN47Lg7h3Rjh74MP6q43Zj1+WpwCm+vRclkQq2F8NtNJcBk57AQAdA0xm9g9G9qu4JHfpsZc+3zAiurgdi3k34p3RWymUl5pFijtC0omqxGhR963uaBarCm1FQT0dPX7g2czSr68SCOdCy/49h8NJXeDAQ/DmyFs6Kiu1uR0OxiUeimtT4JW4vFtalgc+JvY6WWQBOBFdKl65jsrozCmZI6DeWgQaF9WZv5u6EXF2R+KVy/frPp3qEEx/qc3AzhjUo+Wup7C42wYlbQD6AIX5MLx7i/lh2F7LV1+whT3IgpD+14Ufz6VCIEi/kdEGptGNo3CWjvOY6s4Yp9bDmVJiAXhacQbdKpok5C6HcljQ+aM4/YLdAV8upLw4nfamYyvwX/dsHq/y683se4f6TsmxZgpIebcTBhzjTWHR3mVH/mSgU4irCz80Ve+MFJ8bDs+1V0PtsxTQAhG5H2GSorw8zlvQzKQQ+EXiQ8Zrs7TdycPP4l8ZAuGUw7elFIERkdVhVF16NCXFPTOrgJl9U/RqHB5m++gSbccEWnnYOeUABpanOkRQwUWsjWDTOqF00piLmHuoER2oIx/w1fFCIrf2i3GLrHZBdQ/HOeHsl3gXsWpzKqwyMpmKRsOkMUBjBhXqIGMywZ/yT6PS8NGnE5pFPV6TTtzjeYMVIUGBpuNl790lfrTYph3tH2b2JCx6c7x+NlEn7uKmcE+z01kgvwwhYLRGI95RVZBPGzi1vzdMdnFKTkCuruD2tPiJGZASF7P515HrM2PbYVC3VlJWnb78qARROT4Vc9C5QVwoII6Zt4fOum/Fhx5MpjP9bvswPRvzWdwNskN0KA4bc69Cn4nEgckYoL6iYUyepAfFs4IMfodGdwJ2RJ/Nguj7i3Nu9j3ebVWAq26loZuckzlHLDIgQBln3ntZZ0ZbhAcZdBtWCTsLEW5UQc+YlYsCilvsv6OdK8ht+GkpUEwcc5MYnexphU/meTBf20nQzG6+maKIeEWCe80dugCcgI9qo72T4PJ5k8r4NXvdErOil+C8MjOjPCKlR43UWjC4KYcIbj13d+4yfoBuAf0j4F3ezce8j/xTqh5kG82o20nvEi3X/t4ctQ0N+1vi9hD9kOrEW9ttU65/8qw53DG/NuaG9xXHvUxVcsA5ZHVF7/mOejapMHXpFmQzNIFqCWrKOTBUrDcr4o7Go+V0nb1obAxUcbbvHw0wsvlfbIz7K4VbMAY/HISbvTqOoEommR8Gdp0U+2A3h4QlYN/HQxe/pCFfwAFKJDiaSoVyUuyJmefa8uQfUlaLnNgjs5kr1GtfKphwO6g5EEYEwdUDFeE8WQIZPpY93Yr45khKPpm7eflmB/qM3OmCZfXmtuSnkkSCrxSuSuM8YcxfgpuvXi7nC5dhXGEwU0XX4HKhH+pir0vRhkI0b+xGgRzO1Fdb8Ak5SiTKBlFFRZeCehlq2G4Bmr+jNbxm89nE1Xml1+vBskrlEnxX2obN7GbCuoUTIycNDy4rr66fqtYXH51fS+jSPjpMj+4gGd7GgrTCgapmX9A86riBDp5XBcNsqDGY2givzMo5AXjFBQRyjcSxpR0slAqYB44zIc3h5IG22IDD85bNt8j9oYSSY6wzf6TWMilMPKAnICA1Sq9991r+bCXz+dRvLaRTS5j+l6gAFZ8XkZNq5ZO480T3BNmVgScdF/gpCIZr7X858n32r4TyFnwwobNUJUnL95eujA9vKk7OynRxSgONc5z0BD+NiYu3TYh+TfTtUybKIfvK/sGFV/dDHcWa8A1KMzmOpZYDNlVBEj6AUwLOxVN36o7WOKG8846yPpzY/6j4muIe8lGSq3bfNV7lbW/UtCOURano645L4wDNgJ+yasiWF5EOYUIbwXqLUhgtXZrDACYu74WMnPeOWesFcLMY8UQ7QYGCoLoLTVdOkWiYVfftDeNCEFZCVIF6LBHBfv1rDFWRFgsqQQxVSfCLmLGA0hh1x1zhsfbM3x8SeKwcsre2YchK2kwJCoQjYXwz/x4ln4tVfpGO9lmd5mgu7K1mI0HdmgeOMByWHmCQDKetnO/M9YUi7h9TLKeumunAlyQhbGAo96lonJ6We2UvOkoD0faFA0Zpsui05Q0rPz/q8dtCPEuJqgIyx8TsHuNuUsg7wNj1emlnT+mQT/SEfiXGx6pgsFlgeAbON3Dps/SVhogU1p9wUNdlCjmsMp7ghkEqEMWwkkVtwN8pQxF0ne1Day0BgovehH0LmDs6J+D7P9Mm+DqNiKofPOaYpjJKnoAgH7209phdTK+E6SMUnkLLaAPUw6nByEZ37AQEiPf0wEVxCbHX8VjhgaHbMP6nbgMA1WQ+Qz1bAp9qyWlc382rqIr512FoSyQ5nCjB48CE3KjO1GbbBaCGAspNqidm8FnQWhmu+aO/8r7WFZNWNjKgezojja5JXyBHMbpQ5/H7tx5nyuhFgWhS1WU9WqCig/gk7gyBqCpQedGGwa3G1YKZy3hKYve/+RgN6c+vNKdp3Gi8qS7UpsWkDEv5sz57ChAU5pzdYxYoLbdiqbyZBtXP3F8vIlQFmbuju7G/RlvzAfVcnENpd4zkmMuOcz5t1GWv4taQZR36+kl1A4LbfKiyXoSDH2AT6cYW4iiNhN1hy6D6mMsS8QRo2bJxtxbAJ/GT1dBq5LHPslPbnsaD+i8tQ5Jw8gxllU5XZ2CL+kpvHI3kvvBhna3Pa95vRFvMuZsxW6Mw+Lx1MI2dvfkPjJ+eIMndEbyeCfz9zSZYOTo6yEtSXfhvJf2WJngLDSdCfWNPg6mkuu5Bo1E5G00bqPEq2g1EtLGaBUziS2nhTTkn0Kk2mt6HXbitFkdhU1kFIVQiTEWJC9kNvuJ3IV+eaWhod7ymogcR8iRxXtcNmLsn/CaF4dT0QTOCGuA2foLYvUUGGg5Ya/q1LfD7IWUvRRaHFVE4zgMNIHtde+0/HVfToy85MA80YkOuLPfMSIn5DfJUZOzshzZ2+/Gq7PXeAGv1LFMxXeRytFt7ntSlxDqW5enDaFnzerobaFsIB00MPUJJSzgAz7/x6ea+c6MlA0BBQdxY8j8JtCm/ixN3flDmedrWywcbW2vh08Aa5bFVv1uJT8jBbCjDaCarabcwCkfA6IzY3bOgyr+bf9PqR9qnKGNBSYoGtl1EogrIOuhndj9lCACMW41Iu/eDx+5jnwe88lt/evyrjWSnJBWCFCaPkMoD/zBzoe9qduO0MvgzNYwE9MZJ8caMsSJFG311lVWrh7VIvVQajbS3PU27yNFBqvvpBukaMp4cBjwKsyCVWDVRL9qRYHuHCjukVNGAqSRu9HyteoretbXpGcte07qmIEJi28MiHaxWGvFU9Gcp9nEKbn8qSOsHWnxWx9SsapeIrWtM0A0BaZduvn8N7oKwbKuR3s8Kx8MjmbUpngjWHMl8ncX7OOobmndd1bhcT6us0SQk4i2/Eajg440IJwgEc2/WxaKdllS10Rkf5WX6lufeWDC9MGchc/lhJsql6fV5GIaXxQGxD8AK631Ebx52xZhv7k2bpgbZ2bhAfd5KJ2xJBI74uLyppvnzlSlOfKU9tAF0CA2woT5Oc+fpjwACESSrT589YmoKmnM2XBuGf/Drqth/z+GcRMblEMHxN4haaQ3xO22p9p+Qb1+IjKUbRnWALuhveNsyl0j3cnO4v5tYGIcMAHoeeQVrQ4B0+hwM4Zlsb4qfVzRk5syXIphV3KiTJpr2iRVioyEDE7AEfQFA4Eyw/TuOPtmWYLFt+zERx4kNKAR3Hvp0f1xgDfAPSgxx7KpzU0k0zEMKa3dhBK0BSK0bT68XpzsFsYp+0kQmegHhXV2In7UggnbV30VUeNSwp6kQrNsGuchfPauIs9RzIFNle92R+tp3v49zRsUTQZlyPyMDU+7zuAJv2mqT6J4etkBJRWOurm69jhxO6MRq5np0GO2I6EObGcQ31hgjaRAqM8ZYqgMkIhhlWi+YKIHYsyfEzNZcxWvl3OrJph1E5/7srfFKMxCDto408Xa2uU12qR25klRm+57X0G3KbbS6x4uZs6+/c8VI+LPSgymzbHnXjMKcKd+FY6jsSgBBi0NaYvg04Xwr6u2tMT30yIN6KgAeGZfLSTADU1wO0ij2VgAXzUA6GWKOPuJxY+bsdWJ2b5fgotdZyjsEUR8D6plRItZNsJlvjEaFadpRLJnqyhtH9WMN9pa9ipkkjfBfHvX3Kmd9mVRtLvYVydJu5D4FNzD00sXBopu4uEjoNUuRB66G2aN3cvhG6dgGKCYfRtt067BMocsTYWa6ZGmM+ugi99sqyAn5vGicc7XTqnX6pameQb3guOkMTUd9z8nZzCOk26FWoGew7Ph2qytmxQ/pyZWnvnKP0wqdUvmK+wLukalacqvXhZ/B8/AOnM4N5hNXeAeTh1aT3EVXKQAed3IN8s2Jdkm0PY5rJstmxtiq6YDjJmONl+P0mGmDiwaB4ZBUsM78sHxgfyWpyNEB5jcsXV2tnCeuvH1KI3OyM04sJ5iNMF824zHH/kadaD4+yuX7If/jZ+npZGN2gkI5Vgz5UzqZ91sP5NtL2zMTv0vzS6+AtvKNvqXxSfuoiove8trGfy+I+vogjjBSe/xvkNEOkQ+4SoITmejY9VwEckGVqi2LpcWcg2xMzf+9o4mW4tLjReITo2cWjEG5hIHZfFm6BUGRriqYER+BFGwxWvPwS2zNI4fe3FLOKAqeUZeg28DOsH5yzGC7AXxWWMmAkZvzIu2Z4CA+8aCeqLHcNGuTY3Pa8ROkPImhewWdees0H9gtPJvN0l5CYzFrgfr+10bYo9XWQbaPZT3tUHQwajudpyJgBbpSM2YtAYxKnpZ4njjE+3t0WfNMOCUgnQEf3I3mAyMyjUnkfH1jl6fJpuV9jXMvEW4QBN4vaWfy0juQphUvwITaNGQxOdYKGjp5r17myhXbIJMauSF+rh5sT+Lgp9gIcLbAnMimwinq9S2GmoGti7GoGzJBJ8d44SjTf497dgpZELOTk+cGBO+mkmZcJwzJjCda3IIC6QyzzsOtxj6Xo3gmrbQGdflFOe+8/uiAW3lB0JTyR4mtDHnFAwXcof2pkPPptJ0H4G/14xtVjszsbg0+5tCQSfvlg1usT+63+fNADl9rUUW8b+xCgWGkpyPxwARImN1hPr/7ub8oDKo4nhk1tBYXXfTP4iA2UYufgPKYcE3e4LZ5ozuaq68tUMbo8f35qAHKGw7x9pZQxhu7jKQitVVDTzAmSqFKUyzNaT++m8sRJs+mdTuyA6bSJPA4IIGbOWyIvAK+03Oxt1VVkVKEfcoWWYqLEgbBuwN21SY4BQl+fheWkFY/puylN+3HOBzXEWvGbRpTC/kO3ujASlR2rhKPa6Xrn7n0jYMxIjXKcAxJkaWHDoBM/TElB3ufWSlxZ1TVLVgHT1lSPLbwj5ViMuLxENN+JDP+nlsVntePLC5+5RgKF7JXrlAQ11dPmncFE+nvq5H4n4p/wN9r2z1OHauoS/PdyTuf4fjDUmJtBneDjGUrouw08rI284h1G9R2TyuoYFsZO1X4Dw0NKA9W5EDggqSYp6KEg2LXPoAYsRnAkhb+sbXNLESde1k2vI7DQ//nSGmTDWzzO8EgM00hIA9N2Uw6R7hbFrED1HzuEgYniNeSXJg+yB0iCzDdINvrXHsnebap4rCAcyr1RznC+WYRLsSRQ7HRBWHsP8FPsbkhHSzh0Uh/uKycVPZ8JWmTrXErs9In6dbPORkbH1qZEjwTMT65n6vgaU4OTeugCrdEsT6q/g/HaKUXTviJQR7vOnX3h/QKk7UJE3NPHR88dKnHnM1R9YB/LWsdxzDQxNGmktyHS8p8sgjA8H5GAcc4enqL0ncAmp53KHlupVcwTB+9Gt1Jkwa+3BIvHivKGBbWQpPSUPwizjkGKqq9N+Gai+aVI2Wtz5pqnRNhZ6n9oChdYiVNgbwy5HwhVgcesqiua4ll+vyclUTd5Sn9oqQmHyhl7cPIDJm3e+AwDBq68M5nFdkXQQH/OGJFNYG304v/064wxr2MSJqJmWFQo09lJlDPQ2QLRE5BplClSjoCYqnssWMfKaZpq5IGfE2PdYsQCyerWANk67f+pnoYjJC+fw6WVySWY/103IizjxeY9VeF2+2gPnDikZsaupxpZHKqp8sm7JxRJDqm0ztvFCe1FgMwvcjJn3yVGxTpJgByg4IzUJ1wXFEGDUu3wUb1ez1FuqF0hABcj66x2AdcSFSU+eRS0lakM4tpol/4660G1jWcr+dck6t3cZggB7XyPFug7wTu0ia++4uHcwMWgwfJlqmMVse471E01jx5ZlYjAmgwmdQKenMP+gsuOXefSo34M0kdlEWjBqRCrm86l9wOpsV6D9aqP8h+6jcKAvpAdpVhxfQCirFf5FbiHwBGqZhaxSpvdkPJt6zzjB7pgdAVsjH6TP5NgQqwUdBTqOXTQ3O3aMo22h++S1vViDPq+2sl2C/1OX7bFD+SoDr8anJJg1PhPZCLNjdQUbBqzPzvCkpbvrHKespekDJa6iLfBbC8acvPaU7PNdHtogA6ht7YDLbh+HUzrhLbpMGoUQGmQMCXfn9+O62eS8MUc9n+crf5yoiB2U47/A9KphgyxDLZ1BPXulHYpM1sfDrQPEj2veX4rfDWCpR/8vyzvdzu1shYuBS/c+U8l1tpzUIEXpcQes6TwPIpvxtPGWpAy0QqqNzD6dFmqiY8QCdgotKHLg203tflDEtj/TsgwcuHAOPTSvHt6LaamyCpCLk3gmbHi6WCNZrQWdW38fkdDkbaL/kevO/GLQQPUUx1EnOex2EYRBUue+EMJ2/S5oAXZJ8dTfzOIhg2I0hNOToUkTfZFiNDzhAo0Mm46oJ2ICG6Pqcjg7ahm1MKFbMv/hmyUAuWk7THL3rRYD9WwVTKHekiH0wb1c1VNcy+OZObrJuLgpVFGJvjlzUrlnGivzH4dwzgN5qJOJ2or4j/CKG1+Pdeel9X59tmmPeTCVuxyfjFicdYosDuO62EI+WGVA0dBF11wdNe25oxp5jC8pA6IWt+CV8aT9zkJR9p+Fdw3FaJ8aktdwHU1Oa13EpofdoG0ZhoiDQCPn1SVt0+2VQb3zlljBMRZKBjyULGzqeZbhdYljDxLu/cwEGF+olSFX8RMtpkfD53p9x3AfF1C5MSJw8/0nnkJVYAyT9NkxIZS/KM5/IMNYsrrN+QBz/DLdnyrgsXtjOKbXE5W+r/j0mvd3Xvopihdqiy55uT4BsVldjP1tyT1rwFQwkBJcAF74EWYMq4XepgB9Pb1EOIzqWTrjgTVG2XF+/1tKffK8N8EHCkdO1RLkZbtfUOKZHwO7811pXxW8vchuOGfneGMB71RYvWgb2yL0VPsDLtUVBqp7ApsInnuanl3j6uctuAYd+4CjfwgP45rrjtQDkvHyEUzvH3WdmWzQSf6wn4YY56W3+AvRpcjtrXGcAe9BxhwmXI/BoklyCjzE7IAdcZadAmTRGc5JDSH5TqwGiS++1K2+ll8Umv8O0VeulyCV1do7H5puigWLazY8z3VxlAcdhI/NV/MV6N9LlWEF0/esRdmtQFcFCOxSedtcnpIJbbr6kxH7SVA8a25gIIEjNtdvHq6VYRrPxLzl2qY5PYxwGF73D8KUeBpCs95+BYH7a6Rmm4RSoy6RG9KyVyHtiTReVXZnRmCxGLLCT7RyRPXGpALA9ekAdsRAgpY/iuFd0W6ZGudB1wxbGNOwHPZqxnIkRWbbRtt9+ub34de8lviKs0XnykjsKy6i4NTlAb3P0ufszi+IM8ii3cLHuN5+eogA2pvthPbnvNgUC0d+5/nShXLqNqNfgpsKGwXOlXS7xBMEMXcy+ttYSeUXrEbLdwdY9hWvGdl8WQ75h9yI3Rg8M8W8CMCeOvBpt3reQevuF5XeJeXyk0x4563Xvjpn4Wb2APcp7wkYoqnXyVoa/Zfib49JhYqVFPy62ojFPPB7AHj48yHA0yBTOD4fi4jijDXp6NOwP9yv6RnDfcWSukJLxPutrwQ8TU8n3k/9ofaGYA6ECc+bZfQsDHSnCD+SHjGJB/YceADWQ3mX6cQcpD9Ln9+2NsqFjyuNNI7WWGoQzTgp42axY5HT11Pzqdiz7AWA8RnvvapyZVIapNnNOJiiDCxqR4fE3I27MyYhu4C61UnBt/oM5cWOJ4y6JS7RGomhk2iAt9otu2BV/F9U+c5ig//HkcohBjrQCGF3+0zfRuZ4OPNoZ60n/P8z76xtD1C2zRW7AndeYhhKOmET24JFOu3zAJkNBYdzs7SrhNqlYPqaLoswnijLcE+9CO9xls09Owpdvvdco+HsXoTmndS9G+JjU94tWmxvHwDFUIFBwNigGMu6cokVj3xyLOBLd5uO92r2tyUd03nEk0cALLKGdLbTEn6rfk0ocjw6RleDUPGGgeYH13C3ZNi9QJDmcKsK32GZ6wmXCqQK5A/8dM+MWeIxo0EIx/tPAiEPLvPrjp0eztWOT8svXMDWKvtqmXqoYvR7wtDhHGJRbKV12ZfODwKtfoFuF1ZLqzBGM/cLd3CtETAhonL++NBWkbwZFWB3qi5yG9DsNxNFFmu1OmnWFiDD9SFHEvQa5zWX9ubY7MlMjg8xbhaJrllL0k1SFFp0GQ6bera8ymZHIzrI52IMOrpBHrOyt82Rtyux0Z+F1ZDXFb2oJ6QIpjVo8ZSgGeOLS5hNqq4aekWdGt7bvRfHUEfyZh8VD327ftp+9ouLx5Nt0rq17Z80LGOa+gTIU6Q4pbxb6xUpWTGfJf7VF5DndQC/NGjTtGqXGbNKJuHFXKfVOATo5n+Nj1xGfa4SHDzACZOEAR1Zv//PLBNtOUY4kvW1BKVwUTo0Wa3D+giNpYyS2oBjOaGYd48wfuxsjlcXsFGn3MW52PFJ6oBWzLP4RdCaNtF9M0NCCV+WWkzxJiOWt50kNpKN6VeRsNswjlnEPD+nW9m3pczqTYZb6ah/w7ZV/+QXDqk9zvIgYHzJAHWa70dHjMo5G9j8QbERVgTixFpfu39I0Kow224VoPINsEFIlidLzhrUyEnDoWpIhkgqwLA0Wav+54Am6MCHnHTTe2lVU4dZjKkIRpqp+NeDju7OW7HJxNqgyLxEDXMSgVmVgKDEe6XS0gIiQuS1e+Tjygb1TFViCvfGWymxZaNzCFdAe/VWoPv2PLj52boHZBqFR41ibGUYYRr3aAWijPU4Anh5z4kyCjQETBTKagjrMHc02qnNZonJ2O3u2drjecxPwXu3OsYmYiTmV4KJkJiGTIkrc9TuaBO0kQZ9lJFhslKG2Va9B39goYvrZX1Psgr70RYbHFKe3v1KMM+4IOatq0Ns1+w1C4qkpEdtAOdebIjUPudxHRpCstKIq68HeezGo6OKyo6GSUEH41o9jWeOLb6CSOnANtcvyc+H6zI9tFCYvWtdLlvyQf5vESa5QuTnmRZ+0n9hCyhYWAD8gWWWidUfDHXqCkCio1od/oUk+Ons54mf6wGnu513opbGG09ionTuyCNYl2S2kUUrJOH5Al10KyOhy5LbwcJvFjm4HT6LmgjQjrVQxnv4QYrTQj8dXkIXPT4hoDesxYWNYa1aF3Bi6O/3eNTFLxnZQEX1qdo004J4aqB/E9/P+/NNtw+Pdtw2vXMppWqnl+3wfXBhf6IXZkgYKSSviYsVsveQ51UzjVZuctT4YNfZsWa0QkZtl5jvVY0dyxRPjF/CYkIHfSXVDusq5FJAECLcCI0r48OGoz52H/BcaB3GDsknYqcDt2WWAOUgwVvVS+dOzAel4Avggie+wxu9CLJYjyCgklhw9kg3LQ0ucdbvySsgolgehwXN5/jf5XbIxFoatkZTfbkhlXbunE/c3yP72rB1s0AuZ9tFcwAMgRExNidVylM7JTq1VYU1UeeALEaVTdho4z9FEvVwyfYzm/hdzIP8XAJYW+8Sf96ILkmOnzUC5ayVfnKLm1VBRIh+KjvHT2aqjl8vCOh3RrRyjp7vCg2sznyQmoB2rax+4mN0gLq5WLp+4P6eiczlpsiz5vqLrePPrAG8+q5mXBfW9xYwI5p11r3kehWomKfBAY1fsN8WvLGW440tWdslPnqMWTwEVfBPlY8wkkKQIgevztTEbgqSxj2yFOeNzJEnM7eYoBYEkr7qIwMx9eVnYfcxS9mXNKbouwgFOLfbuWqgEbt8SAJL/Arrjq21Dw9BjE5TkYvsuGSm6yteBTeEzYCFiRFYzKRZN6VzgZ0TAkTZZxj77FhmG1EPrsxP79cHFX1dvICzq3QbnKF5M4csp2tiOkILfgD9Ysx2PjJVtoldh4WocolmqEEXIxsiTT69fHZDy79atm/mCTnYf8+rs7MhSynGStGORauVarDSPfnhaeqKiUDxe9rAhVtyh3FZBPUtkb+kPnOtLdvoWtUeERPnyzXyPJv6HouRXdsKEovwxC7yaHerkl536QRYisM9z/S4yPKhIhodPw9RmvE/sCHbC3MZpu2HpqMqYGBTzpZck/cXj8vJns5FcZ302MjanuiD9Y+sa6yImMvxC8QbqZdCZb85wuqoWqUNaB+Zz+Hv/qM/d05aX9SnPlv/y1CI18Xr7kUeHaJv40z9fLzjn2I01O8hXM0ib14faXQF7rhZSHfm72CiFgSsq3DnfAN0NaMhQ7q7StkIKiqxc9WQQcUekdt34M3eQ9qu5Ut+0i5Otx3VCHaydGn3psOD8JYCG5t+O5UpOP0qW5yILHDFl/Qe1D9GOWoteRA6rT/J1bZUCqId5jWQKSdpPS38M3zShXFmC/DcRQeczx0/mn2ss8kUjGtF3dOn2yxecV7rEeiu+sEnuNuRnBnKCpN+4S/D6OjuK+994tSHNf+F0qHKlTd4UQxqeMVN80QXs2S1QZJjsJPuixoXts2W6bukPAeBNCbVmmhF4flgUQiq0j/9pEKBS1VmCi481qRtCeWcTj0FY9sTNkUBPID27YYPp9VUyQTNVtFUhxVyKEOcr/NXqv8RtyQzOE7sLBFBH87zG2J9nkp32y5sBl57AgTqnCFfjUMzD9Ta9xoHeagSixbFRdNVNSB9BedX+dDuanXnT3tigjTAHyLbWBXy8Pdb04wi3wnEfC5MPmtx6zhtfuyTiad8BOTK7eO4nSMN0u9Y9pa9+hSp9DiXod3psUHeVHlzsfh6jJaoChXEjZ8ERofYGcRdjQnYNRjcXNmkCojlifl8+urSal6UJH2p3DZzwVExv+sE+l6YbLXTTWwi0FW7aU+O/3ohXIRPA3iZXZBUeyGblFpBZlrg6dD1aw/QcPKkhdzBPVEPUvPyPJIrVzcBnh7oYOncg6kK8A47qKMbk8W3IQLnJGiiPqYRb3z5I7YX/3x3iZ40e1cK5s5pV47V3PBd96ZaKelaRnGpvDSLJaL/B73zCoudcAl2/Bxy1iwDdb63NXVSi/p3WlPGu45TdlwIRK27ZnI38HY5g34wGnipdmbCrPenwFpulznJYqSOiei0fccDt+FRcdS1Dat4aTcvsXXZgVpCf9hb6OV3ZpTu7jXexxaAldi99fp2qfqOkmYOU34IZhrZlV95GvdVD1+osifcncBBWI6ZZYPlTIIN+x+fpxNkkwRl+JVm5Vm/Rsb37sYJfBWSzc0+64BdymjCxGY5cFee7hcdQKWChqLj3sNpUuIsk39gsIj4eg1vRpfqMbS6yTEjiBV6ysx9YIaE4dVJOb7FJagBQV9ore03KTMKgwRcgXvub13ZqhuRKc7MkgMtOvaf84aeCsQrJN1NRkPe1MB3m16haMavEyrDChTrS6i3D5/h1f3k26vkp09XMHeSH4QYVnuRL/8fa2ij9goDyvWdRW/Tdoj5+GfjLjQ02qMJ+2mj4pRdcfhUHYo4FvSvjW7WGaDJTBtKBLVg5Af2pujh0apwbHoje+FKyzx52jTICYky60G8LrRg3lOR2rSSu8YwvnGMPJq0QRi4tjZeYgpZB/A/ypCQLoE74nB89I3bW5QbwIsEdMixjk57aIBxt2jeOXGVFpLLbbTVAwzwoERUBiVRPP3sh4I3xtTdvwEAfW/e59CINNASLwfH+GiU1q5Y42HmHqxMDRqAIlXdDeXaGn5zG5bo3Qni7Lu90MpQq0d0g9GNMGjCrPDaQJDnsh/TWBYHfVjzW/j/2ae5RxPnFJKjepaD7G6i3G2lLtpREU4L1K0wGmDNiXgIeftl0czBj9vFb+QJIzPzWUGmoU9ROPc1en90nqILF6oSFZ4eALZ4rM+BgRz8wJ4ISvcFy0RUcYXBeZI6O7EjHJdFRZHRybct7sIwxPpIzFa24ZuOeQidMxb3vKs6fLRQ3NTfax05WUHrPf4igjSNNquEiuhFrCeLOXJ1YfDYl7l0+aOpHLNKg/MNZB7Cr6OBY2qh3qN79NAsusxJOIZ/576DqmsApGDFCeaLoNeuTJFHVEgMAF/vKYzsLJEOU43G/+1FMRvCw0a5DCHy1+DFaIyHaUZK4pVjikD/L+tu5Axr+I1yy8C6tgzY1/sWhcn8l0K7uinbWUEllAiUFZaVk3vJ5uy5o82YgCqPbg6dU9EKN0hjB2KlN1PLfDCgBYLe41iduzeGdGK6e/twzG7naQVXTsUpTlJqB/r0vIW/LmKZvyzZZCvQS9SU5Tggwoms+eaMfb4oYAiBR9uc7T4vt5I0MhP5616kk9g1QVad9B1aBtEAF7GTfLXeCCsb4Tan1mrLwrWStS/4TBucBk/5aV1+zDx5ljR1KPuDbPk78hAfae0Y8PMWAyeVJKvINyu/vQZl2yBxjAEMTNqvKTBqiY8E8KWkdh6XP3Nr2DEEMMdvkltbbX8ThXXdM5Z5p2Fd4u30lo1n+l3VycJB3cX+lobGnENvEI/kQeTX/+8AGvbSfIVNteUAuS55FK6d+4eEXyDMwO84WrNv8cHyvZMrSQc6Jk0a9Bq7hsi2v1n2d7vT40zLztgoq90VYFh4NF0LzMZQ0SyFdsKi2h6tKsRtkxz7QPtOKNAHMyPgKwNzGRw4SPV7Jra4p9L7CAIDJNHDWKep1WT4K+ECDb/QlhvEM7M7nBskOl8V/iEf52iY7RBkSC237XFGqZp4zbtkFjJougG+/BfVN8HhHf52lRkwTD/ehkyzDUrhPP7XfbEe4UmDTtb/PGIw7GyZ7ptyPB94rDXfRC8qP0mZvRDJPlibio2AUyAa4nSBSO8d5s+lDZ4TX/PaF3XfaaOq6Pl6auZZQqWq1mhoxPbaSxPR9YAZzwuCQ3K4+2N7Yq4AFV93KrBgPcO96QUJFDrjGNLhekNF6+yaTmDgWkYoLJgtAS1PisIVdNvUC1iyb+B7/ZRbdErQoQ8FR+ypqtEgeCZr8ctM3caKr+s5OxJvquZohrv4lXJU0RybC7qB7DPOoifA5B48EuEMmy7vDVm/T8h1Cynm7fvpeuvQIIiJYzculUAG/J+H5n1fcehTT9QMVARxeCPxqlOSc0hNvrkaHpTrlSA5i+U9BAH9orbyYBa5EkJzt6Gn39/6NRWPXDeYUrPqnpKL7C1wnaCy/ZMzNeQ4p01J6PYUXjeuIcy+EhEXtWqGzZ8qiqiiyLticfvfYGgZsW6qigjn9cDtrV+7JzCS5rq63xHHdwULdkc81E+D6/+Nm4xTxuQui0t3WwOrmlS7DZ81bMtGs13GRlistryL177ZKUEpdlLvNs2Ryh5qRpLItrpu7VFkM8WwdEkqK97m/m9Ef1YXOzFIG6qqZAv5qKkO8xyGa/q6Hml/reLfunzTCICcVoiWdxZZwua4oClna3zkGGgGGig3yiTX70ehAfAd59FI+t8Wrz/T98yzQE19xMYITEUggi/fsyZkLSRGmmeFZ0RVTR5UdPaLnnyG18jRp/DOUA7UbXNDxKKvvhnzF/IoBtAeo3WsYypY+TDG1tVnm3h0bobpcGkx0JLW+Q4UIHgUnDWIN6UU7KMISEOYQzLEoUc8XD4zlE9q5OMuK0ifqMpJOjtvB0BjDc6PvnhFfdTdQ53HY+NmpwGCKp4mA2e1cTIyVM/UFljvT1eSza0pV57KXh6fDsuI9PfTOKxmvu1mEXDDUWGHEN3hETd2bAu3xEjW8PmpDhPsETLWBwzx4rKqYxPAfvNt1+GUA/YZQWoGVpelvMpO6V3fl+HCI21yqqO/6QnXtJh4JB8+DBTAjRvtamotH+YYrE1oiDEcQyiRsts6FUhVdNGwDHjM9RZg2b5yvYyAr0tJYZD8cDK/qh0WFGwkQY3aRI38f1qQt8M1+fsg+BRwAh6BnOPGeENZT+y3JoTiDQYw4sHZXuVqpu55aSd2QzaiJoazOc3gdCe0Is3Do48tiC2NqnWU5GxirV78Outo9fRpFCMmIU3Zba8rS0Oi+SWu7JXMvhC4FcEM0qIrmequfQJ/UnyuZMrMSXdczM81TWBPzcD4WrBs90JPl3E7Ji/tl9KzoUtHjSwSv706n0I4ZOcEiOgQPwtNn/J3fRU0Wta4mLVuR3EcBtnK2PJQ+CEUv+R1+FIppw46sDAUXJoqfWQ0Ok+FZ0+RAOy9WT0V4b5RGaZBQHLeDx6GjXTCJqIG++1/dcuNLbref1JFBf38afsbqjdDp3RJW5++Y2fr1o53ZcWiktSdaeX9wELVGHzbYSqq0ZdX0zDsbSbxV5mcrryOMSfBo0s1G51bSyDOWPS0VRp/vt8+cn5FBHYVVPn9z43R6K4QxyXnWotfSrr6vrOSJmV9VTxZ+JC4pSO+tw8qfAHBs2W6enSyCXkAXn/7BZSZETdTnQK3uVVwRx4L/5RM1PWxzIDTafd4h4CzkVQ9jsV0TSBpjxg2UkIth+/omoAyoykDGZ37Fn9Kj1yOk3TpQmGMyrLTa5ID53wt5J3+8gOxKQG4ipkc5ZJbbaax1RfDmlawDFm1W5Ja66ZTQdESpTOr48QSdxevJdm3KxUx/L9shmJZ8F8lJBDDakKBs/EYkeyodbl8FLqTylFauuZWDpE5dkoaPpRxgAzkMRHypdlvm5DFW84IjZ8biiMWTyyHlBTiXDpoha1R0l/q8gheNqI+FTuigmkDEU46yn3LzVfzVNC12l+rquFrhFD4Sl16yBX5zqvttf9zLyvKCaNek97lc41bfIbwHC5acmemxKeFT5VM4tJI6sCIuPwmX36X9GE4u3CTO5uXFJWyMWXxwH5bA/hJo+2D326jHmcfPju//fsToIZXItc/riK6SvcfL66IUKwjX7G7EWIn2i/vJDWvVBgN7fSqdIBkVIvynL9ijnsL1GAfmIUnftqnQUKjyVL0yO48HVuvuuSj2jV01qI+lEx+MhfuMDlMoqYguNswZDL8K2h4Po9EcfVneLwCKgBXX5xkLRJD3skmnhL+4OzmxLIu2LitUC75QmEwBptFcLhq1VbYlG4HoblJ5OJB0FUgyTtQUHF+vA8tbIxgAztGavPmE73527uyLsUlAd9XLGbGhUgB1+wSRbp9HPC5/um+fr9H/TRj7kTVBZDmEQFPfHsbbczXzpsjkg/4BZJbt5+DthfwFrekv39w6dOERl6fklmqGMJOg+uRmJrY/jah8mNgMJZoqS1cKv8Dw2YzAdpxiXBksD+Na+r4aUkM/bcG2Yx//6DXyn+pj/vWEG9BKCyWyTqIyd6B3rILdyPZ5n/T3bQboPFGJjvC7sLVAln1gBSae52F/k26TE0Q/OlSb+d1V8Ss7HWVGSqErc/sA5t4tFfKhfEL2KC3OKnH43j+akR75RORFor5S5u5/QzIUrwDehGHCsu/kqQIWbt5io7M6O1VNFUtiL+8Qh0rOVjDFSpvCx5orL2yCcCn7emq5BVlH+aHP7nE52vKRVL1wcgOBPQqXZQ0kzPsOwcmzMndQItzUF7o5MVVUeIJ8965cCiU+BI032skU1b3qpf+miSVOXyv+O6NF8xwRCOIdE+kdTsxT1mCD+4e2NZhlQEu8WUEuHVhQSp/msXkPxCxF2XsjYhHV5jReZY8GenV+akuo74UXE/YzedL7RoFV+uEBNcQCQwQaZnDoHVoqBrRvialCpfS/7SO/JcHUEDUUqCTfZuMpMwqlldpqr9KGR+2J1rhOKF2Wc4eNTBBILT7/qmFu/c52dPN/2BpvLYQcu8vTc3PT0eXwT15BeHmKOqu3ZUdtc6rudWZJASnsFfALldyAv2fm/nS+UqOPvWifrtYFG6M3g5yltyB9Jrysj5fhfNu/2g12CLDB7o2cRYSyFM1f4zMq5bbfT8b4Ng8GdSyZHPpOcvpTDeXeG/ZRL2YoDJTFPH9WHOr1nfUjYYW2DCLH7frIOii+kqp+yt5/ffeLwkJOMR7yhKsk7pTCTBCLEOth+rO+fLg7Pzsvy7qyopH8WPVB/wZo6me7lEA2itK1u+veRCFTEeicfBuG/FtrPhwCQZ8a0GMKp55iTa0duAcToTl8WymtVps8DWndKJ7FQR5D5tsdWmB0hpWSACQPRpxzDQxlxJNoSrNuxd+LVbzVzl25drNsNlQhKEw/+YEWwvBPfOScCQmeKmFuTKb4q7Sn3cHHJ9E8FppLiWOeTJI1V9hBA6LTHkxbNoFdsjl0sBEO1yyBc1BzrGXSyWwbOxRgLPB56rpyvcIDm1qTOar1ICRk7AwVcN2rAuhb3WesZAtn3hrF2JXAq7hhLyszTMN3TpYaQP/RlQBgcZOi+x8pVKBA0+pGTgN/0FHZwwbMh/RjcYVpxf/lZWu7XZGY4kwK1IEdhFvw2L/kGhI6MIW3dCHiNDPz0PJfx2yx6E96HT6xoEJLr0/JpAhr6X60ruAemtn5n3wj5BDLR9BvTHUp+frfwqkOhg81YaM3b+aWAyyyZqJqQMe75iQfcTNGWRqRPP8LMhi5V96DKYQouHRxtBcJmK3r0IlJUN/RYnGNqD51ftcMN3MxkFuxlYsHYLe6F2DSm914EC863q2A/NRSJktF9zTCPHNMCMMsmgW4E2TZSvPWbzxB8LhwjE6Epxqat8wcjWMcK7pO6msRsgdGt8diZRpSuEy8GsL8+LisCvDk3Qb3+9YTe6QtPfIIxLMFkGIIA/XapeZMloe5G16cIz6wWYaQu7km415Axv6XEiZnNk2blbv7mRyOBqfkfaEcgxmdKMWIFFmVTTkvDUH8/yXcf1nbU+QIL3sSBeBg8osF3ega8Lpbp7R88+bE/Xdu9y62JkAj2BaePRpDLLMWurJZAOYK41UegRz+Ywb0GFEsGfT8XNsVceyvddVTSobADMJPJyHTw1W+7DoWEp3jhRYryK24Dvb4/xUC2FyNTmJYU4Zt3aRmzWjZgPdIWaREbF3yCkwZY8eCZOfViTOHUHoXK1a5FyAx97QKA4nBjMoCGv9AyaTmsiuaOaSBG51wqBu5iM5OYP4xrO8GdDPMY/YCrsjl9Ze7TUaclSnP+HOomsm0GIhPsQ1VlisDe5WKLaHf/lW7U2Z99uc0tz54aEfhbP1Sj3LO5bEB5AYho/ZSMKA8Q0VWY8Q89x6HN6YW3jDh1HS+dEcSGq1QTK6AVjj+46jHXg/usALDctmltYHRn4YJDT+3hHynqqPzV+HqNvciRdNDkVXfwdaSNQonp/YNZvdM8qdx4Q3Bo5C4DbdbFybH2G53zzeiEVvNK/B1oHQI33Q6IU4EzDaSsMlDridmtOqU2Z0LE3XtEhHjd6VFSFw8/i4xGbXyYxH0vA+AaTMK+rBwTPGwV4tAo6LkpduvCA7wcMs21OKCzbsBvveYh1mCyirdDnT+79eV0OMDRBzU4CrQrwgdunQma0WpKi17MEh0gb/S9u60uPl1S9iuUQkg2IXKg9jdQ3iXem9pSfHwahZeK3aeBUUS/SRlrPO12X/3a9xFKlCEjgFVv+saUaJyARBUNp9i1kzwYrVTAT7il+CImbN/nRINwvS6MVgPleC0iyIc03Ph++WQV4zUEo2XuV5rFsbMVKQRBRhwOeKWwao91uh/CpSXI+SsBuKIUDJVtpZk2Tv/vE1bV+hpzTC81pwjYWf3W5sqZOPv96HljcgjqvaIl2jvOUdTodCk0uZ1XUClhfIOJ8A5H+wF2q+dyMitXvaKxWa6Je5KnbfdqLieCakZBq84yzdU76Ch+J5S6w3fzDcYP776hhfBAQ8IVwURfTslVPtl4AnhYBUATQEK2lZSHWUd38wL9ZFeTxMMOvbAer9dfbkitir9OoActJ5pAAOsX9lCp14xjlL8eHDgSAXjOlKb9WYSXTYF9NUqy/VCtUmDKe20RrJaJDH/UtkvxVFWFPADAFQhkc0j5LDoRDikANkEf06eFq37s6CKh2GtVCJR14x9MBB51o8SgBtS3fB9oJP+I4w7JldfN55Yl424teIAblA6Cl1nyNdRbNq61ImeJMd3BO7m6QRFU/aSubs9zcRVkW6P0u0A0vpV1Rx/6Eab5kiI6rSX9FJeLjPoW6/14lG7Hucobgpg0wwRlUEQlL0qGlCaHhC1yi6TI1cKcSteHNMplq1PvZmbXDGqMJFEh3gb3TetGq61ggT0N7P4r/EnYhIQQPgeK7g4A6mCU0T7xxqwYCxYuxfZFuEDLT58tWp8aU8r0xe4kLJz7yNpX6ZAWYIxaKk690W6SI3kgfhODZWz7OHS2REJayH4lY1LDbV7c0PuY+OqPdX3n6XnFKCbfvbuS7NIPXPiptwOqBmWhGTQLVOuUj4BFzxh3xlsCIDtSNpm9N/I0LnGZfP/zgowdSiwPfKaBnWijkIpbiRn14popc0LLWamooAyN5lySkV67pb/pUw2nZFKFYlDwA7VXZfkCTd2QK7X+nn+k4e0kZXoNyVFMGJadLLshhy4K2n9E/XtM9Kj0WiOPjtInuZ2VBXIGaQHLTIQ9GDRONjYNmMKuHem0XTYc+fXfskTmCVwPVixRBvi3SmRrxE7JfcOa7RxoCExsUr2nAahANppxoaHiRV2rL84YKL3tRdtB4b5DL3OxiCxjYPMuAYoa/tRo+2gZjJR16X0YU9i9GoXEEHAVrC1Yajs25eRrpDZgaeBQukJEfdWJNQ6zGolfz/m7+iHe2p9/rwPkc0uLlobfyD5Geo9O1TfeNZYsz8h/y+IIDqQYpezwJrkV3f4IwuFoKp8Q3wBaJIG+UaPE4Ss0IPMe0IVy6vU6/so67+sCXKFFfXrhCKObbCghJPAJm4H+rctHtNm/BK3Fi9e2IfL41oFOIcfwGnI047nKsIM2k4mlnrF93XXvxQ0VzKTCoMBi/sJD2aXvwZRO0unGGJXB8qaQ5PB/kbPO8eiLHDNxKSOTlqNLDCd4PKNeevTN03t1lDHid1lVcrTk9hs/cAWBlLA+gpuvAu3JTWYF1jGedtDRu0ImAQuICeFYFqzytTTo08ILUP3XRW9ts2jFfQw9CJ5wv2Uic4HKs/9J3EQJYOHakFmUf+txjTNp4RsypO55qfBaPfv4MAghVjKrswQJ6GauyNGQgFxIE/sUbyNvFGAP/6sVa59XyrbBof/BFDY00eHFzz2Ueqvth8G/lWgDilp3DZbikWupNOMlkN1l4v8o1kMZ4kQnJNHnFlrR0/um5PtD89GCuWmfetA/oHHAEJ/MLUp4lEOV4mvUp6xKSL/vpjmCav/XDQoV5/r6C6NItjNrs/x6zDAnmG6VLbBQ7bPrNpTrPnT/D2NpUV/nOPiJwX22pz3wIXMHK+V9yJ+jGU2Os5zw9x9ArOY211K1Kq8PkZiAzV/gX1nxfxgL619kTIF2uBGQNTaZ8EkAZV9MOnyb/Xw1Xo1LT15ODczj/RN+Y4kJ58OGM0xtMDbSW5GAUQ64FyjXXg8WzqC6m406zszHdlNp6s7js+EVU8f/8kRcWbpSKehvIFQtwnVbadInaoBBiZB68QU6Uh3JsiMhwt1NuEU5H4UPLx6+MIup+jLdtUezuZz4f6/BWy7F8CLJMoU4qCjRYHNhzLS5z6QfJTKS7kznHsn4aOJI5ZhUznp/V3T7Yfny1Aiu5ZXBB+nnse/H8cTHHh0l2GDLUrGOUH1dfnCo4lHKnNyl0EYJhTD7b3eY+NdFAzVoP73bwAxd3p2uPDShzdvnEQeKhSSLfwxwgoTuRPhApQBYkxOSpHU9M2Bp37vu/COAHFRKrzBXAPKa0EpYoF4mzIaS9IxsZZv9UKtKcM8xi0OVgtjHDbkMUYo8lhSRUhiP8sZ/pl7BD5GCEQwHMoBzeYRZtz45EQ/4v1CT4gDPBbw+J5AZcSyCZSYExmAWUWah7emUGE3Dg8iK01QX7hmuzL/oJt0dr7TjinzpgsxkB4a6V0e51M8jgR17Fzl88GbtxjdEezVjKGir6tIj9zeub137998fBy6Vys4eToW6URImPBkDWdrxFVuxvW+Q5BT8YXTEsX9+Itu04dbL2qeqaUvNn+UHsnaiyZy1FwG4F8Z4FdKNuXgTGpIjzIqWqIbFG2haUIFPFxnyK3vezEtYf4jUgNKm08K+3TgJycdP4CvOmNIGKgIxHPQM45I1VKHD9YA7faY1IKonF6C3W6YZ1Rz2efi7ragD9Rnyydx+GjJ6yByV2xKFcA2Hv0MnWMILNluccZge206ku3drLKo/6/IluEUhV9P/Ho3amNNEoi+cSTLeXeYyotrde5ZHMSkce3pqJ8GSXT0uqIgEGChVx0gtSwlrTYJ2ept2q7V+Ybk1ehOJYK8wQVSg3JK9bz+X5tsBoojV8MuiWrf/gREWaqGE0LSNlcDbK5mn6K4Ir+D49hauMCvtllsg3knFiY4EwLzCNQh5Nk2WAd2d9IFz2HPHXdsT9jXhxnTPH1jAja6FYHIbrPTbUfVRKi7Lty4X+GniIKwjp6pGwWtpDsJwU3Uwa/jDb5orCoyqovQRfaDzlXvpnUyTzF4Q5ueYxctZOJAcBexKkteO27AC+b7M3TTz9cqiy1PICtRH/i/9H9UulozKQcJuw3iuy+XRJLhyd6ltAXUsoqiFY9G3e93Bq5bcYEtTxZGt3lqY1ifh9FJPc2ojgAQchUdS7zz6GR+TWfHYhiNjoKQyTkY+/6uLko7fQbSMW4/Ao8/YxZVFMMApx5om6Bk0cfj0i7dmnqE9AwOifBgcHSLKehQdynFrZ15jTWrLlW5Wia0olP4mPHeiZZSxfDmSO4n0RbX3HSpeAZ7lGpyHFm15swS33emKQZxhihYolmQdRUrFsYqJ3JZevQ/D05llwDO+Y91+l6WZswEh3W+PAAJZZp1A/kpnmtLDassD8RztzyNRBUJ2P+N6Rwc6E/YJwQbNggu2EfpGe4oDVawusSHlSuWJbW9YATdSIvRXqnI6udpKtJhugQGHFi60HwAEHkwGNsvx5EI5Eq2zeqsmryWL2NikyNbq3InS02QlShYZzNRegjvStQi6+5QgX/YimVqTy8+581vG8C0KHqgc754wKE8FdCT/pjaFV/gwL+U+AkxW6D0afePYaWUmClLNplbtYOIKpgQJLE9w7RfpLvJUVxlaidn6QMoTzGiEei3b5Kc91il9JyvwWBFt7GNZK+PYKkMZobHeI2iIRbhh/2N+xqAZcWVCNOROmQvH2SstTpkvDaBPORRJ6fASxzC2zkoxykSA+mJVkzj0qFt2f522IvqHDQDDpzectxU7wolD7fXGEN0gTy94CLcIsz/RvsR1tsIlj/aK8eqi0BGJ4XwSdcADAbj3RhNNtjmjnhnsx/zxCk8jmoRxIdJFFsShMcPBj8Pf2dMBBihqNBLruCtN/Iv95wTxPbGX+imtW5vMdZ6KtWmDGoQ75YysNkpLcGb+/UpycieyOs0fT+haWImjjWGFpA3qhjeXksWpiYNZIfT67YNIHR+lKxhsOOSDTksbHsxqxzo9Xr/uEPGxDdHoDAuDr3elMyFd6pRdrHAWjNazbDW1ZwmWsBCWWXO34zwdBylkatVXQNswhy4dm5VEPEyj8TRaG8KQ3KGnRpPscQX2onn+V1X18WhUlxyf3DFcbnz5GTIyQKhvgRHx2Jut/b/hJFBwzVRQ0EGfU28MCrYq8/dqxW0X9t78FVEqQMxu6wXsFJrft13mwXlRWxAYmmLtiRuKOtN0zwk1ufw+lBTzrAJC021sq7A2k9wgLHjdeXifsQlP5xK7PgGCNh8CW59+wsAvdyFC/f9SNkxIyObPpHiKA/on0v7em3ZoXgkON4Fh0BxF7C0Dyaj4CqB/bGh1Dkg2U3FwhFJ5RVKlWYgJkPcLvJis9/Wbn0UOX4NQj42AWZosvGNh6LCVXgzTjIGYIjXh5AnO7qw84uJ5afE5qHc6dYR9f9N7GQKlqUGK4x/RYKqZ17fNwKiH8pf7g9LAf276mhpHz1hAEFU/++UbbErB9lm5tTiGSzb65U/TE6u8U3Adx2Viigg7U1G6y7ieeyZAd0FrWgJkaj5tZgFfvbYhN9d/CCaEUzNMG7giWKNtgNI6iQBu9Z6P0lCCv/TLDVJvzHEB1sx2eEP686Yn6gBqYxn+4PQVhXoJ3BRR7SCA/DntDrq9h+wRPjS/skJirMLKG9xzxg3J2qsMBOCA7AZeGAfHGBrlB6NLnq6mkfmtDwEG8gZs1a7qa2nd2ONPQfDCcLGg1kV40b1L7ZroC98K/4nUczpjWErC5jG/KvFNsrqMyu6S2GVnhXaNfVd+6qtcwIW2pIeGI29CQZCbmP3jJAe6qPYgv+HyEZhPMq176myW7kcCTDVeqE3CGUYCQWFFuRKMfxfBwf7n6MbO7njkJdqJMO+45TB/cqxo0eq3gNS9dnSZgcKcsF3OwoowqimQFDFAX8cnrFYHtmyqHRwzkT+tzz6hkrxPSEfi3XrIdAVao9RQYVYi4/9alRuYeKFpYHAfEke/WwequbHoFuzZ3Y2SQK010Fn0nhm/+b9e81t4onnbSbaeZUwSlknQDBAFrTo0C+LP4UcW5TJ20rD0w3T/RaXY1HQEEmol5NCSM1bc8nqxvzSazjn6X1GMJbPd/UUXvQOe64FVKtfEWAeGYy3DZR/1Th2seUmuPdn7KIb1co09M08MGDfAi/zv5GHRgIoBsdadOI5Jlx16SItIxItp+awMLYsPb20FO4gWvDSzrhV71pMyt8oPcqIFzZ8ykdvxPtMrwBHRb3N//9S5/ZqBYF32i6MchXLIswiYxVkQr8gtXA/ENeP3ADtltuEiKCHtJ1ymRTf+hgKcrx3PMgnBRGDLe8mlrhebZzdvZYCb5RbTdd1qKn4k8kYv+aljyvT9XapsC03+VEPTv2lPvOH8M8dh2VjXwnBICNI8hfH/YswroruhgZhNImZkBOzwHuqxgrp6bE08yzrRhuDKNFQt0+P5nkv/3X5LiYbvZ29HXzvtLtVBnYB/YJHDkAW/3LXT99RMuRf2CchNCM6UZaokW1ra5LrWywkvo8urkPVZoLYo/TKTpRWWatPp4mm9DJsoGH9GynrkcmDDfwMCEeqY0WUNtYj1ZarhJpsbHYoKjdwT7qIROKipRev0HFoVocgR0zoyba2QdkOB8H9r0K4rN3oZIV12u/SEe/v3at2andL0UL0wBNwi0b1cWodiHeqdufQr01xrpiOH/C3B1Dw25vzCWqr1sEk++qOh4hl1DomVwlqSBgLCSWyvwB/cQ/5YG/mHnKL4x74h1PhZdNsWliXj5hIA68bUHG4lCOskxCiCo4lDNqlH7BpvZLhFQdrL35hxwfPXG2+Y+ce3xzaAQH5gOcAJMQ0xAnF9r2BPQfSamYk69OAYRtVrTV9qbrbTDJ3U3N40onZmjTVJYrrTWnCMXzrbr8YOCUJh+gjt/VQBwP9bQcRpUD86h34kem5nBVclMNXEHLsym3NAst/eJNEW8ThcrSYvvpUd0in/t+drtJf4f8Eheg82kpnxX/UfZkOu3eIEZyMlzX7FAdBEUNF4oy4xRV/XiuKJ/PzzJMwyBGmsmV/onrM5Uh6Z2waKvSMruG2esbFnpDEJ0pRH00E1238jMOBONTtugblWpKy+IIa8jqQcXZKwgtOdAD9+lZRt6hXXfbBPsTbpwOvK7gdx9XSgF+kIMy8UvwdqBAlgTTjNsU87L2Z0DAzX9SPOSgYT6owQaLxXk8hc9r7/mPWDohFtvitq3I8rVfsUdVpLskDBDN1DGo0ZO+TftqXw6HK/qHw5hK2iredVudy+Vw2+ISnRvJPgsyE8TOi7EBMxR7M6wFev03nmQBbrWVQuY4p42OEfL3L21wiad8KIggb1dQJRdg2IAFsyuQY7wtE68Jm8eDGtVgEtd24uPWJpqhOYDPBvfZ+yI+DUk8lxnF5ZD05tmO1Ek5ODwaQuLvlh7PPPvH+EU6zUSCC17W1+zSgmNPvbMkqzpXt8FuEct8BWZiNfQr5xke3ksGIp1XOSUvNPaLp7KkDpVRuKLgmV8qNfvl40siirrI6E7r4I5uQ5ZjRsi+70+JL9hGfRGdDHsBZ58chj4ad/360mG1TejfI8i87VJ1uE5oZTJRtqcCpbDtcmtv7nSCzH6SIbDIZchYtArrA/3oTe1qlHASlG2l5mP+RZzEFc5Qr1Mod++nA/FSnm9TopuVXtwETF+g6h9UqnX2YGKo/1ZRRXJEIw9AXuOlnCzTXAGAJ1cpymfgzNd72yX2Ty7Tk370D77urwYpJzag7ELNYw4AmkhwS0phMekt22wsnAE+ONaQweX4FLl1LWMeV3sc0+mgKE+HxBariWCVFf79M19l5+9j7mb9dblMBAs/e/NGzWh/iFSqfxx2CAKtnZ5G3CaI4MYzNhtSJT5tPiu2Y9ojerUQDUWKoOt5w/wJzQU6n1HFRMGAh2/vQdfqB2zlADm//nhX2mRB9WNk+iN0gvNjMgG1FEDSbvckn0J2ExmYEMOG8KakDSKNLFg3k+cwVfmfSje9ML2iE+ebj2EYwuxFaTj9wji/AfE8pvvZJXwv9UmkyYLDiL/NYBhNaVgWbl+rTbpnK5D/AUXqO2HwUBM9d2X5Q1QG9+4QvyAhG60Zamen6GayH3EoB7wioPFZx4dLyzZ0mloIpNslB5+q2GmXAuCH4ETrFVfS5HTk10wg9UJhSQ+YTSTGLXjGB1aJ0dJq7xHr2w7wIEuoi6iDz0VRdhQphmFnf2vrcSVJh6peXmnsKEkDabHU8sHbvNXSPnbWxmuek1emhX3yEC3fki/YfLqd/b8pIzonx8q8FuZSetgbA6VLMEEFOFPZXxqlQ0TEiokVg+/MePPGSaCPIROGVnHq1G8OEKxDtVL4dz43dci/BDwiD094/ed806O0zTRu1//ZiSfWc/dcem05sUhv9IPkSFDvZDz+vsWUEzGZpSJDShID9rpbp3pWwt+1PUdmlwvgyHT1xPiFIzyQBtNKfjypPrQiy/8xgNFOu2vx0G6AsVxUqjz6RQTuXi6cdBDSlxawZEzRgVYKY2gzUo2KPRj/pkhkBvoXVrfFPMbIXpqAl51JNrV/AQH9Ob4QonQc99ZdQ6MjRflaObc/3FrHqkkMO1MJ4cjuc1gCg5SjdgdZ2UlB5vXUZs1DjHaTYAZQRu060wYZErhCha393qX/SzDav/hrPSJWU3ao+AQ4Mqeszjf0XGdYwUrZzLMm9IyZd7i8islP12mZ31T30MwGGllCawVR0zf3h2ck4NLcRsw4wIgUNsQwLnBt5mZ3JS9ehZlPywETcHj8/vcmygO9gquhWTvsxS6N8aqzKFT56JQeIVpQ7ciCAN5/NHlLCo/pKQeUPxwda9FGfoAfJbtRFZKhGvk0tq+oTaXyOu2ZLt6ziA3S5FNQDG/D8kpXaqBv1Aj94uGe+AG4Rm+UGDyuO9UvNWhrcLOT/z7OYRd+xMUdY1d6DMK+5UkpIMbBVYdHV4MYJVsyA2+GBQGOFZasuL/z+8SIBCOtKcWeEhgeEcqnD4VPmpSGo8/yiH5QfDCLAXsIWK640c5KNB5P5/97DFa7EDor4mEX/VH9cL08nT9IMA4qwk9Bg0uYvKCwgmhb40mb0VphlxFADyjbHG9xZvvavYhaDcNum/bfTpumPpAqq3CC8+iVjZxR2DlNvQJTrUkBmW2vnta5b71p6JJwhhNyZ05OQn1KdinVLo8q0Ifrvd8TnuRu2d11A1VV/pli5itXRhFmeHgBVC0eo+ZFCgUjDXp2WG+GI24h4iYFt2Nq3Ua0bLH89zRZ3vV5nG0zxv7DPCuaoKDxZtuAzxo6AmjEiS78Z4rZBvWwaZPkgB5fifgXd43vW2Qi4M5VnyWAX/tpZpWywV5rzS1td1YQc9fbE2Rr6VzZzbK4Hc7gzgCo+PvTomAIfegKNbYnLAyAOclbAqiFtxhDxRTflLQzSk3si+bpQxug3JDALbSb+LgERmbuP+hxTUcjPkrm9BeVin0DYlDgqxwoJpBn+rb9lfdH5xo3e6Z6slKLkB14+C/z50+NiKedxSnJVfXqMvsd8KYdx6VPFpk5AUU+cbAIZhDr6TtbvbRAKsGeGkflqHgHyGC0e75uwMmFDVwMuNI8QOuJTk/tg6r3Guo0D2KbLa5Gs0TUWHcwiFILS1SRFt9DbfTKYdDwXJWZZDoAeUJQZEB1lsSbJeSApOet/h3V+MMTX7e8h/MAN+p19biqIxeqPZ5nkNQTJ9SWAgOd1VLKCyb2BGLB6HThbBy6wlJxiZGMIx8PSyh+NirTO8DLV/t2FS8mhQMOKWRHmI5/jh9F1C+vUGRNyz2ToMHLSGk22XjfbtR9PApxCS+frztY2TBU5Nv6is5wfu4528aBmgrt1K6v6zo0oQ7UgTPlUIcQwEt2b7x+i8STWnC6VcHm7IXe3PemcTWJcHLrHlgF0q8l8KZ+u4N6fkj6m2jLzFg1nRKPGxHPenBeUYf9ijbsGjWrQlo7SIMRDtPpjrSo90ai6DSewOTDNdsHgCoU4DEGsC9NfvN7lDfFmQ7n0wTR5ogkskUaD2E8Pg6az2dV6Rih7Ui4SR/ZXOZE/SA9ogpsIXw3T8a3gIIMsiql62L4lIKPz5FcRWTcJeufKzhxt7iVVKpLKe0nTX3mryPLDRA6FH8B3xStTIRC32kXWWiPMcI7CWwlfSJ5jR2EwYNpVU9Kt+g0oJP93ji5nRF+0QpRM4qsan3HYGOMIet9apu4J86zHTJnCcs3zmNzogZjyeWf0US/TglNWxjRDopFsDNW4utr9L2zTgrTYtryxejwLzclqwCRyQPlUCbYiZTAjR3VBlOBUSf7vD4jNyoyE36xyDG5IrZ5a5HSVD0ulQjwzYtHwUAnvUg29N9N/Z5RlUS+CwZ+LA301paFifSdGzUT+fG3gQHBuvIjExrev4du2/a42nQEhG0mXV5UdJnSaA4ndkafOxLuUxMj2wPqtM9RghonWZyNwy+ddFQTFGFq9gC3pWvD6sEtELGbOocV6cAFiJhpaCmW2p1P8yICFkN2zHXBKSbA1u2cBcK97DTst0Bvbgi3SMm9yAqSR3B32aunMnrzP7YQd1Iigz5TIKmKpfu7B2JgivY+xa8+AiY5Dcez5Yux6BNe1xlgTlxyqEYNYeUMORkMiU5KYPf7UEhvF+nlcX9iGzPcbbYe2xUx2GPFWRRzKktYodBHrqiG//uzciAjQSwmkV7KqbIMtkY9xF2dEcnIAibwRYe7iw3d2yEjETsOP6njn097w22iV+b4ZSWQ/I+vxrC2w1qbfnNe68SRKe/S/nb9WPR6MTVLIq+B5OB+4+qTWMQL+PBM1Wpj8j0Y7p3Z3xdV0S52k6A5PxfrgrLmIdhTXUvsFGnGsFp219f3ZsIqfYJDVeqj7h0ID8MRiCfbOpN0EK62TcSbMB37/92UT9QxNGDrC3DPcGgOBbwqod5kBSbk+akGJbiFGXDFhClN291tuZXkb7sxh6oYHBYqC0nPG4NjywgE8OzJon+TeK1ZIe9l3nOQ+2sRyLNqpduqa5EfIn7ZR1wJo/NXkyApp0suNLz9fi3FpOOg7QgwZNC+OirWJsa+/Zdr378WhuxYf/AvICJkZQ6fJxyuHw2XPtKRGj3GY4ibfrU4Ua7zi2aT3ou5dSZtyePI3IY5a5ciorsnKy6rxcWtzqsZYI2KPPF21h79aw1xz/JvOL7NcadkGw4axl6gIky77RJyvot7InZR32aiksXJmDqZjutD/mSJgXo+Ms0Dqki3RxVcX2fXivvqQ6f52siuq9n5C8oMZugttz6WWPbQ/L5bP7uP+4vWfyOQeYzuAew3wxnR3CUSkYITgXaBS+/WbOpNODpn23tj5lCpmUMiOsCeDXKJubQYypel7CT5NZuZpcLyvEmslSpsZZ8RvXczgddyrW4PmHMWCLsI00hnKqU+Jj7mHGczQy2W8jweymA802yzN0PhmRb/Pno/Kt77qBDKo683AYKvYpt7bwulqFhZrKmfty6Xndh0AuefYZ/H7i6PO8g8nZH6+/oWHeyAfu+7czvxXP7aJF3wtm82DLFqYrEXHy2gzOAparUZl2eorOoBTJrr9HtWzZLabVfM7nX9RYmQUZ92pp3/K5JcwrF805nkKjBCp4f2B2upE5XBLmZFCTWo+AMvfXjzMlvXFaftA321L6eRg82/TgUPJSgZMkwadSAP0Q47oy+OmOKK2FO8UsObwJoTSI5v2Xg/pg7loUK0gN4Y22WH+4SBQeuL+ZzUqpE7yEu6M9MpyQ3mu0QnIhOkUDnRk3kUidkQoF0nqibYS844messOCbRiuiOhm3l6TiRa0SstDbb4+NOJjrrF9Gj2pNRJIJYlZ4xOEtSaEE5ohFqY6e+Fzb4tytOBNK0kCls8VA6Y34VK/tLiUOFfhu9OLSug8w4UYq9SSc0hqKHcm2Mp7g8m06X5/8ilzq4Re87zD5wBnRPTQ5juad+SnuycKjyKuN7lVqNP2epqT/uXOF17q91NOMRtgLAHb9jyTe5vt96qQzYTVuHTvKnYmNYND1yowTPoNsGEWBt0Unqr0LNyydTTRm6S5xb1Z56HIbJyn7tA9YH+B1Su5HBdfoVKcn4hOE4a5z+fWBUvk1qUNZhBhhFV53grl8r1IK+VzZNcBmQdNyFEoPY3bU4V11Gf3W5wc2WbFOn2HnOPbahegxndziHTY4cMPfsXiOpQ2l5tN/gTrwEB6QMwEzMRTxQJsaCqoTjwNpMcsJt3wQChTIQYTRzdoS/+XKA4ojYTNZMiWkiJKHt/OpfsC5mTXWlLjY36ipB3MwuX67EhcoChgloRemxy1ki8/tbbM4znjGpo8OaAjpQykUoQS/ELXI8bgHsgi2xLOMSyz9igpM9WTr8WCZIcdFjvw9slapPcvGSsJRDp4ORl27KZdVEWHB+82EuMZSM4R6ImN0x5Yd3/XVBKdsaIuMrNfG/2L2hjxtMhFTj8QPiSDsZs5SPMuj0B0iSBncnFeQBkS38FYRFF477XoBIScQTA0yxMf6xx/PfCUpmgdHCltChXWqKEzB1R5TRR/EPo6uSvstRo+YYoKGTjHwhqxywPS5+fhhduS+o18FQjdQUhdj4tQJGTRBpPmn1RbJw+kowKE3Mwih4rdaOarRbx0M+sT7TJu70zVB9Lt8wbsSNN9yEmzDr9T6CfOdyKeCzowEIVy4zPU0YwzJ09N5VpoCSuIBC895QOnTVdXxsswQfS/gmfB4OOtP+S+sgXTWJZAru2TezbhwfUP6dKx+KivUMKWd6jRxqVIlCxC9iW9Aa+Kj8dbVP6nvTe2L5c4h/NgxxwuplafkhT9iBa9Ij5z0Db616Kgc1G14RN5lgvCut81gWpdFD71jOFopAJSVzQzrIXY++YIbHaKwafXf/yGoDTJ1FHWMcIam4D0D5mAYD7BerWjcy/jOtmX1pLb1+buFj67t2eUBWikk5hGRgCAYMmiybgCOgzLN/2+urMoRYMqQGjIPFRCPBDvQ8ptDUVqEHfMJH4XG4NqL9pcrcB/u162f6Pt8rHuCEa2aCcBInVnc6bciJCCkZROCVxaXYlQRChTzVYTiIW3HlPuItmakWAy3W20anFk+GdPiCDg7hM98OwTQYfY7AycCe8dc/qd5P7cidoXUY5csOE4quTkTTGqJqHP6JdRZwZhmWOfVgypb4DiejFbs1TKYkHHfO9wPYqwtT03yoFxTZn9J2wkHLBJe+/LPK8Ls4CNdWyfcZL32vyLA83Lyo02Fq+y9OnJXQoFFCFPIWgQ75Ec+Qkf2wrVpIRxJwAsL3l7Ac2h1pLutIPGIHa2GLi+A8rstVwpJ7gUYYC/n/1kNkTdNv1jI6077YcxsHl+vBRJ5l4rB6LLX+3nyXWoVJPwikZryDkT49XQ00I4AEVDtfow+Apt8sdjT9WwVvFkYBNFehpRPGb0F1HfX2nGZRGaF/4qsnhAvWjXuA7590y73kgwDhbAdRYUCWKpqjERCpGLCyMvBXDxGynvrSJIPVE9VDPr4OkFnc0PaBT2fOKyM4nYrTPqU3h4Htql2Hk/jqj7LJNajVPG1rStZhbB0N6/Ekk/9k8W5ebpI32z8jniE6+XEslUWpLy0/2EYr8dC8/cwWHDjpPKzIm+BBcWYc9LqnBsQzrHjoCJAH0NiUoCP+eY/75plobl1Pj4sJ4WCpqx/E+J7qloUkl3o8QqfO+LfVwiKqRGnjECmEbSu2iR0eCW9aSvD4CA4i3S0ieqgqsnMGDCwNbD2xUZwqzYBsIjgypHUEwUZ5KGeJWhBZoCJN90WNzB14C9XCHOW05b7AjOAL79XksaRctShYKgyYHO4CwYI7GchcCJVYtjCzylThleFlLy+5KS66McPfhFcXUhkKgi5PfcUcOPl7JIMmQLQ5q6MbGIKcM7D2gsHN2bqPkC5XNtVLvnM2mHwXzvjLL1KhM/uBTfd1hB0pUSwnx8x2elkZEPhM5IDnjKc4m7T5HnaAH9UQ/uU6nRYCAta6L58wfPGtkjq/aVCOZ2DKto0Tf9evnidIK7bkrq0BimY799gEB7Ho33GAFjID9yC4lRrY6fOnFoFuEetalbuoeNnPhchINTCDRot9ns4QbGsQ9Qf87ExDNA0twCta9ZpQhEuPa+xsjTrRcyv6n8b2t0FV00Jdfxk33bPNftl8t+yycU7KhRg3cqlV58OH7hVsa/ptEhi6sFdsy0VQOfUoZX+QZN/LifyvJ4yOJe6naiHJ/xxi33kJ35To2AMOwTfh6fyX036oZgxeCi3peS9JklvOF1LLzlslESW2oagjAxdlgY0EHd6tBFFGGfclhZa0eS3MTwKAzwuSdM94uEgZgVlzpFLclez6VDHNp8F+y5ps2kqWUymeXMw85jdViNGfdYFCNC7l6q+wQ9VZ1os5LN96Svcekbdt3Ii8EDWQC417KMQN+Z+6fW+FaTCbtNT6658kUNvUl5Ye+Dd4z+9jLeY7C6vVuulaIdYP1rP6lfZYfSflLF7vWtFFZZOr8P/5gtGVILZLGZply10JbeHk/7clFsO8qzp5u3eXZwjj+TVTiTpSbC9F2NO2HP7bKl8qblmwj1GoH+BcNgC3+oH6RFMtX0UNjlcCeSsCdcqZ9ZM0iQqWDn7Xto8lPrVquiB15au3DYMWj4D9bVKc9Fx+iBLthHujDT7aWFGT0klgi3BvnvicPydlq/qmnrhnxnxeylsCOcrmk47C2mw/+T4t4tnawFNnfJ3w8aqN+wseurJoeTN9IF180RC/A0TXPEmKQ8VK+4g4vULulxk3H1Q7ki8md9I0V0GV0KTLd+Xc6aCvcK9wJuCs1oC/XrgjGVrTjM1UU7q9XR6lPeN75TEdd7b9WZK8A4xtprcGThQPWVeqiUX+T30LB9avkySqACAg+KdpjFVZZBF2OQxtBEmuC4URF5QoyELj7oFur5gtLKU2+2QoKuckDq2DdMevijWpAiMcCb/ZsvJSIE9Fz5qaY/KebFtKHrDEQulvWbDngz9taK07532Mib+kfM16gEgE79ti6wB1IbWWVn+3NFyF6anTmPfIwvZv/L/4cs2CwNfE7Tvbo47JSgaOLnD2TnXOW15ioJMoRakTWIV3ZIk+pdpuH9rW3txnkugjnvnplLxPtpSRWc5frseLr3KrBcUMPGe0v31HEcjq7Aaf0o3LtuqWtEYg3fNfhMEPM0AcBsdCh7IuSEO6N9EeQDV3WTv5aROpOlyxhAH4IPg5ekGr1OReV+myXCNhQFffNkQcHUC7NReMHrgFVsKHuFRlEyz9XR6EzEQK98l0Z/wusmKfWwhUPOMeHwJ/7hZUbynszZTM0rzHM8+cxHPVKtb1qoZPKTgBlejaoyycF5trlhqe9uG0ng7oQc1dUPc5rOvqQX/g3Deq38ZxxDxoX3Z4ypLDjxNuWuyGEUFmgKTV0srixxherocu3bfEtQYqV2p0x+hjltMLnSUZ8FL8HAQmQgR9NpHi6Rqotvs6IO5ClSmoQiFfbdkpJxTZcVd79RPfrF0YIdvFx16BEfsvkHqdxf5nkqGUb7zvEJlNjlZ/VoRAcop6IrzSPDMg0+VI0L0LZPg2L1Fvx7j3/5Kz1amqcIAJ51RP7b52JRLdm28R+YTE/D1qSZZbQQP2A803L+vWm4arasAqhCNp7ELjvSvlUIsNIm8XUeckQaK7lIoatUbC8ibo00DRjUKDqlf/J7Jrjlf2bKvkUSpTkzxNby8pZagVPBKrHYuQsDMVQ872Zs0eiSbGd9+2WyrgnmgHgm3JAtyjnOcHYia+jRo84h2i430gN4u7fpM6viFXz/Jtv7x8rCJYQBoycdWBP6sZb/OdbijrTVZM4h21L/rs42KuBPR1ccG+kkWUA3w4F1GQLyEs0siIroVSWzvxKLmdGERV51c55iC+DiQbADjeP6v3ZOzoDBJb9mGzuoAN5oKabw/eNInUzfd5fsCBup/BG0GmYCY0Jlv+MAhU7HjwHk5q0lWu4DCvSjpyyPm5hJBHRS1QoMgGIKDDmfv86vAPKqRfd2+C/vimyzu4LoORupg37togzMJiSQQ1UAB1sN8kpSRnyKZvXzlLf7PODIV1u7O0SCD05q8uCfm/kHjiyrS3FxIkkm8ToiU9a2p++1ZiMmBFA6OFqy2M6s0s4yMX8p9nqkDf/ZCFsXxCaQO0W1v1S1GthdbZH21bUbBU4ZBw0IXB49vRHkn8x/kvFXtQySGkrDhmM2WTxDVWqhikB+CteKSwWAbrxEMwXgA6sXOpAvND+U9kgmHWmvD1oqcMLfaQzgl5EjBLOF7YrcPHo+IZcCacme7mvjYSgrUtFJkWgmG5OMAQb3ifeBEH8yHgIe8fk/FL+wLewH8EjxQlhEtx0VlF0p4K6AoDfxgwc/7gGpcBPNYhtPCfR04TDP+URjCFLe9mT5zmDTCqQUKzc9zQBw7+FFW6X8bliJIEQPLwUgp2m8uImIkdPrHtO06zRiukZSNNE4KyVA84+xYDj72/SxpJl1BLdVglDr5ceVxZ4Snk50cvVIZd5ntDiEaAdiBfSjBQ6Ge/3m4uYa9AWJjkUBnukNpVtccIglKunwRnPZ3y2Gx4hR9xdWPHaPa3mK2S1VZ7YX+5D7Q37uWXJI1/ek29VPNKyYEueZ4tWG7HgBQzP7WOJ3ur6+Gd8GV5bdcXSKQfbJXmUIrguedtNQhquTCIFXha6ezaRvygjYEF7351nyhVqYMJ0NzqI4F1xlbYMt9YJtDdp2+N2j7JwKk+iBgtSNHyxXvADfizPgXHvp7kTmh7WR5ChB0QQ3j5KK2XGdiMDaKtTsFRUo04eX8wyaf8r9G4217zwnLUBjlyNwfNIfrupkTNK5sUiJ9dY2YiPa52FXPj5ZZfBTbL3wnitWxYAAOR8FWWEMtWz6wwtqxPGn6lFxWx/mnQSolJUSRbp0IM39bXBcjp/D/U93RA32ouLk5m9fy+kaFU8HbK8jf+050VsJFHpTLNYqqeE0+x6O8yXIGxEM7zwSSdvq3GnhdlwaVn+6sE8+SEqq84HoRW0kgUGWWqzS/aRANWojUkg/H5W83Hvdcn/4BAf2oZ8JdjZJzCBo/mrKpi++q75CUxb6xDXODOyWj7u7nvZkA/ZVowZFDvf+CP2WBikRWX5FoVMlkVXbsj2/IInEABfG8R1GRVeBO4rxfomNMbMsd+erR6weIwtqAOWoLJl17MA09mnscOWCBKIbOdbg3yBX+l3Z6HMztv6NTsIwpAbwKxGYgLnrulRfp2HBmHC0v/DyZBncDIjGXZqE4sslsgLSixWeCwHjZdpOsXF2JjXhUPEDAI+Aiy47b0ZUfrpac2/wuqWqV2NlGkX09FNCqhgXLjdQhqmKRUbrwSymfvdBAo+8xejtz6a2O0M32Ko4Wm36ivrKKfvtjUhl3CNtyCW/k7LDPOeAGmmBSiuhA/Swh+GYDvohMmoq2zj2xeIYEKcg8uCBTkQeZgAbT27EBqObmvCu2REMhwlRJGuBIdKsfbCrFh4rfF5ivTcR08tTplPvfPReFe91mrNPgWmNROPqKTFcz2SoJf+jxIbuJW0Izfzr9KXJVZy6v0lv8ItzaezZyZD2ycIFEvRC7Jym6oMaGob2+OxKHhq4EXIjA6dkpMlywb/AMp7uevAoNl/OO1iUJbU1+yXRQroO2lT/9HjFKY+IhX7Sljm2NIulNZ3fH79WP84CeOARO+31z4gUPaVbTa981xyspk53PvMs83h1NAwu9EsJ1cu/fRRO3vl4XjOtsQCt+7OOAjQQCZWE0jUdQE/fgMnHGV//hyCDCM8fDCYbJcaE2nkGvidmuqK7NIq7zS2SE6APVde7b4++Arx0T48zaXS2YTmGOasu/HFoU6FVIjalzC8fr+7OIof7DksZs3ElHF02Y4MxfKWO+zke8LWYPV2CiZXfZkKZQU6tHkJ3zWrBHFPuGsoqdpR5mNWXA0cZsWQ0e5rA/DiwmSbBsluU9x31poV+3PhaJFUQ5CJtJJWnDeW1VnpWourLcx5xB80r2EfiPDXYCs0WTm7eONYxPOKkd4Vs3lM8xdIrt1VS5LdbOch7VpJ4czrgGO7K+gmtZKpMp9i9vxwH50edPQyOEEpYMjxixFJfoohOBAiuIncLkbFEFoButSUZ4X3UwU9rAoU+ToZgldOvJN1yoAdXdlOdicwKXRsvH5/peDVq6668GqDOGt4uebpay+8dhtKYIkxLVFhfmCPtBQKWN/TMUCOULfTF8o45eIv9YfV4a47HF3nGOIezWsIGjY+Md/NtZOjduMUtDn4ne6SkDJUt5oyLUkjfICFvVgykGFi5W68U+OAX+Mp1lzBVFM0S7D5Z0qR1to3lUBYhtnUGjorZ1t7KlUhywXENP9uwgeCL/OaYxVGWIpwLTS/SKKTZ9XcwxlxtFKRssE0xQsxkzY+2oCCY5G3q+tZ9+YavihBDdG8Qw9Iy51nkDoRbNvkvivNp43B9bc1lhSv13emOxAGwyBrrYTkpXGh9vGCNSth4iFMu81Vn+3USEokd6W07q/HzIc9Ifl1kYCxbCAtpBxIeOQqDCRM1qF5rA7q/r2f3RPEB+jgumnytfBtJvDGybfETXTOFX33irKoRCYL8qmdHCmizS4pli1xyPjODpB0uM3Spvuj7oZRnCkfNk7EkHsun3c38AmwSICLgyPZNf3NScCNEruNTFLZj55OmtoYjV8vS35Gz6XwGG6Nf7FOXWgAKe4bZE03+hDEPck4CDqRP997uKuBhnOkGorwlH/4/8cvHdnFOirfVGMoi4lzqbwTwLn5G6AJSm4Vs/qvhsrpvgVMwJjm4c31ETU8D+x4y566NHPedFLWilPn4LzbSAFQHX8UVAPfL4uzlWux2D/tao3O2CaNJpMNjKKfqp9QBmtZnyZz+m28peEwh0AwlcBMVokaAPiya56XMtUM5iDy/DPKSSV6Akyd3IZNeZ/YxNrKE6IGtww20Uqj9LwJ0yV5rgYVxrhWWUEJT0XGR2S4w35A44K03kyKE1VSirEgtyVAkmrk9KySoPwA3fyTPo4OJ6pfBw6I76Us2QljW3vgqLzHYCnS1fFY/6uuV8SnSZ2l+/kcBrRB7ysY9RkYyuwybCL2q6eyyW0r2qGe3+yo5tGBdf8DdQ/Yzt7N3ZYuviefEZNqCzs0wTqA1l4t8NuogJYoPgQ4dTQgV7+t9cDkfrOObYLqU7OFbE7ZNaaiZbJ+b+s5ds7mex34a0J94sjqE7kxj15ve2B3e9YZnIsTDk8XIcHSGhHAL9BekQTMzmFOYlUymifV1Bvy3/yzQ2cvRlI31qSNxADYUU/cSugFJhdqrsrK23QYpQbgAAu1wXQgIbzS1R6CSECTqCjFkAf+L5oiqySfRtNXc3JjNKXmKGNMGHEA32rMObcD/fryUGiaSzpu1rGd/rMyIgLBdnRws2KgSEnmX32A/b9CyVwLU1ADjfEHoz7H/Ohm8JkZ5Y+5EPt+gZ4uW0YpzKa24k585nObtJHhIL2NSeoLpkYuFw7GWA9/+5JxzPNeKW7ZfNzXd1uI+J9napTPf+nsQW2nQve7BFEUMxXWt+ByidzvtAy7HI63chJy3jt2Jf+8fNFG9ng9OQks4JFQsFBDBlU195oCBRGSRrEd9uu6kqFDPqLBWOUPrKl2fDvHmx6HqJ9UJJkgZOp5H+gjT7BYqIbGeHQKMqxu232n0M1cL8TxE8KMueYdAnodWt/Qfrzz4Y4uo0c9pGg1blyFm1bFF3oVUoMiMquHhB0S43r+gOLFTbXdVVuWsV9w9EB+56rag+GOQR0HsQOg5jsx9l17LDSwmUTi64mAP5dQS3qGKgZKOwu3KwKvkD5xT4mcUsS5xghp3My0/dAQFAb/mPL3T9xmxwYV9l/BGamY7WxcLj3O411aEOYxzzZLVKM9LqdEEFRtOFPsPqAuHNn4NkAbP57O+Xjn/c2i5EzZMS9qzI6Exyx7IMEskNB4Fe08sEZ7gYlWvvW/ypBWN5Zi5CyvJdBYgkMnXeMFzRSRZyGJ3lP/pQ5WDUTnkQJPXuTreyFRth9x9nvz6iDNJlkszSrIdcD6NdCSJ+005UcRO35No3TyRpT/dTqfbKBoO03rxrL40ssVUcBkfcjh6gKhb2nOqkywQsMYAIy77dV/vhbG16pypvxgI++7Wz3yPBT0gyaZAhjZKm3f9iIc1UiOu+mfDQ5knBZJnZQUN8SzYT4Be0CiyEF67N1NJgCHnOC+UwxUfK7s5OzGy8xWPHkM3t3u5PI9kntWJuwsgL4UBeWF1PzBQT7vdd6qEUwRItnBabDzWL7B/Ap5ft/VCpSh4o7Fxx8u35CxHuFxNJtxogF2znlErYiHhFhra5DbkHbfrt+MOxFo3tQ9Uo7LJjXlvkB+04Xo15OXg4OgUl+m425FZWGLBT/a6DQ7ISstPF2ptlmQwg/hIP7qBgYjs+MTXno/qKYGhL4qfLMqJ2DLvR7ijiCxXjY6eaGxEY150V2ZSYBeeJaAtbTLLsOzu1kkPL58NYWfHbU2S3cnjLguX9Dc+y6qHtfCeK0hOQPxkbtQZ8VQX9RvwRgbiaEnWfCuIrEnpGb4QKE7ruJrz7NM1uzrwuRnXZ0XuUs8kQ8lTIHEcW6hov0IZ8UPbAijVxQU/34nleAaVnSjkivX34Vc6DLWNXjRamcdGZyDwGkAEM+auJovSucSBIHFrMS7/D5uzDhSjQH2tJv6IuEYVLJIxz7LwNYh0q/hgIE0Q5qWJ/53pkFXA/QeH5Za7TvHKjdHq+pXSGhvPjS4MscMK75ec0GINZiA3UQARyGmFoiQTW3oYffQwVVCie7gKiZpUNz/KGUa9L7eM7kfiYueNy2w3edrxFevdDD5RHiL54iMFb7ebh9O9lyl2E/qd4cYna0IARtihdt003kySCwFhYlyGjJ1uXjkWp56sbBO5+Po6dyhLb5hpnawygmL91WqGOBm3EGjCb85FRaM3vc6HAIXPrJIZH3ox5OXsKVuCivjUrA8mLvXV/6PA7F24XlB+A2rXNHOF4qRo9ol9FP8XNtuTKaLHc9Axj0vy9O+gdhXNXB9wfBrN1MPwsXVAsDDGff4ANPNCtnLE7PHZVmdPCR7id6j4CPzL8j5VouABTHXS/365Bo1gx99erdTZ9W7n9OrakDan9Q+PXXQgfWWfOidB/BIriMzB6ni95TohYT0bm+X/m/C8mqnIcxoXQGHqjgvGDNvV4KBQ3LilbBQ0tinIOx3obZ9qYkbjEi1pfxAmMaLIjHqmnWjkxZguKWvjZnjGpUy5t2TB1Tk7L8d1l6KFUzUq8zRtjwEcW/qlxce6H+Wtj9VLSCtYOZcLKu+t7WhOWGnw4az2YsZ+AbHgkSWHe8vbH3yfQWLIMD1VTYQ1cHBtqiAPyECsyg3zf7GYeKX7aTONKJlxuYORbb8xQIqCmDBly2f5b5DEodUeYO+IgwZVGIQM5F3gOkr+tee9c2rfHo4SsHlGW5YNkZhOtJNgwfh5VFJhTZW15oIpWcoB/xGD3PIxIG/0vLE1hEkwQNCtUUb9KCZMm1gF4Dv6nnRLy25mRraZP8dVBvuv9S5cpDDgnQQvVDGg9oVuKc38DbNp9OePj8yP6Bh2oxg6IoufAkziZCvqSILt+nhHElK92BEFMX/b4RuIjG0hlaXQ5Fq51y/BvMVr0bvT3owgh+7CCQT6Ov1dWnZZeCROuGWwGYQ06r/egZCoDUhY7dq/gcS62CqrSU0OKFg4lJ/lupdf/G8UNDVu/MOVo7dTqg0LqI5HfOcfIksLV3NU77f+OzaCJp4WxKQfGOmhw88Y7D6pU6wwtivlzbzuibboSslLyJKcBaxWbdKenzX131utVjniB4OiqF6VhJUjT5Sm1YI7QHHuIbTizuDHNoLsu67QCJWr1+fhBWYrbzwZtxJWIDJMZZJqEmCzrqLE7sa2BrJvxUTShxlHhKv5EC4E7kPR5MBCfBevt71ghvh3Eu9cPfXndT1i+BmEmdbWhpJE5lPccFRn+d68Mf3k4FbI7T331/vLyfK63h+gtMqm6kdP55dn0tTnUPSDs/FU+yRHFMGrS8ivQAMDELLraR+rUM9r7zCNiY01ukWT86/vhpwv0pkoxXlkWxWZTFLzNLa1JheHy9NUtyLs89CfpPUslrEMFQVLhUKUX+uSyYdjEnvvWekN5CMxB5Eozc9PRvQWgH33ljI/BUQtxqeAcZ3W8Mgxja7/MOSGWCjvH1grPS324icOpV43/P6bM6NYSASik1iov4XrpQpuBijBowNa59jN5wbs4PHQBikF/WSojmAG4JGd3TjZ2BR83mKgKOVCYg+vePXnnTWIXzGYlIFB0wTgsEJs+vqDymjkRMh54zFad6JMUsX9zHDM8ChVSiot4P+R0G8bZd4DHzAnZ047qV8H01hGP276EfLGgtszs4RqcI9SCsByokMJN1oCOC4yqoKqUR9bS1lz4XSunTrAjQqPy80gfDn7xpyDXWTW4f1FoTvMSTPzkwsKweSJl63yivIkrT6k1VFB7rbTeamh/MLZ8TBfMnwoGgkl1N+olxCUcv7/3dq3ie06vW+YsjPH9jpysmpHWxY8t/zUYH1DnF0iN38OH92nfLH3q+cdJ7bGEh1YJA3+MAHbbFbLVCo7eUeHB3CBrxwhovHYibNHK6j0Ax06/Brf/jGcqzmB7UcAuMWsgP6X/9u3SWJbobMJl6f6Rv3qwYYHhXzCZENv+xHIlqCQ8iTbNe5/rKTUpNTzndIr6Eu81LqPAPGLkxiX2Hg5vHtyE3ka5pFsCPjC7mTO9OEDol6mSdxkAqp5QGXxIHhjePlzSoIRxYhn9xBcMRzvH+ZS62ceRCNhC+MTU5PG4HcjFAJ1263jAYtoY0JNWpRCIy47UHPqmgxnD+XQI0dvEX33ZazZTGDtFyzvZC/GPfFuSe3hr4WPJz+X1vVghowvGJBRv0DxR8Gp62JSjltaSCHX0FvRG/6ThZelSaJh1XxN/6nmaN/avOss5fHc2FsL69fx6NbfTTaUTlm0D9ze5hK0cwZ+UcsRRtekJl7tAz+xbOzY/Dqjh5MjzrYqVBsNm3Wc3pws5gjt7uxd+84GKnXoUNMXXBhWAgF8Bz72vkV3TMQWb8EUEwKdeEw2ZPmByUeLaKik+EPxmKASWX6Y/kWc89bo0MdAssJLmfyIoexd+rGV8QR+vMLqZuRNK+esMsoGDsM+6GlU06Udz/0Vu/ExO+8vqVW0k4c93jUa8Ri3/Utviml3KHiDmKB1TIfIfhToNFQfYIptzQVwKAP4+sInGixv9/jTr2b2wtBAWDsJok7saYyZu4M6//8CtSWEQwttgq7Zyn+R5nvC7bGEfT5seRGCtsAOZ61E8rwPsLv0doVPYvarUQlEmQixzZVnMGGrX6bsQ2hlfuORkJq0EndOr3DQEOebcZo9tp9kANu+kLT8+9tbT7NaHBMMttonPPq0+srmsTLHhj2lgCJZ0X14SlLQtb4nXYVg8lz0lNFJbZRf+cra3ARVl1XBOJHTT45vdp9v/M/DU+78XfEpqUPuM8JSe+mJRyNMf6/ZgZfS1UOmz9+G5glE1HLBW/VbYLliepvrC/DSNAlOEl8Y7xY/IlpQTDFtWs9V4hVzxaTDmy4Lr/PMWKwCz52ckQAGTGLsvFbDBHRdBnAW80zqCH561QKkY+RjIh7YAwDt17wFjA3VC4pQR/xWLC/IklwtrNSiAFBOvRe0stpOlRcCfElZuNjX617ny9OXWxz9eYzTk6ps+IdPtwxF91GR2oH550SZQ77hCjJbHJameRbYs1sBbEJYlvkds4CT8b0gdV/oB0jso7F8b93s4s5O7AzyfKmjEq6y0jr2wQSvVnK3kC0bN+MhZD2eg4HROvbOPULcTePUW7CH7PRmZKTUG5/SS24RJxs4y2zeNHHtUq+meuU37IEongydPdf1jXcg2bVQrZhvfkZcnCD3WVgIGBFFQ8zYhECYzH8SJvo2DSxBYYBf1ohjXutxko+WBd+DemD0k/1diIhwbTSL97iry4qGUGhETbdwmu8NPVoUBMZGxYtU8WrCYKOM06naP/0EwQxa+lINZyAao6Gk7bF0HSAbha1DaM5hmLnABWhjTO0BhkbMmwb4BI6memt5dbKlugnSy9CP1JmzDO5wZaP2MXcQczv0TaFd7Adb4MaA02ok2b1gZuruCqAmfnmoeGeDg270T/85YSZNNCuFoar92oYWkVT017mBpvpN7B0nKxM0vlU3fdNBhcDWYCPe/8BcIYi2Xp7Qssw6gCoIwuw/+GstabjG+rY75/VJIUafMZukXKTzRLBFLvEvD5wibvSME4n95Il9yCbyBQjN7Bk1N6XOQM71mPcs7Q62D3sU8tlzVNz6HPkCGWyLgMKiJheJmqa3v/4s5cVg9GSJesn5Ws9qGNKAYQuDmysHcH1NR9G1ASIHUm1uYD0tbtpEBVDCR3RqYJ1YBWwX5vLhR7TPfsFD4GRfBd4SPQtwES7YoayxWfcej+XSyo9vPQMH5eP4qBAQenQ1DW6HXT6Y3XYQSrv2a/Cft56xm89Uv7UwEnR0RKeB5921CoU6JbHiQ9fqLVXYFzeAFQY9eV0Sh66/DI+USVix+RHbRftTXWm9C4mRufnGoLdI0iIgL9yUC5CrW3Jz1Z7Q9BiaqwlEdvT/g7xvOVdu8aF9iIAJxTs/Bgl7YOyi5olwUI5ieRjlD5+bFlw+eN+ELLDKr7DuoZqkb7B0XEjNvwsqOPWEejQkr6mXm90+8GnFEA4eE9ivkakqb7CpNVx4eKSSU/JPIHFMF23Fz7GvOYu3tDBqFreOO72bT6LygkWoM77qm76mvs8RaDmz1enSyN92I4Pzt9QnnRm8QS3zVFDU67ZSYEimhAiAN32r42yH9Rs4oCE8FuSRvv5PHq7xhYUzKmwXY9rtEaresQdoAJyPZWt3btA7pNWKjDaNGhE/VLEGcaGloxlPZIKoo8aYT4qeuuOOeCkv+n/acAmWy4O/sA5D8L9IuaM54TBAhx4d9zM8vHm7hVncsABnmt4/acjMwFtSuuXL6IvruXcwooBJix62aouXzn6X04WvHGsjt77qUJrnsNo7oUqgIJbnMkHrzB+wDkOhoSksDVwqqShhiUrbouj4PUh2O9ZHxl1+cCIPRyMG4tP22aAGfoTFyiQX71h38dw9E+tzssAh9Qlb+KrxgJA4q5cQTcIZvuJiyfURrHGaWVKUhjPl6Qt/1ZZfi2LBYD4L8p2yM4f4v3tTnWsqZresrZHo6n76LPUpU/iS7U/OBFrG8E9MOnGvA1Lj7SXdQG04KQoGMm+S54s4yvp1l4+ES2L/2sAS/1R3M1U5TXVrIQz/17wwWJPdSKgg5As7vW5CAesbq3bkwrK3DO40QC38bPP4+/aLAQ9O0Giw49M86LB5MiOt3REGkCX/Tm+duQDMQATvOAyefi1+cKYbv3NB1W21JfidN294TSwKHF2XYqtvJBkZKIq1c2EMwAbMGMjmE58FVoMKQ23W4+KIFvGZwxKvnqP41HohVi7xodrT7SkhTnfwQTINRtDvba6L7psCkcxRgvDJWUH3zFLt3VPmkZMVTSUde40VfO2uocSGRlsNWm+aFLq5wwc0VgUbGiENV4eurQApaU2HL7RkZ741HKK/PILeLumIoqHGsUMS1SiPslkgN+Ko4A63fscVlbq3iBuqGcu+92NSzHyly6fSP8WCtFl8gZ6qcyWjE7ayH4Ues0wc+v6ysSfzG9hC01q79upEj7oMvmQvbKamXA1tAOs19yazqpE+YzmDeJzPsqdl9mZU8yUOnm4WXUI4/53Gqgza7YDtX9K/1Dlq//8PrV4nqYZkeq6loRSnSeRkemeQ136LTrjXgKlzAtXSCDio8IX3JD7idSuP/3uqY29WWIXk02GhWD9018eSYysWMuMrhMbhnOFDkZWggNzhyjJPese45rc/8QKjGNRiOO+2E8ZkfZs6aOLK5wLJhsTie4Z699GRy+BqS6K5bGhIyTSpTJ1/F4NjhxmNRoVgUTOrmCkenYcpdiqz/1x0hLEiF2PIFmPfJPRVD5v19vBnrrms5NYQAcPcoP/7fIVVuEzwV9GqG8SVrHC5H355vCbszg8tnRausWUJYwNjJjqYca4S6UGuhRL4bRKO1xiRUPC/N+JH74VdoHJkT0OZ8x+Liegou1nLvCubRxYVK+0eAj0C6SzM83zrMrKwXjxiw7GjsMt4YJUFFdk1tIl8NbvNV706DhQzsbW4/AqQMD9T6jXDW5ioVxv5tWs2WyAa4U0TKHkqGVAOZm/XKpwfvnAlpBxYT/ydidChTOGeaSzTJbyE5Zi67monsDt/nSgs2d5juERgvvdqI/IO9QUhfcvyM7nnePiR9ELLVnKXnLhHxnjtjoso0kfNtYIcoVMAey05wCsahr3KU5gVJLqwwMUYmWXTZDlxmOnFoZ5rp4WGb0fBMIRYZWHbuTQ0sr5oYfl1U7D9VdOb72z7hcSDJnVG3/c3y6q2FJPsg/cNrsBLrCteFcM1SvknyNJ+hev9HS+DMviExUceVDmDt33R5p87gqOgqCVy/7TTr5GzD+jRcMH04edbI3aTxfNuaJvpCXd/NJfQ0sm4bLYKv77PPLW2YgeOMvFVp9/XFgQ0Qv5aSdcHBrvrMW3FdrKtmpYL5+48tBVOdVlxB8J4/3rJvyWSIYs/87pIJ+xELQULUuZFSIyJUnn7Yx2AosCuq9wfwOFfvGgNN63LnZxUkTcXDUuqGj8yCvntqOF5KVbVZUo6y/8JcXnAmNg6tzmtMTXzpvjENW85HzQTinpqNWZnupnfWVIimF7NQ+1P3e6zcEKMOQO7kDJedQKhJefh9iFDgkVBjOjpDK+qtVyJ65ojGVxXemR0kj/sNGrazouzCzvCLU+3Cipt1HJ7R0VXOARZNUcbzHOvQdE0VX1FPNSw4v11OWAt4vkCXsIMTDQdcw4GJy4SDjTHP3wnMRnpxmmuDz9PvIZIKXl9aqrFlOia5uH90VDAWBnms2IfhD3zV8qzZVWYF1gUGwF1QjN6icjf30sPbRfaCVlTBaGDIW5zrh5uuRxHje5YY+ON4+xKnQ8RGQir18H8kcGcfo83cx3NDLA19C8myzFmP6Xx6Gt5zrPo7nYVh1OW0YxCVUcz0RpRPgxmouunD1srlg75JTw5Bo9GFkgwlCBfEpDRaiVPgxcMzMigY/u6odWNn5zrRQtinZMsX8BQwIcH1ijcVfyA/uSrLhoOHCIruV6OV1WGc1kayxVN1gkrC9gvo9ReCsHK5qbB7n/+NLfYy/yZ4cbf8HWVpiLEgBV6clRl2eWZ1HDDn/FUFu8ol8euFz+sUjXQNY9cr4V3bDEoLRsyGflAETDlVMUw//TvxwDun8rhhMIwrSC7N3KaAYTXKBaQtM/jPMKtO6aUa9spftd8Y6A1luf3BWvwh67tXWozRYTUoWpdGdr9/QKhQCWymbp9Orp4QKWulhs2FD43guH8KNYWLa+ah7EuiuRMubdp539ID9QDaDpJWLYg6Qe47Ma25/A2SrUe6TTX8t68Lbtosyjm0KNbiOjkfN14X7gUvBLHgSNBy07Z7h0PNyRWnSKl6hSEPdJ9/XatE5mcaCtX+0sdp6vdZ8176Tm53sWqKP9vwOQbdKCCM//ba1wvdD3d3FZrhvRfwdE2agAmKYABD0KkhXJ7YpPNrK39SGxzZ6e06FRWdUyK/GnNQuIgc0/TG6ScUwCMNQvaqhI0nRJmW99SKwKZ7iLUU5hc2jOm9DpWz3uV/KM1Kb/5hYuzS8Ven7eC+UBUmMWkptf1cYO+OgAryqIPgCb2oU5M17BQIqqi39ICCJ5xTejNanQS5BDg7IMWIU0lridA1YnFjj3DAfU4VJKICmmLoz9qH6McFcEn9/VHQRWoRZyobQ8X04S9K21ijLyZEVU9sSa6pT9EY/CGr3hyb+DfgX9pqtTVSz3QWCMlMAsTwDcdvAuv6Ur8OgzxVqbDf/+vJzeLCNKIv11OzKEPYNGD6U2ZSBL/+b47ySBe/1P3B32XfxSusKSqxYlqHVBjHKNyQFbSBua/MfPhzLNCRw5YsMIDwiO9s7gZVnkuiPjBkB35hpih7GXs+mGE6AwDtck7+KwbBAJax+ZOX9305lNwf5m/Ruq5arWTJ0IXwZeXEyn2f7UONTUVSa/P4dd0QXuSElqb7BHI5fdAPX/xKX4eBRNFwHLERPZDDjD+boMIz1NH9apg3AP3eeo8XOlLp9uGBdLJklShtxEjWogVZDIjVis6nkfG6oIaeT2n/kHIJiWe+stdduFK0QDOHRNIV/bsSKvLXhp0oQWZ2KYvEdFV+O/o88/1Sew5Xh0C+Wn9mjPaLLL8ZIwXlt9NN+4lE2LRDTSz/zn/qTSVKcZB85IrB86jCSnfUawGE84TrTMqSuR2ZElPJWT7lDCxDDSTtNb5yBmW/3pC8MBaSTyJJBz7ypZHeq3UzNjpZxYL/oVgwR2/SSsq/UD4x09wdvfTL1BrAsyEH98WxDzWFXj3kIvU5aTK1aGFPc18w/V7ef1gyYJubi3gzNtuEFJ+2Aw0f5DaIINkOKhUQH+3+5JxRqzq4DdEtCAom9/u4h5gEz4f/Cve0Pq9NnQHu0aFj6zg/G7Ro2UligUMx5bgPEJ1aQPmVRMJceSE8VXB+Vj9alGd4+apGumAhyDzFQ8y3gEhH8qB19FtA7ljA/EuFDxaLxkSHC9UDc4dCx1cnp5y+EmNPOPUi8zIAr5Dwd1V6uMHLFv+zdc+6IpgYSJY9rJ7ID0eVFi6nKcVv7r/VtdJ1vqhupDnkDbXo5ced0Yiu2bvcn0CAogllqmU2OmMQ16PuS6fA3J4ibsIURmpMSF4598EUF1c3Sp5EZWGbWMOA5VEuZP8EJ5BmSqdJj3ZCxth2KiXa0xpZiEPSHkxBYmkOFUpYY3JojFeSH1y6gN87weRswBpdHRkAVb0d6ymnlf2zVq6ZRNzQIPFSL+Rb/hvWRW3OBPW76F7+Bqk5yz0OhXeUMatMEUmIrLf0//tuwVBOACZRf3XY+MTXjLL2lU7Z/MSgJmbbavdrbT+5ckzC7dzNmglVyPh+lxk/6+gHRhSbhwxLboLRQiqJhrh3WcqhtfX4UKLkX+LWbuLZfDkxVaqWUd2yB6HvtyaRY+dqoNKxVARgd7AWS48aWjuaAOzzHz7bzXHlW4REegRBv+Wk6+HtOlH0CZecJ2Kg/SvKiMJkjfSiJTm/bTdElFvoEfKw1dR1cJRsxP08dBjUCkKueG2uZ83ySSDjX67pesAO/F2bDXLnMC1R56LscwZzEkAqDymuayHpdMrGJAbk5AQlpGqQHb4R7rRU1dluB8BVkG7ouDx8007wzKI8wHSy8wtWWWCMnF/+IbcbNYiQsWrYrU/QlndT4uxIRYRczoofSrMquBndwydPLyORten9PwyKXZEAxMJ4MGYyfQr9rufNlun96BDvA1nNAvbbbXMlu6fRK4Up23HZhLqE0f44cmiHiysjhcxDBDfd49N+4eVXwFKi/7n4qKhpAYC8fK1e7u+SP2BEO+L/gT0zXwLOttAsgW7+zhco4Xawm4kEvhg+KzYpFOviea6B7bHao9Gds+NDzHyoQ/ZFXdjmn944r+uHo34Q3cHBN2DZStFm8BimsjqJ3sWiXPAXidApTbNouMVHdpwk2ztMYPlQttwY0B9EPdpXt+cPId53G+bmUP0h3z4IkC9r98m+Jmc28kfV2Z0Sb42nk/+s5qD2IDiOaaXlBzqFwf5YIuUIF9//pi0DzE0Mxoh/uxxmnCzrWrZCnXek4GadtrRglzE3VTDaJzDp2sZdqVFY15ZMxkkN370vLpRjdNLVX3NXFGgy5lNFeAY5TlRB3fY+IpZt11Csw0cRZqLnsRgy68SrJgvvKpi/QRZ0ZxekRHoeft23SkHgFVyRwe0oK9bysMo3OkzP0pnQDVJaGDL22hK3cFJ7Hh+Ha7w27JTcWdHipLR3ZTnuwbOOgmkWF767AX/rSTdllDuGTQohMBwzHpdsAlepTXBzovXmr9xwoBA36fnNA3M0XgBPO1VTVG0uRXhbuhjD/dCpqBneB7mNDPKyRDLSq1RbCNag3qpjXF4l+BV/87jSMwCkIXJogSnjKtebYYrqyCeqlAz97VNZFpYfoA0XJVPAOuM25cR6ZHha961xxBKvPHOUEcMgsoGI77Vw2ucuW/PA1hux+O4u7XLWGnUIUKG97Y9eNFIbVjk6WvJUme12KThjeEFwNKnJgaDnRtvtiH+5v/pbr7deKkkoZRbw1DruiZEIAkAZ2Q2Ma9l5iUSmoVkI/ulBBjdnhOaOZEeoFL80MjhjarFqiLswK7EW7aHhLSqVZR/8a03s8YEpcqfYgWXcB/VXJwIaDsNKXCOCg3gCsYAA7/oaDLV3wtraNlvbJIZ7ZfYkDr3CX0h7Pcv/XFmKAe4u7eFB4+IHjxk7rdGbmxbLbowUt+hSNphiF+V4VExz7RVatj1pORlvG4zGVdSdDdS+dB8Q3MvMI5NzhmOVB/DR8OR+VO/p5Wf2a/dW7HR3PqoWN0gjOid2z8wgV7pgMIl/fcSS7Uo5l84MNVBgL0BgRu+8u2sNUzMj5KHXJE0IwsHtW6uSVW0ezXkSc+SV3/uDeVDXMbI6GsU4XycFxSvamxoneAIzUWEy1v1E3VfJnUuxwcvniveefDfPBOPg4SWMKoOcG74BbxOD/Zi0q2dqQctv8I7bM0Kcq9dMwiHj4sJbwl86bzyqAQJSgjImuJnthHba5ox5vy5mMafsyAkTdddzNpTRDpuF33tBLeqj7GLemTtOcxSjTlqsfMBjuxtIceSMxHO2og+jzhIISg0Ljpa7ybQkHvzD88FH+XML73XxLH6pYBNDAUdUa24okEITKamPGbbzR7qmtGrj9aSpmq+ontnJOHZD1TBozQBGLyBfG/RPE5JHav6iIeVk13w8k7aod8TQwKHcFVYfCIwotPnFpljseYG0WO2AKcBIOgfaShKvH5Pbvk2+m6EAT3N4aueJ5B0SkuCPJhr6PyhfQx7ePpudtuQUvRJf/HNWeTH948LMLKbfMN5vgE6gVwgnJfB4BupCZLBD0auGVE8H4XMROlfFpR8joGJnypPSUYR67tnXsxoBGuHK+8+7gDstk+zrY3lMOmLpMCeJyZQg/0TMdSK9Z6FOJDZPfYZO/kVs+P5MaU2SFixwTmzyf0hGOHkdECocx20dPlc93yJpDpRlfWUPqUDMrgC6tAXLHDdg5IkvPmNi6JPtJh79Vr9NtMXU0PjyflQuVKEWeZCha6AklSXypF1SgiDR0U5a0OT96O+/V5j0SHCtfD4HQb/tEBbsgcc7EduE+Z18UrHKXPQjc959opCPjuTnHarR+CbAhFSdQCxw49jeUdVEmgB6WfXuQ9bhl9yyTNivCkm/QUrzNDKJPUwt0mbSsj9+ViaGSqb9gCVYd0Bvvjtr6Fcujjdxnc3FHmu5zaTUdpK5hz6G9cOfm4s7klMkXwjKlbuArIRL+FdejQl3JIzh3OET1WZyLzBDnJNiyX2+re6FT+wqt0IyaTpebk3iIKN/sCuoizV74lxJxSsVHKWkxBv9qX9w3hFlR9DejncCNQOf8S6ZjNyV+ElPOU5Uj0g2daGW2qdvU9alg5SJK41Obb8NS4jDPD1NKbXifOqj+R+6W26iv8jAODcUxvFnh9HncHpq3t8N7v842pc/g1Ezdq+9Jt+OHXY0nHVSzlDKWc6J+e7O2DscQqwe8zgjwluzwFzWfI938i3H16OijGhh6Y8KMo6laOnde4Ia3cx3P8sKLe6KR+WKaanYeKFEcV4Oovjw/g/tlc9mGIMNx3jNRinc+fJV0PQtSCTOQDjF7dfFxt5pGB25+V4irwrKaKQCb5MC1Ou21FDGAwGsLlcTccIikIcKUX02hv8QvOCbHY0txQ7CK4OycPMc11kxQSTznUwgpCg8k8d1ZxMQNE0BTletLcWPa6vKuQJU4wMwrHAPqYwrdEwnCJqINd7Ee2Rq7M2tOrt/EHlq2/1u6Mv3QBGEhFU6R+Km3shuAmq4QB7Dp55v+rDbKhC18+bOooyNqsmYB2LVos9WeZKnIWn2MDd4+yVTmfLH6sdjw6GgLgHMH4oYMfzzboJWBH/BeBp6VJzvO+nw4cwneCg5qmeAOx3tukAVM95Tc7/4q/iEoiFA7SaWcfISmmB9O0jdjNOlRrFRVPIRBVzFE4gEM7KWc3zVzbHjyoOe0GJvo7CaFaDyvh8Lw1RTjo1/lQ2l+74cziN8Zv6ULKeYMH702fcc0fYTkhF7c1t7xHthSxyaTGe8acJ5EBlTGMFi+tPwMY19rk6zrbNOpWftYvVkflqXeLVIpoBiM5vER2ujiUuVAvjmP9213s1+aE/Zw5E+473b2piilJezmMqMdqdRDno5qdMjeRueB8924yJZD0558/Fnq+D7cU2QtDJaadhrYhjnGdrvmxhwYgKR44x51OoSO15+DOF/d8d6NR9i3I+CGehUkwD32NQBKzXkrL1DAZv+lCZ2XZglfFp9MRILMlPL4h1u8TrURn33boK6n7OJnCmFOEpUu/MgUcCxPNfroxAfvTZ1zMkeAnQe8WvTxaJB9ZJCV3DVAPPAMSSwFSyjeVT45WtoHz/lsGXFf2T++r8Xt5ve8Ydvsf+r6g1WfQ9lG/Voq8whmbeCMRpZuJGVdZ4Xw7le9NOMb2V3A1NADFkyaQNnSEkQkkC5JgGjykLkYqXOLn2Ai6lFLVGqL0ltpJlaHuEAewXLvgDFK44p59oflHF4zVUQKbh9uqohJqJtITxpqcD1kGg63kTcgIDTZcnv9ktu4YBLZt8bZa7ZH5KMJGUelx7S2qHPam0HAT0pGEpeD1o41Vi+Oopl3D8MP6Q60ZHr6nOZU7vYasHy1Y39FNuXihts2bBH5gXTth5zFsdzXKi0A9/tGKc/THzpqP4KVU7DXjk7FwHLVsrX//6RUAhx5VFn35KSnNRHd5RLiBWqPmlRCF3hU1hRyD6lqj2ivyLBYzhwMVWIhXgfGYRmmKzbVMfeytjAaUcdNq2t0kRHAC9DMpfWhGl/OMynG5u6HFR9VWbV3gSbf3fWRbGWqtD2kYwLXc5vl/28Hhldj6QEsvtk2PbCLXVWGAXZjs+m8LKIYFtiUX7aRTXIjkUrMvy9Ww3sjKxxggJhJXHkP31gwf9erwrkAhzubBeZAAo//4Vw394BdKLhlpkSu+naGnoLtqpRFF0EpMQpqFkmg1lJAp7+KyupPxzbGnD0Ke11z3yCgzksLrqrh//arQyTQJittXazQQB6Yds2m20qWDlvukJxBNXK5doa0nulbKwGNPCsk0nHKHVC/rvsmbEvUnuGt7kcYX8Nmiq99tQiGlBqXWMeareSZerdoUP4lD1W8bZi1cGjQ+CobjbqjjiOjtPbh/KjQD/pNM+J7WrsSuEMzbx0MCTpQsLn+NJl5R2d0MSAZhdvDyA98wncLIJeAr3pzVjJ+OM0FJ2B68DOsP6Aj9hC4XYL+ynqukveBf0BUb2wdh5juTh+OTIkQ+RO8oJObNcR4Bm+xE5OaNwumbw8K7bA2mUJR7gU30PSoj4GIBmY5lqxrH2Z/gT2qg8933SIbdatpK/UeZhS9e8+S0lH1sT7Y8kxNc5O5UFFvsyL5Yn4kEkEy0egAQQO9JKbyF3ggxKomigmwre8APbwOsyyHNf5JrhHCbN3H4/NN92NwfmCpG8YKBGZ8EcuUKGK2kNmpz2FaMdfHZ4FGaoM9mZ3gTcpYbv34a2etltIjMFZLvQDbOVFnP0h6HLBrtLueuxRIU/bbLJxdPmghCAXtc8Dvs+kkedNyOvvilvDpBsxqoRO7j0cIiKNvNlXrTHd8j9g4m7svfR3PHSANoGQ8pvAa0gAY8Qxkk3nq/9Don56FixQMGy9/fnzqoF1yWLrZ85qO6ZiqQzSiP1iZATmDM/cyOkCRQak1kB3VmNaukBM4gx2TYNXyiSxbGUw+GGMg3cYXQBXQAKYzHk+iihBi+Vzl6EFZLMSqeMPCJ0eUr85ilrt8Qqv1AapWgOkwzB+p+tIIv5AFEc1ufe8kPalrGVMwWifkeyyMzXygIUU19XAloDLQEoCfnM2qEmiHp1ItP0eajGuhRplFT/W6US6fWH0IGKv5VtzkB/OjSTHYlhMxVdYmOl3j80kDUlDc4+s8EBAFy2jmJv5IbQczlIEqZ4nTGX9PZX9fSklI3y8IbrDXs5pZ9AHEiYVD5h6rFm/i5Zf0mngS+334giKASV7l5d7AjJBm+PYsXRdDC0zaQwRb4YCdJ18Pt13tNMMKm/vs3/yQL1iChBGDbvfq0WiMP/r95aknhYzHbX1qAjn08mkdrBPon5tJrPtvB2CpHx89j74ly7Qu4JBSud06gpb23qjnMGZDi6c0JojIqphInAonWCIs+yz7I0HFk23Gsr6c9KRjgeU1fUS1o7o5WHUcyz0DuXpNdZPYRwzoiMD+csK48oJnrO3v8xPhUqnk0JPrInZuaAe29jEouY1ccv3HlSHBf79XLfyC7crPH0IVwZ27a2sijAOBGpgGcBFtqmBGGN/120mT5kEiqoQS81rCeVXjvBp3pMcy8c0bGeEOUxNGS6zMF72V5XsUjfNkybgMnjKk8Ubq3w5VtNK48qjmwDl73CzuWtm5dJGtFCKMNsneegQ9c4Q9Njxmt0yJVltInKGCqqJxBgZiefvA02T1G9arq+9aXnw2drOVz+AtfciT1CFEQ3yLTQ+GXzCrxAYHQsMQMZv9p6SaKB5QJ3uRayqDoolMa7ldgrAqAkIf+8sdtR6qvKLLXiiK4IJe4pzmMpufIdXZO2e6QxVggf0jj8KD4ZoHAexQ4zrejHokKhQuC7ObqXDH2owRLe+WYQSRMKFud1fqRczlw5UnvShNk1IjUtNLUQjvVWGtqB1VzKviersZ+XqlvN3yFSFOro5L4UvUeUBcX6ChcO6lkktdH4tfsSawsjkgb9o2CiF9MxGZQd4qiwpAub0fWknI6CWqUfStHNwhJ9yPkNEJsLD7TLSwp958zoLj0MNmBiDG96tfTQX0dviifF3jKPOscukC49YcMF6JwcL6klLBcZGnt2rGJPdEobPbKpdWJbNIeaA90RaRtDtr1W/+QSjWSC6HsljAEJzRiKkEpiEET/XfBWpqBvZ+K8kozi6NdBi03RYDq8kLnsOyMcdXfFeEtY/ZST2FQUCiYtbzx16DT6c096FmzNIOpOZeG1+AucyNgubft5frj9hIi4fZ+Ce2BhJylF2iYiXf9OdsjPWOKRmySGaDn/8EZ8YDU+P2aGz51Uq07R0yK2vEWH0m2STH1bE1HZg4rEer6zzZKJioVTju8AwvyuZ8hmFOGNDHJcmtMZmdDa5cSUnzHQZ4CeICYCRJVUfc0D9TvXUQ+q6k9kx6MvAinFWK91tL0KxCcBEuK8hgRf/+g9gmPKWwXqobZIxngcanVKnAvxNnRJxMI5XfdjiDMZjL4IBruVYEQ8JCUUiFHyKNL1zC+gLyJ7EiNZWcWNJhQ/R5VWL+V/hT+D2M9f1eTrwCi0po1kgWVORobkuCP3u1ogZFKKVIojjcMIWHLn2qdnvzyayfb1BRQQyZMvVoSu3OEqTtsqcB+DzBTgv43+rNeRscF6qafd0nuHty4jo3iQTltOtBoPII/AxQe8Hy14chuYyZL7INC/Xhsf/szLa24gNZc3qJPqTaALVUVI3QTDXjrQJmcB17u8VQBVut65PtY8WS3viimkMXh3WSzJuRmUjYrOmqo6PosKPXW4KKx8TGnKnSRUG3jm59+wuJmuD4D+vczcKbHBeaE1eJ9PH2jhWSjJfcNlpmP1hpKCpxRwCtJowW/4PDnsvhCU5S45/1/ygs0WYMRrZWNQra/jOW+aFodoh0I9u61KqWtbE2pYb0om0ZYZMOWJ08q2MdkMAZzkrLnUxXOyUN2Pk/eLWLP6CMaSJYqOOrPMHpI5WkOSO51bs2pY2D48KRPKLnI/E6MUeVoQIAitOBe8zbFoSCNvqCOZZtQ8zogHvdGzO0x7B9SJhka9cA0sA/mBq6fXJqU7YZDYf1fvJ2LJs+DOgLWzF8SGFLtwBLytK7Eyw8nJfoItyvV5pUKIfJUId7fzrjM1BfbUfCeiXLw1z5EnAU+dJqMBDv1y1QpPxlkXwL9ULP5alyfAhf7m5mmcelJGbzJLwlI/TQnwTqRnCryPASkhrMk5tI4jjfgb0cz1UdjwrmoTbLgfnh090F8opJ2Hjlfmu3UYEYFj5e1Id84HVkCKR0mGHMbV5IP/fV1VCB8zoHMnokCXd9JYnQdHLszalJMYIrr4b2G2iC3/6zQNeOEC3MMhzZGTGL1GtsGIkoMmJTgZ8ac21+3StF9RW0l+Or34xPxZVc4U8y+Rtpry2aJrvddYHz58XxID73Udw9RmBME8L269vdhdcVMP0HBN8X7p4YBEIfoLbgnh4tIkCZ44iN8wSk8Gm3DZIOytRweY1EHDcZ4soWqfro3rrReaZYcoZFOmYxPSbrHjrGUiCJeINAEte5AZTotsiBXx6TESw/2s0vv2vZJ3oTXJMTPadTSMTqJtAa59f2X7fx37Esd99nNuhaV9jIyOZvkzP5dsK6ZzNwaVqUqxdbkK4WKma9fN2nxRjPI9qrnbiEFuxlgW3gaVB2G0tkhcKlxcPJFCUaa2F5uqAVWx3Av7H6q5sOL/rmWQKhN74CxNDV7qOXVh+6rw4bEBoaDCgR7hlrXpuQOzdxSXXFx+eV+TrWxbkS2YjnF8yAor0ClEGGYEmMAksG/fVscftQRandqwDcZ1y3K2mS+MCLx1GqUUuDzDm+y4eL1KPN7dc5YU3jbzVTCk4894QA9fKknddGg0lnvw3so8qKjvvTw2O+wiDBX0hQP9keIdx9qr3EUpC45upn5liOpvg6JDK2s/jEwOe/yCqN2k5vM85QQP94uIBE7PiRcuwOn/5xiiNubuEHwsTfmIDa5rus5/wjGhPGck/Gf96fPe3X5eHOmGbOMN7hYWX5ork+z2Jzcy2I3hmeer+WstQMLB+KFETeKY70kzL8pUVV0OC80BCZ7O5HxmbhaLk1/Mfc1RZosZSpDMRbCWmksmK0eXxZvjKg9VX/PymAvcV+myoSqN0GKRkfsU75nQr/06F/mp/BWJSYGoWZ46tcQ6YrZ2G6MEHpLLmEhf604p4IlTKJMkBLofZlcC3hE9aJLektlYOUh6xNR3NRFqnyaV7b7x8yg1Ri2wO2iF/I4B98M3oTzEK35QtCwFhJarbV5oDu7/jc7dFLkD+sDx6vZ5wMm3FTmiZSxcdOlP+79yDEFIHoT05EW2ipJSbsJWsOUN0p7yKwPmM4Q6CjyPC4cHvs2eRFXxUeN9WhMII+/VhkwbVJEAWxminAxtEFidmD7/L06QCp9lhTxT9mvJFVLU6gRlZzEc42plWVSnoywFRTrRlfo0F7q9IXuT7sWDi0EXRATiNk4PrqEc+xF1e3p6/7ltluM9TJmqqsSlvcDQVH+IuaaWwb73EQkPBv3cRQsC//bhzIUMUQvi820Rk2TveW00SWQABOPxOVbtvY1AnuF6TynSb84RN85YQairy2Iq9D0Mp7gpHvtfglZoVVcepT9bNCE+4xmDHQa7EvpZM21Vx3g6QIQ51EssFPO4v0Ia01aGQKDTivBaXxi/XakH0AVXBaruc1Qmp0dHkdtVeRsVOxCfUH3BMfjHP5MvPmO8ma4jXzlUom+e+jBv4MzKvlbfNOT/TG/9EzRLpGk9EEMh7ikY1r3CVmRl70wbOj3VB8w5a9w5jkH7HCqfZv/zIQHmiAAr3npxO85KSivWZcesDUCPUeuzHRl2sHB9E0ATgiJ28kj4/pZqQHzril8opTwuIDhEp8Qz51paTzwGJSWrqlPNLvpCZY20f/URmF95WAoObFSfO1NPxtCDYIhtGJCzLSTJxNCd8+vU1Qf7IB3A5Tcd8xOHKk22V+TeN8tbtNKk0t0VlQkEMEyIKQ6W3MdM7oQzLbOJ9p9N9bzNoTjqU8zg2iNhzB7qb5MR3dUSAbipGSD5whNezm9I2M7EqkBVly43fqz6v/IgWW1PiVzMH+xBRNmKePuy5OQfe/c2I1Ab3aUQUf6nfkXKX4VSEylN8dQX2Nqgi7azjkgpMoin0iVVMQPiHwSq52+znFHf4k9JQ8iGyFX3HTFtqAbDNYEoNPKsUY72FRo0Hwuux6iOU1VkzxGIj33Y05y9EBvRqG3vLspMGx+Yjmy5kdqoEEw18JoOJaMHcnYgv/7G6pu+w0Dpft2iPhUGe8R5ExRndtyoIQneMCxo7KcRVgvvrLo0RxRDsn26l63pXJkO3Kwh37gejl/MH2KOM/aiFOb0OnltQA2DkCSyNFK1qolN34dYD4ZyUiss41xB+JKqO6eixJEWUZah4XJ1BIErU2L0zNjVWw/eans66RDOVDeNHFDaA3e3YSTUSDnd0QCY9S6G8L2eZWxrFRDY9WjqKuhHHBcIcwfQfbhUxmpsL+eZZUe/F4yRyNoQPKCXqQlx7UWDTDdMIvguIl61R4FWp8pCr34AEuT+poRjd0hVYiDGqJP0rrWj6Vkm6x5bnsehPLWs7SD6+yiLLkLzetwQFJ2qvGM9N6nHcVjx5YFF3zJ2Q4UT1t03BAvnkc8NZ2O3I0pl7Uex8MM+6vFlFcnj/poMTMIGTAuh7d/jIKybRYIPRXX1/PwQxuEfEnC4ELw/Dtr240JmUVNF9Vea9k/EAZPrw8aTHdEzmkTgmts65P/dEwdFEVqcC8scD6bLzmiX9zz+6W50IctNtNU1ylX0SNV7cs5Ul49X5hxt3JUzbVBz3C5M7dFuxAf8JgssVNIWBUSg+MOc/sS4Ae1tBqzpIBr0py5Vem5JrtLaNMK/y2QMuHSCnaQ0edBpQFwiVKHAK5a0uUmBhJ/x49TuWU3M8tKf2Gjf0qcbUzG8nkRW5RQBofOVdb5wXq5I7gyQpkrlvyAZGmPW4I+K549wIvT4LcVphhQIXN//h1WZOKkcwwIT91cpdslOX17bmd1o55bT3jdtL7mjwmGE4hDPF+jL3A87Q7t52UMsG3FNl+ynu/DkkTiWCLQ+3vBgYQ1z6ggC9EFJWTtIbBrY85mnOB3blspmCdYhDlIjUfB8vV4d4oVjAoHKO09Ck9tTJux4IqfCOMXNGnFWdNlH4/9kBw4O0Onmz0SacGfr3phU4FFMjuTDCXkAWnpEcWrHgCof64hgZi7Z8AQ6DjiQaSwl5LOn245M1QZDkN9wqvS9XPg4ACSUHHT/NL76Sl2kIprCxQKHMhb2sAvJ3czaLYvRfz6muwBKiMMIfZgE739vmnowY9RU8jTY+0LAwgV60gVLXIj4diDBLI2hnFwg8l/1WxOJUto0rAw7iRgO7Kcbv5d/6CH14mE+sYYpSqusW/QKPoW+gh5U3YDaGHFUqLYu3DiLFt0A0NPpO34bxHFUzbPQHAq7BSt0NRQOthlGlMmKGR7991yTkd2aYe7nF+NX2V+EZfIc4nS0Y64dzMZLXEWTv2OxiYaArT2Sowx6NA34SklSTzUJ0evE0twixJLvBUPitMJp2FAFCMkb2QBJRaOYYQQQDrncGXUQWFaDPAVMjBFklvWQLAf5Of9dGvjh+0KB9ZMoMXONQgPX2PtyBY2az4b+jx7xG3Y5tiMc0Es440xqjPMs17zdAxZRAuZrQ6HAN5mR9Diyp4495qb79+L300P2W2l7q+4bB3xkca3IsPLRh/ARKQ7k4uX8rwkDOufWFz8vdyvdbYAaaj3t+klaZYkqnfD+d1uZJbvuzaD4uMECFvELlcFZiIB2dWHVBGBYkH/SISasxT3kMIbiBtAhPnTXhhwBkryV09I1/FkWXkDP9oWE8LCtQJ+IIJQJ7nwQm/Zu5ZJhHfk0pSTq5rUNd/LGqQ0szVUa5WPh/D+fnLJb7E6NhanAMgQEGE3xO56fmj3XSoLTYr4NgGAR02jnp+OnlC3ZghNCpHeolaDaqDs00QkzorR/DquyQnGvWvCt/IJr1pl+q6dNQVa1FhgpUYp37l0bBNtnyHlU5tMLp+Mdh7t2X2VF8LgitBnGDamfHHyXWRMrnjhO60HnpWhRy5aYV12yyWeJSREX0Vn55as3jQo0ixLuhNHr69RC2jfvvQAjm4N5o66BUhjazlOH9+Z1RbV584hTrsJefqfrIyomgUb1ujSr2BTqFIRvoEm+TnwBpyVYbnVHgcx1PEVDkKeKdYWWsWW0yEdgMmBYp35PV/hF3bY/426wQ56M3ygakzGpcd9RBWW1QGCQZHrUWrE2aZskb/2KR5BvVrMz+tE9ZiW/pwcs9XddmRc4289C3pzCUgS3QKUOxvRc+U6XHbEAdA8fCJt6ZxWMBgtjXUUOdFVAyIgwwxClSccr6hvo16Su+5GJ6LRCt/fnju0OEyS5yaaP/xkMLfjhgczAWhRL8fkrCOvu2rwNTNFOG7fRbgbHP28HTkKhgcO2pnVn6g79bfLUvp78BWMXS7doPCl0xbn9l4rO6bb27G5+67LTiWWr2A75SJ3LhFRZA5CgTNn+WMXTsCzCZU6ece8UB71JJZVpuyoHcepxwB7UhqDxAFKQwBA/YqIleUPEteyIfKgna8R+jMN63GfejO9f9jCP2hG50LWEN7J19jyHMqgaLDxcLSsxvTfTdq2L/sMKmhnxsZs6tg10GVo5wpfdUb/2zZRGxz/UcE4oTemTQ6SHvW7HkSw8rxLagNzovGJpAsuDM4ZB9QQEG+/xgwoaE2e+LTywCVvoqyNPj2Xvp8OUo0Kw4HwpXfrF/GX2l6DzwOZlkAFhv3WESD0hZgABGfCvfddj70eNx031ZvLWHVYiL/K5xXOvL31jlk1nq4+u9I9lIp/KDERd4eJ2NDTpSUFQ9fzX8IALsqMNP7JJ6TpmQTA9mQXwiGva6W5SsJFP0O9UO6t0rMaywwVbXHM5+HLrd6qV080VKlnb8gFvPWKRIVVf0p2HEzUab8wI9EOuQRNhFQxTUMmbhRLQQIrrDVZUj0NfxmqEWPbrKCpBvD1d0fqxSaM/E54eE52tF8vQ8siuezZ9KkNfP/jgNSsFpcmkzwsKF40RS2F9r/P8Xm7LKJqQ6ZoM1oxspn2EuTUgsmqvtjCWVyYH95geX5hU/Eh0394KoOeJD4b9g/07OdX1iETRnEKtpJeI6slyhNG9ASU1pv5Ifrj20+QN/aVvs4eW6Cp+yKwX6SI6z0/PlA9I2TStD553YNrDVyPYArJce0PI2b/w27+GX8MlHVApLH3MQvkhJLIXw+YtVA473dD9Bd/PnhfWmP6E1T0KBxLc7CFpmN3CZhupIt0zpe2lbfYVJub7dN+yIZHjpmtEB+f34DqfVjQD041hzHmzr6hW0IyrwpSXb9f+ubvQZGFdhoBBQEJF73x3/VAMBQgqRvxsuCHzI0lCHotLwcB+2mKVrKRCE9jVGLAU0P8zSx5uHpcLVTHuMho+zIYtmoDkVZ07fmYVR9f+KU88uPzzBM/1kSy3/IyO5QyFnetXv8TcBUUxfdpCSKCwMCafWyk6TtDGuSupQM4skAX52LtUUjUPm5js/qjcRw0Xx/zNQIGP0NSTmgKHl7MgDv4u6fkZDz3VaSoOhCcAxwIR5YTmtV6jatY016nGxFi4U/VTpHEtrYg0lPeL/o9q+sneaYj4p9nGhrjjZ9taK4FdQ9SeIWTtbUvR4C5GO7Rk61y61taYzmvpRbQHnaY5mWF3CYK3RMqisgxff7BRZ8PB6L8TsEmGn00iwL3rXuBQ6cWItTxfWGcpzZT/ZQGTza4HnNr5b0HzSS+q25AuUabLoNPajiEbiuxsvoUxKZTr2r5i3RH3UKMGj4KuRMCzZunmuV3EheJWAF8q5Nlnn4t4Gag2+BKPxtXQ4JXDPyh2KeRaig0bva3JfXveft3q8SCg6n87mWJmhJLzo9As9M76frzr2lU8Oznq3f1UkkW58UqCWiGVUqMafZXC01XQKVfJbTBIwSqbT4YN5vN1ypQkkWhsrYxkZhSmOxC3CYTpOf57t2Mp96wFmyD2j3yhfjL1ix0njQ//FgCoG2Abw8BMK1481ngu37Hyria4QBJRiCRWrBVaE5xrwdPN5i9y4u0zZqZXGoViwgepsn/OrYkPgtIhLW8EkLSlIVydFqmnmHmqECJTtRowdrqnzL+TLZ41IcShIPoc/4DOOdih2ONCew/dHWOxhTGTsjM09sZ+BGFMBqwCLNZsC0LiNx3N33Gnf3wsNispqIlsUfbBNKzAT/NvGRqYSs+r2bWUEMe8ved5RKU6ywFnTTqQ/Qlt7cbmqUj9hxLftztMCWwvAKQX0p8jyvQZ+gXW/2OIk2mSutjdjCPmqi8zV4lYY6p5+t1DF7HTVkhfEH5u7ddvJxida7Qq9HOF95ipwHtPcO/0e4o/g0+zbXwloAvDy8Jd9WTZ7yzhQxEIv0Cjo2Pm4hUjv4o9rkrHxiakkoAhdS9m/DlWyUJWBSaEj3E4pKvrOAFNdesvR806mLSoN/cJcKvAWXXf0YW21Qxiz/Og+DSQTqJmbaHj3RvWkFJcbv5uKl45cagWyhz3GeqeEvhSCVABNLOUMWA+RwlERyCw7VnZF5V19hOf7n6rKdu0bnhOxWP82AeOpW+cSuu/kHfnGKBSZwcoIeOFJnw7ceea8WEvfqRDptwFNFkwBTKTZ7urvILkJsFR8yr1gMZfwUQECDo9ZXzrlwhKfqK+Z3GqC5MWitGKXBHln3C8A0dZf5sOMSrjPmsIoiFgOgkI9MiYr6qp4OfV+m9uoDftKA8qZkYCzvTO+6fifVvj9zmeLXFMaYgu2jHl4Cbj0uukKdzZELClNCQc2WlRMxBAaJvyvtGeeb2/Vpw09IkffrvMfhA5AwRLC0rR4mZbCz2hdpHg7yimNVvYJNSXtGz67LcMhU86L+2QjEwucWC4v6ES3OVSJhaEOKfo1y53sVP4ee25V07Ceauwa33uvtc/DrXgIxBn1i39P+CGFbeyxKvDb6HeG4NAy4q4GPOoAkicM5UF7G9SveMuLL7QUn6ZlqcTn27N6VszVFKN70vgYijsg5IMFNhc6WIMXrEPAbqiZjrI1PEM0FNWd8f5+LrZ2I5fTaWuobWFScvSehrbwenPyT/FOhoLnK0Yt3V8eH19SNLsmC87wgXgxTn98LUZnpm1NjsjANzMOw7X/LUSNxq/+j+SCyKXD8D4tYtcI20/qBjzBXDDuu0VRmAfx33rhqEgP4uoK5yxe86W/M4PZJDsprbCdxXO4RrY7NK/OO4XvOGShcMICwyzf98cnPrEQFa2KZdVZFr6iG/FOVhMUGJnAfEpEpTVJd1XHBV9HFZuAkCv4qrD8tyR6khHV/zB4SEGCOKesMuHAGlyWhtpeh0U055lr+cHIAL/WBD0LS0iuGuri+6nWPW/Hteql9D35sp8wsp3Frl8LnW5cPR638gLFp2Y9UFeZNtRBLuWqMXemqB56/ta8s+Oi8KxRZW1EFbMAm1+XY7ANtM9Pe2hwksdaRmm4izReJtiVXmYsQ9/em1bFcok06EY5FV5Ig7GbiU2qKiUPrTYZWfuaespxJB1E9Sr6l3tJytB0NEFiiccYLVeiVjcGFwckSm6q/CwtZyFLtvVaPylu7YzxxSxKIkQhA8+YFetObw7LNBelInS96z6qiY+YsKgpf9H6/XzgI+4ErmFsuD8/lmJhZERWn1IY1pPmRtaUGAES3Q9vvlCTtU5fHxgXulZr32r+h1ZIDT4lbd/O6+C17E+KNFqIC8NljcOi0kBUgq18TWbzbZ7rbRRWAoIZ7p7ChwyHaaZg7GeOoQp12OKgzt3KtnekXLyjEuXv49QIsXEBq6V8HZsx/E32w894LtjelbWQgZ06uPknU6YrCCBzJRgQdH8yhy+RstuXwXvt/LkU1vtXRq2elk4aYJE1ilSkqhBVrXDKBHCSOy843vNxr2s9pomVE1w8xipBtsAahLTrLw6u0Z5stvzO2V/ia9ElNcoVWUzpCSKtY9vF+AP/cruU3+MBJxfTjNzMu0PjK/2vVizdt9DGDuS1j6DlQ5x9AbbdC1ioXox7i9eeTg4L+CPuoOKQaj8dVEWK/1sbB/uEyXaM9gAUhARVn97ns+07NkfpQHOt+RSv2H5wH9WUnIWFaAVaMU5dd20SwUlRO7TeYl69nx0hNtw0x0Zhf4uPyr0HQyO2iZFBtXeK9TatjDkuhRK2DWd6zMoLKd8sHflF5cHka0jZxYGXMuWL9Dn1iT8knLKoUkQBoR84feJgGyP8KXns4LI9yvqhLltUA45cNLKuspjnl2CYNNB6Asakvs7J1Dzd4MI52bE8Z+sl5NSRbYd8Z+oajm4cg/gWqxf/Cn0n5ABKlicIf1A/qO5Dtsa2x/jfNKHuO/cpTE8nv+CEVxdak2gyMM03HXVG9C8pcHGoTn11cq6BAUFoluloWrN+Ilt5BFRT7ewGbTxyi/vNVwiukrOU2mbLaI9YGxAUuVsHJUtnX9tZXJ6wIoyj1DX5mwh0vHq6i/p+WHmL5dG0baWgEDG5fLjNeFQiTB0J6iP21ANmtf2p6ii62FIiP5itr8dGyF0NxjGXJ0DWlYJypkUDx0Ol83lJBywMoVb2ft0xD72PkT1NIN/wSd2GCiIslOwPBf+92SajStQOu65XNIIEEGmM7HchPt5GDVPqvj4pXPL6pzO1ESwFYCcTBAe33Ybfzm6xagzIrKQHOVmmRD7FMBAutpqdFur8ip11LjmrUg6+V7WiUZ2yBX9y6Gk1wskYTgdiuQTMDbbhv5kzkFqu4rcVXif7kf0+ih2Z2l+/8tADBlF3rpYXUBMJaAfCNiMVJTyblJpmPJ7QRYT1sSPx5/jNYYQj6ZaIB52HNHKPRxMd4uY/17WacTwcytWCb+ESGJZO+TxCv/YxpcM9tsfyoFAyr0IImRePliQnSlaQkjFA0RqwjCsD2/Xgn7+8LMDPRHmyDQAGi84gDQ1L3Yn9EtIKwODYKiKsVUjaJMskeoob32v8zMq6droDwDsENOZWY/v7KL5QtmiNmG9QHQdL5yj8ekFDs30eHsNln/9TXlajBdDo4DLc+4/O257lk+V7c4jRLcRkUH0FGg2f68x+KCKz1+0VaYVbXHLRdFYNyzwL9LJXbCCTEO3oOjJcb5Gm/E2GruBYyP9w7iwqFzaq+1c5YGzFlMMFHEGamtTC5BEZzJEhq7wMLlh1avf7Ef24OxA+f15JEs2PvoWtUqy4HJ7eqphlQAAnZnmk3F/MuzJWE04YnOpbkZb6uPzCfwxltj0kIU/e7OVDraDd/rudUkjYUq3K9phLAotxWgnVLR+wgdTbM1DYWgBle9HklqNJNAyvnibrCzBJi9ks8GJWxmtdmbZyT6ZPjzLqN1Ndt6Gkje0uvK7gUkGtz3DSuToGN//VD6XVdj9F710WrR/zIA9Yi0Yd0MbLNGRAOTUPEgsU0uuyrWW0ins+4VEGtrAlUE1pAdzqU577+UeOB/+CSAOe4HAm6Ct5QKwL9YfZ1TsZfmXlpagpimb7ARXJnKMl7svfYU9y8IEkk1O6PGLcPs2JCxsUE3EwN1dDaUifktgfNPpQk9c8NA642OS3o+AE/hQDyhfCbSzgd0qf+0gwo6m6SyBb3Tcd5VbUh54vms5FqlydmIcK6N2rPzR9hRu2BjCqYJM0h8UuZhZ6B4HrOMKRK5XU11FhPUbdQxdYh/KSIaIr52wKSfEnTmpZ5sU8mop/99dic0r7SFywue7ZbVVK+fXhRgJPtsPIkmn78DDHeyJ4dlqznYwRVw6jgLcgkIJsdfrP+JylhjPLRMf2spIpp7VdOJfQLWqmbR/nk/QGnggC6VnFt2winud+NvpBHUtLg2MdIxLyA7cug444gp/eFO8uhNu+isnhDVxPYzrV5jG296rbOPQStYMLhhTGtY9B0lT7a+jVe2w3YeJQ/eie5AMsurtGZqx9XY12ItDTeIKBgsLd+3rdEnaC6GijpUpdFpgWVKgccKL1j21Z/2Q+SFQRdbQj3woEyxPhY9lwFnrC5sc0KUSt1Tbqnko+JGE1dPopCZb2i5sYqNQz9tJBTWJbrghTBB/EsWJ2jZSX3sEC10rY7nCu66xDunp2oxzEYUioqEX3KEwsDoaOgAm1yrX95NIquogegjWgRMch+HjtZ7bMej9Rhr8cCC1O//DiFdb3xsV0s14EGfGepz5Ws5RqjiaXhwbvPbzb31tbbFJSNxHDsVtS2GPqMOBoe4WSaFfbU1+c2r6im5xEP1nhEHIbtftIdFlxCntSerzh7jj4f3sRUJI8uFr0YXkAw16Ak4ZrLNFgA7mNEwInSOyd3GOqowO1TxcO42MsDkum6DoNg4TNaNxTPpL1pwa5VJtfNMeKB35qxtFln5P3br/WyhDhTAofxf1aLY8DuzvrgpoIHm1sSwY6g+OEljCHsvsDXtXlnJ2Thd1Lrql/YdYOte+0kPIXPHAp7YrpFAqbVXmpxISk8lX7KehugHmcLAg9/bcP5gHeeTWV3J96CnStRiQVzOlmGm1qBh2krR9CyR92F/K9ypeRJiovIV67mIv1/JPTVclkiOU+fPxUzfWxV7LqGJmURXzY8k7Dv8ECR8Jg8GLOwzHMO1n7lubcenhpI1mIWsgziKsDawwkqWSejeMjxtGK3yKzUnNA31vBLyyF/Fa8/NsOka8oyjtw/pQrVjqEyriZjHMq7rBFOojFJnFOAXPz/ze9T1bY35XHdFQL8Xd+VLWiVlLYuOMb1GdQ8SvAS5QQ0KJIFTgQ+meAoYF1efDnF/3Cqgg4pwAoxQwxBYJcNOi3MAD0MVYASliCOwMKDLYq4srtdX93I21CbosqQSfPh5nDPM1VI53/a3qA3jHv5BpiUXUoNXkSgiQ7Sg7K2nyorOj6R3IzgU+zZJ2DtIGrtJspHM3zfWnqdv7il25aTavFdJLosSfYxBJLeId4sZH4tWY6A9RixYOI1cFW1bnwEbaygmWg2nFE0+XvYBwl5EbOjIBUf5WOsxMecrIt2aLXliJPyuVkPD/dirKs2D7lWpeACtqwipz47C8O1lCK3UVbXQA4ooZqjldWQIZD6M1v4v0N6NqaGK3a9FikbaBoyDRWj8FiwC03H16FjmxUOLDOmWbKhsROzgj3rn0hOsahc4RgzdLkP2zRv2F2tKRstgZefeZUM1lSx92tkfMzYCvMfaFRiJbkXkIF8BEgpQoaL47OsGPde2nVjSVpsD/AzUR6NAG4SPftxASFSCM7tJBLxs7hNNFm3q1/xKAIFNFpyEC4aV8ytcxfdWFITjJR7zs9B4fEYtcT6Plg3bPr+Hb1X6NwpxPqKtrvf9BuRmV1Vs7m5zD4Vnn6h1V9z8PRWNPjqy593mOGdvJ+meiSPnTlXFkeBl4SD2ttsTNMpf8fguAuvG4Dg0/qzJ39gDMgJ4hvangFC4G2fkv2s/4oK+oxp1j7TJMa/IPQj1I8mTJmwKdVis59ANboaqtleSSvQB5Damp+8DDa/kgQA3CFGWb+4AgBsuGISxXI2pYC94xhe5XyojFB98QjXE5GZRVYcWAjsGPyxkRs/ItaPD3qoVlWzFfXnXsXtcSSsL3rodj9Zz71aKZkp0hjOqPRRwWaRQNIQ/VPCUGBm0tV5hKdwjTVWQjNjdxbC43VEzj0G1uFrTkU5BLDhkhzd2nNt+OfmsvYqwhUyIl4OpzTbOyl5gwXp2lg+Vtst205cAh1V7in7MDqMIL3l5BHkGBEL8QfYPh/jt1dnGvwqBTjDr6xFbABSpQeE6yHB1CEbN+mCg/YZqW0UbFu08xMLfnBcgSjkWUPTGzHWcU+JfSPD2dHR2eNyz15qqh67ernUDncA3//IXn04R1joa2fAcP3+X4PXdjOy3a6AW9lxqcEGLv90cYVVJRq2g+EqK0FBzUx/taa6EndcBtoohouycEVoHsnBo2RZ96CWsd3nr8HMmwPjQsWO8iC297OXkolVZQfnujD8XI5hsvrLwzAw2VuVE6WWxDQBpf7qAYKdPaP1rA+PfMtVyTtpEhwJQlK1aD+S6H8Uj7pZCOVa0iGAkvJ0RFM79SPJDmno+MuUU1I/zfAr8W7rjCC5WAj+FkRVXMNnoDhwC0zN950X78S4bsKk1EpuVcsUAS4AIuoUiACvywXHlVwwhx+NjujuY2GapgPguAVNVosHM4QXfTdqsYf1Ta/lRh9jT6zC4j9T0i5M2Hjz2XaBTjOUb2K9pcJo3GNmPyj67kO/yLt9fD5X1hrA6CWibxZMr4t0Jz1Dv7b+JC3Jq0lsBN1VN2AVp6fp8Z5naBsOtwjbU9bi+fpo3lTXugjrbVf6yvlxehdUkFkHebN/OJKBQoJQ5WXlCzPZ2GZwX/CCxdh+V2Jk5iBmL06QWquGcrV3UBobTvJuhZQClbfGWKPqfVxrqb2yoGOEWC9WhmF8qeXGFTtjRj1RzGHghRSILO6ny74GSy0BYVL0ZUDP1SzqVpnflwCQmxI22tvy8lLj/kpdOdPJT79E4NCAJ3p64yDyQxTvJeJ6p6ku2esK7fymiNkIaoBu68RleTQl1/fUEGwMSc2A51TQYUBIhOVmG+oSEkwbn8x5f7cr50dNRtV32bzyxUq+O53cECRLnu8PlXfpFZIXM0P6+DXadkFZaRBvMyizpaSRnLGmhtOHSXAjSowLbnAYfszkej5FuTMjaZMSPltgTnUwu3mG1v46TUb+bRFcrYr7gVpOqcLQ39zSBVwS9WtKJM9RVUw5oaA7/m2l/7QauKxfhcj37JxBBRtvfrAvpoWqBwkRnx1h1z5+0Rxj9P7gZfiZKEGzKBUMKrllxfbSxOrOnnmhOKNus3hVPavw1fOuyZiT9ElXG1iMAmRUrEGP3urN4et4IvleeIx39XWqKoRGBzQNieWgMTkmaKcvlp/8Ii5o78MWdlsf84c9zyz0U5XwzlAhD4oCkfXKTtSZLjOJ1zppXGw1KNiqa0lnSgfWOTLJD1Eet55ptkasoe+wzYv9lqe2Yp81S60BlGrDsM+fILORs7Pgx0Pdeu+PdikZ0xuyTkasgzOQNxYbJ/pgJDzJ0qqIfbFupoKTQ8UEkcH1kd0tFwRSOsl8e7GYOhY8vy5toe1FhLIjgc6IkNA+Agz89iT6d4x7ERJrm6bc955zX5qFELNBHcyIRs9lSfTFQGAyZ4stAA3LJVN1sq5c5oAk7voSjOtONbAr8At/OJIIz715gqatFYDXAc26tDQQE6ZX/vd6avGiF/QZxenD33dL9H2bOdzDfjvW2VeXEQhAlVN+fTqoD3C/6AI795PiLhw0ROHlU8N4IlGJNJzYpNhKNgQkFUdbxJwdnw0K2Ie7XwvifkPppiTdmncsb2hAksdhoR+W6zqCqOahahdSZavtMEXibcesVSlsR11BBau4rsqeO8612FIyJ9jMKroL0NXmogR+vjcfxWMInRxokQmYfQtyZXYiDfQF7Ya1yGeBw2Nlyh3Bz1brZm193VM6rr6zpMsIC/HqgklWC9ALTMJLmCl2Ep4tNdXqhS5hWbmKVrARgeB9QULcPXWEPBjZhzeiVpzqUfxl8jtoPtCSJHUngAeunAGFGLB6h7+ucbcfxt6kkgHDpmOqErmxz1nTB47Olx/cPdtPe4kNgD+0WyVhWN6VU+RVGVh5V+0HYAXJZQN49m319CgBpBNya6X3ivN0yAsXUYeX/QV3b6KIPdSCSG4W3G+rWQVsii8Uz2/BrPnBbE0mfy2/adZ7fqlBXzaOoyUEJRcPN7rusaAaB7Rl/zpY4B0xFGR97Cqn4//xN4ZYfgsnCgDSjaP0xdvGh3ydLDgNhzypncfc3uQIToypk2rMYB93FA7sNvwX8n3bJVSU3M6RNuwwCeY/c/QEapVx8hs5FdXQZ2OJtw6mxrVjID0huO56zCnXkcvdhYYfkTG2KKFk1p4MTYnDCAMq5Kpb6XPm6qn2Jse7BEoU7DijTG4ZG4uBHwlSCdtBkEWnfXNa+5C/FM30XhZjiua3RMhUXWQkQ8gtCExx+CYcUnmphG6MOef/wR5filxH9XQvGxt2ax+SBSestWHkQEznF2aIg6LGWbIVVWASGXreoMHdvU9KGdZIUHsX+VWzPegPevTXbX3n4V3ZKwj/VRdjNLQL5nTv1DCjwqM9O+268UqiBVYZlfM22U0+MzvsmilvvPa0M3oWSx/NUnAVwqta9LBAiVb91xbypZfLs3qH4X7IysS4O5q0VMpzu/Toik8ZMN6U/Uh2uiDRER/IfDRUt0Q9BlbhwmOdGzC9gHAklSlJaJV2qsn0TGOrEb1c2iLxXTEGWbshUVco+eVzVIbwwl0gSM+mSVx7N+F0duXyy6QkVRNWlyUEP0Pad6jnA5PSsdjYDgnkqjx7a60I00C18nY/1jQc7+Hoj5pjETz6VC7xmSaLVb6ntcw4G36DfCRvXAK8HEl8k6mMsTiU855fs2pRPB15QH0FYY7MMqG8bXe3v8O4garXyqlbNraVyNomuZmNq1w+EHGCY0rIH44H+s20L6Q1J4yhAzO+Jo8MiGLxBXiwTwh63lnAZHWr9VE0D60/7NhR/NF1vBXSJrMbD0a12BPuFHooX9CjUR/FRNZ/kTdjYBU/mXUfgZNRbBy5S+//zizYS9CaYMECYBXFrhyex5PvAZFfvEuC4PGGz90pFEUThrAUUAAz5hbKgrERac8LQx2G/GapFcSXw5zTrm1GIIOq4QMosUdlvflNMMIRuaNM1KDl6KCbCH2anijjC8JcnrBbxeWT46dVDyy21Yn3VD6rGCkKK9EBUAdqF2dXU7ylNKJxRaV3PXBOKbdp9N03o7vBGmTZ7XWJAjBNNGNY99en+TGtb8Y1kqgRtetyIySTISzScqq7zuypvPNa+oDbCYPG102espG4sdTb2qZLgOKTCU33WjjMh6wyLlLGqgnRy77nT4BA2LNhki5/i9amIhHe+3GKR+EcFzIdIM6BA29N7fYkZomFU/rnQyH7Yi8FXykhEfvkac+bO0ze9PJMaL01ESZ2504itLzwYx5myAz5RSmtqMeQoKAOhAuyhmglLsWYOzvNXRMCFD5edqZnIV2TWxPTlJSlkXX+xsb9q/c1GMyo9tCkN+XkKjYJ4tJA99DTSYp5dovIELhlJnPnTha/QaardBY60Mu/xRxelPS9C7FAHVu9D4bRNAWyAsGc7lxCa/sbttQFFQ8WI2POkEHVppBxXt53pg82Wg8vSwOnV0NIsqLx1UZYMK0ZyE015I+b3OgHL6hgt8T6C6xMhTHXZKPfwtBqOz2xkAHA4bvLKGMMiBUBNtuPws5ZemWE8vorPoUvD8AooKCwOsf3TPi4Q0kpDIyzu+rsjAf0n8FtJqUDHdKbSia6n23f7pd0ApAI2qqZ+pmmxRz7d59k1YQNQBBbRtfJHSiQVi/VvgVUbEIk58lbgrXn3KGQ9B1dgcC5LMwHw5/PnGPJuAXO1yJkhIwaAu3sOUalpy4JzAAugTidvaFKsTBDT0gw3JblIdE+QR6xbRkYNTmNzKjji6YGsmn7m/0cb0fXLCLSvpNXbdhCNnZEwmuGP53l9wWVrzfk1PTmUIY7Mdb9OdeVL+FuRe8JNOydjIB1VZVK7RZmt07coQUJqMqN7zLtMLdmXWofv+VMi1SGpftKHjhf4bew3Tes7Yl3hpowQrwcTZTrr9PGOuIeN2ryaYAChsEpE+1y9UkyznFEjF8vm4aSIUTXfmRGSCEUW7GjS0dAW1fYzkVMGw1QPthVYDBZ5AioQggfPBl9ryQwgmBeLSpPAI9qEbe3+Aq9bt0/rl6hh0InpzzGmdV9c3v4oNjkiRX8Tg97ZWa9mnC9xwTztrMLxPSplraBRCbh47NrCTmfr8mIGgDXNpZMfMXS6X71/6QIRtzHlj8/npvEBHXNzjMwZui6+RfUNri9i31KAoq/xJpTZPZuxvxE17dp9SahS2tsioQ/J46r2ZV02YI1EfC2eLp8RB0OvWQyHsevXiWSmZ0oDNGpFCOTvpY0fC20tz/AWC70oYvkthaocpsxD/ZyNu5Hc1SnqLgPiLh4CbvbxT1hkuAcD3bIl0VVjcr7T4pDDvq8g8yJFQ7UinDbf0FZ9PCCpqD4RQw3FTWdkFTC3b/pT2T1A9P1a2SrDuCvWEdaZjL1H3Pb7Hb5zeWR7mlCW78/Tubka0vuOlMI+8QveeLG7u3+A5qeE5bmK5tHzlMyd5sydZNDYXVdSRhB9A9ZQmSH2EvJz53u3jY2SVVao2jJ7vfdqOfta7ykqdjqnkNbWl0UFm0SURUoZbwWPATiHpqrI2oUO8//qp2Tq/efQSjOruYI+8XHiWMZZNfW17Ia+dfd2shxopYd3FeArmd83O9yRPm2LA7G71purkPNE4F/oLemPF0kEwt2bOkwLQZQe1eEPsdz5L5r5EBHTQvmfn459ZBJjotNBQFL5yQwRdA+VXFOhknIvkHltGRhC/xYz3L72WZTu7igBBjEQxgWD45t3mZM/U0zD8J1XBx+Cs+Vqn5kkJCI32AjvQAwbimRpewvZ8k+kH/lXzJuX0KBwkN0B+yjTx4cFLDuVuFGBvogDCoad3wowtHnVdYguzPoYBMG0stGTSW/EemX/T7W1gAStoQtUJowJ6gzd9L4VegURVT9Kzy68LvLTSnBfxYwOAiICC39ni9gYu513UESgvdsfEqn/CgH4wbSDfQHweHlFU+nBRGvfZyKJ/QDvvVhYHwITRkHRpPVWdUSulDjJN/PEnFN77NUhk2F2zkf3hzQSqMKbrIB5xPm55nVLBT5evxwvOUBzWMdTzOzvPQsyfBkwxVziFRiRDLV/m2KmuWl/13O7T3Oa8BoyhHS6zTtC7RAkx9zGqYtST/LFqOIYCfNaWalwWJIjxnAtpnAdexFKh4We6Vx7AKDWrQKljQsOECVq1iZ3xobhLe9VkEZazcG1zubnPzSkU9UEXDt8ZqBaD0i6ni3RWmimaA3KY4WDyFYWR8u3W/q6I+ZmHBroUQ51Gq5Hby2b/gpRJVNUZj9UDfN0ArRD2JT89FaMxU62fqRf3OVJt9XWUEZV3JURXqLWlP0Fd0dWYMBRBCTdn2bwtZiPHlXLUbNV2HOXiDGgiXnBlCtN9P1K76lrcNiYXvMjqll6WqokXrglL7K6cZGeZ6bh5OgLla8eJt5Yz0PCp41Bby9u4ZMeXcy+yirN0WgGjWmJ44zteVZX+Dq+FAr0IPm/0aq4nqwWu7Tge119ul806H3DKzU0+vuI3roFoD8UDWSCYuHa8j0aWzxsH4fVOPywqru7msnrlH/WZKdtXdLN9C5oPAKocesNfyhacVNAkQdfU8onCe8WYsMLXobLarXWCpXbwuxBOmUp7RDR1fzS4Czm8sZE5XsSgR2ZY8tYRAVqZ4P3//JvPyXwZnx6fq+/R2+pAPYTzl7n0pOgdMNAOYKJL+gPC9oGYvNhVguMcgafnI/CizywRXTczlsphymbbLrlD7sWlsV2BVJeQg6EQLFFyv1IlmXZeQ9BeQbTUU+PoFrggikH7/PBD4gUGrilDre75K45+MDucGq34nA1nj1JbUk6LEWVRFKv12D6BETjRPv1sqXBe5GkYOIXJl8ZGOhjirjINDdVnJL27+vo19eB4NIJ57zd8x1gw/KJM9GoeOI114YtLQkb6bmoHtjj1oYWTS7tAlseUQMCVQZjfcBya7zfIi3MEmNle+sAWAfyDAE7fuceadjgtlZzwRgjgKNVVbZRi0DwL2aiXkK1E53l2GMBMIZ0D+wX1Hq7Kr8Ljrs362qh9Y40LMPwjKEKH1XlcuKOhGq+3aSwPYqI0lAQvLw/pHIoYsitJfKbGZIelbwKXApNkPljIthDln9XxudbtWu1R6ONlYKil7AH1H45eokD2MDj2SPvhmXm3QN+1oTU7raFb+A8/KT2QbOMnDeulereoP7bDmwaLKWQJg/Z0U/6FQPvSKr9YF0/1r/J+LJ9qCyU1gFf7a0WOT4w4gokMHS71Ecn261pEt6jwLqPMJAM446vyWSNdvCTxsxlrx4Z9lF5fCKNFH7SjUAdVsu3SvUtBYuzH9vKwmmwB1hejOOTNcB48GoRz2LMd3+GLfYyMIFBWZFF0QVe7OvLw82l5+G7v24B1HpEc+SL/3s92abmH8YdTxs31APNVpn4ZHV5BpqDZQMtSxY4x2l9XAoL277Qnt1jAkmR6hjEh01KQhIsBK09Ua7wbXbiAPS3KaCbRLdNAfbCJmrG+tNr9362ALGlZXhKPjwj5kYggA8y3pXZc4v/R7qhE8koSMlT0lVc2SqhWLjcjAgb7rH/mDVBIQA+lTk4S8UQriN0qKfS41t4EOpYyeL9ok5H8VNU4nfjlYjg70DKNJf3pRcQ9R3UAy3SqnH7mf6RVTg2q57UdG3lmEMK/QJyW89jONqSyuSJhXZQQCL047kkyWmvuos1iqIoOQtZf4fPri6dEHkWHQypYsoIrQrHHywezF7TWteHsAih80Slwwvedg6Q8S2c+2K6VzjAwhq/eDHyqKuEiemzmoa2biNSZTO+AMHRrGV0z3nJhmW6QQ/G9No2o66nqP/5Q+9v3Ng01cdA74bioUXVxTP+k0mrpi2UHYgo/C7VoZTv+1RJP3wdJMd5bmL6va35bbXBs3DzyU5XagOXGdjWTnOORhty06bCgWunzqWsO4wcfHKsj3oLx/sqELesUpTz48NzSo+grBxuBaTutXKIfVt5aFG3LCiqGAGFhVU1vlmv2Luzxkg9FjGOGEpqm/XOBYkGiEPTZg6fpDLx7NG007l/uB3JnkTwiRPcShEU9R/JNPcivr5Stz2zU6U6OUb+Axx0Q7DpbtQXS1TBmytpp3qc5G2HWoKf3RIb/ChRtRveepzWG74LggYoJ6ua5oHYQECqkQPYsXqAnT4LNpGZzWKQt183ewuqXX4qlqrnRpmppeUDiamFtnMtoLcpajc2G7tS3cMy88lwK2EmsaibxAADMUA5BgDyzr2u/WJF4cjr54oHAxzw9HNa4iW3SbXm5sx4vLLLtlbjsChthl9zG+9a7K+K1xzvMu3H65FLl4RgCUnYbS1DgP40Qqw0630uwMBCSivFCAs/GMcrFn7nGWMxi1CSxBIHrJ9w+usbAqUkT4uD9iSIGEMgxCQTmmzJ2vIFl+sVSWtHRNOq2VByEHi8awvctB0qdgMWtIq8hnmyS335tVKxeGnFlBufY8nKldTJsHfAYN8nnbtvv1T+SwoAfZzUgMFLsywfwkVd94I1V9YU/DXCg+qQS8VL1RbrbX7Ra1sIRS3NwkLWkq9yuHf1IKY4=" title="Mekko Graphics Chart"/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329390" y="1556012"/>
            <a:ext cx="11391034" cy="4864749"/>
          </a:xfrm>
          <a:prstGeom prst="rect">
            <a:avLst/>
          </a:prstGeom>
          <a:blipFill dpi="0" rotWithShape="1">
            <a:blip r:embed="rId13"/>
            <a:srcRect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2808" tIns="32808" rIns="32808" bIns="32808" rtlCol="0" anchor="ctr"/>
          <a:lstStyle/>
          <a:p>
            <a:pPr>
              <a:buNone/>
            </a:pPr>
            <a:endParaRPr lang="en-GB" sz="1641">
              <a:solidFill>
                <a:srgbClr val="FFFFFF"/>
              </a:solidFill>
            </a:endParaRPr>
          </a:p>
        </p:txBody>
      </p:sp>
      <p:graphicFrame>
        <p:nvGraphicFramePr>
          <p:cNvPr id="10" name="UniqueVisitorsTable">
            <a:extLst>
              <a:ext uri="{FF2B5EF4-FFF2-40B4-BE49-F238E27FC236}">
                <a16:creationId xmlns:a16="http://schemas.microsoft.com/office/drawing/2014/main" id="{955283CF-83A0-EF0E-DA6A-8ECFEEFC19A8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87452270"/>
              </p:ext>
            </p:extLst>
          </p:nvPr>
        </p:nvGraphicFramePr>
        <p:xfrm>
          <a:off x="8553450" y="1430741"/>
          <a:ext cx="3303588" cy="4677312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938893">
                  <a:extLst>
                    <a:ext uri="{9D8B030D-6E8A-4147-A177-3AD203B41FA5}">
                      <a16:colId xmlns:a16="http://schemas.microsoft.com/office/drawing/2014/main" val="3897694433"/>
                    </a:ext>
                  </a:extLst>
                </a:gridCol>
                <a:gridCol w="931817">
                  <a:extLst>
                    <a:ext uri="{9D8B030D-6E8A-4147-A177-3AD203B41FA5}">
                      <a16:colId xmlns:a16="http://schemas.microsoft.com/office/drawing/2014/main" val="2729753460"/>
                    </a:ext>
                  </a:extLst>
                </a:gridCol>
                <a:gridCol w="705394">
                  <a:extLst>
                    <a:ext uri="{9D8B030D-6E8A-4147-A177-3AD203B41FA5}">
                      <a16:colId xmlns:a16="http://schemas.microsoft.com/office/drawing/2014/main" val="829964771"/>
                    </a:ext>
                  </a:extLst>
                </a:gridCol>
                <a:gridCol w="727484">
                  <a:extLst>
                    <a:ext uri="{9D8B030D-6E8A-4147-A177-3AD203B41FA5}">
                      <a16:colId xmlns:a16="http://schemas.microsoft.com/office/drawing/2014/main" val="4033883538"/>
                    </a:ext>
                  </a:extLst>
                </a:gridCol>
              </a:tblGrid>
              <a:tr h="654155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FontTx/>
                        <a:buNone/>
                      </a:pPr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1000">
                          <a:solidFill>
                            <a:srgbClr val="C00000"/>
                          </a:solidFill>
                        </a:rPr>
                        <a:t>Avg. Unique
Monthly
Visitors (K, LTM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1000">
                          <a:solidFill>
                            <a:srgbClr val="C00000"/>
                          </a:solidFill>
                        </a:rPr>
                        <a:t>Change Yo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1000">
                          <a:solidFill>
                            <a:srgbClr val="C00000"/>
                          </a:solidFill>
                        </a:rPr>
                        <a:t>Visits per Unique Visito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14307374"/>
                  </a:ext>
                </a:extLst>
              </a:tr>
              <a:tr h="331356"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Peer 4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>
                          <a:solidFill>
                            <a:srgbClr val="C00000"/>
                          </a:solidFill>
                        </a:rPr>
                        <a:t>2.9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1">
                          <a:solidFill>
                            <a:srgbClr val="C00000"/>
                          </a:solidFill>
                        </a:rPr>
                        <a:t>104%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1">
                          <a:solidFill>
                            <a:srgbClr val="C00000"/>
                          </a:solidFill>
                        </a:rPr>
                        <a:t>2.2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2798715"/>
                  </a:ext>
                </a:extLst>
              </a:tr>
              <a:tr h="331356"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Peer 1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>
                          <a:solidFill>
                            <a:schemeClr val="tx1"/>
                          </a:solidFill>
                        </a:rPr>
                        <a:t>1.6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>
                          <a:solidFill>
                            <a:schemeClr val="tx1"/>
                          </a:solidFill>
                        </a:rPr>
                        <a:t>276%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>
                          <a:solidFill>
                            <a:schemeClr val="tx1"/>
                          </a:solidFill>
                        </a:rPr>
                        <a:t>1.9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5808991"/>
                  </a:ext>
                </a:extLst>
              </a:tr>
              <a:tr h="331356"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Peer 2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>
                          <a:solidFill>
                            <a:schemeClr val="tx1"/>
                          </a:solidFill>
                        </a:rPr>
                        <a:t>2.1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>
                          <a:solidFill>
                            <a:schemeClr val="tx1"/>
                          </a:solidFill>
                        </a:rPr>
                        <a:t>27%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>
                          <a:solidFill>
                            <a:schemeClr val="tx1"/>
                          </a:solidFill>
                        </a:rPr>
                        <a:t>1.9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6939690"/>
                  </a:ext>
                </a:extLst>
              </a:tr>
              <a:tr h="331356"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Peer 5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>
                          <a:solidFill>
                            <a:schemeClr val="tx1"/>
                          </a:solidFill>
                        </a:rPr>
                        <a:t>0.9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>
                          <a:solidFill>
                            <a:schemeClr val="tx1"/>
                          </a:solidFill>
                        </a:rPr>
                        <a:t>37%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>
                          <a:solidFill>
                            <a:schemeClr val="tx1"/>
                          </a:solidFill>
                        </a:rPr>
                        <a:t>2.2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9603284"/>
                  </a:ext>
                </a:extLst>
              </a:tr>
              <a:tr h="331356"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Peer 7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>
                          <a:solidFill>
                            <a:schemeClr val="tx1"/>
                          </a:solidFill>
                        </a:rPr>
                        <a:t>0.7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>
                          <a:solidFill>
                            <a:schemeClr val="tx1"/>
                          </a:solidFill>
                        </a:rPr>
                        <a:t>351%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>
                          <a:solidFill>
                            <a:schemeClr val="tx1"/>
                          </a:solidFill>
                        </a:rPr>
                        <a:t>2.2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9740943"/>
                  </a:ext>
                </a:extLst>
              </a:tr>
              <a:tr h="331356"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Peer 3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>
                          <a:solidFill>
                            <a:schemeClr val="tx1"/>
                          </a:solidFill>
                        </a:rPr>
                        <a:t>0.5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>
                          <a:solidFill>
                            <a:schemeClr val="tx1"/>
                          </a:solidFill>
                        </a:rPr>
                        <a:t>-36%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>
                          <a:solidFill>
                            <a:schemeClr val="tx1"/>
                          </a:solidFill>
                        </a:rPr>
                        <a:t>2.5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1318298"/>
                  </a:ext>
                </a:extLst>
              </a:tr>
              <a:tr h="331356"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Peer 6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>
                          <a:solidFill>
                            <a:schemeClr val="tx1"/>
                          </a:solidFill>
                        </a:rPr>
                        <a:t>0.4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>
                          <a:solidFill>
                            <a:schemeClr val="tx1"/>
                          </a:solidFill>
                        </a:rPr>
                        <a:t>-8%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>
                          <a:solidFill>
                            <a:schemeClr val="tx1"/>
                          </a:solidFill>
                        </a:rPr>
                        <a:t>2.6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0072655"/>
                  </a:ext>
                </a:extLst>
              </a:tr>
              <a:tr h="331356"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eer 9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>
                          <a:solidFill>
                            <a:schemeClr val="tx1"/>
                          </a:solidFill>
                        </a:rPr>
                        <a:t>2.7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>
                          <a:solidFill>
                            <a:schemeClr val="tx1"/>
                          </a:solidFill>
                        </a:rPr>
                        <a:t>-27%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>
                          <a:solidFill>
                            <a:schemeClr val="tx1"/>
                          </a:solidFill>
                        </a:rPr>
                        <a:t>2.3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8951185"/>
                  </a:ext>
                </a:extLst>
              </a:tr>
              <a:tr h="331356"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eer 8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>
                          <a:solidFill>
                            <a:schemeClr val="tx1"/>
                          </a:solidFill>
                        </a:rPr>
                        <a:t>0.8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>
                          <a:solidFill>
                            <a:schemeClr val="tx1"/>
                          </a:solidFill>
                        </a:rPr>
                        <a:t>95%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>
                          <a:solidFill>
                            <a:schemeClr val="tx1"/>
                          </a:solidFill>
                        </a:rPr>
                        <a:t>2.0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4639380"/>
                  </a:ext>
                </a:extLst>
              </a:tr>
              <a:tr h="331356"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eer 11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>
                          <a:solidFill>
                            <a:schemeClr val="tx1"/>
                          </a:solidFill>
                        </a:rPr>
                        <a:t>1.0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>
                          <a:solidFill>
                            <a:schemeClr val="tx1"/>
                          </a:solidFill>
                        </a:rPr>
                        <a:t>18%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>
                          <a:solidFill>
                            <a:schemeClr val="tx1"/>
                          </a:solidFill>
                        </a:rPr>
                        <a:t>2.1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8375748"/>
                  </a:ext>
                </a:extLst>
              </a:tr>
              <a:tr h="331356"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eer 10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>
                          <a:solidFill>
                            <a:schemeClr val="tx1"/>
                          </a:solidFill>
                        </a:rPr>
                        <a:t>0.4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>
                          <a:solidFill>
                            <a:schemeClr val="tx1"/>
                          </a:solidFill>
                        </a:rPr>
                        <a:t>82%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>
                          <a:solidFill>
                            <a:schemeClr val="tx1"/>
                          </a:solidFill>
                        </a:rPr>
                        <a:t>2.2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7182571"/>
                  </a:ext>
                </a:extLst>
              </a:tr>
              <a:tr h="331356"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eer 12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>
                          <a:solidFill>
                            <a:schemeClr val="tx1"/>
                          </a:solidFill>
                        </a:rPr>
                        <a:t>1.1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>
                          <a:solidFill>
                            <a:schemeClr val="tx1"/>
                          </a:solidFill>
                        </a:rPr>
                        <a:t>54%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 dirty="0">
                          <a:solidFill>
                            <a:schemeClr val="tx1"/>
                          </a:solidFill>
                        </a:rPr>
                        <a:t>2.1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9435430"/>
                  </a:ext>
                </a:extLst>
              </a:tr>
            </a:tbl>
          </a:graphicData>
        </a:graphic>
      </p:graphicFrame>
      <p:grpSp>
        <p:nvGrpSpPr>
          <p:cNvPr id="49" name="btfpColumnIndicatorGroup2">
            <a:extLst>
              <a:ext uri="{FF2B5EF4-FFF2-40B4-BE49-F238E27FC236}">
                <a16:creationId xmlns:a16="http://schemas.microsoft.com/office/drawing/2014/main" id="{6091870B-4A7B-8D20-B89A-BB18DF6687E6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47" name="btfpColumnGapBlocker358018">
              <a:extLst>
                <a:ext uri="{FF2B5EF4-FFF2-40B4-BE49-F238E27FC236}">
                  <a16:creationId xmlns:a16="http://schemas.microsoft.com/office/drawing/2014/main" id="{059ABABA-913D-8945-944F-0DD37451DF79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45" name="btfpColumnGapBlocker730367">
              <a:extLst>
                <a:ext uri="{FF2B5EF4-FFF2-40B4-BE49-F238E27FC236}">
                  <a16:creationId xmlns:a16="http://schemas.microsoft.com/office/drawing/2014/main" id="{20223511-0E99-0EE5-8E9F-2BFD21EC9FAE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3" name="btfpColumnIndicator570120">
              <a:extLst>
                <a:ext uri="{FF2B5EF4-FFF2-40B4-BE49-F238E27FC236}">
                  <a16:creationId xmlns:a16="http://schemas.microsoft.com/office/drawing/2014/main" id="{EEBC6202-4CC3-38FE-4394-110B8B09C153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btfpColumnIndicator155553">
              <a:extLst>
                <a:ext uri="{FF2B5EF4-FFF2-40B4-BE49-F238E27FC236}">
                  <a16:creationId xmlns:a16="http://schemas.microsoft.com/office/drawing/2014/main" id="{2A910A5B-08A5-09E2-F4ED-1C8848FB8D99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btfpColumnIndicatorGroup1">
            <a:extLst>
              <a:ext uri="{FF2B5EF4-FFF2-40B4-BE49-F238E27FC236}">
                <a16:creationId xmlns:a16="http://schemas.microsoft.com/office/drawing/2014/main" id="{ECFA5D57-11A2-A2F1-7A93-00B38612BA7E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46" name="btfpColumnGapBlocker878930">
              <a:extLst>
                <a:ext uri="{FF2B5EF4-FFF2-40B4-BE49-F238E27FC236}">
                  <a16:creationId xmlns:a16="http://schemas.microsoft.com/office/drawing/2014/main" id="{46124BC8-8773-CD29-0452-962218E0D2BB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44" name="btfpColumnGapBlocker753804">
              <a:extLst>
                <a:ext uri="{FF2B5EF4-FFF2-40B4-BE49-F238E27FC236}">
                  <a16:creationId xmlns:a16="http://schemas.microsoft.com/office/drawing/2014/main" id="{5110FD61-7D7C-D3F1-60D9-55BE63B66A1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2" name="btfpColumnIndicator176606">
              <a:extLst>
                <a:ext uri="{FF2B5EF4-FFF2-40B4-BE49-F238E27FC236}">
                  <a16:creationId xmlns:a16="http://schemas.microsoft.com/office/drawing/2014/main" id="{8D5A212E-9672-4337-C773-B7B5E3FFBB9E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136598">
              <a:extLst>
                <a:ext uri="{FF2B5EF4-FFF2-40B4-BE49-F238E27FC236}">
                  <a16:creationId xmlns:a16="http://schemas.microsoft.com/office/drawing/2014/main" id="{732ED053-8BB2-0890-1E34-29F238EFBA0D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099" y="-4230"/>
            <a:ext cx="11604519" cy="876687"/>
          </a:xfrm>
        </p:spPr>
        <p:txBody>
          <a:bodyPr vert="horz"/>
          <a:lstStyle/>
          <a:p>
            <a:r>
              <a:rPr lang="en-GB" b="1" dirty="0"/>
              <a:t>Unique Visits: </a:t>
            </a:r>
            <a:r>
              <a:rPr lang="en-GB" dirty="0"/>
              <a:t>Peer 4 leads on scale with a strong YoY growth; closest non-Peer 1 competitor is Peer 9</a:t>
            </a:r>
          </a:p>
        </p:txBody>
      </p: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1021681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GB" sz="100">
                <a:solidFill>
                  <a:srgbClr val="FFFFFF">
                    <a:alpha val="0"/>
                  </a:srgbClr>
                </a:solidFill>
              </a:rPr>
              <a:t>overall_1_131726425208223281 columns_1_131726425208223281 7_1_131726425206126266 6_1_132195350443818122 16_0_132600379903991539 28_1_132600380192568323 </a:t>
            </a:r>
          </a:p>
        </p:txBody>
      </p:sp>
      <p:sp>
        <p:nvSpPr>
          <p:cNvPr id="9" name="BainBulletsConfiguration" hidden="1"/>
          <p:cNvSpPr txBox="1"/>
          <p:nvPr/>
        </p:nvSpPr>
        <p:spPr bwMode="gray">
          <a:xfrm>
            <a:off x="12700" y="12700"/>
            <a:ext cx="72768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endParaRPr lang="en-GB" sz="100" err="1">
              <a:solidFill>
                <a:srgbClr val="FFFFFF"/>
              </a:solidFill>
            </a:endParaRPr>
          </a:p>
        </p:txBody>
      </p:sp>
      <p:grpSp>
        <p:nvGrpSpPr>
          <p:cNvPr id="18" name="btfpStatusSticker256186"/>
          <p:cNvGrpSpPr/>
          <p:nvPr>
            <p:custDataLst>
              <p:tags r:id="rId5"/>
            </p:custDataLst>
          </p:nvPr>
        </p:nvGrpSpPr>
        <p:grpSpPr>
          <a:xfrm>
            <a:off x="10102664" y="955344"/>
            <a:ext cx="1759136" cy="235611"/>
            <a:chOff x="10102664" y="955344"/>
            <a:chExt cx="1759136" cy="235611"/>
          </a:xfrm>
        </p:grpSpPr>
        <p:sp>
          <p:nvSpPr>
            <p:cNvPr id="19" name="btfpStatusStickerText256186"/>
            <p:cNvSpPr txBox="1"/>
            <p:nvPr/>
          </p:nvSpPr>
          <p:spPr bwMode="gray">
            <a:xfrm>
              <a:off x="10102664" y="955344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GB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20" name="btfpStatusStickerLine256186"/>
            <p:cNvCxnSpPr/>
            <p:nvPr/>
          </p:nvCxnSpPr>
          <p:spPr bwMode="gray">
            <a:xfrm rot="720000">
              <a:off x="10102664" y="955344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" name="btfpRunningAgenda2Level224096">
            <a:extLst>
              <a:ext uri="{FF2B5EF4-FFF2-40B4-BE49-F238E27FC236}">
                <a16:creationId xmlns:a16="http://schemas.microsoft.com/office/drawing/2014/main" id="{1274F87C-F4E1-4590-BD7B-21199A66DA47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0" y="944429"/>
            <a:ext cx="5014444" cy="257442"/>
            <a:chOff x="0" y="876300"/>
            <a:chExt cx="5014444" cy="257442"/>
          </a:xfrm>
        </p:grpSpPr>
        <p:sp>
          <p:nvSpPr>
            <p:cNvPr id="31" name="btfpRunningAgenda2LevelBarLeft224096">
              <a:extLst>
                <a:ext uri="{FF2B5EF4-FFF2-40B4-BE49-F238E27FC236}">
                  <a16:creationId xmlns:a16="http://schemas.microsoft.com/office/drawing/2014/main" id="{FEF7202A-CF25-4446-9FF2-94BA0B491E95}"/>
                </a:ext>
              </a:extLst>
            </p:cNvPr>
            <p:cNvSpPr/>
            <p:nvPr/>
          </p:nvSpPr>
          <p:spPr bwMode="gray">
            <a:xfrm>
              <a:off x="0" y="876300"/>
              <a:ext cx="2486478" cy="257442"/>
            </a:xfrm>
            <a:custGeom>
              <a:avLst/>
              <a:gdLst>
                <a:gd name="connsiteX0" fmla="*/ 986067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86067 w 1816204"/>
                <a:gd name="connsiteY0" fmla="*/ 0 h 257442"/>
                <a:gd name="connsiteX1" fmla="*/ 931347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86067 w 986067"/>
                <a:gd name="connsiteY0" fmla="*/ 0 h 257442"/>
                <a:gd name="connsiteX1" fmla="*/ 931347 w 986067"/>
                <a:gd name="connsiteY1" fmla="*/ 257442 h 257442"/>
                <a:gd name="connsiteX2" fmla="*/ 1 w 986067"/>
                <a:gd name="connsiteY2" fmla="*/ 257442 h 257442"/>
                <a:gd name="connsiteX3" fmla="*/ 0 w 986067"/>
                <a:gd name="connsiteY3" fmla="*/ 257442 h 257442"/>
                <a:gd name="connsiteX0" fmla="*/ 986066 w 986066"/>
                <a:gd name="connsiteY0" fmla="*/ 0 h 257442"/>
                <a:gd name="connsiteX1" fmla="*/ 931346 w 986066"/>
                <a:gd name="connsiteY1" fmla="*/ 257442 h 257442"/>
                <a:gd name="connsiteX2" fmla="*/ 0 w 986066"/>
                <a:gd name="connsiteY2" fmla="*/ 257442 h 257442"/>
                <a:gd name="connsiteX3" fmla="*/ 1 w 986066"/>
                <a:gd name="connsiteY3" fmla="*/ 0 h 257442"/>
                <a:gd name="connsiteX0" fmla="*/ 1146368 w 1146368"/>
                <a:gd name="connsiteY0" fmla="*/ 0 h 257442"/>
                <a:gd name="connsiteX1" fmla="*/ 931346 w 1146368"/>
                <a:gd name="connsiteY1" fmla="*/ 257442 h 257442"/>
                <a:gd name="connsiteX2" fmla="*/ 0 w 1146368"/>
                <a:gd name="connsiteY2" fmla="*/ 257442 h 257442"/>
                <a:gd name="connsiteX3" fmla="*/ 1 w 1146368"/>
                <a:gd name="connsiteY3" fmla="*/ 0 h 257442"/>
                <a:gd name="connsiteX0" fmla="*/ 1146368 w 1146368"/>
                <a:gd name="connsiteY0" fmla="*/ 0 h 257442"/>
                <a:gd name="connsiteX1" fmla="*/ 1091647 w 1146368"/>
                <a:gd name="connsiteY1" fmla="*/ 257442 h 257442"/>
                <a:gd name="connsiteX2" fmla="*/ 0 w 1146368"/>
                <a:gd name="connsiteY2" fmla="*/ 257442 h 257442"/>
                <a:gd name="connsiteX3" fmla="*/ 1 w 1146368"/>
                <a:gd name="connsiteY3" fmla="*/ 0 h 257442"/>
                <a:gd name="connsiteX0" fmla="*/ 1146368 w 1146368"/>
                <a:gd name="connsiteY0" fmla="*/ 0 h 257442"/>
                <a:gd name="connsiteX1" fmla="*/ 1091647 w 1146368"/>
                <a:gd name="connsiteY1" fmla="*/ 257442 h 257442"/>
                <a:gd name="connsiteX2" fmla="*/ 0 w 1146368"/>
                <a:gd name="connsiteY2" fmla="*/ 257442 h 257442"/>
                <a:gd name="connsiteX3" fmla="*/ 1 w 1146368"/>
                <a:gd name="connsiteY3" fmla="*/ 0 h 257442"/>
                <a:gd name="connsiteX0" fmla="*/ 1146368 w 1146368"/>
                <a:gd name="connsiteY0" fmla="*/ 0 h 257442"/>
                <a:gd name="connsiteX1" fmla="*/ 1091647 w 1146368"/>
                <a:gd name="connsiteY1" fmla="*/ 257442 h 257442"/>
                <a:gd name="connsiteX2" fmla="*/ 0 w 1146368"/>
                <a:gd name="connsiteY2" fmla="*/ 257442 h 257442"/>
                <a:gd name="connsiteX3" fmla="*/ 0 w 1146368"/>
                <a:gd name="connsiteY3" fmla="*/ 0 h 257442"/>
                <a:gd name="connsiteX0" fmla="*/ 1314682 w 1314682"/>
                <a:gd name="connsiteY0" fmla="*/ 0 h 257442"/>
                <a:gd name="connsiteX1" fmla="*/ 1091647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474983 w 1474983"/>
                <a:gd name="connsiteY0" fmla="*/ 0 h 257442"/>
                <a:gd name="connsiteX1" fmla="*/ 1259961 w 1474983"/>
                <a:gd name="connsiteY1" fmla="*/ 257442 h 257442"/>
                <a:gd name="connsiteX2" fmla="*/ 0 w 1474983"/>
                <a:gd name="connsiteY2" fmla="*/ 257442 h 257442"/>
                <a:gd name="connsiteX3" fmla="*/ 0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0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0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0 w 1474983"/>
                <a:gd name="connsiteY3" fmla="*/ 0 h 257442"/>
                <a:gd name="connsiteX0" fmla="*/ 1575972 w 1575972"/>
                <a:gd name="connsiteY0" fmla="*/ 0 h 257442"/>
                <a:gd name="connsiteX1" fmla="*/ 1420262 w 1575972"/>
                <a:gd name="connsiteY1" fmla="*/ 257442 h 257442"/>
                <a:gd name="connsiteX2" fmla="*/ 0 w 1575972"/>
                <a:gd name="connsiteY2" fmla="*/ 257442 h 257442"/>
                <a:gd name="connsiteX3" fmla="*/ 0 w 1575972"/>
                <a:gd name="connsiteY3" fmla="*/ 0 h 257442"/>
                <a:gd name="connsiteX0" fmla="*/ 1575972 w 1575972"/>
                <a:gd name="connsiteY0" fmla="*/ 0 h 257442"/>
                <a:gd name="connsiteX1" fmla="*/ 1521250 w 1575972"/>
                <a:gd name="connsiteY1" fmla="*/ 257442 h 257442"/>
                <a:gd name="connsiteX2" fmla="*/ 0 w 1575972"/>
                <a:gd name="connsiteY2" fmla="*/ 257442 h 257442"/>
                <a:gd name="connsiteX3" fmla="*/ 0 w 1575972"/>
                <a:gd name="connsiteY3" fmla="*/ 0 h 257442"/>
                <a:gd name="connsiteX0" fmla="*/ 1575973 w 1575973"/>
                <a:gd name="connsiteY0" fmla="*/ 0 h 257442"/>
                <a:gd name="connsiteX1" fmla="*/ 1521251 w 1575973"/>
                <a:gd name="connsiteY1" fmla="*/ 257442 h 257442"/>
                <a:gd name="connsiteX2" fmla="*/ 0 w 1575973"/>
                <a:gd name="connsiteY2" fmla="*/ 257442 h 257442"/>
                <a:gd name="connsiteX3" fmla="*/ 1 w 1575973"/>
                <a:gd name="connsiteY3" fmla="*/ 0 h 257442"/>
                <a:gd name="connsiteX0" fmla="*/ 1575973 w 1575973"/>
                <a:gd name="connsiteY0" fmla="*/ 0 h 257442"/>
                <a:gd name="connsiteX1" fmla="*/ 1521251 w 1575973"/>
                <a:gd name="connsiteY1" fmla="*/ 257442 h 257442"/>
                <a:gd name="connsiteX2" fmla="*/ 0 w 1575973"/>
                <a:gd name="connsiteY2" fmla="*/ 257442 h 257442"/>
                <a:gd name="connsiteX3" fmla="*/ 1 w 1575973"/>
                <a:gd name="connsiteY3" fmla="*/ 0 h 257442"/>
                <a:gd name="connsiteX0" fmla="*/ 1728258 w 1728258"/>
                <a:gd name="connsiteY0" fmla="*/ 0 h 257442"/>
                <a:gd name="connsiteX1" fmla="*/ 1521251 w 1728258"/>
                <a:gd name="connsiteY1" fmla="*/ 257442 h 257442"/>
                <a:gd name="connsiteX2" fmla="*/ 0 w 1728258"/>
                <a:gd name="connsiteY2" fmla="*/ 257442 h 257442"/>
                <a:gd name="connsiteX3" fmla="*/ 1 w 1728258"/>
                <a:gd name="connsiteY3" fmla="*/ 0 h 257442"/>
                <a:gd name="connsiteX0" fmla="*/ 1728258 w 1728258"/>
                <a:gd name="connsiteY0" fmla="*/ 0 h 257442"/>
                <a:gd name="connsiteX1" fmla="*/ 1673536 w 1728258"/>
                <a:gd name="connsiteY1" fmla="*/ 257442 h 257442"/>
                <a:gd name="connsiteX2" fmla="*/ 0 w 1728258"/>
                <a:gd name="connsiteY2" fmla="*/ 257442 h 257442"/>
                <a:gd name="connsiteX3" fmla="*/ 1 w 1728258"/>
                <a:gd name="connsiteY3" fmla="*/ 0 h 257442"/>
                <a:gd name="connsiteX0" fmla="*/ 1728258 w 1728258"/>
                <a:gd name="connsiteY0" fmla="*/ 0 h 257442"/>
                <a:gd name="connsiteX1" fmla="*/ 1673536 w 1728258"/>
                <a:gd name="connsiteY1" fmla="*/ 257442 h 257442"/>
                <a:gd name="connsiteX2" fmla="*/ 0 w 1728258"/>
                <a:gd name="connsiteY2" fmla="*/ 257442 h 257442"/>
                <a:gd name="connsiteX3" fmla="*/ 1 w 1728258"/>
                <a:gd name="connsiteY3" fmla="*/ 0 h 257442"/>
                <a:gd name="connsiteX0" fmla="*/ 1728258 w 1728258"/>
                <a:gd name="connsiteY0" fmla="*/ 0 h 257442"/>
                <a:gd name="connsiteX1" fmla="*/ 1673536 w 1728258"/>
                <a:gd name="connsiteY1" fmla="*/ 257442 h 257442"/>
                <a:gd name="connsiteX2" fmla="*/ 0 w 1728258"/>
                <a:gd name="connsiteY2" fmla="*/ 257442 h 257442"/>
                <a:gd name="connsiteX3" fmla="*/ 0 w 1728258"/>
                <a:gd name="connsiteY3" fmla="*/ 0 h 257442"/>
                <a:gd name="connsiteX0" fmla="*/ 1888557 w 1888557"/>
                <a:gd name="connsiteY0" fmla="*/ 0 h 257442"/>
                <a:gd name="connsiteX1" fmla="*/ 16735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989547 w 1989547"/>
                <a:gd name="connsiteY0" fmla="*/ 0 h 257442"/>
                <a:gd name="connsiteX1" fmla="*/ 1833836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1989547 w 1989547"/>
                <a:gd name="connsiteY0" fmla="*/ 0 h 257442"/>
                <a:gd name="connsiteX1" fmla="*/ 1934826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1989547 w 1989547"/>
                <a:gd name="connsiteY0" fmla="*/ 0 h 257442"/>
                <a:gd name="connsiteX1" fmla="*/ 1934826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1989547 w 1989547"/>
                <a:gd name="connsiteY0" fmla="*/ 0 h 257442"/>
                <a:gd name="connsiteX1" fmla="*/ 1934826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2141832 w 2141832"/>
                <a:gd name="connsiteY0" fmla="*/ 0 h 257442"/>
                <a:gd name="connsiteX1" fmla="*/ 1934826 w 2141832"/>
                <a:gd name="connsiteY1" fmla="*/ 257442 h 257442"/>
                <a:gd name="connsiteX2" fmla="*/ 0 w 2141832"/>
                <a:gd name="connsiteY2" fmla="*/ 257442 h 257442"/>
                <a:gd name="connsiteX3" fmla="*/ 0 w 2141832"/>
                <a:gd name="connsiteY3" fmla="*/ 0 h 257442"/>
                <a:gd name="connsiteX0" fmla="*/ 2141832 w 2141832"/>
                <a:gd name="connsiteY0" fmla="*/ 0 h 257442"/>
                <a:gd name="connsiteX1" fmla="*/ 2087110 w 2141832"/>
                <a:gd name="connsiteY1" fmla="*/ 257442 h 257442"/>
                <a:gd name="connsiteX2" fmla="*/ 0 w 2141832"/>
                <a:gd name="connsiteY2" fmla="*/ 257442 h 257442"/>
                <a:gd name="connsiteX3" fmla="*/ 0 w 2141832"/>
                <a:gd name="connsiteY3" fmla="*/ 0 h 257442"/>
                <a:gd name="connsiteX0" fmla="*/ 2141833 w 2141833"/>
                <a:gd name="connsiteY0" fmla="*/ 0 h 257442"/>
                <a:gd name="connsiteX1" fmla="*/ 2087111 w 2141833"/>
                <a:gd name="connsiteY1" fmla="*/ 257442 h 257442"/>
                <a:gd name="connsiteX2" fmla="*/ 0 w 2141833"/>
                <a:gd name="connsiteY2" fmla="*/ 257442 h 257442"/>
                <a:gd name="connsiteX3" fmla="*/ 1 w 2141833"/>
                <a:gd name="connsiteY3" fmla="*/ 0 h 257442"/>
                <a:gd name="connsiteX0" fmla="*/ 2141833 w 2141833"/>
                <a:gd name="connsiteY0" fmla="*/ 0 h 257442"/>
                <a:gd name="connsiteX1" fmla="*/ 2087111 w 2141833"/>
                <a:gd name="connsiteY1" fmla="*/ 257442 h 257442"/>
                <a:gd name="connsiteX2" fmla="*/ 0 w 2141833"/>
                <a:gd name="connsiteY2" fmla="*/ 257442 h 257442"/>
                <a:gd name="connsiteX3" fmla="*/ 1 w 2141833"/>
                <a:gd name="connsiteY3" fmla="*/ 0 h 257442"/>
                <a:gd name="connsiteX0" fmla="*/ 2310149 w 2310149"/>
                <a:gd name="connsiteY0" fmla="*/ 0 h 257442"/>
                <a:gd name="connsiteX1" fmla="*/ 2087111 w 2310149"/>
                <a:gd name="connsiteY1" fmla="*/ 257442 h 257442"/>
                <a:gd name="connsiteX2" fmla="*/ 0 w 2310149"/>
                <a:gd name="connsiteY2" fmla="*/ 257442 h 257442"/>
                <a:gd name="connsiteX3" fmla="*/ 1 w 2310149"/>
                <a:gd name="connsiteY3" fmla="*/ 0 h 257442"/>
                <a:gd name="connsiteX0" fmla="*/ 2310149 w 2310149"/>
                <a:gd name="connsiteY0" fmla="*/ 0 h 257442"/>
                <a:gd name="connsiteX1" fmla="*/ 2255428 w 2310149"/>
                <a:gd name="connsiteY1" fmla="*/ 257442 h 257442"/>
                <a:gd name="connsiteX2" fmla="*/ 0 w 2310149"/>
                <a:gd name="connsiteY2" fmla="*/ 257442 h 257442"/>
                <a:gd name="connsiteX3" fmla="*/ 1 w 2310149"/>
                <a:gd name="connsiteY3" fmla="*/ 0 h 257442"/>
                <a:gd name="connsiteX0" fmla="*/ 2310148 w 2310148"/>
                <a:gd name="connsiteY0" fmla="*/ 0 h 257442"/>
                <a:gd name="connsiteX1" fmla="*/ 2255427 w 2310148"/>
                <a:gd name="connsiteY1" fmla="*/ 257442 h 257442"/>
                <a:gd name="connsiteX2" fmla="*/ 0 w 2310148"/>
                <a:gd name="connsiteY2" fmla="*/ 257442 h 257442"/>
                <a:gd name="connsiteX3" fmla="*/ 0 w 2310148"/>
                <a:gd name="connsiteY3" fmla="*/ 0 h 257442"/>
                <a:gd name="connsiteX0" fmla="*/ 2310149 w 2310149"/>
                <a:gd name="connsiteY0" fmla="*/ 0 h 257442"/>
                <a:gd name="connsiteX1" fmla="*/ 2255428 w 2310149"/>
                <a:gd name="connsiteY1" fmla="*/ 257442 h 257442"/>
                <a:gd name="connsiteX2" fmla="*/ 1 w 2310149"/>
                <a:gd name="connsiteY2" fmla="*/ 257442 h 257442"/>
                <a:gd name="connsiteX3" fmla="*/ 0 w 2310149"/>
                <a:gd name="connsiteY3" fmla="*/ 0 h 257442"/>
                <a:gd name="connsiteX0" fmla="*/ 2478463 w 2478463"/>
                <a:gd name="connsiteY0" fmla="*/ 0 h 257442"/>
                <a:gd name="connsiteX1" fmla="*/ 2255428 w 2478463"/>
                <a:gd name="connsiteY1" fmla="*/ 257442 h 257442"/>
                <a:gd name="connsiteX2" fmla="*/ 1 w 2478463"/>
                <a:gd name="connsiteY2" fmla="*/ 257442 h 257442"/>
                <a:gd name="connsiteX3" fmla="*/ 0 w 2478463"/>
                <a:gd name="connsiteY3" fmla="*/ 0 h 257442"/>
                <a:gd name="connsiteX0" fmla="*/ 2478463 w 2478463"/>
                <a:gd name="connsiteY0" fmla="*/ 0 h 257442"/>
                <a:gd name="connsiteX1" fmla="*/ 2423742 w 2478463"/>
                <a:gd name="connsiteY1" fmla="*/ 257442 h 257442"/>
                <a:gd name="connsiteX2" fmla="*/ 1 w 2478463"/>
                <a:gd name="connsiteY2" fmla="*/ 257442 h 257442"/>
                <a:gd name="connsiteX3" fmla="*/ 0 w 2478463"/>
                <a:gd name="connsiteY3" fmla="*/ 0 h 257442"/>
                <a:gd name="connsiteX0" fmla="*/ 2478463 w 2478463"/>
                <a:gd name="connsiteY0" fmla="*/ 0 h 257442"/>
                <a:gd name="connsiteX1" fmla="*/ 2423742 w 2478463"/>
                <a:gd name="connsiteY1" fmla="*/ 257442 h 257442"/>
                <a:gd name="connsiteX2" fmla="*/ 1 w 2478463"/>
                <a:gd name="connsiteY2" fmla="*/ 257442 h 257442"/>
                <a:gd name="connsiteX3" fmla="*/ 0 w 2478463"/>
                <a:gd name="connsiteY3" fmla="*/ 0 h 257442"/>
                <a:gd name="connsiteX0" fmla="*/ 2478462 w 2478462"/>
                <a:gd name="connsiteY0" fmla="*/ 0 h 257442"/>
                <a:gd name="connsiteX1" fmla="*/ 2423741 w 2478462"/>
                <a:gd name="connsiteY1" fmla="*/ 257442 h 257442"/>
                <a:gd name="connsiteX2" fmla="*/ 0 w 2478462"/>
                <a:gd name="connsiteY2" fmla="*/ 257442 h 257442"/>
                <a:gd name="connsiteX3" fmla="*/ 0 w 2478462"/>
                <a:gd name="connsiteY3" fmla="*/ 0 h 257442"/>
                <a:gd name="connsiteX0" fmla="*/ 2630747 w 2630747"/>
                <a:gd name="connsiteY0" fmla="*/ 0 h 257442"/>
                <a:gd name="connsiteX1" fmla="*/ 2423741 w 2630747"/>
                <a:gd name="connsiteY1" fmla="*/ 257442 h 257442"/>
                <a:gd name="connsiteX2" fmla="*/ 0 w 2630747"/>
                <a:gd name="connsiteY2" fmla="*/ 257442 h 257442"/>
                <a:gd name="connsiteX3" fmla="*/ 0 w 2630747"/>
                <a:gd name="connsiteY3" fmla="*/ 0 h 257442"/>
                <a:gd name="connsiteX0" fmla="*/ 2630747 w 2630747"/>
                <a:gd name="connsiteY0" fmla="*/ 0 h 257442"/>
                <a:gd name="connsiteX1" fmla="*/ 2576026 w 2630747"/>
                <a:gd name="connsiteY1" fmla="*/ 257442 h 257442"/>
                <a:gd name="connsiteX2" fmla="*/ 0 w 2630747"/>
                <a:gd name="connsiteY2" fmla="*/ 257442 h 257442"/>
                <a:gd name="connsiteX3" fmla="*/ 0 w 2630747"/>
                <a:gd name="connsiteY3" fmla="*/ 0 h 257442"/>
                <a:gd name="connsiteX0" fmla="*/ 2630748 w 2630748"/>
                <a:gd name="connsiteY0" fmla="*/ 0 h 257442"/>
                <a:gd name="connsiteX1" fmla="*/ 2576027 w 2630748"/>
                <a:gd name="connsiteY1" fmla="*/ 257442 h 257442"/>
                <a:gd name="connsiteX2" fmla="*/ 0 w 2630748"/>
                <a:gd name="connsiteY2" fmla="*/ 257442 h 257442"/>
                <a:gd name="connsiteX3" fmla="*/ 1 w 2630748"/>
                <a:gd name="connsiteY3" fmla="*/ 0 h 257442"/>
                <a:gd name="connsiteX0" fmla="*/ 2630748 w 2630748"/>
                <a:gd name="connsiteY0" fmla="*/ 0 h 257442"/>
                <a:gd name="connsiteX1" fmla="*/ 2576027 w 2630748"/>
                <a:gd name="connsiteY1" fmla="*/ 257442 h 257442"/>
                <a:gd name="connsiteX2" fmla="*/ 0 w 2630748"/>
                <a:gd name="connsiteY2" fmla="*/ 257442 h 257442"/>
                <a:gd name="connsiteX3" fmla="*/ 0 w 2630748"/>
                <a:gd name="connsiteY3" fmla="*/ 0 h 257442"/>
                <a:gd name="connsiteX0" fmla="*/ 2783033 w 2783033"/>
                <a:gd name="connsiteY0" fmla="*/ 0 h 257442"/>
                <a:gd name="connsiteX1" fmla="*/ 2576027 w 2783033"/>
                <a:gd name="connsiteY1" fmla="*/ 257442 h 257442"/>
                <a:gd name="connsiteX2" fmla="*/ 0 w 2783033"/>
                <a:gd name="connsiteY2" fmla="*/ 257442 h 257442"/>
                <a:gd name="connsiteX3" fmla="*/ 0 w 2783033"/>
                <a:gd name="connsiteY3" fmla="*/ 0 h 257442"/>
                <a:gd name="connsiteX0" fmla="*/ 2783033 w 2783033"/>
                <a:gd name="connsiteY0" fmla="*/ 0 h 257442"/>
                <a:gd name="connsiteX1" fmla="*/ 2728312 w 2783033"/>
                <a:gd name="connsiteY1" fmla="*/ 257442 h 257442"/>
                <a:gd name="connsiteX2" fmla="*/ 0 w 2783033"/>
                <a:gd name="connsiteY2" fmla="*/ 257442 h 257442"/>
                <a:gd name="connsiteX3" fmla="*/ 0 w 2783033"/>
                <a:gd name="connsiteY3" fmla="*/ 0 h 257442"/>
                <a:gd name="connsiteX0" fmla="*/ 2783033 w 2783033"/>
                <a:gd name="connsiteY0" fmla="*/ 0 h 257442"/>
                <a:gd name="connsiteX1" fmla="*/ 2728312 w 2783033"/>
                <a:gd name="connsiteY1" fmla="*/ 257442 h 257442"/>
                <a:gd name="connsiteX2" fmla="*/ 0 w 2783033"/>
                <a:gd name="connsiteY2" fmla="*/ 257442 h 257442"/>
                <a:gd name="connsiteX3" fmla="*/ 0 w 2783033"/>
                <a:gd name="connsiteY3" fmla="*/ 0 h 257442"/>
                <a:gd name="connsiteX0" fmla="*/ 2783033 w 2783033"/>
                <a:gd name="connsiteY0" fmla="*/ 0 h 257442"/>
                <a:gd name="connsiteX1" fmla="*/ 2728312 w 2783033"/>
                <a:gd name="connsiteY1" fmla="*/ 257442 h 257442"/>
                <a:gd name="connsiteX2" fmla="*/ 0 w 2783033"/>
                <a:gd name="connsiteY2" fmla="*/ 257442 h 257442"/>
                <a:gd name="connsiteX3" fmla="*/ 0 w 2783033"/>
                <a:gd name="connsiteY3" fmla="*/ 0 h 257442"/>
                <a:gd name="connsiteX0" fmla="*/ 2884023 w 2884023"/>
                <a:gd name="connsiteY0" fmla="*/ 0 h 257442"/>
                <a:gd name="connsiteX1" fmla="*/ 2728312 w 2884023"/>
                <a:gd name="connsiteY1" fmla="*/ 257442 h 257442"/>
                <a:gd name="connsiteX2" fmla="*/ 0 w 2884023"/>
                <a:gd name="connsiteY2" fmla="*/ 257442 h 257442"/>
                <a:gd name="connsiteX3" fmla="*/ 0 w 2884023"/>
                <a:gd name="connsiteY3" fmla="*/ 0 h 257442"/>
                <a:gd name="connsiteX0" fmla="*/ 2884023 w 2884023"/>
                <a:gd name="connsiteY0" fmla="*/ 0 h 257442"/>
                <a:gd name="connsiteX1" fmla="*/ 2829302 w 2884023"/>
                <a:gd name="connsiteY1" fmla="*/ 257442 h 257442"/>
                <a:gd name="connsiteX2" fmla="*/ 0 w 2884023"/>
                <a:gd name="connsiteY2" fmla="*/ 257442 h 257442"/>
                <a:gd name="connsiteX3" fmla="*/ 0 w 2884023"/>
                <a:gd name="connsiteY3" fmla="*/ 0 h 257442"/>
                <a:gd name="connsiteX0" fmla="*/ 2884023 w 2884023"/>
                <a:gd name="connsiteY0" fmla="*/ 0 h 257442"/>
                <a:gd name="connsiteX1" fmla="*/ 2829302 w 2884023"/>
                <a:gd name="connsiteY1" fmla="*/ 257442 h 257442"/>
                <a:gd name="connsiteX2" fmla="*/ 0 w 2884023"/>
                <a:gd name="connsiteY2" fmla="*/ 257442 h 257442"/>
                <a:gd name="connsiteX3" fmla="*/ 0 w 2884023"/>
                <a:gd name="connsiteY3" fmla="*/ 0 h 257442"/>
                <a:gd name="connsiteX0" fmla="*/ 2884023 w 2884023"/>
                <a:gd name="connsiteY0" fmla="*/ 0 h 257442"/>
                <a:gd name="connsiteX1" fmla="*/ 2829302 w 2884023"/>
                <a:gd name="connsiteY1" fmla="*/ 257442 h 257442"/>
                <a:gd name="connsiteX2" fmla="*/ 0 w 2884023"/>
                <a:gd name="connsiteY2" fmla="*/ 257442 h 257442"/>
                <a:gd name="connsiteX3" fmla="*/ 0 w 2884023"/>
                <a:gd name="connsiteY3" fmla="*/ 0 h 257442"/>
                <a:gd name="connsiteX0" fmla="*/ 3052337 w 3052337"/>
                <a:gd name="connsiteY0" fmla="*/ 0 h 257442"/>
                <a:gd name="connsiteX1" fmla="*/ 2829302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2884023 w 2997616"/>
                <a:gd name="connsiteY0" fmla="*/ 0 h 257442"/>
                <a:gd name="connsiteX1" fmla="*/ 2997616 w 2997616"/>
                <a:gd name="connsiteY1" fmla="*/ 257442 h 257442"/>
                <a:gd name="connsiteX2" fmla="*/ 0 w 2997616"/>
                <a:gd name="connsiteY2" fmla="*/ 257442 h 257442"/>
                <a:gd name="connsiteX3" fmla="*/ 0 w 2997616"/>
                <a:gd name="connsiteY3" fmla="*/ 0 h 257442"/>
                <a:gd name="connsiteX0" fmla="*/ 2884023 w 2884023"/>
                <a:gd name="connsiteY0" fmla="*/ 0 h 257442"/>
                <a:gd name="connsiteX1" fmla="*/ 2829302 w 2884023"/>
                <a:gd name="connsiteY1" fmla="*/ 257442 h 257442"/>
                <a:gd name="connsiteX2" fmla="*/ 0 w 2884023"/>
                <a:gd name="connsiteY2" fmla="*/ 257442 h 257442"/>
                <a:gd name="connsiteX3" fmla="*/ 0 w 2884023"/>
                <a:gd name="connsiteY3" fmla="*/ 0 h 257442"/>
                <a:gd name="connsiteX0" fmla="*/ 2884023 w 2884023"/>
                <a:gd name="connsiteY0" fmla="*/ 0 h 257442"/>
                <a:gd name="connsiteX1" fmla="*/ 2829302 w 2884023"/>
                <a:gd name="connsiteY1" fmla="*/ 257442 h 257442"/>
                <a:gd name="connsiteX2" fmla="*/ 1 w 2884023"/>
                <a:gd name="connsiteY2" fmla="*/ 257442 h 257442"/>
                <a:gd name="connsiteX3" fmla="*/ 0 w 2884023"/>
                <a:gd name="connsiteY3" fmla="*/ 0 h 257442"/>
                <a:gd name="connsiteX0" fmla="*/ 2884022 w 2884022"/>
                <a:gd name="connsiteY0" fmla="*/ 0 h 257442"/>
                <a:gd name="connsiteX1" fmla="*/ 2829301 w 2884022"/>
                <a:gd name="connsiteY1" fmla="*/ 257442 h 257442"/>
                <a:gd name="connsiteX2" fmla="*/ 0 w 2884022"/>
                <a:gd name="connsiteY2" fmla="*/ 257442 h 257442"/>
                <a:gd name="connsiteX3" fmla="*/ 0 w 2884022"/>
                <a:gd name="connsiteY3" fmla="*/ 0 h 257442"/>
                <a:gd name="connsiteX0" fmla="*/ 2630747 w 2829301"/>
                <a:gd name="connsiteY0" fmla="*/ 0 h 257442"/>
                <a:gd name="connsiteX1" fmla="*/ 2829301 w 2829301"/>
                <a:gd name="connsiteY1" fmla="*/ 257442 h 257442"/>
                <a:gd name="connsiteX2" fmla="*/ 0 w 2829301"/>
                <a:gd name="connsiteY2" fmla="*/ 257442 h 257442"/>
                <a:gd name="connsiteX3" fmla="*/ 0 w 2829301"/>
                <a:gd name="connsiteY3" fmla="*/ 0 h 257442"/>
                <a:gd name="connsiteX0" fmla="*/ 2630747 w 2630747"/>
                <a:gd name="connsiteY0" fmla="*/ 0 h 257442"/>
                <a:gd name="connsiteX1" fmla="*/ 2576027 w 2630747"/>
                <a:gd name="connsiteY1" fmla="*/ 257442 h 257442"/>
                <a:gd name="connsiteX2" fmla="*/ 0 w 2630747"/>
                <a:gd name="connsiteY2" fmla="*/ 257442 h 257442"/>
                <a:gd name="connsiteX3" fmla="*/ 0 w 2630747"/>
                <a:gd name="connsiteY3" fmla="*/ 0 h 257442"/>
                <a:gd name="connsiteX0" fmla="*/ 2630747 w 2630747"/>
                <a:gd name="connsiteY0" fmla="*/ 0 h 257442"/>
                <a:gd name="connsiteX1" fmla="*/ 2576027 w 2630747"/>
                <a:gd name="connsiteY1" fmla="*/ 257442 h 257442"/>
                <a:gd name="connsiteX2" fmla="*/ 0 w 2630747"/>
                <a:gd name="connsiteY2" fmla="*/ 257442 h 257442"/>
                <a:gd name="connsiteX3" fmla="*/ 0 w 2630747"/>
                <a:gd name="connsiteY3" fmla="*/ 0 h 257442"/>
                <a:gd name="connsiteX0" fmla="*/ 2630747 w 2630747"/>
                <a:gd name="connsiteY0" fmla="*/ 0 h 257442"/>
                <a:gd name="connsiteX1" fmla="*/ 2576027 w 2630747"/>
                <a:gd name="connsiteY1" fmla="*/ 257442 h 257442"/>
                <a:gd name="connsiteX2" fmla="*/ 0 w 2630747"/>
                <a:gd name="connsiteY2" fmla="*/ 257442 h 257442"/>
                <a:gd name="connsiteX3" fmla="*/ 0 w 2630747"/>
                <a:gd name="connsiteY3" fmla="*/ 0 h 257442"/>
                <a:gd name="connsiteX0" fmla="*/ 2478462 w 2576027"/>
                <a:gd name="connsiteY0" fmla="*/ 0 h 257442"/>
                <a:gd name="connsiteX1" fmla="*/ 2576027 w 2576027"/>
                <a:gd name="connsiteY1" fmla="*/ 257442 h 257442"/>
                <a:gd name="connsiteX2" fmla="*/ 0 w 2576027"/>
                <a:gd name="connsiteY2" fmla="*/ 257442 h 257442"/>
                <a:gd name="connsiteX3" fmla="*/ 0 w 2576027"/>
                <a:gd name="connsiteY3" fmla="*/ 0 h 257442"/>
                <a:gd name="connsiteX0" fmla="*/ 2478462 w 2478462"/>
                <a:gd name="connsiteY0" fmla="*/ 0 h 257442"/>
                <a:gd name="connsiteX1" fmla="*/ 2423741 w 2478462"/>
                <a:gd name="connsiteY1" fmla="*/ 257442 h 257442"/>
                <a:gd name="connsiteX2" fmla="*/ 0 w 2478462"/>
                <a:gd name="connsiteY2" fmla="*/ 257442 h 257442"/>
                <a:gd name="connsiteX3" fmla="*/ 0 w 2478462"/>
                <a:gd name="connsiteY3" fmla="*/ 0 h 257442"/>
                <a:gd name="connsiteX0" fmla="*/ 2478462 w 2478462"/>
                <a:gd name="connsiteY0" fmla="*/ 0 h 257442"/>
                <a:gd name="connsiteX1" fmla="*/ 2423741 w 2478462"/>
                <a:gd name="connsiteY1" fmla="*/ 257442 h 257442"/>
                <a:gd name="connsiteX2" fmla="*/ 0 w 2478462"/>
                <a:gd name="connsiteY2" fmla="*/ 257442 h 257442"/>
                <a:gd name="connsiteX3" fmla="*/ 0 w 2478462"/>
                <a:gd name="connsiteY3" fmla="*/ 0 h 257442"/>
                <a:gd name="connsiteX0" fmla="*/ 2478462 w 2478462"/>
                <a:gd name="connsiteY0" fmla="*/ 0 h 257442"/>
                <a:gd name="connsiteX1" fmla="*/ 2423741 w 2478462"/>
                <a:gd name="connsiteY1" fmla="*/ 257442 h 257442"/>
                <a:gd name="connsiteX2" fmla="*/ 0 w 2478462"/>
                <a:gd name="connsiteY2" fmla="*/ 257442 h 257442"/>
                <a:gd name="connsiteX3" fmla="*/ 0 w 2478462"/>
                <a:gd name="connsiteY3" fmla="*/ 0 h 257442"/>
                <a:gd name="connsiteX0" fmla="*/ 2310148 w 2423741"/>
                <a:gd name="connsiteY0" fmla="*/ 0 h 257442"/>
                <a:gd name="connsiteX1" fmla="*/ 2423741 w 2423741"/>
                <a:gd name="connsiteY1" fmla="*/ 257442 h 257442"/>
                <a:gd name="connsiteX2" fmla="*/ 0 w 2423741"/>
                <a:gd name="connsiteY2" fmla="*/ 257442 h 257442"/>
                <a:gd name="connsiteX3" fmla="*/ 0 w 2423741"/>
                <a:gd name="connsiteY3" fmla="*/ 0 h 257442"/>
                <a:gd name="connsiteX0" fmla="*/ 2310148 w 2310148"/>
                <a:gd name="connsiteY0" fmla="*/ 0 h 257442"/>
                <a:gd name="connsiteX1" fmla="*/ 2255428 w 2310148"/>
                <a:gd name="connsiteY1" fmla="*/ 257442 h 257442"/>
                <a:gd name="connsiteX2" fmla="*/ 0 w 2310148"/>
                <a:gd name="connsiteY2" fmla="*/ 257442 h 257442"/>
                <a:gd name="connsiteX3" fmla="*/ 0 w 2310148"/>
                <a:gd name="connsiteY3" fmla="*/ 0 h 257442"/>
                <a:gd name="connsiteX0" fmla="*/ 2310148 w 2310148"/>
                <a:gd name="connsiteY0" fmla="*/ 0 h 257442"/>
                <a:gd name="connsiteX1" fmla="*/ 2255428 w 2310148"/>
                <a:gd name="connsiteY1" fmla="*/ 257442 h 257442"/>
                <a:gd name="connsiteX2" fmla="*/ 1 w 2310148"/>
                <a:gd name="connsiteY2" fmla="*/ 257442 h 257442"/>
                <a:gd name="connsiteX3" fmla="*/ 0 w 2310148"/>
                <a:gd name="connsiteY3" fmla="*/ 0 h 257442"/>
                <a:gd name="connsiteX0" fmla="*/ 2310147 w 2310147"/>
                <a:gd name="connsiteY0" fmla="*/ 0 h 257442"/>
                <a:gd name="connsiteX1" fmla="*/ 2255427 w 2310147"/>
                <a:gd name="connsiteY1" fmla="*/ 257442 h 257442"/>
                <a:gd name="connsiteX2" fmla="*/ 0 w 2310147"/>
                <a:gd name="connsiteY2" fmla="*/ 257442 h 257442"/>
                <a:gd name="connsiteX3" fmla="*/ 0 w 2310147"/>
                <a:gd name="connsiteY3" fmla="*/ 0 h 257442"/>
                <a:gd name="connsiteX0" fmla="*/ 2141832 w 2255427"/>
                <a:gd name="connsiteY0" fmla="*/ 0 h 257442"/>
                <a:gd name="connsiteX1" fmla="*/ 2255427 w 2255427"/>
                <a:gd name="connsiteY1" fmla="*/ 257442 h 257442"/>
                <a:gd name="connsiteX2" fmla="*/ 0 w 2255427"/>
                <a:gd name="connsiteY2" fmla="*/ 257442 h 257442"/>
                <a:gd name="connsiteX3" fmla="*/ 0 w 2255427"/>
                <a:gd name="connsiteY3" fmla="*/ 0 h 257442"/>
                <a:gd name="connsiteX0" fmla="*/ 2141832 w 2141832"/>
                <a:gd name="connsiteY0" fmla="*/ 0 h 257442"/>
                <a:gd name="connsiteX1" fmla="*/ 2087111 w 2141832"/>
                <a:gd name="connsiteY1" fmla="*/ 257442 h 257442"/>
                <a:gd name="connsiteX2" fmla="*/ 0 w 2141832"/>
                <a:gd name="connsiteY2" fmla="*/ 257442 h 257442"/>
                <a:gd name="connsiteX3" fmla="*/ 0 w 2141832"/>
                <a:gd name="connsiteY3" fmla="*/ 0 h 257442"/>
                <a:gd name="connsiteX0" fmla="*/ 2141832 w 2141832"/>
                <a:gd name="connsiteY0" fmla="*/ 0 h 257442"/>
                <a:gd name="connsiteX1" fmla="*/ 2087111 w 2141832"/>
                <a:gd name="connsiteY1" fmla="*/ 257442 h 257442"/>
                <a:gd name="connsiteX2" fmla="*/ 0 w 2141832"/>
                <a:gd name="connsiteY2" fmla="*/ 257442 h 257442"/>
                <a:gd name="connsiteX3" fmla="*/ 0 w 2141832"/>
                <a:gd name="connsiteY3" fmla="*/ 0 h 257442"/>
                <a:gd name="connsiteX0" fmla="*/ 2141832 w 2141832"/>
                <a:gd name="connsiteY0" fmla="*/ 0 h 257442"/>
                <a:gd name="connsiteX1" fmla="*/ 2087111 w 2141832"/>
                <a:gd name="connsiteY1" fmla="*/ 257442 h 257442"/>
                <a:gd name="connsiteX2" fmla="*/ 0 w 2141832"/>
                <a:gd name="connsiteY2" fmla="*/ 257442 h 257442"/>
                <a:gd name="connsiteX3" fmla="*/ 0 w 2141832"/>
                <a:gd name="connsiteY3" fmla="*/ 0 h 257442"/>
                <a:gd name="connsiteX0" fmla="*/ 1989547 w 2087111"/>
                <a:gd name="connsiteY0" fmla="*/ 0 h 257442"/>
                <a:gd name="connsiteX1" fmla="*/ 2087111 w 2087111"/>
                <a:gd name="connsiteY1" fmla="*/ 257442 h 257442"/>
                <a:gd name="connsiteX2" fmla="*/ 0 w 2087111"/>
                <a:gd name="connsiteY2" fmla="*/ 257442 h 257442"/>
                <a:gd name="connsiteX3" fmla="*/ 0 w 2087111"/>
                <a:gd name="connsiteY3" fmla="*/ 0 h 257442"/>
                <a:gd name="connsiteX0" fmla="*/ 1989547 w 1989547"/>
                <a:gd name="connsiteY0" fmla="*/ 0 h 257442"/>
                <a:gd name="connsiteX1" fmla="*/ 1934827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1989547 w 1989547"/>
                <a:gd name="connsiteY0" fmla="*/ 0 h 257442"/>
                <a:gd name="connsiteX1" fmla="*/ 1934827 w 1989547"/>
                <a:gd name="connsiteY1" fmla="*/ 257442 h 257442"/>
                <a:gd name="connsiteX2" fmla="*/ 1 w 1989547"/>
                <a:gd name="connsiteY2" fmla="*/ 257442 h 257442"/>
                <a:gd name="connsiteX3" fmla="*/ 0 w 1989547"/>
                <a:gd name="connsiteY3" fmla="*/ 0 h 257442"/>
                <a:gd name="connsiteX0" fmla="*/ 1989546 w 1989546"/>
                <a:gd name="connsiteY0" fmla="*/ 0 h 257442"/>
                <a:gd name="connsiteX1" fmla="*/ 1934826 w 1989546"/>
                <a:gd name="connsiteY1" fmla="*/ 257442 h 257442"/>
                <a:gd name="connsiteX2" fmla="*/ 0 w 1989546"/>
                <a:gd name="connsiteY2" fmla="*/ 257442 h 257442"/>
                <a:gd name="connsiteX3" fmla="*/ 0 w 1989546"/>
                <a:gd name="connsiteY3" fmla="*/ 0 h 257442"/>
                <a:gd name="connsiteX0" fmla="*/ 1888556 w 1934826"/>
                <a:gd name="connsiteY0" fmla="*/ 0 h 257442"/>
                <a:gd name="connsiteX1" fmla="*/ 1934826 w 1934826"/>
                <a:gd name="connsiteY1" fmla="*/ 257442 h 257442"/>
                <a:gd name="connsiteX2" fmla="*/ 0 w 1934826"/>
                <a:gd name="connsiteY2" fmla="*/ 257442 h 257442"/>
                <a:gd name="connsiteX3" fmla="*/ 0 w 1934826"/>
                <a:gd name="connsiteY3" fmla="*/ 0 h 257442"/>
                <a:gd name="connsiteX0" fmla="*/ 1888556 w 1888556"/>
                <a:gd name="connsiteY0" fmla="*/ 0 h 257442"/>
                <a:gd name="connsiteX1" fmla="*/ 1833835 w 1888556"/>
                <a:gd name="connsiteY1" fmla="*/ 257442 h 257442"/>
                <a:gd name="connsiteX2" fmla="*/ 0 w 1888556"/>
                <a:gd name="connsiteY2" fmla="*/ 257442 h 257442"/>
                <a:gd name="connsiteX3" fmla="*/ 0 w 1888556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1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1 w 1888557"/>
                <a:gd name="connsiteY3" fmla="*/ 0 h 257442"/>
                <a:gd name="connsiteX0" fmla="*/ 1728258 w 1833836"/>
                <a:gd name="connsiteY0" fmla="*/ 0 h 257442"/>
                <a:gd name="connsiteX1" fmla="*/ 1833836 w 1833836"/>
                <a:gd name="connsiteY1" fmla="*/ 257442 h 257442"/>
                <a:gd name="connsiteX2" fmla="*/ 0 w 1833836"/>
                <a:gd name="connsiteY2" fmla="*/ 257442 h 257442"/>
                <a:gd name="connsiteX3" fmla="*/ 1 w 1833836"/>
                <a:gd name="connsiteY3" fmla="*/ 0 h 257442"/>
                <a:gd name="connsiteX0" fmla="*/ 1728258 w 1728258"/>
                <a:gd name="connsiteY0" fmla="*/ 0 h 257442"/>
                <a:gd name="connsiteX1" fmla="*/ 1673537 w 1728258"/>
                <a:gd name="connsiteY1" fmla="*/ 257442 h 257442"/>
                <a:gd name="connsiteX2" fmla="*/ 0 w 1728258"/>
                <a:gd name="connsiteY2" fmla="*/ 257442 h 257442"/>
                <a:gd name="connsiteX3" fmla="*/ 1 w 1728258"/>
                <a:gd name="connsiteY3" fmla="*/ 0 h 257442"/>
                <a:gd name="connsiteX0" fmla="*/ 1728257 w 1728257"/>
                <a:gd name="connsiteY0" fmla="*/ 0 h 257442"/>
                <a:gd name="connsiteX1" fmla="*/ 1673536 w 1728257"/>
                <a:gd name="connsiteY1" fmla="*/ 257442 h 257442"/>
                <a:gd name="connsiteX2" fmla="*/ 0 w 1728257"/>
                <a:gd name="connsiteY2" fmla="*/ 257442 h 257442"/>
                <a:gd name="connsiteX3" fmla="*/ 0 w 1728257"/>
                <a:gd name="connsiteY3" fmla="*/ 0 h 257442"/>
                <a:gd name="connsiteX0" fmla="*/ 1728257 w 1728257"/>
                <a:gd name="connsiteY0" fmla="*/ 0 h 257442"/>
                <a:gd name="connsiteX1" fmla="*/ 1673536 w 1728257"/>
                <a:gd name="connsiteY1" fmla="*/ 257442 h 257442"/>
                <a:gd name="connsiteX2" fmla="*/ 0 w 1728257"/>
                <a:gd name="connsiteY2" fmla="*/ 257442 h 257442"/>
                <a:gd name="connsiteX3" fmla="*/ 0 w 1728257"/>
                <a:gd name="connsiteY3" fmla="*/ 0 h 257442"/>
                <a:gd name="connsiteX0" fmla="*/ 1575972 w 1673536"/>
                <a:gd name="connsiteY0" fmla="*/ 0 h 257442"/>
                <a:gd name="connsiteX1" fmla="*/ 1673536 w 1673536"/>
                <a:gd name="connsiteY1" fmla="*/ 257442 h 257442"/>
                <a:gd name="connsiteX2" fmla="*/ 0 w 1673536"/>
                <a:gd name="connsiteY2" fmla="*/ 257442 h 257442"/>
                <a:gd name="connsiteX3" fmla="*/ 0 w 1673536"/>
                <a:gd name="connsiteY3" fmla="*/ 0 h 257442"/>
                <a:gd name="connsiteX0" fmla="*/ 1575972 w 1575972"/>
                <a:gd name="connsiteY0" fmla="*/ 0 h 257442"/>
                <a:gd name="connsiteX1" fmla="*/ 1521251 w 1575972"/>
                <a:gd name="connsiteY1" fmla="*/ 257442 h 257442"/>
                <a:gd name="connsiteX2" fmla="*/ 0 w 1575972"/>
                <a:gd name="connsiteY2" fmla="*/ 257442 h 257442"/>
                <a:gd name="connsiteX3" fmla="*/ 0 w 1575972"/>
                <a:gd name="connsiteY3" fmla="*/ 0 h 257442"/>
                <a:gd name="connsiteX0" fmla="*/ 1575972 w 1575972"/>
                <a:gd name="connsiteY0" fmla="*/ 0 h 257442"/>
                <a:gd name="connsiteX1" fmla="*/ 1521251 w 1575972"/>
                <a:gd name="connsiteY1" fmla="*/ 257442 h 257442"/>
                <a:gd name="connsiteX2" fmla="*/ 0 w 1575972"/>
                <a:gd name="connsiteY2" fmla="*/ 257442 h 257442"/>
                <a:gd name="connsiteX3" fmla="*/ 0 w 1575972"/>
                <a:gd name="connsiteY3" fmla="*/ 0 h 257442"/>
                <a:gd name="connsiteX0" fmla="*/ 1575972 w 1575972"/>
                <a:gd name="connsiteY0" fmla="*/ 0 h 257442"/>
                <a:gd name="connsiteX1" fmla="*/ 1521251 w 1575972"/>
                <a:gd name="connsiteY1" fmla="*/ 257442 h 257442"/>
                <a:gd name="connsiteX2" fmla="*/ 0 w 1575972"/>
                <a:gd name="connsiteY2" fmla="*/ 257442 h 257442"/>
                <a:gd name="connsiteX3" fmla="*/ 0 w 1575972"/>
                <a:gd name="connsiteY3" fmla="*/ 0 h 257442"/>
                <a:gd name="connsiteX0" fmla="*/ 1474983 w 1521251"/>
                <a:gd name="connsiteY0" fmla="*/ 0 h 257442"/>
                <a:gd name="connsiteX1" fmla="*/ 1521251 w 1521251"/>
                <a:gd name="connsiteY1" fmla="*/ 257442 h 257442"/>
                <a:gd name="connsiteX2" fmla="*/ 0 w 1521251"/>
                <a:gd name="connsiteY2" fmla="*/ 257442 h 257442"/>
                <a:gd name="connsiteX3" fmla="*/ 0 w 1521251"/>
                <a:gd name="connsiteY3" fmla="*/ 0 h 257442"/>
                <a:gd name="connsiteX0" fmla="*/ 1474983 w 1474983"/>
                <a:gd name="connsiteY0" fmla="*/ 0 h 257442"/>
                <a:gd name="connsiteX1" fmla="*/ 1420263 w 1474983"/>
                <a:gd name="connsiteY1" fmla="*/ 257442 h 257442"/>
                <a:gd name="connsiteX2" fmla="*/ 0 w 1474983"/>
                <a:gd name="connsiteY2" fmla="*/ 257442 h 257442"/>
                <a:gd name="connsiteX3" fmla="*/ 0 w 1474983"/>
                <a:gd name="connsiteY3" fmla="*/ 0 h 257442"/>
                <a:gd name="connsiteX0" fmla="*/ 1474983 w 1474983"/>
                <a:gd name="connsiteY0" fmla="*/ 0 h 257442"/>
                <a:gd name="connsiteX1" fmla="*/ 1420263 w 1474983"/>
                <a:gd name="connsiteY1" fmla="*/ 257442 h 257442"/>
                <a:gd name="connsiteX2" fmla="*/ 1 w 1474983"/>
                <a:gd name="connsiteY2" fmla="*/ 257442 h 257442"/>
                <a:gd name="connsiteX3" fmla="*/ 0 w 1474983"/>
                <a:gd name="connsiteY3" fmla="*/ 0 h 257442"/>
                <a:gd name="connsiteX0" fmla="*/ 1474982 w 1474982"/>
                <a:gd name="connsiteY0" fmla="*/ 0 h 257442"/>
                <a:gd name="connsiteX1" fmla="*/ 1420262 w 1474982"/>
                <a:gd name="connsiteY1" fmla="*/ 257442 h 257442"/>
                <a:gd name="connsiteX2" fmla="*/ 0 w 1474982"/>
                <a:gd name="connsiteY2" fmla="*/ 257442 h 257442"/>
                <a:gd name="connsiteX3" fmla="*/ 0 w 1474982"/>
                <a:gd name="connsiteY3" fmla="*/ 0 h 257442"/>
                <a:gd name="connsiteX0" fmla="*/ 1314681 w 1420262"/>
                <a:gd name="connsiteY0" fmla="*/ 0 h 257442"/>
                <a:gd name="connsiteX1" fmla="*/ 1420262 w 1420262"/>
                <a:gd name="connsiteY1" fmla="*/ 257442 h 257442"/>
                <a:gd name="connsiteX2" fmla="*/ 0 w 1420262"/>
                <a:gd name="connsiteY2" fmla="*/ 257442 h 257442"/>
                <a:gd name="connsiteX3" fmla="*/ 0 w 1420262"/>
                <a:gd name="connsiteY3" fmla="*/ 0 h 257442"/>
                <a:gd name="connsiteX0" fmla="*/ 1314681 w 1314681"/>
                <a:gd name="connsiteY0" fmla="*/ 0 h 257442"/>
                <a:gd name="connsiteX1" fmla="*/ 1259960 w 1314681"/>
                <a:gd name="connsiteY1" fmla="*/ 257442 h 257442"/>
                <a:gd name="connsiteX2" fmla="*/ 0 w 1314681"/>
                <a:gd name="connsiteY2" fmla="*/ 257442 h 257442"/>
                <a:gd name="connsiteX3" fmla="*/ 0 w 1314681"/>
                <a:gd name="connsiteY3" fmla="*/ 0 h 257442"/>
                <a:gd name="connsiteX0" fmla="*/ 1314681 w 1314681"/>
                <a:gd name="connsiteY0" fmla="*/ 0 h 257442"/>
                <a:gd name="connsiteX1" fmla="*/ 1259960 w 1314681"/>
                <a:gd name="connsiteY1" fmla="*/ 257442 h 257442"/>
                <a:gd name="connsiteX2" fmla="*/ 0 w 1314681"/>
                <a:gd name="connsiteY2" fmla="*/ 257442 h 257442"/>
                <a:gd name="connsiteX3" fmla="*/ 0 w 1314681"/>
                <a:gd name="connsiteY3" fmla="*/ 0 h 257442"/>
                <a:gd name="connsiteX0" fmla="*/ 1314681 w 1314681"/>
                <a:gd name="connsiteY0" fmla="*/ 0 h 257442"/>
                <a:gd name="connsiteX1" fmla="*/ 1259960 w 1314681"/>
                <a:gd name="connsiteY1" fmla="*/ 257442 h 257442"/>
                <a:gd name="connsiteX2" fmla="*/ 0 w 1314681"/>
                <a:gd name="connsiteY2" fmla="*/ 257442 h 257442"/>
                <a:gd name="connsiteX3" fmla="*/ 0 w 1314681"/>
                <a:gd name="connsiteY3" fmla="*/ 0 h 257442"/>
                <a:gd name="connsiteX0" fmla="*/ 1423687 w 1423687"/>
                <a:gd name="connsiteY0" fmla="*/ 0 h 257442"/>
                <a:gd name="connsiteX1" fmla="*/ 1259960 w 1423687"/>
                <a:gd name="connsiteY1" fmla="*/ 257442 h 257442"/>
                <a:gd name="connsiteX2" fmla="*/ 0 w 1423687"/>
                <a:gd name="connsiteY2" fmla="*/ 257442 h 257442"/>
                <a:gd name="connsiteX3" fmla="*/ 0 w 1423687"/>
                <a:gd name="connsiteY3" fmla="*/ 0 h 257442"/>
                <a:gd name="connsiteX0" fmla="*/ 1423687 w 1423687"/>
                <a:gd name="connsiteY0" fmla="*/ 0 h 257442"/>
                <a:gd name="connsiteX1" fmla="*/ 1368966 w 1423687"/>
                <a:gd name="connsiteY1" fmla="*/ 257442 h 257442"/>
                <a:gd name="connsiteX2" fmla="*/ 0 w 1423687"/>
                <a:gd name="connsiteY2" fmla="*/ 257442 h 257442"/>
                <a:gd name="connsiteX3" fmla="*/ 0 w 1423687"/>
                <a:gd name="connsiteY3" fmla="*/ 0 h 257442"/>
                <a:gd name="connsiteX0" fmla="*/ 1423687 w 1423687"/>
                <a:gd name="connsiteY0" fmla="*/ 0 h 257442"/>
                <a:gd name="connsiteX1" fmla="*/ 1368966 w 1423687"/>
                <a:gd name="connsiteY1" fmla="*/ 257442 h 257442"/>
                <a:gd name="connsiteX2" fmla="*/ 0 w 1423687"/>
                <a:gd name="connsiteY2" fmla="*/ 257442 h 257442"/>
                <a:gd name="connsiteX3" fmla="*/ 0 w 1423687"/>
                <a:gd name="connsiteY3" fmla="*/ 0 h 257442"/>
                <a:gd name="connsiteX0" fmla="*/ 1423687 w 1423687"/>
                <a:gd name="connsiteY0" fmla="*/ 0 h 257442"/>
                <a:gd name="connsiteX1" fmla="*/ 1368966 w 1423687"/>
                <a:gd name="connsiteY1" fmla="*/ 257442 h 257442"/>
                <a:gd name="connsiteX2" fmla="*/ 0 w 1423687"/>
                <a:gd name="connsiteY2" fmla="*/ 257442 h 257442"/>
                <a:gd name="connsiteX3" fmla="*/ 0 w 1423687"/>
                <a:gd name="connsiteY3" fmla="*/ 0 h 257442"/>
                <a:gd name="connsiteX0" fmla="*/ 1575972 w 1575972"/>
                <a:gd name="connsiteY0" fmla="*/ 0 h 257442"/>
                <a:gd name="connsiteX1" fmla="*/ 1368966 w 1575972"/>
                <a:gd name="connsiteY1" fmla="*/ 257442 h 257442"/>
                <a:gd name="connsiteX2" fmla="*/ 0 w 1575972"/>
                <a:gd name="connsiteY2" fmla="*/ 257442 h 257442"/>
                <a:gd name="connsiteX3" fmla="*/ 0 w 1575972"/>
                <a:gd name="connsiteY3" fmla="*/ 0 h 257442"/>
                <a:gd name="connsiteX0" fmla="*/ 1575972 w 1575972"/>
                <a:gd name="connsiteY0" fmla="*/ 0 h 257442"/>
                <a:gd name="connsiteX1" fmla="*/ 1521250 w 1575972"/>
                <a:gd name="connsiteY1" fmla="*/ 257442 h 257442"/>
                <a:gd name="connsiteX2" fmla="*/ 0 w 1575972"/>
                <a:gd name="connsiteY2" fmla="*/ 257442 h 257442"/>
                <a:gd name="connsiteX3" fmla="*/ 0 w 1575972"/>
                <a:gd name="connsiteY3" fmla="*/ 0 h 257442"/>
                <a:gd name="connsiteX0" fmla="*/ 1575973 w 1575973"/>
                <a:gd name="connsiteY0" fmla="*/ 0 h 257442"/>
                <a:gd name="connsiteX1" fmla="*/ 1521251 w 1575973"/>
                <a:gd name="connsiteY1" fmla="*/ 257442 h 257442"/>
                <a:gd name="connsiteX2" fmla="*/ 0 w 1575973"/>
                <a:gd name="connsiteY2" fmla="*/ 257442 h 257442"/>
                <a:gd name="connsiteX3" fmla="*/ 1 w 1575973"/>
                <a:gd name="connsiteY3" fmla="*/ 0 h 257442"/>
                <a:gd name="connsiteX0" fmla="*/ 1575973 w 1575973"/>
                <a:gd name="connsiteY0" fmla="*/ 0 h 257442"/>
                <a:gd name="connsiteX1" fmla="*/ 1521251 w 1575973"/>
                <a:gd name="connsiteY1" fmla="*/ 257442 h 257442"/>
                <a:gd name="connsiteX2" fmla="*/ 0 w 1575973"/>
                <a:gd name="connsiteY2" fmla="*/ 257442 h 257442"/>
                <a:gd name="connsiteX3" fmla="*/ 1 w 1575973"/>
                <a:gd name="connsiteY3" fmla="*/ 0 h 257442"/>
                <a:gd name="connsiteX0" fmla="*/ 1744288 w 1744288"/>
                <a:gd name="connsiteY0" fmla="*/ 0 h 257442"/>
                <a:gd name="connsiteX1" fmla="*/ 1521251 w 1744288"/>
                <a:gd name="connsiteY1" fmla="*/ 257442 h 257442"/>
                <a:gd name="connsiteX2" fmla="*/ 0 w 1744288"/>
                <a:gd name="connsiteY2" fmla="*/ 257442 h 257442"/>
                <a:gd name="connsiteX3" fmla="*/ 1 w 1744288"/>
                <a:gd name="connsiteY3" fmla="*/ 0 h 257442"/>
                <a:gd name="connsiteX0" fmla="*/ 1744288 w 1744288"/>
                <a:gd name="connsiteY0" fmla="*/ 0 h 257442"/>
                <a:gd name="connsiteX1" fmla="*/ 1689566 w 1744288"/>
                <a:gd name="connsiteY1" fmla="*/ 257442 h 257442"/>
                <a:gd name="connsiteX2" fmla="*/ 0 w 1744288"/>
                <a:gd name="connsiteY2" fmla="*/ 257442 h 257442"/>
                <a:gd name="connsiteX3" fmla="*/ 1 w 1744288"/>
                <a:gd name="connsiteY3" fmla="*/ 0 h 257442"/>
                <a:gd name="connsiteX0" fmla="*/ 1744288 w 1744288"/>
                <a:gd name="connsiteY0" fmla="*/ 0 h 257442"/>
                <a:gd name="connsiteX1" fmla="*/ 1689566 w 1744288"/>
                <a:gd name="connsiteY1" fmla="*/ 257442 h 257442"/>
                <a:gd name="connsiteX2" fmla="*/ 0 w 1744288"/>
                <a:gd name="connsiteY2" fmla="*/ 257442 h 257442"/>
                <a:gd name="connsiteX3" fmla="*/ 1 w 1744288"/>
                <a:gd name="connsiteY3" fmla="*/ 0 h 257442"/>
                <a:gd name="connsiteX0" fmla="*/ 1744288 w 1744288"/>
                <a:gd name="connsiteY0" fmla="*/ 0 h 257442"/>
                <a:gd name="connsiteX1" fmla="*/ 1689566 w 1744288"/>
                <a:gd name="connsiteY1" fmla="*/ 257442 h 257442"/>
                <a:gd name="connsiteX2" fmla="*/ 0 w 1744288"/>
                <a:gd name="connsiteY2" fmla="*/ 257442 h 257442"/>
                <a:gd name="connsiteX3" fmla="*/ 0 w 1744288"/>
                <a:gd name="connsiteY3" fmla="*/ 0 h 257442"/>
                <a:gd name="connsiteX0" fmla="*/ 1912603 w 1912603"/>
                <a:gd name="connsiteY0" fmla="*/ 0 h 257442"/>
                <a:gd name="connsiteX1" fmla="*/ 1689566 w 1912603"/>
                <a:gd name="connsiteY1" fmla="*/ 257442 h 257442"/>
                <a:gd name="connsiteX2" fmla="*/ 0 w 1912603"/>
                <a:gd name="connsiteY2" fmla="*/ 257442 h 257442"/>
                <a:gd name="connsiteX3" fmla="*/ 0 w 1912603"/>
                <a:gd name="connsiteY3" fmla="*/ 0 h 257442"/>
                <a:gd name="connsiteX0" fmla="*/ 1912603 w 1912603"/>
                <a:gd name="connsiteY0" fmla="*/ 0 h 257442"/>
                <a:gd name="connsiteX1" fmla="*/ 1857882 w 1912603"/>
                <a:gd name="connsiteY1" fmla="*/ 257442 h 257442"/>
                <a:gd name="connsiteX2" fmla="*/ 0 w 1912603"/>
                <a:gd name="connsiteY2" fmla="*/ 257442 h 257442"/>
                <a:gd name="connsiteX3" fmla="*/ 0 w 1912603"/>
                <a:gd name="connsiteY3" fmla="*/ 0 h 257442"/>
                <a:gd name="connsiteX0" fmla="*/ 1912603 w 1912603"/>
                <a:gd name="connsiteY0" fmla="*/ 0 h 257442"/>
                <a:gd name="connsiteX1" fmla="*/ 1857882 w 1912603"/>
                <a:gd name="connsiteY1" fmla="*/ 257442 h 257442"/>
                <a:gd name="connsiteX2" fmla="*/ 0 w 1912603"/>
                <a:gd name="connsiteY2" fmla="*/ 257442 h 257442"/>
                <a:gd name="connsiteX3" fmla="*/ 0 w 1912603"/>
                <a:gd name="connsiteY3" fmla="*/ 0 h 257442"/>
                <a:gd name="connsiteX0" fmla="*/ 1912603 w 1912603"/>
                <a:gd name="connsiteY0" fmla="*/ 0 h 257442"/>
                <a:gd name="connsiteX1" fmla="*/ 1857882 w 1912603"/>
                <a:gd name="connsiteY1" fmla="*/ 257442 h 257442"/>
                <a:gd name="connsiteX2" fmla="*/ 0 w 1912603"/>
                <a:gd name="connsiteY2" fmla="*/ 257442 h 257442"/>
                <a:gd name="connsiteX3" fmla="*/ 0 w 1912603"/>
                <a:gd name="connsiteY3" fmla="*/ 0 h 257442"/>
                <a:gd name="connsiteX0" fmla="*/ 2064888 w 2064888"/>
                <a:gd name="connsiteY0" fmla="*/ 0 h 257442"/>
                <a:gd name="connsiteX1" fmla="*/ 1857882 w 2064888"/>
                <a:gd name="connsiteY1" fmla="*/ 257442 h 257442"/>
                <a:gd name="connsiteX2" fmla="*/ 0 w 2064888"/>
                <a:gd name="connsiteY2" fmla="*/ 257442 h 257442"/>
                <a:gd name="connsiteX3" fmla="*/ 0 w 2064888"/>
                <a:gd name="connsiteY3" fmla="*/ 0 h 257442"/>
                <a:gd name="connsiteX0" fmla="*/ 2064888 w 2064888"/>
                <a:gd name="connsiteY0" fmla="*/ 0 h 257442"/>
                <a:gd name="connsiteX1" fmla="*/ 2010166 w 2064888"/>
                <a:gd name="connsiteY1" fmla="*/ 257442 h 257442"/>
                <a:gd name="connsiteX2" fmla="*/ 0 w 2064888"/>
                <a:gd name="connsiteY2" fmla="*/ 257442 h 257442"/>
                <a:gd name="connsiteX3" fmla="*/ 0 w 2064888"/>
                <a:gd name="connsiteY3" fmla="*/ 0 h 257442"/>
                <a:gd name="connsiteX0" fmla="*/ 2064889 w 2064889"/>
                <a:gd name="connsiteY0" fmla="*/ 0 h 257442"/>
                <a:gd name="connsiteX1" fmla="*/ 2010167 w 2064889"/>
                <a:gd name="connsiteY1" fmla="*/ 257442 h 257442"/>
                <a:gd name="connsiteX2" fmla="*/ 0 w 2064889"/>
                <a:gd name="connsiteY2" fmla="*/ 257442 h 257442"/>
                <a:gd name="connsiteX3" fmla="*/ 1 w 2064889"/>
                <a:gd name="connsiteY3" fmla="*/ 0 h 257442"/>
                <a:gd name="connsiteX0" fmla="*/ 2064889 w 2064889"/>
                <a:gd name="connsiteY0" fmla="*/ 0 h 257442"/>
                <a:gd name="connsiteX1" fmla="*/ 2010167 w 2064889"/>
                <a:gd name="connsiteY1" fmla="*/ 257442 h 257442"/>
                <a:gd name="connsiteX2" fmla="*/ 0 w 2064889"/>
                <a:gd name="connsiteY2" fmla="*/ 257442 h 257442"/>
                <a:gd name="connsiteX3" fmla="*/ 1 w 2064889"/>
                <a:gd name="connsiteY3" fmla="*/ 0 h 257442"/>
                <a:gd name="connsiteX0" fmla="*/ 2217174 w 2217174"/>
                <a:gd name="connsiteY0" fmla="*/ 0 h 257442"/>
                <a:gd name="connsiteX1" fmla="*/ 2010167 w 2217174"/>
                <a:gd name="connsiteY1" fmla="*/ 257442 h 257442"/>
                <a:gd name="connsiteX2" fmla="*/ 0 w 2217174"/>
                <a:gd name="connsiteY2" fmla="*/ 257442 h 257442"/>
                <a:gd name="connsiteX3" fmla="*/ 1 w 2217174"/>
                <a:gd name="connsiteY3" fmla="*/ 0 h 257442"/>
                <a:gd name="connsiteX0" fmla="*/ 2217174 w 2217174"/>
                <a:gd name="connsiteY0" fmla="*/ 0 h 257442"/>
                <a:gd name="connsiteX1" fmla="*/ 2162452 w 2217174"/>
                <a:gd name="connsiteY1" fmla="*/ 257442 h 257442"/>
                <a:gd name="connsiteX2" fmla="*/ 0 w 2217174"/>
                <a:gd name="connsiteY2" fmla="*/ 257442 h 257442"/>
                <a:gd name="connsiteX3" fmla="*/ 1 w 2217174"/>
                <a:gd name="connsiteY3" fmla="*/ 0 h 257442"/>
                <a:gd name="connsiteX0" fmla="*/ 2217174 w 2217174"/>
                <a:gd name="connsiteY0" fmla="*/ 0 h 257442"/>
                <a:gd name="connsiteX1" fmla="*/ 2162452 w 2217174"/>
                <a:gd name="connsiteY1" fmla="*/ 257442 h 257442"/>
                <a:gd name="connsiteX2" fmla="*/ 0 w 2217174"/>
                <a:gd name="connsiteY2" fmla="*/ 257442 h 257442"/>
                <a:gd name="connsiteX3" fmla="*/ 1 w 2217174"/>
                <a:gd name="connsiteY3" fmla="*/ 0 h 257442"/>
                <a:gd name="connsiteX0" fmla="*/ 2217174 w 2217174"/>
                <a:gd name="connsiteY0" fmla="*/ 0 h 257442"/>
                <a:gd name="connsiteX1" fmla="*/ 2162452 w 2217174"/>
                <a:gd name="connsiteY1" fmla="*/ 257442 h 257442"/>
                <a:gd name="connsiteX2" fmla="*/ 0 w 2217174"/>
                <a:gd name="connsiteY2" fmla="*/ 257442 h 257442"/>
                <a:gd name="connsiteX3" fmla="*/ 0 w 2217174"/>
                <a:gd name="connsiteY3" fmla="*/ 0 h 257442"/>
                <a:gd name="connsiteX0" fmla="*/ 2318162 w 2318162"/>
                <a:gd name="connsiteY0" fmla="*/ 0 h 257442"/>
                <a:gd name="connsiteX1" fmla="*/ 2162452 w 2318162"/>
                <a:gd name="connsiteY1" fmla="*/ 257442 h 257442"/>
                <a:gd name="connsiteX2" fmla="*/ 0 w 2318162"/>
                <a:gd name="connsiteY2" fmla="*/ 257442 h 257442"/>
                <a:gd name="connsiteX3" fmla="*/ 0 w 2318162"/>
                <a:gd name="connsiteY3" fmla="*/ 0 h 257442"/>
                <a:gd name="connsiteX0" fmla="*/ 2318162 w 2318162"/>
                <a:gd name="connsiteY0" fmla="*/ 0 h 257442"/>
                <a:gd name="connsiteX1" fmla="*/ 2263441 w 2318162"/>
                <a:gd name="connsiteY1" fmla="*/ 257442 h 257442"/>
                <a:gd name="connsiteX2" fmla="*/ 0 w 2318162"/>
                <a:gd name="connsiteY2" fmla="*/ 257442 h 257442"/>
                <a:gd name="connsiteX3" fmla="*/ 0 w 2318162"/>
                <a:gd name="connsiteY3" fmla="*/ 0 h 257442"/>
                <a:gd name="connsiteX0" fmla="*/ 2318162 w 2318162"/>
                <a:gd name="connsiteY0" fmla="*/ 0 h 257442"/>
                <a:gd name="connsiteX1" fmla="*/ 2263441 w 2318162"/>
                <a:gd name="connsiteY1" fmla="*/ 257442 h 257442"/>
                <a:gd name="connsiteX2" fmla="*/ 0 w 2318162"/>
                <a:gd name="connsiteY2" fmla="*/ 257442 h 257442"/>
                <a:gd name="connsiteX3" fmla="*/ 0 w 2318162"/>
                <a:gd name="connsiteY3" fmla="*/ 0 h 257442"/>
                <a:gd name="connsiteX0" fmla="*/ 2318162 w 2318162"/>
                <a:gd name="connsiteY0" fmla="*/ 0 h 257442"/>
                <a:gd name="connsiteX1" fmla="*/ 2263441 w 2318162"/>
                <a:gd name="connsiteY1" fmla="*/ 257442 h 257442"/>
                <a:gd name="connsiteX2" fmla="*/ 0 w 2318162"/>
                <a:gd name="connsiteY2" fmla="*/ 257442 h 257442"/>
                <a:gd name="connsiteX3" fmla="*/ 0 w 2318162"/>
                <a:gd name="connsiteY3" fmla="*/ 0 h 257442"/>
                <a:gd name="connsiteX0" fmla="*/ 2486478 w 2486478"/>
                <a:gd name="connsiteY0" fmla="*/ 0 h 257442"/>
                <a:gd name="connsiteX1" fmla="*/ 2263441 w 2486478"/>
                <a:gd name="connsiteY1" fmla="*/ 257442 h 257442"/>
                <a:gd name="connsiteX2" fmla="*/ 0 w 2486478"/>
                <a:gd name="connsiteY2" fmla="*/ 257442 h 257442"/>
                <a:gd name="connsiteX3" fmla="*/ 0 w 2486478"/>
                <a:gd name="connsiteY3" fmla="*/ 0 h 257442"/>
                <a:gd name="connsiteX0" fmla="*/ 2486478 w 2486478"/>
                <a:gd name="connsiteY0" fmla="*/ 0 h 257442"/>
                <a:gd name="connsiteX1" fmla="*/ 2431757 w 2486478"/>
                <a:gd name="connsiteY1" fmla="*/ 257442 h 257442"/>
                <a:gd name="connsiteX2" fmla="*/ 0 w 2486478"/>
                <a:gd name="connsiteY2" fmla="*/ 257442 h 257442"/>
                <a:gd name="connsiteX3" fmla="*/ 0 w 2486478"/>
                <a:gd name="connsiteY3" fmla="*/ 0 h 257442"/>
                <a:gd name="connsiteX0" fmla="*/ 2486478 w 2486478"/>
                <a:gd name="connsiteY0" fmla="*/ 0 h 257442"/>
                <a:gd name="connsiteX1" fmla="*/ 2431757 w 2486478"/>
                <a:gd name="connsiteY1" fmla="*/ 257442 h 257442"/>
                <a:gd name="connsiteX2" fmla="*/ 0 w 2486478"/>
                <a:gd name="connsiteY2" fmla="*/ 257442 h 257442"/>
                <a:gd name="connsiteX3" fmla="*/ 0 w 2486478"/>
                <a:gd name="connsiteY3" fmla="*/ 0 h 257442"/>
                <a:gd name="connsiteX0" fmla="*/ 2486478 w 2486478"/>
                <a:gd name="connsiteY0" fmla="*/ 0 h 257442"/>
                <a:gd name="connsiteX1" fmla="*/ 2431757 w 2486478"/>
                <a:gd name="connsiteY1" fmla="*/ 257442 h 257442"/>
                <a:gd name="connsiteX2" fmla="*/ 0 w 2486478"/>
                <a:gd name="connsiteY2" fmla="*/ 257442 h 257442"/>
                <a:gd name="connsiteX3" fmla="*/ 0 w 2486478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86478" h="257442">
                  <a:moveTo>
                    <a:pt x="2486478" y="0"/>
                  </a:moveTo>
                  <a:lnTo>
                    <a:pt x="2431757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6" name="btfpRunningAgenda2LevelTextLeft224096">
              <a:extLst>
                <a:ext uri="{FF2B5EF4-FFF2-40B4-BE49-F238E27FC236}">
                  <a16:creationId xmlns:a16="http://schemas.microsoft.com/office/drawing/2014/main" id="{EDF430C5-2770-44A8-9123-4288A67E0B8D}"/>
                </a:ext>
              </a:extLst>
            </p:cNvPr>
            <p:cNvSpPr txBox="1"/>
            <p:nvPr/>
          </p:nvSpPr>
          <p:spPr bwMode="gray">
            <a:xfrm>
              <a:off x="0" y="876300"/>
              <a:ext cx="2431757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Web-traffic</a:t>
              </a:r>
            </a:p>
          </p:txBody>
        </p:sp>
        <p:sp>
          <p:nvSpPr>
            <p:cNvPr id="33" name="btfpRunningAgenda2LevelBarRight224096">
              <a:extLst>
                <a:ext uri="{FF2B5EF4-FFF2-40B4-BE49-F238E27FC236}">
                  <a16:creationId xmlns:a16="http://schemas.microsoft.com/office/drawing/2014/main" id="{8EC26F4E-1D64-41C0-9D48-73CB25E96ED1}"/>
                </a:ext>
              </a:extLst>
            </p:cNvPr>
            <p:cNvSpPr/>
            <p:nvPr/>
          </p:nvSpPr>
          <p:spPr bwMode="gray">
            <a:xfrm>
              <a:off x="2351636" y="876300"/>
              <a:ext cx="2662808" cy="257442"/>
            </a:xfrm>
            <a:custGeom>
              <a:avLst/>
              <a:gdLst>
                <a:gd name="connsiteX0" fmla="*/ 93477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34771 w 2313135"/>
                <a:gd name="connsiteY0" fmla="*/ 0 h 257442"/>
                <a:gd name="connsiteX1" fmla="*/ 88005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34771 w 934771"/>
                <a:gd name="connsiteY0" fmla="*/ 0 h 257442"/>
                <a:gd name="connsiteX1" fmla="*/ 880050 w 934771"/>
                <a:gd name="connsiteY1" fmla="*/ 257442 h 257442"/>
                <a:gd name="connsiteX2" fmla="*/ 1 w 934771"/>
                <a:gd name="connsiteY2" fmla="*/ 257442 h 257442"/>
                <a:gd name="connsiteX3" fmla="*/ 0 w 934771"/>
                <a:gd name="connsiteY3" fmla="*/ 257442 h 257442"/>
                <a:gd name="connsiteX0" fmla="*/ 934770 w 934770"/>
                <a:gd name="connsiteY0" fmla="*/ 0 h 257442"/>
                <a:gd name="connsiteX1" fmla="*/ 880049 w 934770"/>
                <a:gd name="connsiteY1" fmla="*/ 257442 h 257442"/>
                <a:gd name="connsiteX2" fmla="*/ 0 w 934770"/>
                <a:gd name="connsiteY2" fmla="*/ 257442 h 257442"/>
                <a:gd name="connsiteX3" fmla="*/ 54721 w 934770"/>
                <a:gd name="connsiteY3" fmla="*/ 0 h 257442"/>
                <a:gd name="connsiteX0" fmla="*/ 1109946 w 1109946"/>
                <a:gd name="connsiteY0" fmla="*/ 0 h 257442"/>
                <a:gd name="connsiteX1" fmla="*/ 880049 w 1109946"/>
                <a:gd name="connsiteY1" fmla="*/ 257442 h 257442"/>
                <a:gd name="connsiteX2" fmla="*/ 0 w 1109946"/>
                <a:gd name="connsiteY2" fmla="*/ 257442 h 257442"/>
                <a:gd name="connsiteX3" fmla="*/ 54721 w 1109946"/>
                <a:gd name="connsiteY3" fmla="*/ 0 h 257442"/>
                <a:gd name="connsiteX0" fmla="*/ 1109946 w 1109946"/>
                <a:gd name="connsiteY0" fmla="*/ 0 h 257442"/>
                <a:gd name="connsiteX1" fmla="*/ 1055225 w 1109946"/>
                <a:gd name="connsiteY1" fmla="*/ 257442 h 257442"/>
                <a:gd name="connsiteX2" fmla="*/ 0 w 1109946"/>
                <a:gd name="connsiteY2" fmla="*/ 257442 h 257442"/>
                <a:gd name="connsiteX3" fmla="*/ 54721 w 1109946"/>
                <a:gd name="connsiteY3" fmla="*/ 0 h 257442"/>
                <a:gd name="connsiteX0" fmla="*/ 1109947 w 1109947"/>
                <a:gd name="connsiteY0" fmla="*/ 0 h 257442"/>
                <a:gd name="connsiteX1" fmla="*/ 1055226 w 1109947"/>
                <a:gd name="connsiteY1" fmla="*/ 257442 h 257442"/>
                <a:gd name="connsiteX2" fmla="*/ 0 w 1109947"/>
                <a:gd name="connsiteY2" fmla="*/ 257442 h 257442"/>
                <a:gd name="connsiteX3" fmla="*/ 54722 w 1109947"/>
                <a:gd name="connsiteY3" fmla="*/ 0 h 257442"/>
                <a:gd name="connsiteX0" fmla="*/ 1109947 w 1109947"/>
                <a:gd name="connsiteY0" fmla="*/ 0 h 257442"/>
                <a:gd name="connsiteX1" fmla="*/ 1055226 w 1109947"/>
                <a:gd name="connsiteY1" fmla="*/ 257442 h 257442"/>
                <a:gd name="connsiteX2" fmla="*/ 0 w 1109947"/>
                <a:gd name="connsiteY2" fmla="*/ 257442 h 257442"/>
                <a:gd name="connsiteX3" fmla="*/ 54722 w 1109947"/>
                <a:gd name="connsiteY3" fmla="*/ 0 h 257442"/>
                <a:gd name="connsiteX0" fmla="*/ 1419135 w 1419135"/>
                <a:gd name="connsiteY0" fmla="*/ 0 h 257442"/>
                <a:gd name="connsiteX1" fmla="*/ 1055226 w 1419135"/>
                <a:gd name="connsiteY1" fmla="*/ 257442 h 257442"/>
                <a:gd name="connsiteX2" fmla="*/ 0 w 1419135"/>
                <a:gd name="connsiteY2" fmla="*/ 257442 h 257442"/>
                <a:gd name="connsiteX3" fmla="*/ 54722 w 1419135"/>
                <a:gd name="connsiteY3" fmla="*/ 0 h 257442"/>
                <a:gd name="connsiteX0" fmla="*/ 1419135 w 1419135"/>
                <a:gd name="connsiteY0" fmla="*/ 0 h 257442"/>
                <a:gd name="connsiteX1" fmla="*/ 1364414 w 1419135"/>
                <a:gd name="connsiteY1" fmla="*/ 257442 h 257442"/>
                <a:gd name="connsiteX2" fmla="*/ 0 w 1419135"/>
                <a:gd name="connsiteY2" fmla="*/ 257442 h 257442"/>
                <a:gd name="connsiteX3" fmla="*/ 54722 w 1419135"/>
                <a:gd name="connsiteY3" fmla="*/ 0 h 257442"/>
                <a:gd name="connsiteX0" fmla="*/ 1419134 w 1419134"/>
                <a:gd name="connsiteY0" fmla="*/ 0 h 257442"/>
                <a:gd name="connsiteX1" fmla="*/ 1364413 w 1419134"/>
                <a:gd name="connsiteY1" fmla="*/ 257442 h 257442"/>
                <a:gd name="connsiteX2" fmla="*/ 0 w 1419134"/>
                <a:gd name="connsiteY2" fmla="*/ 257442 h 257442"/>
                <a:gd name="connsiteX3" fmla="*/ 54721 w 1419134"/>
                <a:gd name="connsiteY3" fmla="*/ 0 h 257442"/>
                <a:gd name="connsiteX0" fmla="*/ 1419134 w 1419134"/>
                <a:gd name="connsiteY0" fmla="*/ 0 h 257442"/>
                <a:gd name="connsiteX1" fmla="*/ 1364413 w 1419134"/>
                <a:gd name="connsiteY1" fmla="*/ 257442 h 257442"/>
                <a:gd name="connsiteX2" fmla="*/ 0 w 1419134"/>
                <a:gd name="connsiteY2" fmla="*/ 257442 h 257442"/>
                <a:gd name="connsiteX3" fmla="*/ 54720 w 1419134"/>
                <a:gd name="connsiteY3" fmla="*/ 0 h 257442"/>
                <a:gd name="connsiteX0" fmla="*/ 1669650 w 1669650"/>
                <a:gd name="connsiteY0" fmla="*/ 0 h 257442"/>
                <a:gd name="connsiteX1" fmla="*/ 1364413 w 1669650"/>
                <a:gd name="connsiteY1" fmla="*/ 257442 h 257442"/>
                <a:gd name="connsiteX2" fmla="*/ 0 w 1669650"/>
                <a:gd name="connsiteY2" fmla="*/ 257442 h 257442"/>
                <a:gd name="connsiteX3" fmla="*/ 54720 w 1669650"/>
                <a:gd name="connsiteY3" fmla="*/ 0 h 257442"/>
                <a:gd name="connsiteX0" fmla="*/ 1669650 w 1669650"/>
                <a:gd name="connsiteY0" fmla="*/ 0 h 257442"/>
                <a:gd name="connsiteX1" fmla="*/ 1614929 w 1669650"/>
                <a:gd name="connsiteY1" fmla="*/ 257442 h 257442"/>
                <a:gd name="connsiteX2" fmla="*/ 0 w 1669650"/>
                <a:gd name="connsiteY2" fmla="*/ 257442 h 257442"/>
                <a:gd name="connsiteX3" fmla="*/ 54720 w 1669650"/>
                <a:gd name="connsiteY3" fmla="*/ 0 h 257442"/>
                <a:gd name="connsiteX0" fmla="*/ 1669651 w 1669651"/>
                <a:gd name="connsiteY0" fmla="*/ 0 h 257442"/>
                <a:gd name="connsiteX1" fmla="*/ 1614930 w 1669651"/>
                <a:gd name="connsiteY1" fmla="*/ 257442 h 257442"/>
                <a:gd name="connsiteX2" fmla="*/ 0 w 1669651"/>
                <a:gd name="connsiteY2" fmla="*/ 257442 h 257442"/>
                <a:gd name="connsiteX3" fmla="*/ 54721 w 1669651"/>
                <a:gd name="connsiteY3" fmla="*/ 0 h 257442"/>
                <a:gd name="connsiteX0" fmla="*/ 1669651 w 1669651"/>
                <a:gd name="connsiteY0" fmla="*/ 0 h 257442"/>
                <a:gd name="connsiteX1" fmla="*/ 1614930 w 1669651"/>
                <a:gd name="connsiteY1" fmla="*/ 257442 h 257442"/>
                <a:gd name="connsiteX2" fmla="*/ 0 w 1669651"/>
                <a:gd name="connsiteY2" fmla="*/ 257442 h 257442"/>
                <a:gd name="connsiteX3" fmla="*/ 54722 w 1669651"/>
                <a:gd name="connsiteY3" fmla="*/ 0 h 257442"/>
                <a:gd name="connsiteX0" fmla="*/ 1829953 w 1829953"/>
                <a:gd name="connsiteY0" fmla="*/ 0 h 257442"/>
                <a:gd name="connsiteX1" fmla="*/ 1614930 w 1829953"/>
                <a:gd name="connsiteY1" fmla="*/ 257442 h 257442"/>
                <a:gd name="connsiteX2" fmla="*/ 0 w 1829953"/>
                <a:gd name="connsiteY2" fmla="*/ 257442 h 257442"/>
                <a:gd name="connsiteX3" fmla="*/ 54722 w 1829953"/>
                <a:gd name="connsiteY3" fmla="*/ 0 h 257442"/>
                <a:gd name="connsiteX0" fmla="*/ 1829953 w 1829953"/>
                <a:gd name="connsiteY0" fmla="*/ 0 h 257442"/>
                <a:gd name="connsiteX1" fmla="*/ 1775232 w 1829953"/>
                <a:gd name="connsiteY1" fmla="*/ 257442 h 257442"/>
                <a:gd name="connsiteX2" fmla="*/ 0 w 1829953"/>
                <a:gd name="connsiteY2" fmla="*/ 257442 h 257442"/>
                <a:gd name="connsiteX3" fmla="*/ 54722 w 1829953"/>
                <a:gd name="connsiteY3" fmla="*/ 0 h 257442"/>
                <a:gd name="connsiteX0" fmla="*/ 1829952 w 1829952"/>
                <a:gd name="connsiteY0" fmla="*/ 0 h 257442"/>
                <a:gd name="connsiteX1" fmla="*/ 1775231 w 1829952"/>
                <a:gd name="connsiteY1" fmla="*/ 257442 h 257442"/>
                <a:gd name="connsiteX2" fmla="*/ 0 w 1829952"/>
                <a:gd name="connsiteY2" fmla="*/ 257442 h 257442"/>
                <a:gd name="connsiteX3" fmla="*/ 54721 w 1829952"/>
                <a:gd name="connsiteY3" fmla="*/ 0 h 257442"/>
                <a:gd name="connsiteX0" fmla="*/ 1829952 w 1829952"/>
                <a:gd name="connsiteY0" fmla="*/ 0 h 257442"/>
                <a:gd name="connsiteX1" fmla="*/ 1775231 w 1829952"/>
                <a:gd name="connsiteY1" fmla="*/ 257442 h 257442"/>
                <a:gd name="connsiteX2" fmla="*/ 0 w 1829952"/>
                <a:gd name="connsiteY2" fmla="*/ 257442 h 257442"/>
                <a:gd name="connsiteX3" fmla="*/ 54720 w 1829952"/>
                <a:gd name="connsiteY3" fmla="*/ 0 h 257442"/>
                <a:gd name="connsiteX0" fmla="*/ 2091241 w 2091241"/>
                <a:gd name="connsiteY0" fmla="*/ 0 h 257442"/>
                <a:gd name="connsiteX1" fmla="*/ 1775231 w 2091241"/>
                <a:gd name="connsiteY1" fmla="*/ 257442 h 257442"/>
                <a:gd name="connsiteX2" fmla="*/ 0 w 2091241"/>
                <a:gd name="connsiteY2" fmla="*/ 257442 h 257442"/>
                <a:gd name="connsiteX3" fmla="*/ 54720 w 2091241"/>
                <a:gd name="connsiteY3" fmla="*/ 0 h 257442"/>
                <a:gd name="connsiteX0" fmla="*/ 2091241 w 2091241"/>
                <a:gd name="connsiteY0" fmla="*/ 0 h 257442"/>
                <a:gd name="connsiteX1" fmla="*/ 2036520 w 2091241"/>
                <a:gd name="connsiteY1" fmla="*/ 257442 h 257442"/>
                <a:gd name="connsiteX2" fmla="*/ 0 w 2091241"/>
                <a:gd name="connsiteY2" fmla="*/ 257442 h 257442"/>
                <a:gd name="connsiteX3" fmla="*/ 54720 w 2091241"/>
                <a:gd name="connsiteY3" fmla="*/ 0 h 257442"/>
                <a:gd name="connsiteX0" fmla="*/ 2091242 w 2091242"/>
                <a:gd name="connsiteY0" fmla="*/ 0 h 257442"/>
                <a:gd name="connsiteX1" fmla="*/ 2036521 w 2091242"/>
                <a:gd name="connsiteY1" fmla="*/ 257442 h 257442"/>
                <a:gd name="connsiteX2" fmla="*/ 0 w 2091242"/>
                <a:gd name="connsiteY2" fmla="*/ 257442 h 257442"/>
                <a:gd name="connsiteX3" fmla="*/ 54721 w 2091242"/>
                <a:gd name="connsiteY3" fmla="*/ 0 h 257442"/>
                <a:gd name="connsiteX0" fmla="*/ 2091242 w 2091242"/>
                <a:gd name="connsiteY0" fmla="*/ 0 h 257442"/>
                <a:gd name="connsiteX1" fmla="*/ 2036521 w 2091242"/>
                <a:gd name="connsiteY1" fmla="*/ 257442 h 257442"/>
                <a:gd name="connsiteX2" fmla="*/ 0 w 2091242"/>
                <a:gd name="connsiteY2" fmla="*/ 257442 h 257442"/>
                <a:gd name="connsiteX3" fmla="*/ 54721 w 2091242"/>
                <a:gd name="connsiteY3" fmla="*/ 0 h 257442"/>
                <a:gd name="connsiteX0" fmla="*/ 2360546 w 2360546"/>
                <a:gd name="connsiteY0" fmla="*/ 0 h 257442"/>
                <a:gd name="connsiteX1" fmla="*/ 2036521 w 2360546"/>
                <a:gd name="connsiteY1" fmla="*/ 257442 h 257442"/>
                <a:gd name="connsiteX2" fmla="*/ 0 w 2360546"/>
                <a:gd name="connsiteY2" fmla="*/ 257442 h 257442"/>
                <a:gd name="connsiteX3" fmla="*/ 54721 w 2360546"/>
                <a:gd name="connsiteY3" fmla="*/ 0 h 257442"/>
                <a:gd name="connsiteX0" fmla="*/ 2360546 w 2360546"/>
                <a:gd name="connsiteY0" fmla="*/ 0 h 257442"/>
                <a:gd name="connsiteX1" fmla="*/ 2305825 w 2360546"/>
                <a:gd name="connsiteY1" fmla="*/ 257442 h 257442"/>
                <a:gd name="connsiteX2" fmla="*/ 0 w 2360546"/>
                <a:gd name="connsiteY2" fmla="*/ 257442 h 257442"/>
                <a:gd name="connsiteX3" fmla="*/ 54721 w 2360546"/>
                <a:gd name="connsiteY3" fmla="*/ 0 h 257442"/>
                <a:gd name="connsiteX0" fmla="*/ 2360546 w 2360546"/>
                <a:gd name="connsiteY0" fmla="*/ 0 h 257442"/>
                <a:gd name="connsiteX1" fmla="*/ 2305825 w 2360546"/>
                <a:gd name="connsiteY1" fmla="*/ 257442 h 257442"/>
                <a:gd name="connsiteX2" fmla="*/ 0 w 2360546"/>
                <a:gd name="connsiteY2" fmla="*/ 257442 h 257442"/>
                <a:gd name="connsiteX3" fmla="*/ 54721 w 2360546"/>
                <a:gd name="connsiteY3" fmla="*/ 0 h 257442"/>
                <a:gd name="connsiteX0" fmla="*/ 2360546 w 2360546"/>
                <a:gd name="connsiteY0" fmla="*/ 0 h 257442"/>
                <a:gd name="connsiteX1" fmla="*/ 2305825 w 2360546"/>
                <a:gd name="connsiteY1" fmla="*/ 257442 h 257442"/>
                <a:gd name="connsiteX2" fmla="*/ 0 w 2360546"/>
                <a:gd name="connsiteY2" fmla="*/ 257442 h 257442"/>
                <a:gd name="connsiteX3" fmla="*/ 54721 w 2360546"/>
                <a:gd name="connsiteY3" fmla="*/ 0 h 257442"/>
                <a:gd name="connsiteX0" fmla="*/ 2520846 w 2520846"/>
                <a:gd name="connsiteY0" fmla="*/ 0 h 257442"/>
                <a:gd name="connsiteX1" fmla="*/ 2305825 w 2520846"/>
                <a:gd name="connsiteY1" fmla="*/ 257442 h 257442"/>
                <a:gd name="connsiteX2" fmla="*/ 0 w 2520846"/>
                <a:gd name="connsiteY2" fmla="*/ 257442 h 257442"/>
                <a:gd name="connsiteX3" fmla="*/ 54721 w 2520846"/>
                <a:gd name="connsiteY3" fmla="*/ 0 h 257442"/>
                <a:gd name="connsiteX0" fmla="*/ 2520846 w 2520846"/>
                <a:gd name="connsiteY0" fmla="*/ 0 h 257442"/>
                <a:gd name="connsiteX1" fmla="*/ 2466125 w 2520846"/>
                <a:gd name="connsiteY1" fmla="*/ 257442 h 257442"/>
                <a:gd name="connsiteX2" fmla="*/ 0 w 2520846"/>
                <a:gd name="connsiteY2" fmla="*/ 257442 h 257442"/>
                <a:gd name="connsiteX3" fmla="*/ 54721 w 2520846"/>
                <a:gd name="connsiteY3" fmla="*/ 0 h 257442"/>
                <a:gd name="connsiteX0" fmla="*/ 2520846 w 2520846"/>
                <a:gd name="connsiteY0" fmla="*/ 0 h 257442"/>
                <a:gd name="connsiteX1" fmla="*/ 2466125 w 2520846"/>
                <a:gd name="connsiteY1" fmla="*/ 257442 h 257442"/>
                <a:gd name="connsiteX2" fmla="*/ 0 w 2520846"/>
                <a:gd name="connsiteY2" fmla="*/ 257442 h 257442"/>
                <a:gd name="connsiteX3" fmla="*/ 54721 w 2520846"/>
                <a:gd name="connsiteY3" fmla="*/ 0 h 257442"/>
                <a:gd name="connsiteX0" fmla="*/ 2520846 w 2520846"/>
                <a:gd name="connsiteY0" fmla="*/ 0 h 257442"/>
                <a:gd name="connsiteX1" fmla="*/ 2466125 w 2520846"/>
                <a:gd name="connsiteY1" fmla="*/ 257442 h 257442"/>
                <a:gd name="connsiteX2" fmla="*/ 0 w 2520846"/>
                <a:gd name="connsiteY2" fmla="*/ 257442 h 257442"/>
                <a:gd name="connsiteX3" fmla="*/ 54721 w 2520846"/>
                <a:gd name="connsiteY3" fmla="*/ 0 h 257442"/>
                <a:gd name="connsiteX0" fmla="*/ 2360546 w 2466125"/>
                <a:gd name="connsiteY0" fmla="*/ 0 h 257442"/>
                <a:gd name="connsiteX1" fmla="*/ 2466125 w 2466125"/>
                <a:gd name="connsiteY1" fmla="*/ 257442 h 257442"/>
                <a:gd name="connsiteX2" fmla="*/ 0 w 2466125"/>
                <a:gd name="connsiteY2" fmla="*/ 257442 h 257442"/>
                <a:gd name="connsiteX3" fmla="*/ 54721 w 2466125"/>
                <a:gd name="connsiteY3" fmla="*/ 0 h 257442"/>
                <a:gd name="connsiteX0" fmla="*/ 2360546 w 2360546"/>
                <a:gd name="connsiteY0" fmla="*/ 0 h 257442"/>
                <a:gd name="connsiteX1" fmla="*/ 2305826 w 2360546"/>
                <a:gd name="connsiteY1" fmla="*/ 257442 h 257442"/>
                <a:gd name="connsiteX2" fmla="*/ 0 w 2360546"/>
                <a:gd name="connsiteY2" fmla="*/ 257442 h 257442"/>
                <a:gd name="connsiteX3" fmla="*/ 54721 w 2360546"/>
                <a:gd name="connsiteY3" fmla="*/ 0 h 257442"/>
                <a:gd name="connsiteX0" fmla="*/ 2360545 w 2360545"/>
                <a:gd name="connsiteY0" fmla="*/ 0 h 257442"/>
                <a:gd name="connsiteX1" fmla="*/ 2305825 w 2360545"/>
                <a:gd name="connsiteY1" fmla="*/ 257442 h 257442"/>
                <a:gd name="connsiteX2" fmla="*/ 0 w 2360545"/>
                <a:gd name="connsiteY2" fmla="*/ 257442 h 257442"/>
                <a:gd name="connsiteX3" fmla="*/ 54720 w 2360545"/>
                <a:gd name="connsiteY3" fmla="*/ 0 h 257442"/>
                <a:gd name="connsiteX0" fmla="*/ 2360545 w 2360545"/>
                <a:gd name="connsiteY0" fmla="*/ 0 h 257442"/>
                <a:gd name="connsiteX1" fmla="*/ 2305825 w 2360545"/>
                <a:gd name="connsiteY1" fmla="*/ 257442 h 257442"/>
                <a:gd name="connsiteX2" fmla="*/ 0 w 2360545"/>
                <a:gd name="connsiteY2" fmla="*/ 257442 h 257442"/>
                <a:gd name="connsiteX3" fmla="*/ 54721 w 2360545"/>
                <a:gd name="connsiteY3" fmla="*/ 0 h 257442"/>
                <a:gd name="connsiteX0" fmla="*/ 2192230 w 2305825"/>
                <a:gd name="connsiteY0" fmla="*/ 0 h 257442"/>
                <a:gd name="connsiteX1" fmla="*/ 2305825 w 2305825"/>
                <a:gd name="connsiteY1" fmla="*/ 257442 h 257442"/>
                <a:gd name="connsiteX2" fmla="*/ 0 w 2305825"/>
                <a:gd name="connsiteY2" fmla="*/ 257442 h 257442"/>
                <a:gd name="connsiteX3" fmla="*/ 54721 w 2305825"/>
                <a:gd name="connsiteY3" fmla="*/ 0 h 257442"/>
                <a:gd name="connsiteX0" fmla="*/ 2192230 w 2192230"/>
                <a:gd name="connsiteY0" fmla="*/ 0 h 257442"/>
                <a:gd name="connsiteX1" fmla="*/ 2137509 w 2192230"/>
                <a:gd name="connsiteY1" fmla="*/ 257442 h 257442"/>
                <a:gd name="connsiteX2" fmla="*/ 0 w 2192230"/>
                <a:gd name="connsiteY2" fmla="*/ 257442 h 257442"/>
                <a:gd name="connsiteX3" fmla="*/ 54721 w 2192230"/>
                <a:gd name="connsiteY3" fmla="*/ 0 h 257442"/>
                <a:gd name="connsiteX0" fmla="*/ 2192230 w 2192230"/>
                <a:gd name="connsiteY0" fmla="*/ 0 h 257442"/>
                <a:gd name="connsiteX1" fmla="*/ 2137509 w 2192230"/>
                <a:gd name="connsiteY1" fmla="*/ 257442 h 257442"/>
                <a:gd name="connsiteX2" fmla="*/ 0 w 2192230"/>
                <a:gd name="connsiteY2" fmla="*/ 257442 h 257442"/>
                <a:gd name="connsiteX3" fmla="*/ 54721 w 2192230"/>
                <a:gd name="connsiteY3" fmla="*/ 0 h 257442"/>
                <a:gd name="connsiteX0" fmla="*/ 2192230 w 2192230"/>
                <a:gd name="connsiteY0" fmla="*/ 0 h 257442"/>
                <a:gd name="connsiteX1" fmla="*/ 2137509 w 2192230"/>
                <a:gd name="connsiteY1" fmla="*/ 257442 h 257442"/>
                <a:gd name="connsiteX2" fmla="*/ 0 w 2192230"/>
                <a:gd name="connsiteY2" fmla="*/ 257442 h 257442"/>
                <a:gd name="connsiteX3" fmla="*/ 54721 w 2192230"/>
                <a:gd name="connsiteY3" fmla="*/ 0 h 257442"/>
                <a:gd name="connsiteX0" fmla="*/ 2504816 w 2504816"/>
                <a:gd name="connsiteY0" fmla="*/ 0 h 257442"/>
                <a:gd name="connsiteX1" fmla="*/ 2137509 w 2504816"/>
                <a:gd name="connsiteY1" fmla="*/ 257442 h 257442"/>
                <a:gd name="connsiteX2" fmla="*/ 0 w 2504816"/>
                <a:gd name="connsiteY2" fmla="*/ 257442 h 257442"/>
                <a:gd name="connsiteX3" fmla="*/ 54721 w 2504816"/>
                <a:gd name="connsiteY3" fmla="*/ 0 h 257442"/>
                <a:gd name="connsiteX0" fmla="*/ 2504816 w 2504816"/>
                <a:gd name="connsiteY0" fmla="*/ 0 h 257442"/>
                <a:gd name="connsiteX1" fmla="*/ 2450095 w 2504816"/>
                <a:gd name="connsiteY1" fmla="*/ 257442 h 257442"/>
                <a:gd name="connsiteX2" fmla="*/ 0 w 2504816"/>
                <a:gd name="connsiteY2" fmla="*/ 257442 h 257442"/>
                <a:gd name="connsiteX3" fmla="*/ 54721 w 2504816"/>
                <a:gd name="connsiteY3" fmla="*/ 0 h 257442"/>
                <a:gd name="connsiteX0" fmla="*/ 2504816 w 2504816"/>
                <a:gd name="connsiteY0" fmla="*/ 0 h 257442"/>
                <a:gd name="connsiteX1" fmla="*/ 2450095 w 2504816"/>
                <a:gd name="connsiteY1" fmla="*/ 257442 h 257442"/>
                <a:gd name="connsiteX2" fmla="*/ 0 w 2504816"/>
                <a:gd name="connsiteY2" fmla="*/ 257442 h 257442"/>
                <a:gd name="connsiteX3" fmla="*/ 54721 w 2504816"/>
                <a:gd name="connsiteY3" fmla="*/ 0 h 257442"/>
                <a:gd name="connsiteX0" fmla="*/ 2504816 w 2504816"/>
                <a:gd name="connsiteY0" fmla="*/ 0 h 257442"/>
                <a:gd name="connsiteX1" fmla="*/ 2450095 w 2504816"/>
                <a:gd name="connsiteY1" fmla="*/ 257442 h 257442"/>
                <a:gd name="connsiteX2" fmla="*/ 0 w 2504816"/>
                <a:gd name="connsiteY2" fmla="*/ 257442 h 257442"/>
                <a:gd name="connsiteX3" fmla="*/ 54721 w 2504816"/>
                <a:gd name="connsiteY3" fmla="*/ 0 h 257442"/>
                <a:gd name="connsiteX0" fmla="*/ 1886955 w 2450095"/>
                <a:gd name="connsiteY0" fmla="*/ 0 h 257442"/>
                <a:gd name="connsiteX1" fmla="*/ 2450095 w 2450095"/>
                <a:gd name="connsiteY1" fmla="*/ 257442 h 257442"/>
                <a:gd name="connsiteX2" fmla="*/ 0 w 2450095"/>
                <a:gd name="connsiteY2" fmla="*/ 257442 h 257442"/>
                <a:gd name="connsiteX3" fmla="*/ 54721 w 2450095"/>
                <a:gd name="connsiteY3" fmla="*/ 0 h 257442"/>
                <a:gd name="connsiteX0" fmla="*/ 1886955 w 1886955"/>
                <a:gd name="connsiteY0" fmla="*/ 0 h 257442"/>
                <a:gd name="connsiteX1" fmla="*/ 1832235 w 1886955"/>
                <a:gd name="connsiteY1" fmla="*/ 257442 h 257442"/>
                <a:gd name="connsiteX2" fmla="*/ 0 w 1886955"/>
                <a:gd name="connsiteY2" fmla="*/ 257442 h 257442"/>
                <a:gd name="connsiteX3" fmla="*/ 54721 w 1886955"/>
                <a:gd name="connsiteY3" fmla="*/ 0 h 257442"/>
                <a:gd name="connsiteX0" fmla="*/ 1886954 w 1886954"/>
                <a:gd name="connsiteY0" fmla="*/ 0 h 257442"/>
                <a:gd name="connsiteX1" fmla="*/ 1832234 w 1886954"/>
                <a:gd name="connsiteY1" fmla="*/ 257442 h 257442"/>
                <a:gd name="connsiteX2" fmla="*/ 0 w 1886954"/>
                <a:gd name="connsiteY2" fmla="*/ 257442 h 257442"/>
                <a:gd name="connsiteX3" fmla="*/ 54720 w 1886954"/>
                <a:gd name="connsiteY3" fmla="*/ 0 h 257442"/>
                <a:gd name="connsiteX0" fmla="*/ 1886954 w 1886954"/>
                <a:gd name="connsiteY0" fmla="*/ 0 h 257442"/>
                <a:gd name="connsiteX1" fmla="*/ 1832234 w 1886954"/>
                <a:gd name="connsiteY1" fmla="*/ 257442 h 257442"/>
                <a:gd name="connsiteX2" fmla="*/ 0 w 1886954"/>
                <a:gd name="connsiteY2" fmla="*/ 257442 h 257442"/>
                <a:gd name="connsiteX3" fmla="*/ 54720 w 1886954"/>
                <a:gd name="connsiteY3" fmla="*/ 0 h 257442"/>
                <a:gd name="connsiteX0" fmla="*/ 2055269 w 2055269"/>
                <a:gd name="connsiteY0" fmla="*/ 0 h 257442"/>
                <a:gd name="connsiteX1" fmla="*/ 1832234 w 2055269"/>
                <a:gd name="connsiteY1" fmla="*/ 257442 h 257442"/>
                <a:gd name="connsiteX2" fmla="*/ 0 w 2055269"/>
                <a:gd name="connsiteY2" fmla="*/ 257442 h 257442"/>
                <a:gd name="connsiteX3" fmla="*/ 54720 w 2055269"/>
                <a:gd name="connsiteY3" fmla="*/ 0 h 257442"/>
                <a:gd name="connsiteX0" fmla="*/ 2055269 w 2055269"/>
                <a:gd name="connsiteY0" fmla="*/ 0 h 257442"/>
                <a:gd name="connsiteX1" fmla="*/ 2000548 w 2055269"/>
                <a:gd name="connsiteY1" fmla="*/ 257442 h 257442"/>
                <a:gd name="connsiteX2" fmla="*/ 0 w 2055269"/>
                <a:gd name="connsiteY2" fmla="*/ 257442 h 257442"/>
                <a:gd name="connsiteX3" fmla="*/ 54720 w 2055269"/>
                <a:gd name="connsiteY3" fmla="*/ 0 h 257442"/>
                <a:gd name="connsiteX0" fmla="*/ 2055270 w 2055270"/>
                <a:gd name="connsiteY0" fmla="*/ 0 h 257442"/>
                <a:gd name="connsiteX1" fmla="*/ 2000549 w 2055270"/>
                <a:gd name="connsiteY1" fmla="*/ 257442 h 257442"/>
                <a:gd name="connsiteX2" fmla="*/ 0 w 2055270"/>
                <a:gd name="connsiteY2" fmla="*/ 257442 h 257442"/>
                <a:gd name="connsiteX3" fmla="*/ 54721 w 2055270"/>
                <a:gd name="connsiteY3" fmla="*/ 0 h 257442"/>
                <a:gd name="connsiteX0" fmla="*/ 2055270 w 2055270"/>
                <a:gd name="connsiteY0" fmla="*/ 0 h 257442"/>
                <a:gd name="connsiteX1" fmla="*/ 2000549 w 2055270"/>
                <a:gd name="connsiteY1" fmla="*/ 257442 h 257442"/>
                <a:gd name="connsiteX2" fmla="*/ 0 w 2055270"/>
                <a:gd name="connsiteY2" fmla="*/ 257442 h 257442"/>
                <a:gd name="connsiteX3" fmla="*/ 54721 w 2055270"/>
                <a:gd name="connsiteY3" fmla="*/ 0 h 257442"/>
                <a:gd name="connsiteX0" fmla="*/ 2334192 w 2334192"/>
                <a:gd name="connsiteY0" fmla="*/ 0 h 257442"/>
                <a:gd name="connsiteX1" fmla="*/ 2000549 w 2334192"/>
                <a:gd name="connsiteY1" fmla="*/ 257442 h 257442"/>
                <a:gd name="connsiteX2" fmla="*/ 0 w 2334192"/>
                <a:gd name="connsiteY2" fmla="*/ 257442 h 257442"/>
                <a:gd name="connsiteX3" fmla="*/ 54721 w 2334192"/>
                <a:gd name="connsiteY3" fmla="*/ 0 h 257442"/>
                <a:gd name="connsiteX0" fmla="*/ 2334192 w 2334192"/>
                <a:gd name="connsiteY0" fmla="*/ 0 h 257442"/>
                <a:gd name="connsiteX1" fmla="*/ 2279471 w 2334192"/>
                <a:gd name="connsiteY1" fmla="*/ 257442 h 257442"/>
                <a:gd name="connsiteX2" fmla="*/ 0 w 2334192"/>
                <a:gd name="connsiteY2" fmla="*/ 257442 h 257442"/>
                <a:gd name="connsiteX3" fmla="*/ 54721 w 2334192"/>
                <a:gd name="connsiteY3" fmla="*/ 0 h 257442"/>
                <a:gd name="connsiteX0" fmla="*/ 2334192 w 2334192"/>
                <a:gd name="connsiteY0" fmla="*/ 0 h 257442"/>
                <a:gd name="connsiteX1" fmla="*/ 2279471 w 2334192"/>
                <a:gd name="connsiteY1" fmla="*/ 257442 h 257442"/>
                <a:gd name="connsiteX2" fmla="*/ 0 w 2334192"/>
                <a:gd name="connsiteY2" fmla="*/ 257442 h 257442"/>
                <a:gd name="connsiteX3" fmla="*/ 54721 w 2334192"/>
                <a:gd name="connsiteY3" fmla="*/ 0 h 257442"/>
                <a:gd name="connsiteX0" fmla="*/ 2334192 w 2334192"/>
                <a:gd name="connsiteY0" fmla="*/ 0 h 257442"/>
                <a:gd name="connsiteX1" fmla="*/ 2279471 w 2334192"/>
                <a:gd name="connsiteY1" fmla="*/ 257442 h 257442"/>
                <a:gd name="connsiteX2" fmla="*/ 0 w 2334192"/>
                <a:gd name="connsiteY2" fmla="*/ 257442 h 257442"/>
                <a:gd name="connsiteX3" fmla="*/ 54721 w 2334192"/>
                <a:gd name="connsiteY3" fmla="*/ 0 h 257442"/>
                <a:gd name="connsiteX0" fmla="*/ 2502508 w 2502508"/>
                <a:gd name="connsiteY0" fmla="*/ 0 h 257442"/>
                <a:gd name="connsiteX1" fmla="*/ 2279471 w 2502508"/>
                <a:gd name="connsiteY1" fmla="*/ 257442 h 257442"/>
                <a:gd name="connsiteX2" fmla="*/ 0 w 2502508"/>
                <a:gd name="connsiteY2" fmla="*/ 257442 h 257442"/>
                <a:gd name="connsiteX3" fmla="*/ 54721 w 2502508"/>
                <a:gd name="connsiteY3" fmla="*/ 0 h 257442"/>
                <a:gd name="connsiteX0" fmla="*/ 2502508 w 2502508"/>
                <a:gd name="connsiteY0" fmla="*/ 0 h 257442"/>
                <a:gd name="connsiteX1" fmla="*/ 2447787 w 2502508"/>
                <a:gd name="connsiteY1" fmla="*/ 257442 h 257442"/>
                <a:gd name="connsiteX2" fmla="*/ 0 w 2502508"/>
                <a:gd name="connsiteY2" fmla="*/ 257442 h 257442"/>
                <a:gd name="connsiteX3" fmla="*/ 54721 w 2502508"/>
                <a:gd name="connsiteY3" fmla="*/ 0 h 257442"/>
                <a:gd name="connsiteX0" fmla="*/ 2502508 w 2502508"/>
                <a:gd name="connsiteY0" fmla="*/ 0 h 257442"/>
                <a:gd name="connsiteX1" fmla="*/ 2447787 w 2502508"/>
                <a:gd name="connsiteY1" fmla="*/ 257442 h 257442"/>
                <a:gd name="connsiteX2" fmla="*/ 0 w 2502508"/>
                <a:gd name="connsiteY2" fmla="*/ 257442 h 257442"/>
                <a:gd name="connsiteX3" fmla="*/ 54721 w 2502508"/>
                <a:gd name="connsiteY3" fmla="*/ 0 h 257442"/>
                <a:gd name="connsiteX0" fmla="*/ 2502508 w 2502508"/>
                <a:gd name="connsiteY0" fmla="*/ 0 h 257442"/>
                <a:gd name="connsiteX1" fmla="*/ 2447787 w 2502508"/>
                <a:gd name="connsiteY1" fmla="*/ 257442 h 257442"/>
                <a:gd name="connsiteX2" fmla="*/ 0 w 2502508"/>
                <a:gd name="connsiteY2" fmla="*/ 257442 h 257442"/>
                <a:gd name="connsiteX3" fmla="*/ 54721 w 2502508"/>
                <a:gd name="connsiteY3" fmla="*/ 0 h 257442"/>
                <a:gd name="connsiteX0" fmla="*/ 2662808 w 2662808"/>
                <a:gd name="connsiteY0" fmla="*/ 0 h 257442"/>
                <a:gd name="connsiteX1" fmla="*/ 2447787 w 2662808"/>
                <a:gd name="connsiteY1" fmla="*/ 257442 h 257442"/>
                <a:gd name="connsiteX2" fmla="*/ 0 w 2662808"/>
                <a:gd name="connsiteY2" fmla="*/ 257442 h 257442"/>
                <a:gd name="connsiteX3" fmla="*/ 54721 w 2662808"/>
                <a:gd name="connsiteY3" fmla="*/ 0 h 257442"/>
                <a:gd name="connsiteX0" fmla="*/ 2662808 w 2662808"/>
                <a:gd name="connsiteY0" fmla="*/ 0 h 257442"/>
                <a:gd name="connsiteX1" fmla="*/ 2608087 w 2662808"/>
                <a:gd name="connsiteY1" fmla="*/ 257442 h 257442"/>
                <a:gd name="connsiteX2" fmla="*/ 0 w 2662808"/>
                <a:gd name="connsiteY2" fmla="*/ 257442 h 257442"/>
                <a:gd name="connsiteX3" fmla="*/ 54721 w 2662808"/>
                <a:gd name="connsiteY3" fmla="*/ 0 h 257442"/>
                <a:gd name="connsiteX0" fmla="*/ 2662808 w 2662808"/>
                <a:gd name="connsiteY0" fmla="*/ 0 h 257442"/>
                <a:gd name="connsiteX1" fmla="*/ 2608087 w 2662808"/>
                <a:gd name="connsiteY1" fmla="*/ 257442 h 257442"/>
                <a:gd name="connsiteX2" fmla="*/ 0 w 2662808"/>
                <a:gd name="connsiteY2" fmla="*/ 257442 h 257442"/>
                <a:gd name="connsiteX3" fmla="*/ 54721 w 2662808"/>
                <a:gd name="connsiteY3" fmla="*/ 0 h 257442"/>
                <a:gd name="connsiteX0" fmla="*/ 2662808 w 2662808"/>
                <a:gd name="connsiteY0" fmla="*/ 0 h 257442"/>
                <a:gd name="connsiteX1" fmla="*/ 2608087 w 2662808"/>
                <a:gd name="connsiteY1" fmla="*/ 257442 h 257442"/>
                <a:gd name="connsiteX2" fmla="*/ 0 w 2662808"/>
                <a:gd name="connsiteY2" fmla="*/ 257442 h 257442"/>
                <a:gd name="connsiteX3" fmla="*/ 54721 w 2662808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62808" h="257442">
                  <a:moveTo>
                    <a:pt x="2662808" y="0"/>
                  </a:moveTo>
                  <a:lnTo>
                    <a:pt x="2608087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2" name="btfpRunningAgenda2LevelTextRight224096">
              <a:extLst>
                <a:ext uri="{FF2B5EF4-FFF2-40B4-BE49-F238E27FC236}">
                  <a16:creationId xmlns:a16="http://schemas.microsoft.com/office/drawing/2014/main" id="{9671DFAF-3814-4EF5-B635-4CC6EB4FC078}"/>
                </a:ext>
              </a:extLst>
            </p:cNvPr>
            <p:cNvSpPr txBox="1"/>
            <p:nvPr/>
          </p:nvSpPr>
          <p:spPr bwMode="gray">
            <a:xfrm>
              <a:off x="2351636" y="876300"/>
              <a:ext cx="2608087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Unique visits</a:t>
              </a:r>
            </a:p>
          </p:txBody>
        </p:sp>
      </p:grpSp>
      <p:sp>
        <p:nvSpPr>
          <p:cNvPr id="38" name="btfpNotesBox703484">
            <a:extLst>
              <a:ext uri="{FF2B5EF4-FFF2-40B4-BE49-F238E27FC236}">
                <a16:creationId xmlns:a16="http://schemas.microsoft.com/office/drawing/2014/main" id="{59D10735-2228-C5BF-EBC9-C2456D6D77F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>
            <a:off x="329390" y="6339282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Note: LTM: Apr’24 to Mar’25; </a:t>
            </a:r>
            <a:r>
              <a:rPr lang="en-GB" sz="800"/>
              <a:t>YoY change refers to % change in monthly average no. of unique visits in LTM (</a:t>
            </a:r>
            <a:r>
              <a:rPr lang="en-US" sz="800">
                <a:solidFill>
                  <a:srgbClr val="000000"/>
                </a:solidFill>
              </a:rPr>
              <a:t>Apr’24 to Mar’25</a:t>
            </a:r>
            <a:r>
              <a:rPr lang="en-GB" sz="800"/>
              <a:t>) vs. Previous LTM (</a:t>
            </a:r>
            <a:r>
              <a:rPr lang="en-US" sz="800">
                <a:solidFill>
                  <a:srgbClr val="000000"/>
                </a:solidFill>
              </a:rPr>
              <a:t>Apr’23 to Mar’24</a:t>
            </a:r>
            <a:r>
              <a:rPr lang="en-GB" sz="800"/>
              <a:t>)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800"/>
              <a:t>Source: </a:t>
            </a:r>
            <a:r>
              <a:rPr lang="en-GB" sz="800" err="1"/>
              <a:t>SimilarWeb</a:t>
            </a:r>
            <a:endParaRPr lang="en-GB" sz="80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7874A45-232F-355E-D1ED-C6A06F4E9197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8712519" y="2122471"/>
            <a:ext cx="3151878" cy="2346207"/>
          </a:xfrm>
          <a:prstGeom prst="rect">
            <a:avLst/>
          </a:prstGeom>
          <a:noFill/>
          <a:ln w="1905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292D7A5-5577-F87A-2A5C-20D92A7718A8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38" y="946635"/>
            <a:ext cx="252287" cy="251574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81C55DB8-4DA4-5B23-8AD5-CCD9C0E95060}"/>
              </a:ext>
            </a:extLst>
          </p:cNvPr>
          <p:cNvSpPr/>
          <p:nvPr/>
        </p:nvSpPr>
        <p:spPr bwMode="gray">
          <a:xfrm>
            <a:off x="8474715" y="2116646"/>
            <a:ext cx="232435" cy="2341683"/>
          </a:xfrm>
          <a:prstGeom prst="rect">
            <a:avLst/>
          </a:prstGeom>
          <a:solidFill>
            <a:srgbClr val="C00000"/>
          </a:solidFill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CA" sz="750" b="1" i="1" dirty="0">
                <a:solidFill>
                  <a:schemeClr val="bg1"/>
                </a:solidFill>
              </a:rPr>
              <a:t>Target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8307426C-E162-EE4F-D46E-DF26009EA77C}"/>
              </a:ext>
            </a:extLst>
          </p:cNvPr>
          <p:cNvSpPr/>
          <p:nvPr/>
        </p:nvSpPr>
        <p:spPr bwMode="gray">
          <a:xfrm>
            <a:off x="8474715" y="4469911"/>
            <a:ext cx="232435" cy="62966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CA" sz="750" b="1" i="1" dirty="0">
                <a:solidFill>
                  <a:schemeClr val="bg1"/>
                </a:solidFill>
              </a:rPr>
              <a:t>Peer 9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90F49A6C-68BD-9B97-A2D2-CBCDDC466DEA}"/>
              </a:ext>
            </a:extLst>
          </p:cNvPr>
          <p:cNvSpPr/>
          <p:nvPr/>
        </p:nvSpPr>
        <p:spPr bwMode="gray">
          <a:xfrm>
            <a:off x="8474715" y="5109921"/>
            <a:ext cx="232435" cy="655227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CA" sz="750" b="1" i="1" dirty="0">
                <a:solidFill>
                  <a:schemeClr val="bg1"/>
                </a:solidFill>
              </a:rPr>
              <a:t>Peer 11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0046A7BF-28C7-2B41-6DF2-D09382A7C2AB}"/>
              </a:ext>
            </a:extLst>
          </p:cNvPr>
          <p:cNvSpPr/>
          <p:nvPr/>
        </p:nvSpPr>
        <p:spPr bwMode="gray">
          <a:xfrm>
            <a:off x="8474715" y="5766200"/>
            <a:ext cx="232435" cy="406411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CA" sz="750" b="1" i="1" dirty="0">
                <a:solidFill>
                  <a:schemeClr val="bg1"/>
                </a:solidFill>
              </a:rPr>
              <a:t>Peer 12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548884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think-cell data - do not delete" hidden="1">
            <a:extLst>
              <a:ext uri="{FF2B5EF4-FFF2-40B4-BE49-F238E27FC236}">
                <a16:creationId xmlns:a16="http://schemas.microsoft.com/office/drawing/2014/main" id="{3D7FCCED-D76E-19B5-7047-E0C6ED51B3D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0011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84" imgH="486" progId="TCLayout.ActiveDocument.1">
                  <p:embed/>
                </p:oleObj>
              </mc:Choice>
              <mc:Fallback>
                <p:oleObj name="think-cell Slide" r:id="rId10" imgW="484" imgH="486" progId="TCLayout.ActiveDocument.1">
                  <p:embed/>
                  <p:pic>
                    <p:nvPicPr>
                      <p:cNvPr id="8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7FCCED-D76E-19B5-7047-E0C6ED51B3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tfpMGChart150436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njPEhjUiUXcADKRp21sDU+MnKpFfqvg431dAjfmT6tDp1wm0JEHr9+GCsgAFdCxfNSFmBmE9Pzs7RluZslftOm4g+E15z+FZzywW+cg41+xpxr5O5CwXaM5siEMz8pBgqftkvHfqd08TIFiONxr9BqkjbtA+EzPaw07T/W0FdpGtg18l/MDbJN4bFknhdXhzB8tSNUgD9r4dyEalI3zbWoOp9VPyCmGYxasxMCND7NJ2MxysFYOmRS+WtUxpXQRFut7TM6EDOWl8XkYQu8sJ5FOpcJaHzBjUX8QLVeKURDsp4IIeXnEln54osl2qpNKyUI3Ac/4GO0IWIn/yMbg+61JVefu/lXYWrQUjJO6KSQvPiZPzkPAhgPH8UF6TUNCJTxgXq96GgGWVgWhIWMqzqR8heDbZtdVMoj3A0ek0jZhqrfVw4aglmwUjYL62l0cslxIq0Jh5CQmBfc0V0xvXNPeDc4DJ1budicQtyuzWz6ac4N+9AI4JWIVNp9bsaNjtmb8FpqDSrTx8T1pgh1JKUZfT8/69UoTsRgDe+uM7gi7XTLh4vQduXm5wOgT2u7ySrTIJaW8jEgaQFKTGQp2nD2chGhl4t8BmH5hqC88hN9Y0UOpJvP9CaqV/85lhwgyWSQBSJnmidx+dviMtVZfF+WJaePQ6bouTKMLtVzvai5l7+IT5XcQfsq2KgMIRIwAslcYedSFY9Aiu+mAPnm88cCveglcJuOkkZI6gFqO5bU2DJGaK9a3+o3aMjmfiOzXf4QgAGC9jaZlu05aHGXEgIcU/xyAcbFkCvmBoWt93MHcbvgd60Gh8otf1hSgbJhlk0TA/ZeqSGAwjxmpogT970eR5FnSi/b6eIJhvF1AMfkw0Om1VEeDpHX//7iFg179WJCKtqhEnBCm3gQFuVMW30Ks3wKFPGJ4BCuhHJPCQFpLcBvfLaRZAD/7uhwfXzA53EsTWoaTUcFw+/yrxGPZHZa82sO7dUOw8n4+PTZRZfWTrSgw233eQqN/JCTl11B0M0LbwePjDisBkxq+6keTGfwY3WsvCioqvre53AyaGbOoWevIeC5ne2G6Frw4i/jMdjcwRVuqASo0qk/TfEeUTRcv8QFSEJaG5N9n7ccis1/Yn1VgBHDuWBg3+i5zEXRvW/WZL6FSjFWq0CYhRkqmsIpF5LVllW+s2/mLSlqm7ynd0JRgh89kIEHXrptqhTgJNoZ9l2EmU6HkBfVyyorzaTejZHUPdZ1eKR4u2fln6pjaI/bI8Oz53WGdvwZIk3KJiehGhOsGo0zywQzKOuRzLWEs9r80IkgjiAfBNm3xVuovmfBN8LfXSjorFSco4lDUIRw3bvrhytoW+labeOW7BHILTp/WjOo6df2uBlpEwcutOCG2N0JXFrj4vEkV44+LFJlZS6gFE8tisCCYcOZ51IcYAWwG+tLRra1qGsEoMXJz7+pENWtleACm0Np8ARBZMevqVWGi+ieaotIDAMYayUT9/2c0JY0m9f1/zAcVUDDjCC2rBYKFNv+OvtSk66LKAqupZ6DeQzmu9E8HhFXB+SH6m+KqBGwws0/TxrpIImDk4RiKKDMWGJdn13/d9XtzmwQCwTze/kEtFdyiH4vwobx6Tq/9gEYejBtyjPl9GjDuZPBIXrhFnfiKcJXtfzKWps09Iofq43BUxcbNm6dgdZzhxwagKqykYH/DidxsVKg32fTzNsJfKJaPp/cUw31V//woKyjZ5S+Qoq+D2CtXvbaFPxESDEmcXmwIGn1XKo5fFEgWTjiA5t8qBxdpN1O+pqBR4V6HzEN5vqYUpLAu066WmDx071dH0qJ1r6pEQ77pNmNm8Ixsg4DqmtpBN2yW1DtSNPIQZGjPqMt4sqKbE+fEEJ4UWpB8Flg4FCACal2GFO6tVEswvHbfw9fkAwu4PosPDgGo4XJUn+CAyaw4KYqE+RoGDW6BUPPtrMLGKsgYG5l65xpDdg+RV/VIqbT0vEvEdKUL6Y3p5kIQHKxv22L5CigrcYr3zcWRHf20C+PVP2pcBE+kemFJEv0mkJtsWHaX65R3xBYgunwymfs+pFoR2ow/x4flCoXYIq4Ki1w1ltvI6Xj79F1T4bY2L52sALFStcYl8ut+NbcVMSqKFXmVJDZF7VlOrnMC+zO41lWrq/rBa02VY4Y5+x0dsYf/ZC4Ult/mVQs4WRP1GbG0MmmHnyVC79A9BW7za4YlLwpSQZlTDcbt8jqdPJFnwarNdiQZGOjHH2zPJ6LfEAHnKMwEmQxjicyq4/LdO8gNAcfczLA81VxbVwftpKO4MivOAJI3rWinIWrnKO95f+DoUfn0q1vl6LuB34l27Id2WdbtGH7ENsxxHlCb1L1d0RNixUkdurfaQo74pkTxX5naKNpOWwYfKgjyZCOGZ+pnqkoBk5JD+PnYvfMWyP0H1izOdUk6z6BSZc3QnrBY2W2dfAvToQA1tn65gk9N0dxUva9/GFBiyDy/4DgWmJ0sUBH2olhHdSM1blz8jH9Pj/P4PUsPvfz0l9Xdg18rvOu6o6usKFaT1K5GPYCcxtuFjkswNx9/lmfVgRcyKg8QmkKtChX9l/YcOjAL6NOE9p1Rg3KaRU2S6K6I916ZYh4V9/Kqeeb2bloYGH5Myay1ZjG3leHfRKJIddOkinbx3jxtJxlWWRRoZMnOBak8yxDlumm1ziLy+xCCQASjrp4AndH0qb0pmqG8ZDiDbxaieLgJmLU5iuV8SCkTlSYoy3Ouk+zaecpPlF+WlTImEL22L0OxHkH1L9VfItcTwDUKNv8tJp0eaeZZhJkNuFhBeuta3IHCrtWH8Xlp58S2j9S9/DWMrGLW3EEsQ1bV8GJxsgbvHXJO6/D4ElT+R74UN8GY/GQvyq5zuOYd1yLBaqc1GPTXVQEsgyGoqwifpM3gWGXKoYiPSnsLFwD1cNywwYyrYBlz30WAq6wl14Qxsh5ckRSDTUvSWLKIxH5gQu0aaLh76TqcxZpJ1Oa1lRKw9M3gpSwfg7uZa1FsmZcnxL5scvieVjmw7pZhY3bzHTrbMuVqhQJLa3pKdIY2wFqnBUbElg1dnWkonQJNbZllAe/b3YwjBsxwEL0MWWVWPa1LPSUOhG8COStXC7Vl95C6tV15nFV2cOSETwCkjWo0Hh9SPHG3K5AiOFnKeCbwWkZpOEzgZGUvft5r4y34tQwBrNuKg5q2doFIJZUgMaCl8bcZdMwGdGtJQBBYSj4/cO0HFo5Gyhjut1hsAARUYxspXB9G6RHOPq27EaQ8kO1gmrAqV/0pGFly0UgQfhtxd6+to6XteJ6x1cP8FTMbiOH89R1w+BDp7TpX7Qc1V7eIvZWGxVTDETpIvT5KNn1Pq4l0LiHjcXdHsSZXx48aKytVzM3/iaZ0LAf9A0oZ+G1k5bK7idH2G8BZ79946Duuic1qLnmVyYDAH/erqTQO6A3bE6/7B+7gVz2CQzfsvZGq/f7AVBzKpW7qvxZ6dm2zNMP2m3fC1HtMFRU9WFIlhFMcTeOL4RPkC+BmiZMxBOBgbpj9Ev5IGFruTI/oE1blbSuuosGx0jScIVfyWxlFbyqDYmjctk6a97VEgnsgERGlwkmNtNc4PGEqv0gAhh3USVkQvY9u0TLYXcUWJSkO4lu5ZE5VwX6NHAzDq4iWkgcvEOX2IJQc+oirtVw0wgbmJK+/QekZSCViKCPLaDhCMzsArPx4qh0t2Ix3m79tBkgUGoUPO5GcUYphI+vxfbutbfnzgYjSjMHfbU3SHeu/dIZY7zkUcwiPBI5S9Om1WmYrbeM9oEdS9W6wPbuW4h7TYTRcilpLev7vhOX3SzoodKfJDA0jOFDYmpknBUUthflVRS/emG+wqonGzPmyhFPDm48ccD1j9TYgpCHv0Ol9sOOD1atUx+EYBwl5+bIOtLrttsYGJfarMgS5a2wWrEOxeXieHoOn+Dki12RDrnBj5Lj45x0cMC1J4AbPLVaJT88z5Qw3zIqXPGWCWYTKxy5G9MlBGOHnuRUl9oLgK8Oz1VtzFE30Ou3BWvy7fpISGKfDFI+6oMROgzrTyxzM+QveyC6a9WUNa4lcyblVrWGrzzwo6pWX6fOn0JiQ+sI+6SQBopwEdakfgWbemg5TCHHQxHsXi24y6LiTQ3RaalIpRdLYQ461xxibbxVLBgw3QXbi0/IwQRaJezQA01ivio8nhZcA0VLmo01zzNOradr7hC8zyW60WFEmWeeNlBpIBoNMyoGMCoV4PFIk1fbRdhW3WpOyBLBxVIe1VdGjYkpd5ULM4klLUgZPWwIHn9IoLbaU9wqWgn+4+wBs4eW+JqSynaKg6nrn44Z8Z6ZGhhTyrUI0f1o37SVpyQAgSAcRVYGnlk9yxA1iLqmw0zsIRbFs4VOx5p9RqdfGKOI9aa1LicbK8wynbVH3uZvUy7vKdGbnR+ilHyqBQmJhAVHsXUVrppaLgrxdjivSVF+aXNiQ07e87fv4rdK5jwXPuc1q3Rc/fo5KBjpZ1g5+fsTE2rTAXBl5yJ+X9HPYr9THNZpeqkBNfWXSud2flUqKY/CzNuZK8T+TzeqNEB29U/4jLaUKkgBmGBZ4qYmOPIgsl3Obc8QuJ8J9+WPNxqGG08HsXcZ80oBXXtohnPCWgrwkFOKEvOKR+4iEHscj4V0bm0aILpVkXrb3yPCaJs5EIjiqD04nPDl08+Rs6Q6s+dETA979cyl81Xsuy2r/32T9IWpvY3ONtH1VOJyFWd845hHmkfaVBF1bIWkDIQBPRBQokZXPWo0U5C0F0xbAdZj29G3iswJhJeR5b112XsEGjKRgFwFEhhXK971dspNfS9MOPB/riepIDx65qmw9Xtj0SJahObbHMtrqq9JnWfnTPy9wRUQYQpgbldCIHodsuwAeyAHroi5csNlhehukiX6IOtK2pBtFko8sBYXkJHvcwtxdW70ArNoIziYse4zc0i/dH0vVvDdeOwVSwb76RiDb/hD6CvQt9JyAwqcTEB9bSgwJNHhNRpGIZv7Dvz0LJfxOsVSR+gYl/JUITeJKpQTyNd8qOnHjzJdMND1XhXZrAu7Gu7yT4cQ84oeS/w2hkDf7IDKABTV2BncfH9AGwBR0NKSDp6pMnAWsYcXxpBQK6vbA0Nzx2U97Q/shUz+XM4oYHPL0AJftRSJJ5cSNOxn6hTIxXTNk0Np2yteTIGYiMQ35BgkRuZxzEUdOmblAft49XdZzBIZBzIUZMElXc2/wsteD8sBD7Z5jCl/FNy2+IhTa3jmYynrFroeWUdAsbbmJfmApvZel4DFeoKiTGhP4z/amUp4UaCpgcbT/SXRWNbiHlYFlbfmEAsJ2urlz15vPQOLWWkzV4U5SeHhJLOYHk/80ps0G6oI5U8mVmg+u+sLR83AXu605utKPwsDvhaA0FplR+qHsnrGdMfg6qVkdjV5scmhS7K5X+RSh1mf9OtQn7ndpwK8oAC/3YFA0e6im/ZuSwtchNDtmW9DXq+kXbeRibbowmxQX1SND4S9MyFoMI946FC3aRdrcMMCcA9a7VoX5z1mSiFkqlIcFj4E38xGkaET9+BfUccbU2IYN9u9LDKlUPaELEUzpfMQ/0jzFakQyB8IqfixZ/Djs+iR9ldXYEmFoUaGn3MyCTX0AUr4scRgMN4jXACAnVUE4o+Dag/anrlughuCvYXz231Wdod609bmrOzyVgr/Jcrvelybeh0nxrMzUmvwCvrTolG/UltKeOv+tS1PlXj7DPw+YjjL5g5+HDJQawI9LwKEvFDOZIM9/6jWECsjD4P5n6NYw1lsdAC2RlQGW+pqTIzEhm/VPvs3LDBcQvmI2CmFMPMDgxt0CshkwNVeGmzp81DRvu2cnli4QiG9e8sVeTkeXB5hf60d36dEvVbHXpbU+D55TL11ylEWVk4668yUSF9xl7mUh7CFirO/uB5TxgIgrPJytQuuEj1TuNRiiL/CB8Aa8lmgc+PktTMWUL62Uuwwlx+Ig/H0w9fyhrT0LoqMLFOoXOx3V3FcC7JJhF/kmmNo1FTNT1CQxOj75illOkq2H3TIs2QeVnrmOaUVSihWH3D4OfsJamw7BfQWV8nxmUoYTkkEH79f/FXhBPF4E6kPzIEKqiZJ5gwqbbMQJ8rrTfonaq6qT4M06XgqJoiQjBt9tU6GupmuiG011n0v/ZT70x2p6AXGYzcHu+aJXLaKI3/8syM53OHZ3Htv23bHaJarHmEw0PwX5NJgQ6Qe8ot3s7mwLiBE+u+9t7AR7B7ugX2ZSKsa1u0AwEQ+uomBro8j5BltBZOHRV9TYs59aG7ZCYeEetuU1tGd9HXwTPwXysVJVjDijE2FoV/iwqZ9NP+jAU+luLWBRIpmerAg1IHNevg/k18NG7TglKaxMoNbI2kLBCSNlFZaSlhI/CZd2FcR56P1HSrh4X/YIrjKjnVB99u9iRux4xfO47YmAaHmwOEagQilXf2ysUz86j3kQg5ivyC2rHyhsrMY7gwoGvrEQVKe77HKDDDK40uNCF9GmDjcZ3WQpg4pVVsBmmaLKkS7oUDCbvl6r1vCroet+Sx3f4P8Df0tCqdOAlvXe6ni12tTMS1spWXNwEPVW39apq6pl6ow2/LTOw405WC2WVnpSljvonH4tbIXsOU4wpjnxSCcuenGgjPbFG1yUoKpvuOAgBIETeRcU3qbgthEdCfToRRBm5keCE+yGSpidLeRAB1lAmMkRlpbpi9B1OHoL54tpSqQzP7RObQOn91VrDWkOjiGhEpnu2sBMBfAKTtHyOhh5J5RCr3kpRs8xi11SwUYqRkERiAmSyhkSSEeSBr8G6XAXSOrtZ6FBksHAXizLZO6p+kG7rtWOK89VFT87APwPdKMnh8kvxVbzr2LwQPQlyrIxP1K7DGJeHrUAZf1jSRs262Dq5EWpvvMi/BgZ+bBWODK6fjami6KsLcjDjdjXuGcG+wS24ywBWHr9GEh3dSp7xwNWR3uP8GoB1NlTvXQSC12lu6nY6Vell6qXrg+CJTLFUgkyraoBi8hYuPVh1YbJc03AE4bNxomsqbFcGGqt4CNzWMqOc4qO4rbPu5UxmkqGurlGNpf0PkzcO1HqH9AIL2x3WahdN6C9SjRQ64DGv8/yt5KyV2JZT4sc8xAago3lACm91LjJ5fPOj6oW1ovKHp5sBPW0ZogV50WRwwq9iSEoN3Lw/DLvfsNThHf+c8WplOjb4SrAUu+lmLslCDAO1eoDc31SA0cM1JcIiunzudQ2a0Q0gKk0GFPhooESdTQv1Kak+g8gKaCpqcg58HBsHJCSizXEescycLvePHlB2EmWOSDfh0G4vRmVbnwNtBQIIermHt0adfm4a9qjDIXCtPDmznzirP6HQBV1miR7yRNBWdutLMD6b8Xc42GNNQ35/0P3wtXmMZZnBjSK1Dg5lKfUcZT/nXfzdKTiuKVlzqmiQZ9G3qdPMhoyM0jIr13Ej+uOG/DFiR7BBXdiDXjQTpQlpbKTXJxsEHXRcJqBUMxrL5kA3mPl1BFxFqtLESCiPixU2Svd0tGGjOV2buJZrPln9CScOvCdpKVn181KeNlW5mArKU4ZBuB8QunC5ajRCRsfaoX+8xKgTiUpBDVI2303wGfYndjjMT7LctJ/wMy8BiTn5f/GAqIYcVU2McJMFo+8sMACLrksVcMsDVNkZeflZEn17+nOYtG6F2ZmWZKEyB8TSiaKU1W2unIOQMoJg7Zidy+tLK84cwwaTKvlWWAcTeDBvN5ZR+hE+xZGIXVZfGntnNGviGTPT3yKwNaJfDmGF3LntE+7qXFcsFkJe5pK+rKh6ZTv4GYj1rq5FvPC2p0X1jJ+7oTYLSLSnA0HCFh+DRIQXNd+GB+sLm+GJR2IxKkMVSGKn5H+/oLv4BaVv9kyi7IkQTESyvZJ7PhugU6S9K4+XRvx+r1xtEICKnojUJNgNPTRjreukUYvuWb8CMDWX0jarDHDKWYfXROT6FGTOB0WvBo6Tg945k936LrApPtq1K3YSStHTuE6oDEez0AYsR5imUCjA/b7nYEnGsrF6B/Mm2YGVODGvgw2SNMSD6uhU+ctDbvs158mbhrmX+iDY8d/fwVSSaBi+7MZZKXj7Qum4znKAfamGyuUXrHbkHKYuCCjTjw99VwDNz8rmk7kvpnroJdKvhJL+EWa+yK7iTjnUeuZ73VB0J9gu7EPexagga3IE8KBzs4HWWAYd16rTzfESWKj0jKR5fR3meORFIE3lSjgPy2XymOHHIhAWwC+HdNaFtd/MZW+4RWuQWWtodM2sA5NysfOhbdkRK36W1yHkUD+y5jUgC2/dza4l+xhnQOP9eWnjgIv1fG1TNeFXuGZMuYiwn4ORfDiOt4u8Fik+K1j8ELZ90nK1Xkj8EAzBNYbXeTwAQtu1ipz1a11rH2tIBRJYcRAvO9Y5z+vwp52LDhYRylAPRmgFuMYC9PnmABJ69FrcE/EnNeIVnEu9G6IR7lY99ENm/M+dEr7IgAHPFkQEdfMNa9gU8wSx7Xf58qGcjHvh1nes8z7uKh/o9y2IjvRSdPn/a9wGGDBvh9ORZHLE6E+j5OQN/TakPo/NA4oa7ykRPEZbTNLvcUNDmIPWrWI6/Et/fAaX3QqaDYHkiVw8B21orURqQleC4COdLav8FD98sQC+8xRKEwyBXg0/p48ajBOACijvc0eRm5yYIgP0g/HJZ+PjOuQKsMEMthn4neBEhNS4KVRRpnE0V5uXAbNPE/bvknLkNNtOrRmypxW2ibJpMR/gaNVWmc15rZNriYz8BSixkV6ki6jRLE5WUDYCzpfBeNyp/hkoY9oimMQXsUPAJxY6jE3jt2FOuubJ4gS2srJ6EOft1EtRDs3Sqj9uK0MPc/tnW+dJSjyADgy4Vqu7Y9jgFuNNIGF96PyxHpUhURHCetmddtHlXzvYVIh1w6AkYXY5xl8o1WS1PayF/0F7xK4RkoTKNikUPpXsYj0xcwh8DqdfiPS96IfKcxn5uYzFVH5DXqCw3XQzMWyD/wLRPRwpGCTA2dzuersCrlyyrT6QihK9EfnkA5983HXKRjNFIVobPAti+so7/Zt3BwXvo4sGiMd4TpCvWAO7NfwNeblPIkpakyZQXDNMl+RjCu5j7juO61v9b4H+JAVGDjLdJheXKQsXLtiyTP/S4+SxT+VyODvDJSsjoGwQ/dWE5kmh6HjzdKLFCJ00Vxapc5Nn5pRYLxrOZrr9BCcZfMjN8NBTQzIf/sT5YIRcss1mW4twfXBB7/ywdSYDDE1bIHecbu7lmevUmJVakzd756UYCdNzNHRGNwJLY6BAL3YfX5nV9RXRVSHHx09kcTL/7/o3MN9Bqa0fBkE7q2Zo6Rqj1vhojI2pFh2YWiDCW9GMXc8tpA7QIrUcTCNHGmY3ukNNz+6j/dVc8x+IycPELO4UsUrJ7aOX4jrXNUmuPcAWA61gOEYXHUtj7dgFYmVzn9iR6uEJrpaoDL9w7wMmWSCI2Fbo4jveVF7vM5xgDv3aaUMCG8eUpihrjXyfGAHf1ZYQu8NlwLYnVnnlapNFZtYxLMqpIEZrweyqe5JGFI+kmmiarSTGbmu3b/39bmOY1Or4DBp7syUyshXcDB5824qdxwzon7B1SOy66tqNh5x2ZiTPydd4a4BN04pYIejTwPUDFaqIxySTW0yuKH6I798QaLIt8EQNtX6MM+RNtG6EP24rDmJfeAGXqK0WAaHJMpt2j4gjMc4F9ei4M48nE/tYji6bQC110Vh0C+DnVov4vGUet5U6leAruBrzAl7yonkArUkBpOibXGmJ+vT7ddc40aRtME/XjsjO1xRjdGyCA90F8/7VtwIgkskodWI8Vf9QqqWM7QWHbnN24RL0YASfZlkvfVM8dkKT6JVgm4d/SD0YZWTr/fFlsHCWdDKSRqD4U2u8fKFYBezSX8x4f40kLl8TySbeLMWkx0D0+4GZ/wE01IK2RgPB2WXlNlKH0tVaohAEZ1WPvfMZSvELLBDc4R7u45wx+0UtIEtFAGmbJQrmXeMwwxpNw3aMQCwy6KXTR4q+XjSxoxY217ZkHSJMGgY5VZBseyOxOVw9VANDA3G2QhgmyMsFNU6NBd/RNlydbUOFxGCzTRCOjR2HtaOKD9FHxFox27oVDDaXxXSwt1Y4r8NHlG+ekwu1ZH/MM0PVkS3VARBLUH89foA4B5CRIb8wLij88F4/N8tffN/l4ZLbbGnEGIIg6YiyhYrgLWL2arFZBgALvpYKVyuG5XwiC81b3zL4gdL7xYy3CwNbpNqgxNHDqisumRrQMLPlSGNjuzN3TP5fdbpgRCKsVMmAyGEiM1TcyZjxpxuMqhtd5z5DKTUngc8pl+xMl7djjngfyNpjRQufb6GBGbc+vMZ92iIr9o2LocHRKZ/4Qc30mX2RU7A3i7p3+oM+Z23yf+dQ+Pp9pN0JBytzRYHqqphcFtBlOWqr0ekEKJ7qTlsArrEZJlxQa33cYE5EpR8/0RpEFWgKgdEn56UEwCpNc16rIgZaG9Y0PQ0V6JS988mxymGp0lUEeBv2mjOl0zIBL2HQk1dsUJoCWxyxHGEtP0ckde+3MV2gUz4/g74HHCsripc3mPC7NeUl38YeY3/5PeH4O6stESMP5ZCAtR9Js5sJGUgMj7q/Dj0VVkNweZXAMGRlZsVpu/4HaUzUE1j0UQWzx2t3FgfOtnMC5aEH/VfpbW3wnpT23LFGVxLzybP4rAK/kf2M8HIY5RuVfvHKlMaYa2/osBlJDdJJzbnFzTqibmPk6ocvsoys5laSRF4mqvXmoU/k4d1aQztR2oJekyjd4n18XtAVrX7/TT2xCEPM9v3mO4aUvV+tgEcRcqhegeyU3UW+Q8AyDtJtDHBEScTWCAZmZB+LfvXSuDi41YRRotoeDoNKL5thbZpFqOtsmys+zwSyG5mC7/5CTETu0r4hdps1u7FDPluwLpcQilvAD5ofDC++o0yw4lc+JilPv47lIq7eAUVKcAPJN/t1gCFy+pjKQFCKl/r+mvaeNb4+zipWE44y2j57rS2uGc9EgaYnw2mVi2SgdZU16a50Zu2+v0JXjbk4OUwQ/do+9oieQD/DwnuiFANs6tdbQ+u26yH6FiRpZeLNOMsnfKK4Q2fm4Wuc+ZdsfzJBr1FYdNFoE4BIFis/XmsOW+XqDWUYppyayoxAofuT1/BJy1DddcR8OBCbNasDmO41C04Y7BYGCxFrcldwwONIM/Hmgv91M1S4XPW+RwQe0l+055M84GGNN/KyuLVzqabtDHWLrvyrisOR3LOwgRQdgFIQbgMjp7B2ffvcmu83qzIYUQHl6H44wLzVVls6EmIE9IVyZH+fckyP412/J7c/D6dPenq60cpSfzCSIKlaxEVyjkum+xzIuUdgzsKNDkjQSqhIx1XJW4f5/cvex89rM2+sGWwgp0Uv8uBHSZGmUd2Ei5F50rIMGeP0wYqVzd+4EmjspgZwdHyGc7pyKipNzYFiBRyIMIHCRpTxpIQhbflt/ODhKO7B0zrUazePMTuScALP//ikOhfJxXXwTIn+uD0syRWKo0KsasuihxxOZq93CvCJyqdXusRoi2alv4jpzequcwfAUDxP9LJ57njAoFgs0gP1k0gRSCT/7K73o2umaJwzX7Qq2Sj9yj5FaO37QAAHaERRE6EXZDBHxYp6n7G9MQq6srXBA0FU0mQSiXTrAiO/5Vh/1O9oh61R5MnUjmnVTfrH6YX4mAY9oO40NFRAKE/XMDyEXnEF3GRwQjdsRfHJs8WYjgzgdhe+XU/FgEaJAudF0hyIIxNWx4wsMKsMmtzjRsgOdN6Z5mYzpqfknQnjwQ6IZjEWryhFLwuvyyT4ewncS2Y4O3SKP66shTPskuVETm5uJVAiCA8Y2guEiAtXJSQ726gL4dcqxQxX8D6gsFZlqNaG5kwMILr6ED+7ZcRssUmIgTr0C5RLX+f/Wez1/7dRI4sB4nGnXMXwzmlyH28xINTcpZhovTr4IsCgtqX+Bt+xEbAhqbkeKyA+yyzx/HXl1WIpCk/GiNbyRGVTGK2yFnQX0kfSHdlQal88J2Qg+/ODL/EbmyLJRLPz9u5BxRd7RMm81IyA0w6vSA1vWTxIBuu4tzjEZQy/gPO3osH8Od1otBw4/nosXdvIGCqWRhwbO7kbw1sakrHxJxzxSdzrBC6wGKhLtdyTZVe3IJt0Kh2jIVoeV1VJmeRUN7qJoTHw5UPz38HLU1V8SmPjTYB4cWzOZkcFCeqZSLTVo2ly2qpVXrFBkOMfLIzyyv4MnHj4ItlWsDu4ATox9oBC1idlit0NcxhvqZNVVzEWxyMAb2XW0OFr2WzZXuwfMcms5uyNWOsMJrw6Wul/nXS2BwLC5Z1gr04Xz4vU49wjUEu6yBn3E4pRQnz1kDkHV7a1OaOAPjm3LPoH2rZfwHTXuj1J+8KA/kCXo+qZrlOM3ohUh5UgkhUlOn4YKHqZFGUifKqOQRERtRSwhkwwL43/2HM0X9n40UQAJ9ulqdjkZ1Tqio/0haTHiJ3TgNR8wIkRRx2ymCXs+T7AvEWWRe+eJQ6Wgt2+oDDT3UEfD0gCJuQhp2sVOvzxpJrU4KIhGmlhhjVh6DHHgsqA9VTmwSgEmHcQf7TRcJEmidGZbK0V0goiUWSkPQcs7mOCBqsPS/2HJvfFz+FtZfUAsHFQgVxdejlmMXm+uWMOVjEZYgdjoN0bQTLC3c5BI7ZsQL/HMoED5YuYtWwGgYMQUF/h4u2wBuEaWjz4UWBmtxl8lGcLsDC7A5lTys8J7I1ZpcKV1DND3e3mrYv9/gYDR0kvq8rvfA4Dieeq9LVjbPX0HfWB1xi7t4smCNtK/kYOVkhWXF+tNgzbGJXhHlQ+GtYyh12Z/PXT6p5jhdjuCapPjSGUUOob5B9Yw1caKoJKSl7HzoQGhoaBIUvqJ5zF9LwpB0p+ygpY8Qvy2Z3XFCABwv+6unIoXU+H4iboA/5Ban2R8ly7Oe2rX7U1NJctcxEi9JNfIEOSf4eiHAhKtRhkNlWi2QCcD+99wf5Fy/0bx37Ls7MKMnKTsa3FOiKQRoQACBHusEggLJYsFZMcZdPrKeProF+sL/YEBCM+fOtTXXDyyhhrz53bwzBVn+oKMIFaGCK4i+06UsWHtWYuxtTwTcHTOt5Q4fJKuTrM3OECz42QeQUNlmWvd1Yi9qXArDHBgSGaHd1Hg7mCYSv0em6HEMnSUX9bE1H/vXt4Et71PK5YfWMv7OX0u4DH6wBHP4/A3eF74eCoivvG55tXU9OzXBkyP8QjWMIud2THn4tsN6dzKe7wMFyvbqXq467TYG4KD7RXvl60N0IUXO3GIiJjIsEYfKd74W0IqIojWWQUkO1vMQKI0FVJIoBfQRHcQ+OpIU6zelEfeFfotAO4jedpdi4ySL5+unAr9lmONnNiQHvpDbRptnpst4LkUS0J6qhfID2TMB97GnQnrbMnO4OOHWHrB8hl4hlQL1o0zb58O/rjGx7rmJx5S7v2GwCXDizJbXPsjvaapJIBbbAoc7S22Ni8HZmF8B8NuAIAjWiTY/d2PGUag/cm670blCgC9E05ESM1H1O7NckY/T+1XbqhNMxf54UbeO/b+a180e5UeDHCFREerz7ogUUgH8zeaEXzdUZowTiyTROPRrSf6MJwcFzESLwPk+HMlHDZSdBgjaTbpSATw35hxm6dAb2CMd1/pu42H7lJ4muECKpJlRwXIlilUWV6PGLD6HjUQOrWDKa7MQlQukwxpXP7PnQqYhQkqZm6I6UsYGQ8AY/HI4QChQMUDiBfJj/a+DubOPcb2qbWKBcIkpuENu/DD/1qLs0ixic8wMMQVy6dEc93H3TRRXthh32W3QKLbuMMRLiD950YCt5cQGd2acnzjlIwlE1G+uasN2u+m6t/V28nXNYD8Q9JwgsGdurxDGDOYt+x0J0YkD3lg/YnF68dHorER7AQL8XyuZiXcBxyZ1cT7+BHBPIMfCHMQL57TlqjOMB65sR5/8awCW1NI8Rm/khE0Y93b3j9T8v1UY/RqOZzUyKrDBa8PTtZuE4GmUUE0Y3+2qTumknSlOu9NWJtxCeinv/8gsZ+Of8MsyniAuoO8BcdFckLNN/UjLgc2op7VSpM3L2rvyR+dF+1evuvC+ISSeUw8yr/Zt5n5SESWSWcgI0/XPKjsdMIdiVWhatOGeR9hLC2Z9uJ8YCoQkmCR9I5VZUsCd+tFIvuoqXp75+Vc8kqmS5LibPWpsyOfISmtVRBJfuWRgLJMHV+uDDoBmHL0Rq1lLxMxNMn7Mj2aEMoIiPNmL/Rq7i5Y5zmiPpwM+XPj/U/SPZAQ2o6/6R3u/NbaCQ+7l3teYPH/uAFh6mR4qLAKRoCj3Y3sLiGBHDmUgrHGODAAC+oWDEBTtvh7hpBn4e7KZvQiOkdCd43kM2wCw4a2AcfymHABkC/m+HsXoWopuFn2kEx5F6yar6/b3DLkjgOypUdhN2DAclAVbXWdmRv4n7L9Zu8ZScRxdZa6NfI+K1XzuJ4lvjIA97YDFlLKF+nvU44z+y9NfpkEjcACPfAGTBLFcTDtzy2zfU/D+j7LnLNG1nhKYVT5AqHvXxrHl6E+u+x2m0snPYj5fDNokJ3LXJwlAwuJHyVqaW0vUathWVZzoR/ltO4wieOKeOb1VuZh6//ToBmq4zvKpodazGxv9ayCP+Z5TLq2R4bH8zF4uXchPQE18htuvWkFXs0Q4wVqDgP6DXmYepZD3Mu3nCNVulqudjE5Sg60230J3dd06M6Fx7OesAXmb9HvCa+TUlesnGkFHVnlIHcM7Kvjxafd54hKW4goKfXKMezpafLFwNL5IVvPby0nyrcK11OWEUCFUda6gSt98dXvbpvnGQ3JWbX9hlooRQpC+0p0Dl44zygaS6sm+HI0xSYio9dXeQaykCLbTdnCiG6f6F7YUrMaHjK9ysXoffUCmJLCP34POIfXvxo/rG4JdLeR5T1nI6WMMoHrga+4VeZjqSErA+kjfq/7z99z1iT7q0U0cjuTIJWBEdwhoCjJ91dkgVfrP7TiWkCRWs4KzhZZ0grzvsrUFPhyU0KJVyVn2z7lGVnphJirBzs4qjR/B69GgG0lqam17b0yeR+ZdK7RQ/ipeFkYqls+l6xBlEPPnoKZS8DIQs0inWQKLCxufC/CxBLf8vt3jL5dcprc6Q+TpU+K6tM1MvfZ+sN+pPnlkzKdzKKHZDo+gnhvR3Gu6OA/B+Jm/LunMccr6/WvZiJNenGsB3uX8hhrpVUuhwO7a9BK8r9oT+Xstj5zjimnB3IMH7ARi7lotx3IAkdQoXRPxoG8LtpUf6dQH9TcRHnHIJ8Rt60oPDgNRu3iDHt5mfaeIPAzrnpYc2pNJZL7zD5o+burT4aYSOJXTHhbyRZZEiWgkcYfPg6t+G0CBdKbO60zSEzXs9fvBW4Kpsyb0nb4hxnzJ7agYvGYJ31ggvjXMeul/yOtlc2l/efqbJ7Y0ozTwlcizLABb28QdKRZX9DRuLgDlxoPJa9uCuVN0q5UGVAaAjIGRF7fbvfgrkpxwl7T67BCebvWVQR1V55gR+w6YB1jl3aKOI7OcXxkIqDbEFO7sqVn0qPUzBS8Vsb2WKnQhxp3P1kiXLffn0S1C9slM5zIEdzvFgcAd25KuGHfbJCxKEEh34TWNF3kjmDhyguU6MkLiGx+Irke5ZQb0IOrNHYFr6WXrrD9aTbi7Rb4++WQd85OUf9r3MnjFbmbDD7iUUKAYByzCkTX8oyjwocAnlHVn3k9jmZ5sv0uqrPt3wmKK6MACSe4rwd8XqZo7vbuDW4n42vXki8tdDAG3dK/gtsu49jzX6T9c4ygTAA8/0Icp+7LBYHjdfcL7r6YLJW+ya+nvbAoYL4/y8VkO7TKR2Aspd2tI2BQRgnskEj28NfVEjT9YvgzaK3aTg9gMVUrwNrqc6ljXh4furp+zpQxRdm2dXqVq7c7/HqSv7HXjcmO6Ywe2QD0iwfnsd38CJJmy9DGgma4bcFva9abWcEvvkmHwfaCiBok5Ag7ireXR1EJHSAX9vbRtRNFotlfMASweVQ0nGucsvuXNyIe4YUcQCalsPXGsPd+jxhtSTUaJg9MpWlrhjlmgShWa5GxcVauouU1wncRcf2vDUDprLngXBU64UtWAsb+7a5gisAYpD/qUmrMSy0gDzMaKz60ZKkdESLdAX83W+ftI8K6JTGe4G6zminmmJyn1JOuXFFqLvBK0dX5i5mK5vMtDz3GSm+yiuYQ4p5y8dgLa5Eqf/rTcgeHWfTsEpGXt+E273qTirH6SK/K0zp0YzfW+e/J8PiW2pNt/TH0YsbsYUXjmYT7GFBp7Pk+0zWPGoIR/bW9b1KBKeE38JymxdlPJxF0/6vWlCMwm7AY/wtZMh89pM7ACK2ItPiaqgrhwiuMJdz0wp15/4QlBW1L0izuIprSfyXskouaj/tRSrSiZWkLKmcLZ1TET7cQEYbGfxWFXtSKP5MehGfsJgiHGeLHo0M57KWhTrePnnumqlgj53mn+J23CsYgU/tsuI6HEV1PdTt6HJJZNDPvIrSxKGRvG3ZY+j/Cv6vXFvyFpBknhtkV1W50yDwpaNJoG5N5/jRqcF03+JbIr8IOeLjHzNsi4q3pCin0SnqGUDTGPXfDJTfh6YcQDvMix7IO/+Ns4yr2bzdClPfsLnsjFmh4KNt92lDF09Ghh6nlrLmLnU+Gm77XviON6X20i5IDbwk49rvL9vZfI8sE053uxtNLk/1S8kQ466B5mJSDFjNGz6vSTrXGHG6hv+WWSs6FqVzEPIsEhxQjH/KCTtvMz1gGgUheTdJ3psVZaUg0FVGRXcOHUJhesvIK37hPxA1a5KtLsIVN1eb0oDT5B9npyeRu+6w2uTieiaVwAdb2kZBMeqJhyh+Ew7li8G9aHVQE4Wkc+16LlflPjWrdTqoOJtQAxu9KRr11jwNgpWzx2TGccml05YKsgpL52wXsaH2RLu9bynvw0VZO+aPPDbNJy8K+KJBoqkgbvvM9gsKAZ5+MrN5GfdlYk8kjcsihwQ6iZ0cr0VaV5VZGv/aI1K12BNpPd6X0oL8KYCgmiuSpHnJHLUuH3gB68p1518wge38dl2DnUNFqf9UUK2blL/vsS1/f45TNcHn2lDZn/48HVNZqnZPYKOnaj1OK33MjpzEsQMhg3efIbA3XAwmtZtSQqLO9VwYjDojsf/yNK9yk36+5eemVYQvhiEg0gY8AeLzG6BHmvTiRBq2wfWDe6V7q1KqBdb/MrjdylAzBsavPW/iwO+8a0G3LdZa6ADkJtbNLKR/GKP6tYpWQAIs2GFxogjxn7ViAl0W3GaETS3RBWUR6QXJVIztJyOuu8iESctsIFspJvPT58KjoUko0lfqqijnULk0Lov8cVnXePLAii4mOAl4YzUUliENjW3qsFfIKE+kPNv5CW4EHH1ZwVEU/IFVfzv+pMBRXDc+A/KqnlcsUnqLz3uiGwahumhS5E4GfRb+WBseNbcV1ZgqH7RAEccDNd6QFdABxFgFziLxNHJKu9hmVwSWWMCUAdFDFtVwlbP1yC+rLkXzMIonWkKRdJjXK3QnIdZHO+Wi1hKMMEhfVLWQI1k7B6v4SreGE/vYyZb0cEOsCJpM1Bdait0020y7S1qXFTwgPVUzfunwSe5563qpTsqkNvlFQ6GmG2yf3d1dWscaqHNDn0BQBwrFrT/FOxHBa3aOjc9oUnyKzR6SwUqtfoCFyN17oantxzIN4KQlfe+mYxlLNt2i1wEx8LZSFMNrZYZvW+mWn0aUQexaSju5x25PEoRZQk2+zMpmXyA6ZKo67BmHHUaqb1WYKhYntX7KGZWcp8/63uKFM8t+8+kbc5K4V262dKZ0sPCBOZ820QGZTC2Wdx7ndHcDvoxGjjl65V8KkhLGpMawz/kWrQTAX9T6o5P6ESTWFyjYmtr2Lx0haCP29u2nZ6SgU1lSDtlzFx+Xsk0dj6zMMj2hVbGnhWta4T8/n6YsadhoKC5VdjMbRuzar5gwf9iXGXCddU/it+XvhkH4Y5myZsP0l3L5ABecwMyEk2OGc9kIvfH2iL5Krfbg4MMqJqgKqCu8Oo2HR1SdLDo6GnzgX+x3Flsnjb4i2654pNpLZlVKc1Cdi2lI1dle6KHeHvtoHqc7lr8qnI7hiNIewEHaHYj78N7wUCoYJZxu9fGiBLSaXy2qoxoyO2AoePVYLGfQmggBXkZJNUJnR0eRq2o/PFZTN73ShScSOSSFA6OXy9v/HeVHYfO+u82Gfhk2gGSVcOVfvkLjwHj4m4vR80HubAmLX/k7W/L23S7Do/AprpHe88WO4xO8jpNiLamYNfdikRLotfIe7nZT6bHZZGfMDX/SedG48mAJjcIYRUmU+a+XOuyV7iTYbdPUUhnOwlCQRyV2hvFqV+GffRv2ZRw3374YNisgE/+zxBgA5Obqp0Wum4KtO9wI5Z4SaaqBTD+XjCydBBOT/WFxO3jelYDTK7SoosNdgNd6VagP59EfA9ENgmWNdv4+Wn1AWZ+4XXaPcR81/Zh8oSvw+bpZV4CS4PeAH7bfq7IDmEB7XDKG+rW2fdV8ryoD0YrDzVHnTnXFqJkIAw9XpeAVfg+Imw0TOVweQFifELzK525l5Kb6sXOVczFoaMP3cEUXKtt5t/Oi/nIXfTSPa0x1tOxOoBZYCyO1Nf2M3/Te3aG+zNfmpQrBUYyYYvQH2XFN80/kQBddmUZwXHubnRQzgdOjLjtWxmODUNIzbaPeaq3ckPuLVqf+D3cdeCk4XrVaCCsj84RVfVBOqO4pTpH++jQn+Q10F/spQNom1AZZK1efRYn2AvwscIQJChW/BvzrczwPXPY9Ll9fV7rqFHVhfCzagaCTrs3hNjnSvyUMu2lIwVVQ7mtRkCIXbrVEkc/sak/e0VWOPt5GG7/lIMqOLcK7pgJDp3hv3bhLw9WHGLXN8oMmGO1zCaNZzhXO8HRJHo0aDLaokeJpieug/aDd/e2OdKhN/4EJ34jcg5Y+pqViIhJNZul0YKMDSMgfplBBsPNmFe87SR9tUONUmJ3+aURZ/7n/jIuEY/Qgq1YyhSMX661548ZC/1oFU0C8GfwTz1yCFcjeEuwOW6I2e52Xsb1874eL+PUWYTjgjpR8N0zS1AJow3vFWyzh22yitRSwp8SfD4NEbCKQDz61ytEG01grheDJzHdNt2fYiMRTInUhCXXaL81teJLx+jgsVZsENaBElm3ED4xuHElTqn9JBPUmE4IBhp0ou4f7FPZAB+I9LMzKolvgVlAczhLf2E7u/d0h5M9nBJFVvyMcGQGU3V2O9Od00oVdhU5PKn3rTvhelulbpjkDV7nZvCOtLPjOCv7IG4lT75KjshMBDE4ebDnDhDK/tHBRRbwxvrFpfGldVeOkYneX9mrR/r2frgr1jCr//WLOxMyBWBweTMxrXvXEzxoZe2LaH78MgmIQ7dY2g9MaXs4YNYICkSUAq93f/EemZV0/fpwZgXkx/KnWnAZqby1eyD3eLxd+6fikW5AHUS5+pa6szsm3dthFCFG4gdLrfV77RmwxwK+HzT/JgqvrPnyt1rxyiPwSXQix4uIJvJfW+Id/+vUNjptmNkuiJZPtxCjTqfPf0l9vmSfXKJ6drp/rMU/X9NHPGHDggypIAbundkdG0uTXByQpc6KrGTUAggWiU7MyetqCsKwX2k1F5mO2pVpLAwyM40Sd9Oyq8Ykh1Ar7Xdwwr4cz/vL6Otodf0PVxnM/qL6MrS0Hi4Vr5ASKCY1eAi+nD/92b8VYJ9XR0y+3lomcOyxfgp5AiGLdBOcEvEOmWSpPPvsVwaPYqo0LtxXFpRVS5KoVZJood6v8BhXn373+rEASZtGIOBu98MUAZGuFhisa7gf5cUoBddrbNX2F8EUaVntfHEBmK+dI8zG4P7rhuYJF1S4lUXVevxmQRP/2xlxRtwlhelK3QFyOZIZpkOzA8ZY1TIMYu5X615fbURqicZHhqhG/YI3nb4O9MUoUj03Dt6VDMgBoompEME8T9E8CTONDr9USJ1CqNX62uB1nd8EZX3q2VmxGAqgUA6oOLxoEFuGPUTpk0XmQ7Rpsqc23E4kRIfPJPEd7xl/KbBed+e2wiaiF2xp33/fffAbYoWSFTKAuaAVvnnWzqAKKHBaaJx0YCL3psHs+vPVhLkgfdl+uwgQj5Lkuz4nXdZrGcYdiFPeNqwATwJeSh0ELNNs57xqEcEH1cf5quVG4sSGSkc1rLMPFNvMYFZdrIl+7dKI+cyHMidozYdAoAADBuLDc/bv2ivzKVz5el8IPte9XRCi99mcFyPxkXFnDwREM7Wl4ogDsspp7MzwNlkKUhtjvFn264IoA7PrVUDwRpgGYoUhfG+/StdcebA2PP4h47lhGe0LLt0klwm8WGRbqgpapVz5DpcxPDxZlaFokmXZzvWkaVfFp4lNoRnIHWrkEUFKI0ES+aq9UKEr/ANor9xsPAXalH2SCVPpPcrDj3c6RGFnAmz0tEGjuJzwbFaj0Ds/BaKtrdXLkVRSvt1v4NvXrCsJOxX/MJmpJF52QbVY4U87/6PEFai4eQ5R/7TI+Sp/XYdx833Z2FfNDZUjoGg6wuKhIIWWkDFcCM5TjlyqzKkhKdPQNJjZcDwu4jfclLsil4WS22vQWuP4ZCNbHnqkZMT4qK9x5VLbj77aLPcI0gdEvprtNlODxIMgLLve+YiGXl6n5oz1te/Ka5h4nQl8tIlIP0nae91xesGCGkigUTu0oyiASExOhzCca3BajiNBdQ/FptpYLFM3ZZgV2ijUZvTUfBgAyf0sOefdoRFiF6uqB2t/SgBQ0uMJ9K6RNZy740wh7PLk7yYwT8uD2VVJDQuFi/VU+DeMfqgtFDo1v+oQofc5iFt1KUZx9lnqQmGzlRzDlB+I2SGQ97suLOr6kH12eTWDLBI1CtDO8xQkrR2Z04/YbRld2r9N1n41rRxsNgvKIaP/9/GF0nFO/lt9XfkQbF+fEHkaXzg19l4AZUGeG2PydKlM4mMRe2LP0rdWdoVq4Gt/a6AZ2f8Cc+GUx6XiejpB3QTc+v2EkuvIP01wKeZKXk8yJf4VqhNWU8OBCiCl0dfiLRLRgag/epcdlKaToiDGrrEj3rfN7aB8Uet+GYeFA9wD5SeGnbBPykBIH2iiMAxNIq7WE/67FSBwakINaXtcrMmWCKGD/cp0xoAj0KaGwoyiXeXhpaoyskvahmlw0Ko9Ssf0tLntCpCqLGaA7wHdVTR8g+eZWLhtzY9EDx2NQ/wJhc3b0vNPHCaYca8b38i7Nm1gGSM9R3ZqYrNhSLGH+ORyCYTEoJVCdjFYH2RVnX7ryKJYqTkjhJ8kkZRDw+iJpgdzaf92IHoc5L+f5/XDsNHYnca+tlc1rkMqXOnef6SYK/mu2iksBYZP03vBI1vV3o7qRMYn/IufAMz/8eAuHf27UCb7RUOlKC0Gd5bl8IC7IuGheuePeMZyWxV8F1sGcWqP4OJhy320gQkOF0eA1S07jehgUr8/irnE67aJskV11aOy9oXJ0KBtboxbmOOzlvU8k6uiTHJqn8+GDzNWpRaTDX36nQ+KWpuH3E6UOW1Bya92OjM2PCy+auyKuR84SJGTbcCCdYjeohKxPMGTPtColyTXi0H/EBgIj4NWz9AqmpOJIXDm0Di/9mmaiHWvK1YHxS0trmMvBqEGHO5nGMTBMdjYjKtxUQ6JdY/8Hr7D+bxcqImvQlrhtuT455hwwLj3+Tcw3vq10+knvPb474U6nxrOYB3e3relOXuvSnxRLz+7CfERDWUlGoJbZlDZfqNFgESt/IteAkTKB/iYTaps0Znivxzq7ZpyXo4APANUvk10iP3ovhLBx8mf6BPNykuB+Ni5IW2BHMvYHkN1awd5czV1f4Gf2CycYHALNSq9XHhNxIPcwNYRHxB1DLa4PgekRVihnyji++7HUPaEAFVotiUmGZ1C/LSBTDaImyMNlomhsy/50BRBuGvfsTf6uEVXYyhTxpGCYn7vpmBSqBJXB4aKv+r0ZjBpMTYoOJ0i1C+qLsGKRIoKrTPnIw/RVbAR6Tzrt8wR5Rf7L82igjwF/7RuwyUOrtoey//r93UIYBhPGNw2D4rHQkYL/2rHVjV379Q9Me8Y/wbH93oBF4HqBhi6d+0uVXVLHUE+qQfuFCbTz/rL75Dbk6AEEyvl9cgs0g1v9zWbUfz8G60ewhwJanWRXOql6yO3jlf0Oy4ub4dhkFZFuu1gr20HfaamjUP/mnTVthy2/18LBKaRejEhhr8orxYceokUR2AUkFrLhZDFMhsXeuF0LknSmCSCYYJPe8lbhXfapMxN/GKO1Z96jPbIyeTYr/vxc4teIVSg9kco05kf0YY/NRef85suFHav+G1aCNfccm842hOpqy1g0elq5mGuYst7rjc6MG962hgKI1IaqffPga7ObKNB6UwHI7aMFGZBeLmngLnPav/eWaETzqVCh7Rs4R8SXK6fOTI8MLQlI86FeCHkN9+tQqJUt7D16tnfGgHmKICwHFJ1W9n+XowKYKoGpSo6LTj+8bWm4ZImWNK8R+wTzhUgonIKbJD7uFHBig6ayhGO/FxvJ9MERi6sRNKjVsL2wuh5B4uqUQpbRbGK3cxQD+vcp13OrC1YNM06DdIV0Fkcnoha7+qjFL8srawRxwXMmmMbV1gDatp8PU0OfmFMpAIDpwUA1+r52aapFjDG7/70Fh8gnbXna7uVUql6L5QX0f0XDXHIeP4Si45nFmuOGbXaYSFE5mCqRD9DgjCrDv21cwlDVdXaZi4cjwHqQq0eoANRSsEbthcn8RZbStOD5FZrwAljLnmFKtcqcKmKeeBk3GZAiaaA1pYECSfIoI56MXtpAiTq4XenlS/EzhlZ0QeX/8LQnhbt1xZPqTMH+qeiHdQ+sf0TMVGXCybo70yiWZxVABhkJOgszXLMIVFEX172fbm3qpB4HpJouLslExoswHyrIr2kwv0Be3BbBVW3/p7xYfjmk52QKqoKU2+M7ubQaeRezg96Ywi9K6YwPY+ksScszvNVuSj6SziE1tvhix1vkT96jMZDkbXU71eLKp8V0yJB94pFlifnRxGdW2Qge/Hn7ZzXLappcvCN0l1mVlpA4WSSmD2JlgIDld1oSjlDTsqmT75g+sgYGlaHxnOpGNHNafh0UdlbNHQull1WQCUOlznt6St6bLWGf8M4NRregvka39oFPUvFZcS7p1CDcIXCUUIOT63F4C6mgNMVmoqa6gb6uU9g7mBw44mHVSN36Rwbyj7EbfdNWrhjZy7vrI9kDmwH0wyFEf8jlG8q4+hYbncgtwfVF5fZXr9YiVS++sM/ZOfX6VstFI1kmV+YbOLXcmBR2iqQsLYSG1eOVfc/MVNgdLa2PqgMav+K491oQDqhTVmmfeSAwvKee3mvlU+q6isXZgXQZNbdvd+TvhUE9Gm6DSPPuKSv3x02QhAq4NqHQ4GHEtM6d7mnUntRXTJ2T9M/EibIFhuVHEqvkDCK2j+TsKrHQpE1V1s4zXo/7enJt9fDhviMa8WYaOt9G6ZK9dJmAH8RlNPrrUxO8CpUvcXdLJ/Rmlm6uk1jyCbge+xJDqqBRephx5TkdmThjKxcs+d+Em0SJJv/OwCsedjgVVQOYTDo8i0lTRNutP0IXwuOzEWbdaIo6toZDYizQ8RTbL6rNjR/XwujkuKTXWMpMEvkbWsSSLESA63INlbdHJCYmwN8uDFdWBJvTZjRurnTmUnwbf8OEjeb8uIybepJAUqD+bG0GD2kHhKWOAtUXdz3QpAC+u/2Dut96hWAVW9jNps2LxEn8irtfSqwZl4iPK9vSL+0Lyibky8rEBbiAx1CD4QGzoDtx/LwFUIz82XIosMPV/PHqLZ9ahWxgrwG42oIoLHbVUaQCn1QSb/Dwzgvz7SBFDjVYkJoqB07R2KVPz1hem6BjxwhJ9U9QdbW8DspmHxWk30BziGsjtSTzl4xEZna7nmFgl03Br1O1tidNmcVAguJ9c67IXkBnhtMlxzqcOM7O+98zbEXLYmneuoyfADLZUzVI8IKTPbYVz3ncfqcfwikSBUIPC0Jxd6pSjG3Yp5RIkGSB5gze68jKNJrju1GokkZqDb5vgKkwdUZH+qAtxz2PWZtIuu1ttml1C7okO0bjoEKim5dx5q9wQt8f1m86wP2cy5Ws4vIu4AvNJF21Q1IdHiJpjWukAoDSjh75OUgQFN2MlMZ8DNMi4SA4T2wfclG2a1Qegna9TPQMzYCEwUL64BgXjYl3eZ2KEpQZuihdPGmK4PvLOj1BbzYFZopHSzNzEgdPg4p/YlIaKJXyshT6d+nzPfPNHZektqWMC7I/hnkKbaBcHd9JTtLouQiSQCvW48E4W5gA/eOVjyIdyEM2x13gXuHj8gK/5yUesnwAUutuw/dFo8w/Nda0LkQHCLkiTJBaVgH7mVhYw3vbbNVNz+2KbcgFXF6F9agTMuFzs+yPJ2CVGwodFzde6qhWTZVJRg9KTjQTZr9W3GBBLGnYvZMgF+vXo93gA/HnJU914ItFQewSAwlVhAQLJ9r2ts8bSpIu21JjZvTEX3ki7NydC1pqumrifHx41wN9tpvckDVSE/5WndwBaQe6HveYFVZ5/1ZQhxJP1FK3SCmw6QL/ijkEgon6XxMKcKI24hUR63dLMvAtPYpA9wOLO3lbPwwrLi2pwNJFOGpep/eqzNsiGb68CeSFXElgVl2PbjPgX41qcvNkeWoxZtoLS+dkAL//tMeyxjyFHKMusNxV+F6pNJk97gcuaS2X2b61SjLnj27lkuH//DeZhp90cjlgiAJyIg5kddYQJEgEqg6PqkysnHhvgt5uT6SlivpQVwlEzl446TstS3b1CPtRKMlSdZMaIhk8FyFW6s0bhoedWtOEiJbMEjRwyJWUjp0sm3SJ8aEODDRRrPcfmNRlURag7hF8C6r+oPnsOosaUwUpD3F/dsREXxms27fS3uTbzNDV55nso/cxREAZ1ksXPDqFk3gh4cz/+RVALPKl+bdfH9nxjxEXQphZXluFI/CfFb01ijCUWkEyaDfBM87O36ySWyLYzyInZPIfhAQiBJGcAA3AGyqRWXfTjrr7m6YrGYRlrEJOnjrkL6GhAGcw5nV7eimJzlzHA4PrsfsQtKy4mV571yTyGmcL/5mr4T/v85ftDEWUvpH4KGPtp9bhaRvFIQyR5JZ+BRv1EZdyhtq2Fr/mUJg6raipoet7D5g1GeiZdy09RjeJPBI8CDSFNtf16ei8wicYMHiwiUjLpkMuRj0BveE/9TMb+/cfE9ln891YwkqMgSwbDXHsBG4oK8SHWN7GtVqVCNZLP9aY+c+qd5HgBKOGSpxLb+VG08HoxGw8ejpPv4G7q0u9XcLvfscZ0Cpex1Cjuj7u340jea4yIlMZXeYxK/ZY4naDRJwu2qVneGjSF6zGTmszhuujJB+dKip7ok28CzNfOHosru6+WBGhyiBakeCVRH0DfoI+h+4+YPdWWBhgXs5q5hj+vdPIcC2JkCdILd6DubjiwTQhwr6dvmAvBd2lhQKd93NqZXyQhJcLmB2Hkywi/pgdVVW8ZU0E6EpjjSdwNa0paT73K+AaO/6nkFONsExFlMrVwqEjzvEhKOt5mVAxo5A37nI7QJqNv+qJX9pRewQ6Dcxyk1X7NdvDAst6EcnGAEgWlbjFROpOI6dZI9OJTP9OnrCro/pyKmt2YxD/4zGQYztcqsd0KDN+4hy7DnRqGC2MSBma9gu8yrriTNmd9C3kyMeCLg4kyDtnugPeYfWIlotlcXzYujwQTpf7TJH6c4ovgiy2SgOazkevDKfsdencNeQ/2iwFyENqMfns7iqNTP6JkrvRxJaElUv7MOugIxOXaI46lbnuMq8wpOsFgiM4EaQBc9MQ3Ef37SLJbzNywTOUcVN3lqCIxwvd80hCd5DHkEWFLjno0VXEHrITTJDSRQoPK62irJmEpROX1w0C2iMBb74x609R/R3eLhuUOzuflXDGOIskmoFKbcTHjims4aKholBDLbr/vV5XeTwcGhuyPTzaokuiDUXwP9P+IINp4UCxcmePfodF1vDCExv87lD43cw73xPtvm7Mj22jW59FEzCS8YUGTn1r1aswHGmFaJfFxN3i5jOaeJg1y4jCzkUzhlZGgC9Epz9qhz2JacUjpImhcbPc6uDdG1X/l7FLacmlOtzrDlcBgq4LcluUXQP6b4fl4HE5t9b3oGV/byno3kT3KboSeWGfwuHcAvM1I3d6tptquNxxxwhPWSG827ZXXcCizElRnGP+39Ij5Rw6Btkaww3FiVcS0/3086KO2QkwMSFSljv5kGaJIlLIbs/yPjClP5vwXRVEtSGWBcmGI3BAQlHFX604IU5NqHYs1V54TbqhJdcIHZvlsEJDi43J0U1KXXEGg++f9P/bYYfBjL4A9sq9anUzqNvCwHRLAuPMZK0tnRneW59wduYfgV4g3+qFWfzVBB1I3KLApdB8CjGiLM420z9Vm6d0CJ/qX3s8vRaMLPEi6kRorM1qRJg2nEIRpqhMGpzJ1joXObKSS+k6ZSyAVFutJlPaf6Vh9DtkWNMFelnEI+q6WzY0bKQ9Z1rqXnW95p/3sdhGKPOPM3LGYiX2KyBgXaIGlRRlxBhvwmZvxD4luVPVKbJQUvxavE8Bdc5sR4fwyqBlNOaTv48sLQ315m2ED/x2zrSGzmE/DC8hA2wvIEDV+SWoTtVgPJQOLNLUb8ShrgsqcHa+2Yer9MQ3SUfBxptGBgYJiLFRXKz50PCK1kFDgE3XEIjdruIRsPxfSUWB/DWAwxjQELVAwuMmQEXWjBS58NMc/afuweJ1Hk6Kx1aP1+S3bID0VOQbFoebzfOvZn+I6E8p2jmDzc5+ZHWg5+/KEfO9vV9o/gWGf/d3siz8pligFvjQmxBrs0YyT7nqJY7F+idoVv0gb+wIBuUvDilNkPjvNToh85OIBAxY4y2BaLtPFAKiII4/u7wJTX9P5ZElJllyGFU1g+ti1yCN4+KgBg1j/QvuMv+nRkWW+mohRgAk+7Tteb7FB/krJ+AJCM/Bw0CQMkIpKuU3hgPmdFeTPwZ0ouTxswXXSDNv+3MD3bzvEv33RnY0MDJQW6vl19bgRnvK18apSnMIelBleq6DPdxoJvR74h/7RpOtMej3QfXArAGCZ+y47GoT0iKGJiZBMOnVGMkh86rA5Msck5ZquK3arQqVs1i2C+8bBPj9ZZ+Ed5jbMCnZMaNFwMFcnGqnCZJSKRHoWT2tDguZDiQyAtidQXLuUGxTCKKkq+Xxv9KNGYRUKPijuley9J0YN6fq1lKuVfOsu4jbD3O0+6Tr3Z7YYEs6dNYEadl1vO6G0o3ExGhaMWLIWfKpphvlmvfG0gWMe9YbanSfXb40U/XR8L09szolBsvQxdve2IN7/vxk3vSFuZb/cmX75RVKBpk90+nXkCINkv4dgc+KrjVzyHqn+vWXiop9ED3yT7N3TWYP6L5h/Hg5AqtE2fgHz+HaHbzwGtaPIc4UnKQHdZpG2HNt4mw8nJle1MLTDPdKyB4sIRpE2U62audqK8/pU7JBuQzDJdmgEwm2VIkWkmhh2tkqP+42l35brC3OVIpiYIloR7qWG8H5oHQRSVUYRCisU/18d6fgxkIPaQ78DUHNpE2as12q3EY6nzO+47r3PAMRpXW/nlO+K0MgqXu3tSF8iqXGZkOiS2jzLfhgYHxgn5aHHDjpMePsC+SXswTXkk5W+JONuEoCAWaedEohq2JzIe9rpFA+Zwkb3RyKPcV8CVX17uxN6rhaw96LnDfnEgnsu5T8Q0JAXwNb7vIm/N2CaTM7rWWg7BjGFvzQJD6pDhNcOIaTBrpOMry1N9dnoxPyK+zOA7d6c47JvyP73th04e2B1JRmQzyf5jcEcr7JoZvBrV1zbX8tO6L+vyr2xcuJP/StaKzOa4Nq6vbePUB6ElGri+VT1K79+a5uvfBFKkbbJj2ysK9G2GWuV7Pa2oj+Kjj796JQOWuPmVMfRK0y1e1ViSLEsJlklXcFagVVg5610f/zrWQaOgvP4xXvvKR4MeH6PFHHNCwn9wZ8WdGugDvplKFsps+j4spC/89H26EB1YkVi0KsNLrYwhWV8XSeQfWp2xyOyE9LlunytREzyZIXFSvLp9JVYqh4A54MPvdYDPfYdbXFwRXAREPtCj7S5Q6o16EVVu8F0XMHMICSeDiVTESeqStVDRgNfFJ8R7GY+RpEXkC3jEv9/s1Irkh4BCxd4s9F7bqKqOb9ethaMQtFZWLFYMmqJiBw2QDLgSzjBsUn7qrAyhaSJ+k0SXXnB9QoWmAdLP5uMh55w6AJ9UEdGG2uFLqk9sipIS/1zrbR0grBj1WOCGSPEQ1T3d1gLwfD/EsmNTEWJfk1Cu7mDclkH0Gb03n7zQYQD0qQMD1BoVho2fStmgZ4Ilvym2RWmx9B8bI2Z/UAi3kkYzUb2lF7Sy5bnFDPvGD0nMIdQ4EzlqJNZIJ6PWwJRYuEZzqr6hLdfQ1cB+qcIWz8GIuu0ot3gC9/TS7/HjnJnzqL5UcYrJACGWmPeUZV5jxgScP6qtEW8QbmOrUccGqQquiJ49Fx9sVp0xk48BS6tZ6HxFOBGkcYJNMjhhxZwIRNgocqOCTAnrU3UjXUlji9zQJDf2KAixGma7zyUsWOru16Bp8YGmVNoTDz0dh26bfmU0/XOkw66CFIUXhiTHXDe73j1k1S/JqqF1W4uLeSddCvIuA4yczr2Futif17pkdIM7Gob6umJ/XB6jh9KIhfmC/79TxNX/NoNKt8v9FndjaBLy/2Y2NQs5P9d+7B6iHlDLGAqmGYDSbdk7Aat0ytN8FIEcx045ZHd69fNG+wsaA2jciukF6WIgV08uNIwHFq2pV7LAx8jeecW5hmiX0W6s9bW4PmJ59a/zJWDvGHdNo8GnP4rgrEvb89p7cnII+5NlcifVbSHSfwnBOkKX3ci1VX0QaHkAggvuTVwSbGsM75HBVxVYUaAv9lyqWING35EOtIUyWcD6/APm1rnW4swEJFiAc5E/MSzrASQqlQN/BoYekvUoqact4Sm74yKkNHf4VJYixjC2fztueNz1v69EoimaIuDmepLG4iPppNLai5vyiyRmoN1ImbArGzSX9JfOC/EZdOALZdm9G8EvgYdR5F0BNKu9iY2CqBcDvqo7S9q1a0IggGrFJoOmu67xrVIl49KmVTxCCshNfIbotLXURYQC7Chdg50nvZR9kYIu4xMEmxNlU6AGx3o7U2YO8Kgh6Gmb9hrh3NZRu8Qw/NVVyVnvKz+4hTkV8x74OckxVp1losag29PRf1wL/OoRTYNoITDasfAZk0yNGpQOit9eeS49piA20Uqx9S4qeKFXV6VES+NxKhicyyQoTIrC1/HgIS0EUhvwVdciYxY79XVrA8/Lx+iGKsjpCNrC3GJmxMpPNNRVvVsYNT+7fswP4OveSbgM+azOhOxENged7A2yijQfBSzqZfi4v182PN5NSJIv08uyhJ1WvUvi97VaWzQjSvOGOK8ZvJn74JejDyUfbt7COr0z4xG0mrMHmrZosOEQ/8vtnXWpSCxCvEG2lFzwA9d1NOVohu/J2AcR5ZeszzePSFIup0OrtZDh43hgNzQ0AiMTSJ0zWZjQUcqteOVUBKMcMsDKALnQZLtgyJTtOpIaN+mVn8xzzEcVyANB099QtARQ9o98JPABErnWmIaDLmGChsYveXL3+CPty3SF9iZejKZaFWYSDzWJ0OEKhXT1hOvYrjhNFv8pZtgypwn85QNvJT0iH4YIiBlmPbAUCHPANug7SaI6mf/HmhYQ4DvofvkrYWbXwaBX3k2a6VxgwL1WnoYUfSnETxc5kDeIEj1XIdn/HescjrW0RsGa3z837snluD9tM9ZhfXEMZJxaPyAkOq79VV9XY+oWz/zDe76/T/WCnDx/sKhsIH/GvhNdHy2+D+63pIux4eBXeWm++faPpRTbutfwujkKRVTEtjERKeQjWCGNP4nr5vb45KV6iJqhpdcjElu3D95thpwHC4YkGZ+tLm6cN/6PBxA4M49i/tM/9DejvfvaviB5fmrvfJYm+4epv6Db6XYS2NLk1AbffiXGhiOZePV1bZ9Js8vSjt1sJVbaz+iOyHkVsqRUQ2CSi3REzDukGf/+H9VUb1tCSokjHUSesZulz65wlnfrpSvbMOaA1p4/ZW/8WBu5PJkEyzfgrVFjYNwzUAntJ7HfvNycM3K73/wHiKhsXO/6GX2OCKdI6BKBvnBMBlasqz3ko9tljUM7O304GupUyqUWAiZhvegLUEJcpfy4W2ZtAwTwyjgKp1dwDdWcI678eXT30MEozMl7DKClcSG8eioEDydzcL/Qhxvq17/DSYgT86L5TYmmdDcKTPT1l5vmMaeD7yghmPy3mwUM4M++RITm4s8E93FtNaTfbhcQX0TpidTtEdj0eBe1GLAxx4DlyEFcKJRQ1XGlZWIXvc5HaobbPJ5cT9BkcHQ3mAoMoC5mM6CiF1NN3s/nlscoUFlgVXsscQn+fCIaH18ArTY/oeF+6oT2bTk5wwxl7rsfxLzfYYl+PO4OUkP1oNHNub1NDc580iDDqa8mRizDQqPdgdCONkJgr+pCYO+xnDbEN5XDv2ll9FkLjRPFIbyWtpFwbO0ptxenWzHczsCA/ksvCIdxd6lYJe74juzg3DfbmYtcQXcsvRCiuzgaWJqOeZ227MVL21LB8j5nPKIDLiOVNwtA0BSkzc8L8MdP/mU6sFjcMu7XEAjG84Kn5OQ4vGMrmZsfIblt9kSaYx77LaV3QIMTBUjZVW14B8X/KSN7lum2rPJOp2rMz7gTzuJTaSV2FvgclHeghOYKJBrahVnXEEfnjfDtPUjOVJqodDxNP5tXcWPgstyMXpP4BNH1wLq77nLHPple5cBLwnRb0XodWDZsS6Z2GVVIvrK0Z6+LKKE2/ofmZPalxZ7mcp9TWsc2XwdSMZyy/kaYmqMIISmhdhnj30/sPUr/GiDtT8N1yxXdkyJW78hzHEN4GIK2doAo4YbfKv0TPXtwFuXSd0R18a6vWQt4AaL3gCA+dfamdXwrdAur6LSaA1h0MNEU2poaxBqsnAt3kuuCGGTnVunDqA9EqSXA86wUBI0eGmZQGw8PikUYxdFQkUL8pfLmHg9xNNYmGLk93UKAf47ztyetieoCM3xlNA1Xylc5LO8UFzTalFw1fOKse0SciH5y+YFEorbTqblWoHqXnTXeGm0kO5NnTWCxomrIZa50HuOJijxaxtbuwDbfFZ7QibC0xzwRqKR2PLeezbuaxS/cOqg4BblcjIfCUCkCa7HMZbfqigGweBOu+0An3jjFpzLgKK74u1ztVZ0k5FEu897qYaDzHbaJaR3hNWDL6B5hAy2bVp1DOR7EDrUhc0HB+3ccNSUiVZ4cVI/3GsQI9AJakt9Gd2I/NMZtmI/IzcJG+ijxF3Rl9J9n/jYvz6tN9XCk5BDnq2bvRSkIBb4phydhFm+2pT1j1T3UbdE9CVwOkGMskHW6ai0ei7TxLkvARW6poDE9YangrJ0dym6D3cUwunP7UzF+ptq3TP+GE0b+UgCrr1Rp79B/b+FbSg+nv0vDRVsxhWF1rclmA33+kHZcuOBv/PdUIKe3tk5zupXdD4sla4BBuXh2hzoG7OSi6Vf4aQs6Z8L3+3z1vvhDN25qh6fl9hNvLeaZ4/ovud0Qm2JsToYA9hLggsTQFLMwsQpPLJ/6ecoEPiq1xjzIJGEvnwiE0/AcgBRda+lltKUvI3qxgZsjD8oOESbMIT6qxJRf5ifiYlydLUBco6PBumhhi8j8zhYJ5AiFOWQiCc9pUudmYLCJRVDMrb82PKArOEdR+6+toZPXFGcYfh42KGT5woTzMh2zga043vAairZ5r1MD/JwbwnDGqf+dr52lhACQUeAM5/U/QhuR8jTi/ibYUgPi4RKYm2PC43jBaxQKqggs4B23znmj+68qckEUlDiJfjojjAqSQBMsO51yQ0bdCYCov35Lhnn04K37P9RkWKh7QJOGCI6mxA0hehg0c2DN8HyB01Ow2gxUqz44w+gw5SQ+zLfl1PSmnPsCJTcPblT8cR36esvm9G9GwMd6M5eLIznaiXou3w41eauhIjVdEUYMvbYR9YsCU8oOje1KW4I/KU+tUM31aE0egBikINRb4GRjduM60vLvJ3TlFlemtSN7MMn7oTuu6/P/oewnmmE5mIdI3C/Kz9hxEGBxAJ6cDZUxsPX8zUmx5FnrRp/GZQYA1ceNA5XVkzzASD2scWXJ2Hi5HAKmidPabT0HG04/jJRiMMpyfot99JtBGsooxa1ZKSbaVZWJ/myEMdt7pPhhORsnx+bu1dD3OIcflYfa2CsGcnS09i9qx+XLF7Uec9MHOsOGI91rVQptQSoXVaqRM6VsGUJs7kpjKXecsySttIAeEBb4lgT6fb6OsubgqPl2fevlPQINv+qkvFLYsd5tQ0Ah+1/KqF6GwZYHDvDKM05DKPZflcz2aMUEykT0AyRjxqihoxX1cB462LscL5LKwP79pi45Ay4uJ+xVTSPKnEPIOuZJpn6qeMYefYYg7vkZQnfDHFgHH1iuAP0S2GqnhwkhDIPVkgTNk73LL1G3EGq5m/IbaqLukH/h8SYGCt2Dxus22iSHWaJJO5XBd7DOL5dKQLGY4tb3YnhHZjKaWB4RdMGtaM3Mzfx5Cj8koTDFSJa1dWzg6uwDcpEXeC1iPzgh7NKi8nr6iS9LwiZZEi/RIqrg+/zffiMQdpGRcCCmlU2+QF8oQATjb0XMC5Woy+RYCsdQtX7Md/dq7Kv6q+9YX1ZAdi0ZFNEzjE813J7Qb3LV0G0yrv0pm6a5YD5TEX3/0QO7L9CxMr06yumPreYPivFisuqWfF/W5ym3IbS/x1NQIEHlZnzWDOr40FBGszYsqsgpP8XdlPvD8HaxXHPBzqHLAlm48lIrtZnvJBZGOrMcx8AqGQTpSnNR4UmKBg2ynZolyov4uCyzh61MNqyBn1u45pesOHCy7FYm6fuKRh6J+/G7qeZKX6v2t/pnD+VPONVDsY/+krs4zKikzSSykymx3R8POhcovBzJto8vsxGvgD4UOuRn3sk/xfk44gjpjeLWMHYfxooeO0aE2FJpkZYnsI5iXpoOmvW2RUGuHolv/fCnQrJbRpwmcSzpaxfrXyKMcBLoN/kJUt0NgBNIIp4Nv2yRY6cS/ykPZJ58IEXpBIKB45ACvvupOLaQi79WzckuIT6JXlbwkPQ7+R5bRCRdqtiG29fW3dNqC3jzrXHDFGdAa5nzq4IBmjBRp0sf1K6Fmv+iVMJ5iAdEnKlB9seILLxXyU8OEk2pc5u1KSqqialia7JxxhbfrnR5OqP0rsHVu1w5i7sDA71hoAG84FguBkHOb40FhRPGANAAWqO4iXk8PlsatZDimIR1VNVeSzpvph5UkgWLjGABUXzdju2e0i1Sd3PSY+jkZttT4Vjwlb9mWFCjGNx56FyC+TgCELsTDXxvnilFCU0FVxXaD7nbUFwPWBTLExgdvoqfFcVLIgmspbVuuIHy9dKWsXJFSsf0pjydscNAO/ELNDY8OYhM5w8XXfiKxNLNqNk3qvPf99lQSXCge4idiZrE6rbiFDkJxYxtaAfyCxGkyk2KpMwT1zk7xBvvdGu8sHrkFiSpDemCmBezfP6c1pZjAHDJC0pVeVptO1nN64REsO645LrqF+Xq60Xxwsp0mEnbNJTRD7ANVvYc60KCx4JY678naanQUWa03HuohemhTSETwn1NKqT2T+T9zcBEBQpFWqSOiNiyrmazI3T6mCcJPuUaJZDLEMe6PMGJk6/4ca4lYeSoxVozRri/0SgluODbdeZxFQm6L2/n8MHPiqcPG+i3dUZYXFGtiY1NfNQvECpuwGrfD2PW3GhXOTrKQLHHxr0oXRLnz1lah0L4xKQGbthqdd2xa4BN6nRa6K2up+HJUOhzS52ShEQHLBxjrPYnUPjJyW6ZnSmN+NNWUbdzylRs006inJL+CK9kSSeaOYdoSbJAIRwsEaSqhq8H5r92IahHtiGbyIxvfuzHbwtw3meoCI35r1fTvyXWRBp84BrhHH93Dc/bz8KOwm9DnnvgZFNIClbCxxdTUWqh2qcvy3yPmhx+yI0f8lli79MIQ86FC0hwaxKKXlZ5gQ/wB3OTXk5KCgErP1NkTpipR4vat5z6wYmRQZR6rnnThrf17a1r/y4cu7NyDao2jEbOkKDFttqGVj3rDSn7V1sjaXe4yjwsRskEHu2zx9dYJoGSLJucQa02CBSfNXk0PJmWcFcH0LB71AM2a+NIqHA+DXowIMeGdsoi3B4tXb8QR3J5ZneKDfSB9xgD/s6xcohSu1NT8szhAFI3/7TjHWGs2iqZoOrlAsk3ULA9xQ5/FR0yFg8MIQZYbpRMJXJ9vYfPYA8QmdyBTef05mWGlyR86Z3IxCCYxKW0v41sFYHzLxgTL8Zj76zfp8lUz48iYEifWtat9c9bG0BLePjewiCtpm5SpRzVcRf5edbTWA20U9KKJqRc/nu5wumHFSpgieJrLRDXuQwO6CcT0+dE4eUAbIg3SFw6FaelXTIGt6pbV9aT5B+zoNkzD+uUOAMYxIW62s6D4yP403jPgTVN5wkb/NwoW8fm8ha5sNTOL3NwjbDUrq9Fnn89qoBPToj5GY89jfsbdkDzCbgJmpc0/nrolVtNMveh50mtREQkTOmefjN/yFBr6HQgnwLmJDaH3ZYG8GnXpSZipK/wMLMQWi/hyUKI3j8vJBaZ7kKG3lBe3+U1XZ/BLutzcFmUfE/5t0saJoUpF1zaS9kxmsFNZoWJNRJxoHnJLuXOhg0huSz5Uocux3nGZ89DoTqQunLhAaZljBVzkH1Dwe5VQo5FUF7lurO/KoUlxujT/gWf8ButhEqoGn5x341m76BQEqusdIhxoTDdDbN0Srudb+jQ+CJYUD/8iL7GJIFc6Ua0a6erDVY3bKEFFBtdApUm3NyC6oCRbUQoO5yQFV/cK4aUpTI8tJLLgOlppK7wLb9gXDXxbAV6CZVJvUq4RQuXUjGC+dd18Grnr0KBzlMcccBJ7lvQmsbJAU93K63IpQe6yRnfn/HfDsdEnYxN41MS/hDNnD1s2dBSQvT0DbuuA05N2zu0S56rUkitay2KV6Zh5eBtJGmeQNy95paPynujsqaVdv6+zvYFZ34HQk4ggU3Zvx9a7FoRx9kB2//8YbwOXIPyU/Qk5HFPcnjxqYTMbOLCCRELvm6t2k80U1JG4utMaegCsWDLiHlFaoD28N4yRYkU/btT2pP+v+N74gFn0rFrTcbO/BeaGPVmiR8W2UOXMe07ziH7Ci04vPo6r4Wv799XENZ0GVUObmV2ifDEiHLeUxm7c5L0IBFB0Yxce/1Zj1GcAcTPRfHJ8oUWby8AzdYp1AGG+nZo1Z1MryBmg3e3kMubdjTuxb65tdQg3azkN4lXR6bZhHLwJOoQXOFcz/s5a2ZV9zKYgMIbsXUCutgKNHnWxJVh+8xtqLA//4+Ch38T2xdbvyUSlyPfZL0BoXqIgdmAYCX9blx2X6VUsYJuKrrZYyR/KHsmWugRr7ZAGO0tQwinxTzjE0Ch6OIkqSMuk3CY0+nzaQTb2K69QD/XVnYOv7GnlNI57v7vyBFxlEpSfsCb+l/x40s7AeTCGujFI9evt9AdngwZSojy66cvP5R4H3wVBSqCnC61xNz2oktf84kdVfpb2Je4xWkpiX957hGR2CpST6SqTXD7luouBkL4f0DtwkV194XMRE+TfWJT2UDILV1QFKWae0YIdfljZ3FM7HTS+qd5rWkSVkjyHQXXSljg7G7Qz4cs7rvtICJhKhpZsvxWZH+Rykzo22TGrW1JC16sxNktYpDNUrdC7poNfeHb3DvAP50RC/g/9aQHQx4Bl2lJ8IhJH75BzCEKBBNikK+PMeKioBPSaO5vBtEovGUtjsQQLFSwM3RfwEdh7LZXLSzWed2SQoUwgJYe34AFKPc5UaQO2RIqtbHvFmlw1EOQc66GHpIW8XZha/JCPI7jQf7BNnzyoRW1GDUNvMDLYjBVedYQ0Q1rjB/iH84ecxQ6Rmi0tg3XFKQETsI7yE0za6Lq3fkBURmL6WaKr9HVdUZQF5WoHGoG+I4kE7pEUdF9eeveNmspUgcSZJY7nDoIhTawSVz2oNcD76hkhnJW7YQ6VE7qeX882xmb1/lV8gI9zZcl3yb2xDAW7YkTUrGfZmKMpPJmL6d1FCnuE85XAOrLQOrTS5vbD3on84Y2RS+5EoxeGLWrZcMR1IOA38sTogClSRBK8RgEC2+ib1iISAdLPxwcWoOtwaAwsERLROp7Evu886AhPHDDt2ZPBKcO17Kgq3yb3IzaswY+AmtMlbv9E10C/sbqR19UTfxewbvjIgOAzN3CwwZwI+Z0OifbQgeH7BxdurABy3I/vxApcTFAsFCnMKoCY6DInlvksSjTJpuarM4qn5ql6wfaUPUZzg09EsRKJpE9qf0GDncWqptPL5CaeLBiKetdlIfEtb5xO4zf1q43n7tBjpga9GeUILmwXlSLHtrJGMUuZ75/Mh1/4nPQVvg1d8Zr8pp182qNENVQLQhdBUG+DMI4yCXx9N7qHCIIaPwY1kMWj42SCzicIXCSxhsKM9OiBtokb6BWlYTuZc9E0ewoGK64YIaUugJtudsFeAZnPAGx96r3FwDTdjHelZ2CNUz8ydLLKcqTaBW+mklpkMAK1BB5JOx7G3LMy6/nWuKVMiA1A3GXOQlyBalHNw7bo451bk8L8y/YvE7pCUPNmFL50KpuzZ+j2vTekeE7YRAFysST9tzxSgk4o4aW1KPaTSAJqITPI8DQSIDvXs5Ci8mD8vBncNML+NsUxPrZaESC7UaWZfFy8FtNFV/fNbOIcYza1UlltFZMYwVRDqSOOORmgMAg/pWKZyjCII7nvldfHamKfZchhwxOzqlm1av6vGfkzbppcLMpDBiR8IK3lgvFm+Fe1QtSrRlEoCbYjP4/MFMgx+NuG865YQi/OdJE929PEozL0jGfG0n5lJDbL7tBMNzGyQbScPeNmmC/G8jaYr2EAAMyelivnSYios1nDT6OIDUoHmpNdDjz1/1iRuwImxa18WOrMMRXjVS/M6Sx3LiyykqsHL48JY88ZWvLbZjE9PJSBt28KQRrnXc/ZduLstRqiNKdxAf8tQPvkbKxZwrZhzncCzVzBIilRsPILwdakw8VPzVcL1nE59FNODZpirluv0i2bGvwNGTCBvDSg/JarMAkGA6rZEVp2eY0UYmcvZCtBVb0vw9AOjjNURYgltsvjte+1l951Cz3hI6ZRTfw2JlTGeDNxnTJ3Scvq7cechLYPNKmMAPVAXib+Fjr8CXD6IcC5Od0hmQXrp3TNLgUuzmCsXJwNLpzewlIPpluaSZ2sPqcJEiy9pf9NC7JHrgZRNjRbQ3Xm0vfb5M7NyjiPK/hDS9LJkaCYfMdxAgrkMGZycO9kV5jp3DO8XLWRmgHP6gupVDIQbehj6qIOZrxh7A1KkjM1qVG7QIv6T09TTJSxPQhTFOzzppzJHxukBHZqJB8MMreNoz0EZqCXs6mxCDhaI9AxKxJ4KMI80sVdmwcEnC/YkWq2qIjFUmHhicU2diQ9IR44tjzNdKmyIZr/BqFsxunOtLt/r4i4288PsT7L6C/4Fa4n8lqd6RzMTJIYar8S4+4eMtiPXWpFCew+CcoQCI/+v6LqVqsRIZB7BRkOxZ7tu9AcIgkN5qT5pKJ+SVhkkw7CUpLH4GkvyF9HOqbosZcaC/lH0qwf91wIuJxcDfBkEXNd0wD1UdVI0WUi3uZYWGv9q2n25L1rF+lLJ7GwCZK/LfhbSE518BYvhlknt+GXUAZzKy7weOgR7WihOL3N6uV5bnKq/TN/6x2q3ChVj+nnnRup2PLr08Rtn+MN+M8zHObOtWd4lIYEyP1HmtLgwg5ZvWJPUSp+otR05biFFKPA6XfX1EZgNEq82wzbJxrskhk7zTABpeILDNNEqGwpOZYw50mKGdRXoyj8MFD/vWc0QGPgbyqbaJei2hVIgyYog4EJDxTQRK5ozLMQojrlIT5EUiQC9Luvmnl6NZKP5I70OtESm/lsTjBzr0QnhYZOu1gpThe7312b8xk5W3dS4Fr3/dBE+OXB90gUEFelWnNvW6fPJytz1RuhRM5oAfz0Z2daJT5o3awXwF/6USBBBg1nbZoKmOHlaZo+6Gi2F/ur0YFXKGe/38nMGl0RFS09hQ6lrLC+TKyIH03ynmufxrSQZRkfXgdWL8CyhRZ0FzMWmvGac0VUfNtU8dAYhghb29cxXn9n7ruQtS0hAel6XxbSWzGE6fzA4duQ/KOCGMk6pP5FQA8KNihNR6UZRiBzFhrOJV2mMyIidDhPwX5h1msuw6KadLKYmvYhszukJDUF275HfXmHXnzf/Ho//W0auyWjwmMMNTNhAFERUWLJXQvgukup5ONnWOjxEsMGtvV4KbgmZgS4CUUmx/QkWTWsfBte3AfUDzYAc+WhldWsuF9jpJ3JAuoWQns2utbHxTpwP+D20zhV5UehCUU5tNNJz5OSnBTgwa3tKp+PGyqPbPHrtK/SWyCvCB13wBmiNzCRstTOlKSvXv8D3YhQpyagxHZGoL6OF+n74qtMSFuwD0TX4/1NVJfq4FY37X1aWrotxn6VZfg2bsLcgP8oPn3FeMq8MRZM6cNc2gwo+nGSu8iTI7ko/D4gEC6WzV0nRYXTzWPceaARXz8YkzJ+7c4dC4xdW+VfgdcFNwCaiwhNGyQoX6/xQDRbjOxuc2yWwjphU7KPULETtUw5x1YNAmMIUOPX6buWgOybcu83ITpWbVatZnFKEFgpwA2EsbjZ0cB7bMNyXdhTn+g9Pzq7mYn2RsNSdoYGogjP3F4sYmCQIRMhU1oxB/XcjKcTO3KGA6kCB5iM4JCXUVWVMOwlZcWI3foKk2TLXElaGIIxSSzw3C9ddJda19Ro1n0o1uQe26ossdI9ClHPUaSPXh2Y1JQMMlVma3EChZXoSqDl9LltqZrge/uOvgSeDqtXCb/NaL2NSGncdgT/rizx1YibO4HbkpANvJc840pvVdHONcqjM/F3fQDyMP/lZIIvhx4QCRrFaGF6didc6yUfKPycmrLhJmBSDsyT2jKuMPnwyIKDVrOKhXO3H/CH9G0tGF2vM9wPrPwN7wAWTiipt31soiTljeVBk83fKpTdokca3ik9IcPiXB6aGaczx+gW4QxtqLClgFJVPwJK+09PAYTdjVklj0UIvLXVDRIDeN+2lwpopJ+t/HKP3qdRLkMcxHefvHjA00+Etu8WOm3XqezkvgU6eqz6PKX7qh4i5uSANgdM2MF3g/59rHka5PFM5omYX28NL0ruzYQvNEsoP/xW9VDPtE1NouXOFQx9YSwoYX18wlbtCa9pWKgoIxzW9Z+kJcT6GbhcleCTyGXOT17EDLvz6qmji1FBL3BSmIH9jaZTPEhlBMsxhRSqQ8WeIVZQgpFcvbMVDs7/qSoV/Rv7V/YZ1vVGzSMaNP/fvj8cJd+m8cj7n1jofmsDbItdV2rDrp2qorpaIICq9SgPwFQptpHahcyXBuzpQQoRIsf2oneGHQbg6ZNcym5PLfvfUzM8XBSIjF2DTdRrTg070Vn6zbtw/YFdVRQgtrkUquLbP2Xed64tleTvXrx62DaIeHbz1V7psvEXOegVdCgE+77/SqwD7W2BoEWCggwI+WjVMTbquS9SGRZKrDM6lU5qrA2XLnhGKNtNrB/UFHxRIBjB+ZWYjwKYxM58S2slLQoCdp/s24kRJZz9Hu9pymSqXfCppr+7T7hoOMaiVuHiY7S9aOhn4CvKCZfSlM30QvExmnejjTDpbB4QiPRKmbjwTWpduxjtAPnu37gEf083vASU4tl2lueKACA6Y/176zt1kqSQCPZJhSEEEq1YbPRUvHVFcWnOE+noXOfGcg21t5XatQuz4f0uljqW9WZlvvEilorTWziInLzQjuSzPzuzBJqq7GhAntvcay2slCpLV6P1pxh2sRS7l2cU/fDjaIssD3UJfF6Rai0CKZbCi86Q2qWk3IbsFspvpTWd/XhPm7Dqm84stZanDJydRc2rsphXGE+T3Zjywo7WQpFcE0elZtBDjfgz3zsVNRuwEQPTIVTSDtpCvzEhB6L3swn1AYZmBpxkjVHSCCK5eQI5NtvnZl4ufR59OxY1XurPjTt0ygZ2Z7a7fwAIGR+JN9676XBqZZWghAOcuViuEJCMhjXSY+fJIXlBWeOMNqxCSNiMr94Y8SomspYk+MwJIm18pv0lqDew6KbKtzuTYRpfsP7Y9jvorWhgqK4ZPDcLcYKjLt5BER7qP0z81rMgv1eQ7lTTIhVjhhGb+Fe4Plfi2Ugawt5p97Nj/Mv393sEEsl3AM9F1xkqHf6W9STBUWvJq0kLfR2WFsrVq7zR2P/r1lDQg0b9UoNAYEBrv6M3neWxqYipI40OWW15BMWmXZNVBo3TiNsEkh14wffdIjtiOZ6nkH6bXUe/0fuRKJgvm4XC+XCL5CP37eiFX4NnZXnBD4p+eyWEr5BwLUujwqfPWv3zfLYP/rO1oBGYC2Vew2XM8PcozfM2QQFK9uqIcvYEFUZc8jBbBRYARH8/IXnmstXC/3poE6bl+0c/nsNDGmgL1fd+9x9cbE8Q93RzMHixhwag2lGsG1vw7a1bowtLXV3WHVe6JK7yrk2RAHh+1BWPTdwnesCMoXC+3yWCxTZswODQCdQrpf2uW/OhA4OdZCyKCI0vA/QlOLHl/xgTnOv7MN0sMmvJ1IXPi1AAVdph3HeE6T+vujW4KG0EHbbHNyxI0e5q6XFxlxHZ2yXYsV1YpE1Lg062XO7qoGOAnIV5rnXUUN2JkjzOwiREAYT8mKNfxrw4Nb+LNLcRAwh688hgjqTi6QlQOCVdVfjHL8Crpy7af+BGOdVH7t8YlH0uzj+JwCWSb31LDCohW4i2iJhg2gH2cqyx8jGaZ2CzztFtprKf/zVfqhiJBgyWBKNdtsFm/pYcdeDid1nk5s3Sqkn5OqiHpOvKs51tb/fnUH/dGap6959Xv6rE2yHwI5b24TocAo6PZm7naHhI9kgphjU/gQOD0/NxI/gzR3LkJ4zD9s80MiW09TKc99T8LZZDbEUuW8QSE4M30E3LQLrUrOCATMWjyCjp42lfmyZPDNP5npdmOz6pHSOcp1If3SrEme/x0HHGk+dwPNBe+6pdtVQJKs0D0ipDLrcxWtYxb98TT12aSx7aHocD2rP/jCsmgr4bDVma97e3iAl/ccVJ+LlLPxWmPVouMMDafg5NhWjvZyqc1iin6s1X7pBeTyDHbYM/ov7HoXJ5j7YJ8EuLKToLd1V8BfX5HnhKxszvbSc0LDOPFD6/LHnYY8FdA2uN48anUrWrlyh3Uea9ibBnpnHnudHKXA8jiOvI42D582Rkw73wH4t/TKb7wpnd0LB2zG7j5LzvkMraVib/DVzgtRmLlAJXyC2j8R3uvsshGp+NDftdXvrhB/j3nF6MRrKNB6WXrs0gcBQbvqrSiMuo0SGU64kx3RHsBeuZIG1Q5Nq0fVt6qj/kNYzeZ7CZkRHdArQy4sHVwlxttCqgUp5qSiZ+CtjRKSyZKIhiyErLSQB7mV7slLAx2IJLKST6JaGAd0z0w29dmY90V4lotYMaqpFxhfAZslzecbgyV1roPFSXYQfL7lx5T9CGHFAcOLtkiKDXq2+7zo1pGOWWdhfd3lUX8ctB4V38Ht6lfCvW1VRDPE0YpmbbRaDu+pfXZQ/0LS+IGCg6fg3mUgDCVsBWdsny30bCA0nBTlugfoYD90DM/KgNJkzd/gs4xPkMkGtB0Gat4w1qPXASYFy+m7unre0lBijN51sywioAqDdNzOA5FTUfQHVOv8RA+enAn7zre0kdTbI3A2MUTYPaLZx2Ls36s89K0o96KNingsMSu/SwoG8RRdDU90i30zdill975seYaLBLL4FBMAyvLrqpZY8vlaaJLPrI5bI0QGW6JYite3KvRfwIa4lGPxMm+x8YFVUDBlf/vpFwPR8pN5yA/YeD7vlUIaw8R9t4kJQB9/d8b13YprDk/qbLjrzLWnoUoK7vaqgvhsuOH8Xc01WqUMCOYyK/YVqMRjTELur19TBme6zntpt2rrKiEwoAITN+lE2u1IdRMtUSydQ+XGJZNkjw/+Ey6GwLL1uk7sS07Zsmt3qUZxlcO78jmOWntckEggBc3Vb2hLE4syq0CkFAq5sbLXNTVQTqzFavYImiHg2B+DxhoEe3Kk5gA7LVUorjzXJ8kSU0Tawzgmp32F9ePFzwE8o/zCIyfhbWSmV/YQ95z+NrTtA1x/+lwAnRJBXvUIL7gh1rl5quz5xqz20xWFuLe9/ng+vdzAQEgaqZLH7AOI7J3kGigAdGXZW6uojwo2fg5TxTuKSuwLhKv6OsjRn/kFBoyKGllbR+OGMiXaLQNXF6mtiV6X9JQqbIVZj9OtYcV/clV2DOkkOvMJsrc9E9HZ5Z5vw3S4SvpdhWEh3xy4UoRhxrOpdJj+sbfrq6yDCpRL6rchpK18SagYvm1X4TIGwQy/iOQazXv1kbeIQzkwtYLaQiWEo35hhjO7ORpDwdUBmDDcMIG7h41xPK1f7x4g0mD0h6qKAMa/WH310oljJN/zS4vERt5zU3Gg2LCpey0u+ma5+0cXNsLgghpEQslPOkIRDu5jzGdfau22rL9sAMy3lb0EfAwWFQfZTg7f8nD969cOHQHNSCjVoru4triGiYzc6Rw4zCbkT+3eQ3G1GeHUvflU79YQCOwop0uHGN+NsbF2dQRd2X5jNTJkylwmCGdjqxGh3iFK9QPsoOhtssd45tDpMVduub54DA6pWeHnhzLPO7NsYJnvz0ijXe7XLKwJWdL8smS9W+ZQD/gYva7EoZdK5yHUxcF7+Ga5Q2GKDIGRqNtkLmtWh3y20xJbFz4RyES71X7Dp41LI+hIAQ+KeTYZQlQzEMCjWuaxoxLDVFMtIsW3YUJf87EGUyNyAaerSJGnAI2StPjEwz+C6htnGabphUwbBghbOxbQOCsjsXcleRXsk92NtyrTg9rP9ybLIw8g436epGu3Es3/K7JYllQfRT5XgNciPd8NqXoeuYFn0vzx1m0iuLEPN0aBgjQIMO5valnIGwYptmpV8l15JUR03t6pSt8LeBPLW1mbIAoEel55v0BRi2cRbC6gLWx2aH1xxpaKmhJQOHRn+nJX/CqNAiKtt1ycUUr43j44wJRpxJoPLoiEk61BDbS54N/ogmtGyBfD3aQtzVt+BXtSUue8vbPmsKJ+orPKSU1J3kiZ8H2jXIo68Ql58FhSVPV0D92qpRr+FeRrUGgGuW1h5u/lfAxbTXFiUhMc3U5uJPzYVVfvGPLjEu79affjzQzyzgcgl9vufMKXn/qYntGKQdP62mAh3M1gogHAb5xahgdKQiv1eTa3r5Xk446xl1cucQrWvj359OcA6MEiVAILIjlXptaLL8/fJvxDaZwgwAOzZo3IvCmaar67AqMlH4ywSvXVj14c6UhGtS1hX1x2zpzM2JS1uNBejHowHxMZmuY0HQoq91Oev+5UXtaTdxHQFxivU1sZEoqvXBVm2tiWccqDsIGekVtkUcLfjzulOIWhJw0bcRLUCPYw6Ai2jeGayidorwHOk0Lp7sDGRG/c6GZH5paZ7oSU4Amxl4mYlovAflh+z3ZdgvRGUtcLZocK/gTi7oK3+kPyoj6V/Rasf/0unBZbAdfDseymj35KeHU960ccOWHaJcwVwgyq/S0oR/KEQibZolE6rhJXBqY9s9Ubf+6zR6IjKIApMSV+5VBJraCeAwfLIk9RjMGHaRTcIz7bEgmJ+YETDP2DG6/GwFP9Qs50gyjT3abhmKSFJu578xKWZrGEu3wObOOnBa3iiWmwcH5OtWGcVnA/Sm/Y11QZkp3KB4hrLH7RtWTzlgY5wiFMV3Ua8qOyHdg1sqVpPwUVUhm4X6RV9vIMxlOZSGAtL9hse0RGx0MGlm/07cyJ4cxFyInO0X0e2fklLWvmdBg+9lf11sZXUl4PlBXUzuOGzWSb5CRuKZWpDPOh1OCzDoFHZhqeni4Rtfx6dlkx1k/Qfx1mZVNROBhmFQmD4Zx759AnJuEMRi7WCCQRJ/TxcXRzZQzGiPeJEnSGULzQ6+jPVEN9JNswIBGKp8zdvJtDVhYvUxNPFtL4Muuv2MnfR3kOEOOg3NwLzTvORVjfHwSiAAQJ3uZ6g58CpUyB92M4UZcW7SaixMN3/H7FEPHZ3JVZ3xX7D4/kSSUWBU6iY3/rhrDvD2kDtCjwN7IoCtc8HWkjxwu+smdLfmTP24hjr6d6mEhlQE9ZIUhMFsbY6gSxxB6fW9yFqdl3zVMhBkG+aIcKjk0Uyj3pIxpn7mSxwK4mOYIMvHaa76xaNW/zQFdWZzIw/0dVmg836QcB5yQuwLeEcgCEeSf7fD6LfV2azW6wTjnNXbm/eDIfT7vtzFL2KvHDVzbwFEiZ7cmhGab6yDZ1OM7GQXxGC3JrREUVtJcslSM/cWqVl7ttS/8CCch9NW8cxnzXELTzUA6sfyZLuTCBK/EjxNw+gpB3c11OpohYdDzP7BMgxbWgi7OFt+mtKqP2sBToKCwTykzHH3ZQpur3tvEb6u0ulKKMGY90pMlp3qvtOheTKUQUkEtP4wzDPEbFeoWHBkq0+ERrF95cvMrx4A4eSA1bolETWtY/tEOY9jyE4II0GyRUNkQwj+BqG71Z7eVFz6Xa5PhNmZ87EmqRouhbPkg7FPqs0n4ewq+Nx9Jg+uGV1pWkVtjS6GhC20rtkiQ/O05GAiOoJu0gsy9Lva5oxKI3mnyZ802jfKoJVpBlnHfJOVPYJZo/3XZa8C7m4+3cOunHHFrq4ng5fKhht653gm1ZT0PltM8ubjwxKbOA7+B26p4n0VLn1N6jqWxA63zw/cE2Ey/hZUgcdnn486JLvsUHZftHlaxPyRdGcZCU8+Oh+HNlb5BiWTmNjzU4IDDIXY0+RBcl6InCm6Xj0B/qh1Ls/K3Uj89OFWcXeXlVdj7W+l6+w4/eQrXcadoaT2uVK0/tjNQT12f9R6YBjfpHGGjJ1EzT5LM+0u4kqxoB9HroRTkqh7tPbgzMlbhlxWer62wB1pBS0cEpsOuSMWG4hGc62o9vgaps6pGQ1ltvFBDWjhizvHq906CY4lcmS8XCZTF/Ymvnp8VUWgz4p+o9hyjoiVxNbA3X5211k4In/w9FL7Y3z7aVgIPi0X54TEQBrOSvi9RqqCRk/+WMopaf1Bm4I2sBYS1YuXwtX8Z9Xpv9c9MaqT0GmJ7xpc7ipvi4xPv6rHRhu3945WKFDqJgMDoDDwNeY7Wpznh5Rf6GbFW7XjT3VYo3EI9vK415/Bq3yeGRj+xuypt4F/qPNgkBORBreL7BaaP1x+et6kRxgByVIoC/DDnwCEgfZ+8PNv3WJeD9rHuUqhmX42Q6XQVUowz5jv3dTQ3TY4P/aZm+ZEGu9R+r08zQFRPCMaGFTIwoyvxI01I+XxwuVj0UTeo/6KEg75YZzKdb9ZzBO8rvqKzW1zE6z/5cGUom+9lIFOkkTShBGLRnEz0ctDOtT0Tg/M3bPb/9L5mBLRMfl2ZJr1h6AZOR4hKjuhsW8anN3tZzzlBlRzkw6rWezEjRVejrjJwKP7+N1PUCdjYPZPUUMPPHj384ytexn/aZn6Acgk4zUxwvDL2F+ZmQ3EFrM4xBJuqILHWN9PoSOcJJZHySrIcHPpcQvF2/dgUMjwftEhOKfh/9D1+7ZQx8s+tgAKwuuQLWqsahKxFmhi8jTyAlVOOGRl45q9zUT8xNKXVr20IW5HRZ/MuO2VXlxRxU5loa3hF6IfurZRoOBn7dvB33cocOsTBH3nhm1W4wJcplxevxEF1Jrenhz1f1Ba8pilAOOjPo/9/Srx722CXnjrwnw9lKOjX2H6aZBFdNeW8DK1Zoe4ZNggZMi7HCKOu0y5Tpeqt3tlAY2YnCiWVjFwCP5FRSfiVwFBC/tR+EV8OjUdkYZwbDflqP1L6DW/D+WujNg4Z2jsb/Ieo84ntcn6O2tsUSN7aYvEIPs9mdkusqksIjZj2F3cVPspzicMnz7ke/uZMDKC0I19SYbSKIESNLXkunSbUZidYA2cpbMz3xzykG05Rnokx2B2/Mdi6hU/ih5HxnPBy3DJ5F0qpfe/bFSOIqlxwGqqTW1WHzseZ65jqFQvMnon6fG3Q43IuTbYLvKH+bUKzHulpCwCwfTujwiKY7E3sQgZNCDw6FMcpdIaUNJ5JHGcsyZEALyjIPvLlShVVdzb1V+Mq2JJ3shZpqKpkaMDbtxLSKPO7EAu8vHT8YX0KmICTJHmBczZxpmVCQt/awZCrpHVHEbpZlz57BsxrBHRJvScvPhq+sndfraHzVbt8dYInyCjJhvs1J9sjCO7KVtKucbXEIehFY0hG9toxA4M+ERQi71HQIffHsHV0dOfHBv3eKMC+WdVxps26Js/MDiqy/MJb8awZ1mGY6HL3N3jXO4srRhLXEWAvzOH7lfJfxbO3e3CT6UcK8U/gnH8mSokLdPsIYxR531SFRbxImMUTIyMXyGMig9OPKD3cG/Hily3iLT2tFrZoqCyxSesiI08uqm3aCrUgN4kTE+SUbmzcqaRbfytyGFKL4rJpUA9nKdXtpmRixH80OMqjs4lMUWhAKXsxtAQNq5DrfkH85PUYOKF1Iv7tv5s7IaP7aYoWUqGv3fyd+HRSix/dY2jA+QujrMQJCYTqJBBVY074B6B7zE87aBAHtd1lzP0aiWD/ZZ8LYHa8P7v3yBef8G/xKqO97L7EUrc8CYwKiefnCVRssQuIJLcJySgQLDdE/pF8ktWsLSu97mj6XaqvHZLrf+yOzRk71FZLqgkEhBKIUv1JNADa4L+wk0X6YxiCGvtxbrHEKbFOKEdzWtCKSbvKv/Jg5LhyBZdI6LpeyyUbziyY17CJAk4w1l4EdO+UTA7MSCsOl09cksHnEeCateF9cCDZu3G0XZLEBmFngEZH0WR2AyxHe4B8934bu0OhubmbcieuWIV9TXl4SezW0R+Dq4oPs62QqFiPEkhLiJBOqyr0tuTWiPgMCq20v+DMSU8FgPuwBW4a7AuiCYcOfLCh2IA9QdR1q8tO4UHKhBIzxjQA7HpXBXsfAqZZZjx+FfUu9Yv86DfPV2H2Gu/WfIdUT77BPhUZmZY8/4WcVQLYwnk26RJTaGiSL1rZMOqXtUye44q1U8N8i/k55+5I+akW5mstRWCvnxqijjdEBX0fkOZzTMlUhHFU47z/g+lDAETAkUdnU62c3kJcDlQW72uBdejYMiVFy0vR0dzJNnSUmND4Os9dpgdfo82nsbPukbMmdrHR0CIYowMjgw8gjZPnwbXE+fw+wI5KWDoOiWgCKuDUkcqNGL58AceNNvL/GtMzVXYJsgyUe7yyFkIO70NxX9EGCuhAZ7tyu0FVkvaxI3SNNPHLy4mZOPxmR38eJ6cXLNkwp9QnFY5LPFbg/COS0WAiwBmkaQgfyfFCS1ifEuSIR00o1sO6C7o1yDHR8tOn3kgnUSbyNCcN6RaaVbZMdN9snv9tlktVwJjI/Gs76C14QrmAdR8Ik/dTxpXK+RXtBEaZcMnjw1ckshOEKfv9q0VgLs3oqU7IE7Y4H1fGLGiO+p58jh6AJc1VR5bdWUeRPBIAPaEgBjpFxcO7LN3Fxv/gHfICS458YM9gClQuJal6AmQTcjgrr2x1mhNK5cO4xHlHPQDCIsAkbD6X/zJPH03Y5T324rhxZ3C55l+v+mYLEAbei0oxB7FfnT1tHGaWO3MHDRfS5VpiEqJPyDUWsegzxyXJUYhcKvz9AY8Ys1Foj6yQLlwe4LbB9Q6Zf66J6rYWx/2A8bMhKEIz9+cq1VW4WEwOsOZiorupvVjeX9fzu94RWpNLelDizJXj6uSlFfYxcNlaunGrEV8ayMi+qfoqs7QeN+g2cIej5kI1cC0KjirS29L3jdPp1kDqU2iiPjco98ewl5ep2L97J9Kz5dJenYu5julu73Gv8VgjLTqhoJiPYSEwP/mIIjhG6txpT94xKtEyXZooM7u8chcjs0uqnXX6tUYWju6sd2pE71yJsUkde+VhdYZGqtgUVtWscBEXXfzAFSc0GG3D6jycyugXiiN+MMnQxvEC6lDSPZREWG4X1PB+T8Dzt3Xso/gG3NTD6VHyAaEMnH3SxstznWjzst4gLXKSteaFfeWPnfy2YyFm/Pukrqdp8Gw4PHccI4lb2utU7/C38Wg92P7pywJqaD8eJpVq+0EOxXgaaHSwHqZH6dT60GlThsv702rzCxQeKgy2BWTeb79MpRBjyZsNvB7MmrXugyeP3q4HrFf4qpcj8kCZoDgXepA73v+pyy8z4CRNEFst+rQrSxpY1Dq2knBrtxpeAsfMpcfNnV38ZegraMPIG2EvMr+KT2BfaTN7jGA0YdwVkIX1OAZ21l2bkTh60CI64Udljoq5/8osuoWASLTnQVGlKzSbUQp1Oz7FP6u4OAKFIcSo4PurajdzutvywIWzbzJnXJ93C8sY4geIQrKaoGqrAxH56B/p+bu9GVHPVMA8gaCeyxPd3RUNP2qAfBlaqdYeWSgnb+8xxJwV3odfHMZulC/rpVFcCwvTQtj2VpqFMqmOdNMm4T2K65XsWOYhIYZ5s5i3DByjCnE2r6LuC6QuIv0K+L30Bzw+Q2o/cf3PJq29HuzmDFe++XRpHic867e1BB8Xa/AOzxGkdhl0LFDhDmtToITxQQL14yjiAbuInurim8Gyy+ad0iuiEK+9kkRqdQcZwIUSfZnLUO8hWZBIzYDp2pX2ggEcMUUohQzYxPM4QfB2nypuUWu0tWOdSgwkacUq5l2zf36rG0m2949JN2Y/6r8OKZ/y9/GyY1YuxwZyFalf8uVWe8GZwMMl+2hDnBX7PQt0vS72xdgA95owZj+zO+CLIyve/VQvgWAW/JQhLpDATOvXZzo+4MtOsw7HN8Ff+xmALhh2gK0RNJzM3e4nQIQ/sDiKgEJ1tJnDizacvVF/Flj0sX7ZZlHcDCnSt8KqcSb8xaKrz691GphZM45BlwkVSNqkggJFMd7YhkEScOm1qp8w7hVnxkyra0aOA0TT+tBPtqeoxR5GIdmtHLrjhDS2EUSdS00vOy+AVzsAr3CQFw3Ml+NXSIxa+xgEdZdx5CnZDYO7oB7D/aTQbP1GLyx4K7qfb2irV1GxT6H8/pV6y8t4yjfloA215I0utCfpASl5NzugSgK4Ebqb3fJcBwFHvv5Mt5nyjfT4aX3XM7mSwxZf1F/5nAiEEXmvKuwBKtyvNo9h4VG8DdIJM8M7F4uncPaE0R+C5n0VNzFdPxqLtL839DtKPtngc9hNB6/OYuHbrw/UK81yPjSSGsPTzVMzya5kvpDuvW72KwvIHjGxba2Ynm7fSPQ58YJUhzTRL3iGqxfgyQoWLlZBMEMiV09egrCZDzJuf2u8RgMeKxX9dg4SX4Xi1/AYbOkyEt7l13QOgNN6OrP7jmF2gIbTK9h5IhLOwrobCiUVVHFudfcnkYkWY/nFrSYhZcffKrrkOztR/zDCUuAzXGq/xxbQvLEZjCHAjA8zIAM4CYxgcZJgv+J2UNrHojpSHCrFw7kqQWisk/BNS3FIxBngMSuvFqFxxUtIXB+TX5hg/NY6c2R9ZPFPH1rTpSmc0xIC+r7KyZi+nL5vuwwLB+Q75ZCZN8kprePalkZqZtHkfWxp8je/m4gODm3Klr0r3jZ6v7f6h8lxze6LAnRgDeI+4Sx/dgGi1odxmlim3nm91ZhLNMrigEKUc8T+FoxW2zh4/nuXoa2Qxsq+5ISKF+4dW5KjTR7QE4jL5EQozYtvNxsdwIZ/q8uZNYSF0uG9ms0CD6C6rPtDBUH2NLabJQLXsvyLK47NT0V6vYe7Ux0VJ99NLJ3OMp/3C0I76TZYcplIzLl5TLtDRAHV0MVDr1myTnhMlW1/y9EJ0lvBtAAdwuVMZkB1j7jBJ2YO8Ig2/nkIl4mfMLlKyK5y4x2XDCwpouA8jjt9Xfk5zId6smLjJp0uGXnFouduQ8/AcsLe/jUDtMOSnQYEyqrP9cdkEYu26qHSnNCV9W/Sw6VcBR2/R+Tm1bg3pqTv/wpCjiczM8sUA4KDIFC9sKqXySFWhVoOfYVp3BC59kpHRZQyRCvD6ScBfhd9GidiyZtcOHo73twk3p+dyL4Gw6Ao2XdKcinK3JaucKxChO89o8yNvfK1oY1y6XCbPNXUelMXZDbFdQhCT5Xu+QFRcY7NqJyH1UqYek51n5zsoIaTa55UupxejqQB6PSTphUezMRLGN2JpeUrYNhlTGiAW2dOVkkCKm/9QJRuJhr8ANCsd3/P7PiiryZEyHEvMqacPFe6pJQBZeQm71jj1ebyUsSGnXgdoZem8VkO+pQJgjnNh7S0yJ1kyMtt2xlavnhjXCbt8Qc9IUv26l8kvQOKTNUpZMt9GpecOY29M1zyHR3J9eBMAaBueeDEG6KDGT+2kgDdK+YFMU9uhgg7YEgi9AQ4cQGV8IVuhpT5z+Y33IsJWhcqsLQ6W+1+50EkHkCcMGzveBAlPeSSRV7O+ADAUpSNkDX6qpsy6CIjuRQxvR9xLXNkV7i8hUDYCCjnyjnTva96l9Uh0sdJ9a8cH2FZfOg3QmvJWB3KS10FiIZnb7OsgcP3PF6lAgHd+Z2VaDq//HxYv9wQSHyIBpsJyrXkI0q+ThlL+dWVsLA3laFTHfgCRCabX2LmdU0q+rpMLZP1JxMXvv8Y0PzFomDAtQSoaFCM/CIyEA7h+fnpB3t/I3fOA+BfBnYJhsPY9lo5Q7uAOX3oW0Vv09E0QCgB69m5OeiG2MYK//WCv6IJSazFy51+g+bIfd8azGsHnm3+uKYOPPCQM4h/dClq3rEvRBfLeLy+aEhBlZHcd8zYzLMwIkXdMWw2sfHfT6trI2aaiJ/T8ZWdu29IQsg12bZGXLXaoA7a4HnIhdTcH0cHF6RiVIbkODbhjcBcbJeQTQdxP2uK9ygQNNeiQ/UYPA7vO7n/dwpkofoh0PoLujkEv4au+T0qhdNP9kNKO/IwuZW2Ym+0XH9Sgx3PzAAnAyg8xh2yJXfPI3GK5I6WALpBy+5Zd7GrTRKsdAHlaYuDQKsIwc1GLdO967DEZ5SVYashOE3j3TB117gqVY+lQd+JHfbb9dVeWoGfri6I+IK3O2Tf6+IGf9lLOxVH2uXeYjzYC9j5a9LHf/zfKeYNHKl6k87f0wGBjcLQO40VrmgQ4Teo1i34odES4lTMJr1/juKKBT8A7dRxY0w7TwcxCTGg14q5DVPxsH47MzjIyP+br22riTAsFuuy0WD2OwM/Mdkw9ZrXlWdouXG9IXQfMcsWF69LzHph8InzoOcNhT1MRPwRtTDUWJf2jjVQcQ/yFopcrnxvxXBgA4gMjhsL9YbiYV0hjRc/RlnL6T6T+YVF/TeWaSiWPIl9QGkbAicixeU7rF6JwOQPs6U61MeehYAZmHnCo/iCKSWhZSYYkqeLKl/aV6oheAcb2cAyEjjlyK8QDWNGzqycv9el3LjJgsYJyQxZqPcKB+EVqKYzjuM+CnqIFsF5O+OG4KWSLi/ZhcxAp9DSfW7SfJXI+pcZtgs3pLToBJJfC4QAWnb8mL1mMnAl5yxOLUyKL6t/TQ6ply2ASRe7KH6MHsqom8P3OGXrnyXVwvo5+AfBU3tWJJ5xDj11c+aZ9qOPKPHA9VSGo1HlLgDxPzgXuijYHpH/IHr0dc0zjlty9wCpWP1hniPLM3ZkOxIGYKwLX9slUCImo7pkaBMV+EhSHEGpN5UELzLUTP7veMcmvAWxYt7l06jIuefDGmMzL6amvf58W/iB68AsQJLjHCCT0nDJuTrH6Ad8OtZABmraR6Da/Ob/66drA/6F0I1ZBVCP17oQ9cUwCX7wKDWV46NEpRDKYxtk2QjkFCPojtHw0tQjhwy29VBo4AdtVT04zMlqpzyB6rUlLd2SS4MjVpy3THou5l4v958A7IbU00rbnGq9qECXBzc2JG4Nu1Jtttql9A/LMCdz8CwNcAKJUfU8Dot4D4YCgseBnHZhVonfK0XBSQyE5l7F4Q+0GLqoRH8A/EqhqdX+E0lWoodYXLJGy1tdVTBrf+iV7nO1GACeSheuZamUjJOUzeAaU/t5J1Cb9P5PI1DioymJTeEYFqe/l0xo4bIS/WkTc3itwm+cTJrN4skIA2vTDCI9YvyCVA4ztmQXEAhYkOcUys/NjIIbqoUaC163BTyouHYAscxvSJCDBMRoTKWPlwSWAzrPNmJnJEn3bPvXbXK6bpX2KrlwwjRLgvJQtHXhLVrl0I/fAdXedluxqnAw07yaDEs6j/8ny2oSkMakzxPynAMU7Vgt5zUOF86qlLvleyjm0o6OP1yQereyPeCcruxg9hNNgjnnAAiqF866E2K/TUp6XpNJfr8MQKxUGKKE4ZT/VpR1nKSLOeUVAzV5mmVdqIdyYFSJQAXv02sOH28VogQOwj8e844G9GWU4ki3zk2VVyFosChoK7DLKpTSPR7u7LM0yznrLISG4vsuMg1Fl+i9zcNDoaV7R2kh4h7AfF6F4FBc4sgWn+tqL9FOow0TC3iq1lWTe4zJ1q6vjlwdLS4RPfk7hEHR4mWSiXvKrCeuFv+v3cnaCHEhEQCnFblBGjUMVKMbx6IJ1v32T6fiOsK31h4TSdTf5pkKawcEcmc26h5DlQ0L6GVczV6ffcbWlAZ/X7iTuBEBxuOkS2niFDtjSigXGsjco6Gsld838l0a9OoHFSUJDeNNa3z4EfzFIyupNyJHPvH4eFIR6P7BX8Bl+VCrrAGbMNttiQot83GmXljDjQlyFFuqFC5RLnes4BGnwbyeP4USWKaTzcOirCSqWYO+7QS3H79tv5EKXPCn6R00qQvaCcuvp3dGdk6CBiWO2JV7r+DLxwsh+ctgbm+Y6Z1x/lW+Y3/iQey4X/PKuEaM+luXga/uqlY6u8BN7TP9EBFXhmpikxfCnnhZdDO6EEe8b3eRc1YV/FuMKcOnupXq5VL4yw12kw3QJZdrEroC+WmWDOqJ2k09Sri5jTDB/LFizlQoUikHfpgdUvhEo1hRUJPux5QPcTFalEMbS1m0f883w3CfS9Ad3QijM1XaUXCRlN+tK8baiB6rj0BuZnvLQuNL2GGle2Qp+qH8N+0W2l0YR4vaugc5CALVcnI7/3d8T6T9Da+zTrvvxKIAzYTOJwNvM/l/Xd2JxzShfFm3I4iRpU6MZvSb9W4UUioOKwpwcHDNvfkh6j++7GQWb3FvaLZAkYRwe9jNoK5at33PERVpGqujD1o7nRBKfXgUZJLCCapsPtZl6kNMJo7UpNrAz4AWtpRKEhmcHu9qfWe0dYBaNtwvfq0vp6wAyWRTQMcxK9AcfjcE7lXsJCX13w2HZjRBV7vWi8GcWRpvpu9dvVuqm9lGKR/Kx58B37SlpkfRAv9Fh2bO8cav+O9+En+xxdxlUTlspJ5BrOfc+cmd1mjye/DjOoT/r4LWGRqJxUlvyUYvHz3qOEjjl/Zb3eTYmTHqfVR2Rt8FaCOygo4KFCuCD1e1P9+QfaasOKR212pbEpUa0uVSjf3U/zTT/CnqYhl61QSNSmUcxahMaL+k9kDFR/BiN1V4dyGyyqOHeaBlGHu9g3AerQrI5C8dDuec+77H+y613x/acCJjJuS47IKeD5KL0c6LzxmmMx8UD65axJfL6WoUffRLPORlepVEF/L/R+FEnCBbE6DGzLWiVa8JepRRjYsaXOiE5pTznVsNhWp6Du1GNyHXgZ326UPA76K8g3jxMEDr9W1l7hg3UX9mnPAQAuAb166MywWWuuaJ57kBhSMjYXghkJH0RlBzdjXiZi/xPa0oe4DH39uzpb8PhypaspFk1pP2tKjHS8qCjsDBsTcr15aBYxZdV0OLWA2ZCL47QQ+mjtccHtbHQH2gj73Eoom2jd+MbmaxJeZeFg0qW1kqna7ihbAYOPRLuw+8eHhyPNKHDo+RryxHQkl6CXnEejZp8izO5W23F3XK4NKrIJU97BahTtYXV7wa5xTZDYJojQUpYo/TGgRZvz46Io5Yl5LH+zWCeZytnv9pXDAE4e4jTrvzShCyrIOmiH6X04WjpDY++CeHJ18e+MAiAiJQ3W+BU80brRHohIy/iS4g1kkirKJ32xN7/ma+58rrZSknpXIh7WXDBQkuUNdNCZq2y/eDK0NC5s5LYQWxJn5m/Vl4VA6E2gQtOlysKQoYLnRq02YBUHxLlzYl5YLoaYQaed1GSrOHU8XXSBw/X3OwBly6ymf6tfHrs7vCZR8OhtkJeoNb9G/UhQ9CsyzBOzkMD6in7kGp3pRTAGckBbrCa5fgoj6PYxMMlQVJ3YYk4567SFZXstRVVe+iIVaE/jJ84yQbd83puz/ZDvIysdePb2KGv9OumP1iIIL88+g6be0LR3iVk2iISeZAdGACoHwyZadPyTq0ZX9U5npuszftBUOj4JprlEWFKbUIKSJ2zxE/2GgGS3P3Qn/T7vrJ/FNJwctQg/AFbCU3wr0va5Q+G6s66xQlu/mljxUZV7/jlqVg92UylveIhvfjLY6CA2WHOgmNeXu+Z1gJQIHrwWmnN7/l53tjaiwMotc4xddEM2SBkWkruvJ1648elp8lRc0tLJ7eiowTYk5T0nnHyRr76QpQqH4MG8Kz2eTQ+LKf6KVMw3AZYWFlrYl4vDFFC9EIhODOLjPRZXLSnndo1yzdsl7AEGblpS66dEy9k65fkQt8lQjedKMR3qYRru4cZzj8ZHqw3uucdsFckFPIJScY+8d22gPk4D12LLPK3Ggq7ghlX2dbVCI96On9Uii87esneYCYW4xUWpIii8iduNSPp6YisQ4wHyyHCbKnHZuj64Wr9/ujlJaF8YtT8UXI6XJC2g5uNd9tYY7vgC18rc/oGplIoK4kCDyGle6uMaprJAgZ+LlXcnFwP/mZb0NPQekb4HG5EQ0cjZTlCSYKOFjTmik1jkBbg9JwF8wDSLxiVBY1HKetbBZvtvVrgl6qhWtfOwzOfjhTfBhSaELGN7UqSG/TQ71o6EodJTlTKwfyinVpK+up8HN54UqRi2x/gsezulcwtCci4sXEut86HOY6QaMVesRaHRCT7QQycS2BkE3Jni/tvBLVPyi/91MPf2hFvoFSZa8w0G81LvKFtqLPO0WotBCAnnBQ0QK/cY2TD/7xO+hsYdkaiNerHbhJLtbfNfkTpwr2Nz8bDGWo6N+t5/J3rPvG9BeFi5QrHfIfceBYHjbg1AvJTHk2pdiSYMV/8YS4aPGPtsiQZas9WyyitCn7/vaGAtpS6nqL3d9rVgcGE6F5qBr9UTuSy/o3eYDv01sWz4yZ8sjuQQpjILgmdig0O8XKf2wxNe3xwUViqnCy2SRYA6b71RSxFgTWx80GfjIITlVrzk28Wgh0rVJjjkwEEseFHzWQJUpTIaoM2oflve+ixFeiEhictFNfrgj3lEMaFKm71O5nWixQZV2CNmLkWjAJlY799hZYrWCH4i+UPC7+RKJ3WX83oTR47bOo0KL+Ts8RrEKbJrNCn12YOaYDPX0r8cNZ7HwkL8TccYHxEVDDODyoO4XBOSDwo1emXgjr5RDQ4DgX/od5gh9LhPewOHwV0DiJ4JJxkGa170IvTVlzEG6voeMjEYGF62/sJiHtK9S8kz04oQNfQ4L8/DpQcyiG9vWWJg3XDHBod9IRE6z/+jcF1iUwgDp/O8mvuM78fejyuOLAW6R392jE4fK76PTyf/XbT3dnjaHh425duaRZ+zzahuqmJMvV+wY154MuL7NS7oSSDP0FYaCnio2bUAURTHy2F4pvc/BOVATrBrnPRcoQHkChmXczj6HYs5P3tcYqeyp61jpTUzdYGSsm+AoINHKH7oZ41yRn2NHcrG33veGXRHjZnzfMHpXfr/e7TXAc/9ITKbygsiDCsL/sDTQeW6HTLIMMr5XNWfyN3bis3wtZofVFV8LCdFjpsXosyz9qLyXUOheqon2B3mrlqWb8qGlWE9jMRIqWl4glU+U468SrdvzfVdfrsqslcTeAuJHzNjITiJJnHjAlL18itMxJfApWvbl72O9lT7UhSO3Azid9bPunbO5bTmgH2NvJ3lbyXA5Dm/0cjAgT/M8twtvqNlcBJcUbAn7QBHx44n4gBZrFRL3ss4oQwjOV2PO/fjoIIXrplR4/J4OYlyhFOvzMt8ZKES/Ga9CYrdt0CZzz17HKUKg8h4veBInR+QxxxxmK1LZikaoEvlIrIHy/po58igjutR47rHNmRdz7Es60869M3CX2sL8x90FBd8GUfHJmrSP2HBtDH2mfvMZw2o3TbGOfR0VOt3012/SwsakbDzq1liXbz9aKf/wAtpncqTHV2xHveXckftIIlc9JaSzuxCqqv31FsQ5SuESpPImAyfFCJxlX/HP4A9wn9FVyixj4rc4cqDrs1mJmuAnnoFuSCJgI9Q320iQHmLHxAGg14Zks5IA48Lw97eJMUXe9TviJR82ia2hxKXACFSVeT4PvGU0F3VgZVFnCMZ2qipuGQOkLwRWEjRSTWbnmnMAoF0qaa7kPVpMlWNcLgLOoBfHMas+3F7RV/jO5XSNgmgV70nBE/oTPnVQis4bxQr7BzqpsrWdmqtFz8zdWB68HUgf7Fb/dYDkl3RJTNXTLe3J6otJdHkNQuW50hHwbX62472GuhGCb+rUk84kJBgSBqEZLcB8OIxTQpQdHNwxj3EwiQpU15Xnlb0YMcJ/sOeKZ9f4x9NwBvNTz/FGQ6wxSmiBxIuGUXHo3eW2dhH9e07Hv0cWyMUrRFmyi2K0PbQ2IjgT8axwx3Vb34o+IerC97ugwG1ygDwIzI93YGjOfU5wJffd9qeFCUN3a8E872cVmufRyhbaAgpK9lCreIbDd23Ojcr/RRTCvYZ11GdQWopFdimvgJjAXvvb/EjurA6mCvBq+XF/jsVOf8hZqu/D4gMB8KFY8d5SKzIjDWaeeGHHY7zH02RQoMNGJYq4cGG0uPdAUgB+nlS80U9zhPUjct12ByI8F3J6qnGBubnOAJU4KQyVbmp3fKH1UVeINXTIz+KTIXira5VpXR2LRmI90tI7ipzPqrBhXrryjmBH80irDxm+b6m3wLG0pmr1EYFdb/Zk6hH8AeGDWiI+L+zj3GnyLFII0ebdBeDMesGuHMeQ2E8RGWHcFBgIxYJ7r8Nhf8MpcenPbLSwpHXrP/ztdX/SCo5RAtbqQ2ZT+Z642BZAvvmmpp09TkxgdZavVhW15Al9ALKj9vXxhoAedxlrUsLmicKAJCbwgN1bECv6R9XbRKhOFMb/IepzuXEdKGkGRemAOccDlrzkGgXjXfgklDWQc7nZNfbhN8TuHBA8+/jYMYL0Uet4RamEvQPt4i9sb6Ka7y8qm3msl2O7y8AsA4GdSS8UoXz5zB8/7bx6FNXPeYO8/cf0WUtdISG/RuPSR0E32oAOWdjmZVXPmMkfpJq5JPFHO28b7kCSkf9GYmDFWf/3MjaNM4CKZ7rl1d4UHI83ATKsqU7PanUftMX8wCoedfOa+0QqXqqbxsbkWvXWEuTdhIHoZoCPI5/XzfGf66/B0PexEiKCEeZD4NfKUK6sgyBrlvCee/gZgBEeHfYOC2D1UucbQ3Lxe5fr07tvuL6AQqsb0aJ7iAwQ1quoJCAEjWFzQSupdpzHyq3fDj0zKPfmaXjZESCtT7LAJKakbEJ/s/kvxZDL8hMEhQj8t+VP7jYWQPCqdKRNE+ctOz94+O+omhMRpf0cXfp2zB3E35QzytZMXF/z3n9EtZBLMFRzC5VcHeCQ1ozplZyhNuYUYmbiQCRsQ1ZFLgX35KBBNOL/hSUV2mdbSDZvMONHnKYsSZORy+PzgbhtWaX0NrYpaOGUCQ8ZUMBbH4WHJWN55fNR6mjyBAeawrrj6FBbZfGBvFbtz+BxXqrWBCvPAs4gswy4aZkqzvCvV7nOK68jv1R+XVSWZjG3K1FgDXaUDABGSzxy+LGYi3fyIyZSvhnzlsQAATA2Xbd4NUbLS0ua2o8r3V+8nTOGFXhMEGuyx0P91EmdjHmsK+j/TbQM2Tx50AWiY3dWYnbSUA9QmtTelPaQ9gkHgMOfPVB64dsBAmZMCJ9WQTssSO/iHTp7oicoyhYAtgmrf4QjgFdxEjCtO1IKLq8mljckUJT4BzL3nl16sN/8uwgbj8uUzNRxx1sJugRlAkXs2XL4jrD8h2KBSjS9sf897fDDuEGO9ANwjXJH0pP2AqUQ3pQLXG8GLtUwtSeNgDOXgMdsTQJBZYqfsg6oeUkz/8E8ddWFgUM/4FSA+b5aABKKYgljNecSQ3UVHmWqi8WZAENdbSCJs90A5TNhefzTC6Ka8R9GDeNFJZ9b3fMnEqBo8ODPSFR8Pb/I9Fmwik79/dyAsdGURIkNzcFYj9QwyCKGm17lDByPeKV+IZIR2sTE7Kl1H0JyNuYi+iEMQWnuUG7iyxPm8nv57W9WAiwzPWpsGmeJyL+vZCvPz95/N1Bis3ZlTIn7qAhhTFceq/dU2nwFsK71rT/3EG+7KH4KkN2AbDmcdghkt0wmgZoOySGRmZoS7ICnz0xRZNetBWWZpPALUrYJVRG2x9y1/SQ1jC3RK1x6XQm18Lq9GGIFs0GWQwrCEQWtNflq8jiP/osDMa8HTFpV3apUgYz7KWyX7dfNtpjzfBLzIEzzAfNrCgfTXXaSaXNdhEWqDaRd9nA+yvOOrkweU34vF7OMfAKARtqeKOp8G4KFjUwwbMTrvZhVlLsaTzEg1o7c7AJM9ESTsFsEK4n+z6AoNcfAIsyMr9YL8MLONygepRk9yThfCkJ0+PeYkFWGubX6vNFdYYcCtIK/ZONzF1q/k5gGgywODPcUvvcBKDLZD89kJfoC13Qx2m9UKTnsh9o6KYHuWiLcCMhQZWZaVWv+8RrLkkZ0T7wGKSA7DPX6Ie5aNhcupzbclGtoDvCqtpg2i/IL2smQttD/9mDzB3psN7EUSgqbkPq180ZvP5NDkKg6wuoQp/OuYP3t/6tN8z84AWVMbOz9+FMd3gEDaZcyIVmAOvlEYm6PE7RtjgcgNE/1Ws2sNH/oVagxK9u7DK7OM/1oOVjp4o3v/v05/6eARdBnC9nSQXt31YUPnqVXpssfxCE9/sVO1KjuLgUhGHQnB0WV5QOU1krdhz3DI1Us2WOJI0yNc8njWbGXljdyuVOnd7nH6xpvc/mg6lx8yKHiDIqvcPQ+yR2KyXNoIgkJ593KpkhVMnZcwTCRq9DF/CceNrdVk+IxwN0RMDSfINDw4eZ05JArmJ1TqhWGpyhYpX9GSw06/QWC9dUy337rOUxKXzkimeCcICZ025+xAvB+W475EHn4ACul2zUHeK7f93BQrlaxxBkPGg3fwtPozLMXsxok705k1dQBILmmvYLNqdI9s9EjHGmwFfCElCyenngC7U/nq+SD8LzCa9PE3IYdDeBxpbrG+/TMYply9qjsONJHDhW3jwrT58oOsNgvDh4v2UWmehWgOpXgw4reLtGNBS+8YqSF3t5R7Zc3Gmod+BEXVH59MsXHiRglwW4+ND0dYU+oIfz/yL24V5uCZSuuiuqwuB/q2XZVercdgjRmiN0BPzxqyg5qLMHiybu900H/xRfrhPibLhtVMyngfRRdMuOH+bSjUngNdBXDvDZpsnQhwEzgOW0KaUiAB/Pyt6WthmB8YilK6fG/9EVlxR/7DLiJRqemHNeoXsI50t4wIe2g6CMaXacaJaTLA8rcTD614eOia/S7I50GjmoLBCdUfyHh1SZrvG47j6f2AhaeexAi5/wSruKh7ZnTxfq7vhRjpGyT2xAmmSAmTevZtxk50USpdVHuv35OezqEZn0EzergM2cMG+mlOAc+BOXLnPgueeAg3fGxZCxcRiHTVfbWaW04YuDB+6lKP/LWkMPl31Yfba4NlOxod0SBZiNBa+tG/zFCkDXBpbW9/yHMecg/yUrVD3LPnHo95aiT8xOL/v8HSwWEY2fc9U7aNboo5CIh1oSKIrJ7KC9YWu0QLum+tHnvbQDRreWbnlmwew+s/vZc43znkuOyu+jlOfmR2C2NSS+ZPuenxYnvowLxGFBa/ZOKCogQQ0EHjakXLF62OB3q7BN7sW8kpH+y0fUS93L/FPFrF9VwacUlUUR/EnzJ8h9DKDHJZfadFaJM+E9xIEFBBl4i3ZP8gcLfznu7Vscc8v91Tli/aZoEVceK63jH4I1bkGlJfUMwMk18eACaqjlRNLLjU4PrF5mVDzH3Me7PQ3GlY1LJOor5qWKPIA0Blce9CeqBgPwm+6d53AWSxUYPh6+/umIIWcHO3hUfHiKw08ZJIkL4tqX5nId4TQrhGOVcx3n7Mfyz4gpF0HCk3MMgtf2JV/6sQWKDLRYyV0NeGHoZnMEPTjkJzaenvVW4f/s4Bo2ahNb7b9Tr2LE0cOnFJAjDbBXiC3FXHQ+OxoDQWt6rxVao23abWO0MSepZ6++dpkrQL/Y6+0oONH4IH86Y9fiEn6tKxYBTOx6i6KIflx9oCMXcr4lOz74ld9XRkqt0jzI5REWDZh3DJjIfWg6R6oyhBYTWjIcqcjMfODN27+n7J1RxGQrcnbl/E1kyAGqDMP6aYDAqQltzBiU4p+Rz6cfHpvOuWV+DcYGh6WQMMRCLvn+CSk7QzBcQKNbVflikaWzxlid831xBsLZqsL8UZgiZmrqApPBaDtJqa4RVFtlzCIoa4kN0qEQjocBXlycTtCxQJ+SkOq7ZGvXur+RM3vcyZWD/zdUvoVdoAjdJs08uDH/4kBZaJWEYvpcrBp+lKWbxOdjQqae/jgxy/RH+vx9cRZObbKIhmK81z8riUX2/I/nPIyJeyUKpE9Ibo4iXVrf5SsrAYDvfWS8vPCBuFN3DKcU1wnmj7sqOJNvdTbq6dFFNd9EkahV0BGKyTNkZ32mdoJzjTWw5Ex58p9Y2HpGoPF8QgKABZ1OYWq730wOwCM/Hxu8wrQoJT46UjJJRUnoqZ+qP5qGjWI4KkdA65h9qLNYtCA0ySNsLQN36mMkH3po+n7EOAOp/j+GgWtcAFmUOxos5IIrh+huBy1TsFCb2NAx3mPCmslczm5nPURiE4MBbM1udaNBeHZxv4gSRHiXhEQkwSIyyotVuXq1zZ4+dS1ZgzfKKJAMvWRyjJ9EDwRq2RVU5VmUq1aJejXsXOCipCfRJw7CtgiSMe07Zgw3+LCnm8EYgfLiLrbpayQ4D7P+MKBk8KnidH1jhlOXRucm2w6rHk2L3JaY+reieW8BKcjnDmse9882T9XUI+C+fsRzskz45D7fWJtKgkFf2q0MxKwLHDcIPr0aq/hZW8Zqfyx54RCYks74WOVa+FBO94EHrfPbQ1Iwobi9Uy0omrS1BMi3ECpZmatuMo959eJo7Nv6l6z869iCptmmd0fPEsxioYJ1vam8e3/8R2GDGXZ7/pQ+fCUlHeR54UZRSUKP+1854OseAFOvAXOVYilny7gdAJ/VobWRUbKwPVHqn2Lk2RmoaCpKpSUEawC1hn/67Z8u7nKybV0vWhM0z/03h3zqPTxwLnE/XAVRt/rZXdu0TfZTmFh3zNaCedA0DIGkgtGtRXNGF9e2Djz5GW6M60WQesgMzFw3gmmKG8+ZDyxFbcfqMQr7X78XQlDMdYgKkAn1MLOJiLYvvAf1wQLzDAZyvpOA/OW8yy6YYRe3TdLXCckilIg+KYn7ZjGRd6R61dqgTJ8L0v0URO9cyouhIRMpBPeh25Kvfxyj7gHqB5+W7FwoqWr12WOity1im5LPNhmlrp9E1qOWSy0Btyq9NE0X8afIdqxoUYTUT5/kWY1fG923ScekRzbtOMMCfeKWSYrnxWBPbtAI1TxoC/GJ9rKkOgflCACaPcIKXIOlNZjJOxeI0Gho0SLser+wRszIrk0e4xcKRR4aACfbadso9d28AvhiTrG6d5cdaWE4VwrP4Fnm+77a/pR/WsZT+G+RVm1LLPlAWWxcP/02Q9eFIT+34WKGm4d/QgqYtTLpAAknsLxuSi8oGRUZz96vH7cE/G8UJcCwgY5J82FzhWwAXbu81rfcNyuYibI/KuM1oMBxpvEzjT9bpekn4cHFEuF/zH/uUdP8TjgNnGzHbjRjNX6+j1LlO9a0mR44jMvhyow47Bk5a2xVr/O4NVTJlBELRdk94TCIBR3+i6bBTnU3ds3qlo6tloaS3+lsxqzQRcLHCoVFChkNau8btneGvlsiwMLgg/hwRjc7+YXlH5ePXf8LbqJQSsM7HYQOuVWhL6YTOi2OXuDX1zg2omzSMTGaZwmcNspV9AsFIANfnwdNLSDI0RDGXxLOn7MuUQ4pzAPOYfO/83Uw5Vp9nyYDHqZgPnEpfuH3vRlQ/GHkEHXWSYbx5nmVRWaBxDVPtySyihZiuFw9obcnD2mPDUqEfO4FqgTULs+oPzzHeVsfK3ngoUGmYop+7XHE2Eazh7AjnemjjEWxD0Lrgj8rMT7LAJgWduRuDhYVrGO8KGeebGgRg11faXnBtmEGe4yaggIp1M9XxxwC2IQ+x0MVVD22AVuPEKKX1m0vHqz1rhgifE5j6hNLKiokz5sUm38j/nHQNI2Zq/AVt5yntpG0L1+ugnC0ucHewrc59DHUdZu4zkG9/W1nFPNjmb0GPJqxPOY9eVnZ9k83zaF9pWdu2I6K7CUAtBdVXX4hZAYK7Bl5H9k7HMNnC8isxiBCeNwweivtCJaYtgKo+tI4xQcmlg7JOsUKe/CW3kDy9jLpqc67AIP8K3NtCch1ed4kIYzTK9/jQmdaHG7vhzkRnkY6Gx06waohNVsE9qVJfvhRM33Ythp/lZegaycSkRfUILx5IytLiuenPpGQ7cPRNDzIZM5WRZEZHj4x+VaFtwtdmqKKxhY2qfdvVwL4hoFFWktR5UJ7LSHMr0vhFpdqcb/QqAwqUjRAd6UG39Ik+d8Y3wAA6hBf3tOF3uL2kV9Wqos2hsfiS17s7fqpcSMQOWXYtRZYH1J6WQxqtz9nJod2kZtv9myxUA+HMf/iiCbbDoEvW9RgJIKaVHTiQnLGh2WrpXE/rRKSfz3tms8prxZMSvbDYz0TnfPZJg+RAL+ePkblVArP5iqrP6vjJZs1GtVl63onrItKDQMphjtunfDd6VMAlhaquqU0/30k9dekfoNIPL46UiDRfMqV7nkSe595Bvv3Gtivl2oY3K/bB8ppKMRXvs87Q7oACuhVDuSDyNDmZKNIl8I0oAy3EsdKQg+46K/M4FqbzKjrwDdtSEKBdgCkw9U8afGPAbaGQKgoImWWG0vIZamk/1+TMDVgUsqTTZs6Fp5+aaaZcVwsQi9fNWdxihE8O/Xz+apug1zhgUyhxe+Pi4VTFgsKjIvZSblSQ/OfvLmO193WeXNyYwXgeHlf+KkQziWuE1Jh8Ryu3BaCIYfx9uUIL2EuisytQ+jVT7c6VnH5Fc40iDfKt+9X/HeXIyG6P29fNQLVyCxTkL10yJYDJUWsBzSQ2riJBKDG/IKa32hbGUYaIpkotEr3uAnlv+F73mALSb2SamkYevhODKsDdsAZXeottj3bu3q40gJTYCJknTvg+GxWJGArJhcB7ZfJ82eZW1S/gLShMw5IKnQu9UedIz6KSdEth8D3RkvpvoTJU8Kqa6Rzjk04p+57izGJK6qf0OUtFWqiKUfA0NUDm5AybTJD+4kk+TwAkSVo+HKVLQk4oEy2TogyuKixMMvywUwbxopTri96wS40KsB6yyYNhosY76QFEt9FVTeF6jFiDmOyfcbyi6wGqjMfWRQKFkhMOKybQLhVLR4ylEDFTlzJk1znM73AwZqe+2VjXehAi827Nkqht5Cn+aMdUXYwfAZR5zkE2pTqKIf/ua0Sr/KV2MtUk7/o3So1FsZ9vU6lqhwhodtltcPCAoOe8DpTn9s2eZOughtbBPTXVQuvlGOzKM2+Z5rjtt9oWriwqhyb9BkISJXeNUZX450TYn7sdFQ1rQGL9z3mR7YkJKDYueVhGgSBh82QqIJAIY4Auz6OMGDu6qGeaaB8zaSZO2hbdA3tD9iCQNTFyKUZ48xMoEEhvUgss2ZkIOqjbfYSPAIvl4C7QguGFXOXsSQ5TEZLU90+8kIMpnukHBicctbVNhmfamoo3V8jlIKVPj99qTPcbZxM2SzM5buAKkg2lFyFCP6JluT2pN/LX/P0tuymG6lmM3ouIw7ruuxq8TzBBvqfM6PBvZTUGn0qNAD1UUt9WzysZsBkkeOEcHEqkM+n0i975x4YIrWWueYWz8/Ldd428/EqZoxm8c3BEN7wpkFTVnm29PJ893pjh6DLvb+5JS8ShspPV167007zrEYGfb7FaLb+9ZIKL/gIVRXtuRpHfghX0ywR3Kb/OwVze4W1wjGffBt4aDyRKlXdBaD3/6bkF8Iuiy9nZ1cDBNPPnvywZ+moICM4/OAMZT3d4ictbukIvQnc0Ul5YdJZFFIItWu8FuyAWk++czsksIUOGzj5kk9uQ8/o3KCaWNu/ke17Ul1Ujeg7NjXEvucD2iurGyzRfyXfuKw3F9kdWY3ySeNPdApzpaxqrG2OuoErJ0FaochS5fqBEtWRbSiK8TocdA/WpxGeFtzOz7H4USX/OAr2UYyFJT+UOEbR5d3l/4hNi28SvSRro/rkbaGpHFHnjGjcPVi448mKfnH2730iLAO3EV/PG1RcK+tHeb4b0q5ZATvBYOe49Ha7qBB+Kk6EWYumNmpf08wS8yc1lUs3gXsZvQeByQtWYtNxz5JO/lyUlIFGORHcei2YDJ/dpIKEw+xNMuhUD0htbI7qF/WxVPN9IzzcbtJ7PF33/kU8OBDfF4wguoQgX/b+816Ck7P/f40KwHG8ypTTAu+qnQZ77h2iFQMaMEGLfItSmAaYNGfQujPSGnfk3DndrX1Xsc82PLrdYrl3El+f3RDGxIy37eeRDFWv92K01J4+2nuGiEVAfDnSXm81w8KBxxTTxW7pz/MqRWI5IOVWdXVCrb5zYIeBY59mZ1aALB+Mr4E+rW23N7s7W3zUqdJ6tpdf/ru5I8uyeLgv508tvhNs1or5XVdTSnNU52Keo0igY0IygMYemttGTMrrei1ctjjywdPyyvHbGg2rMVF/ls2LnwKvGRG6bayHM6dvv/m2NTBYB4hV9Ba/thHUEMja6+px7/5Sf2LvvpC5K1yiQ2Z/r/YSuXKnAX6ULrRQLG910qBb+K3nlCQyK6Rc03DsdJsqCyg5FBp+0oYQp28IPl4dT9YWzihkwbHBUpm5BdEwwus+iTda6dxVET1ZLk++iNNdyiukvMXDv72v+nz8ZtgGL9quGLHrb7YY6rqUFK5YcjGo3u0O/ye6yYQ4ZliBq7kUWYHhY6hd978+2lJOBeLqr1LBOoQTM4vAir9bmT6q/FDEETBsh2qBxeueSa+8uIYyOyP2aKAxLVun4XtwejiudCeaFRI1SGY3F3Y3v5FA8ABzLYmIQnBt4tLq0TnZpI5/W9/9Cdv2uK46eTZTto+gr9zRwPl8WvPU9Vk+YExf/mNaTIDB3Xnjfd2pF+cmfC41D1C8vEvhwIL5g5kJkxkoYjyGUvBOrfJInbU9StuwSpKxfPjNlDrs130ZKjsmZ1fn6ZZYeJMY40pdeloka9ntuWUmfpV8cvDP78LIyYHqTh/BP8dwnGcaPHRQtpvo6qS4dG1RIw/6QzKUt/p5qkk+kAC1gvG2B/SEhicaqOFMrYNIsRYPEpunQn6w7YZibGWpvj73wDHkc9wtERTKN/XYxR6EetH6p8PkQckU4uUUVzvdAp9bXKQHBsq9bcfKrIJNjxiGJOO88gLM2lzNq/o6HJYvtYxOUuMqn5Cf95grUs5Wg+RihI8S8btQIEIGjN7KyhtNQK7hAlcpTmkUWRxrADnCaUyHMO0mqyxg+6Y9F30vj1TRl8JYFwIkRdLbTbWrQeQRoT+V9tASAgA0d1YEwh9+No2+F9WtO/X2pzZx6Ctlnf5u4G0tMlS5AXPPypAt8eAk5OX4AutPpIgCAlOXhijCI+tLMMHoXhsLeyofJvSTYN4WiIxVFOLMGNPfz7aigweBEWrbBBVeaExA+t+dMWS4NEzVc+qaot0aHnNUVpH8fhKJ2sh2HY8pQLGLCmMYDJnXsDL9dnvGKD2xATqze1iMBhw7po0sB5+Pl8nZDCVFhwcdq3cggsNz8yhT4BzrsuFPTOISS1NzSVblkteTqm+QJseO5z58yXxiQEYtnFz59nSiKN3RFYhqyd91eccgMUho9axP098R0HBJgnrzIpMGGVG5snSoDQ7yW7j2syUatNDa/LAJ8o/zsrfq1w/JgQA5fSpQdkG3IHhFZQ3DxQT9AGBcpmamP7KS+W3QcWdSh5nz2EFCYVGEqFdxOAFFotKh34nCv82KAbxpl0TyTlCXvSVM3YiqRYXqvUlyR9j6zrKL1WOZZHcq3YmwTcIW+b3RN7FHoqgoI0eU0MLmaDl9Uxs012I2b2zvgUNeUoMyJosJB03jgZtEL1/+oYkfv9Slnia070exSF0XMNKVsGuaHPirr2VRRLgxu89dybodZjkPEwq0rH/+bkLTFgSMxh7OkrdWDr93GLKFCtR7s/G1XDTCPSpW30Pl7cMcsLH1KuvamU19vD91cYa4hKFmwBB/euUbWRf2FV/rceM/oRu/FgatPVTIQm2aN0vITLeqlxDnOJcZcdY/MMxe3LMV+U/ti22dFHXAvFqdQEAZlx0sV6sTTnUs4JQshnjnmXVv4qPt3YpBoRspsRprptE5uT2q4/VJ5LkPGVRB4TBVJwQABPoXBkItuiYZSYwu3ibkaamnIUyeglSQlCKoiMGOh1vdqeFlvwgqBQuTJcJXKcnIh97js9hrT1umHS15xtdZ1z8rPdW+ZPhruzs8OQfu4IJmlQBUGPM4CqNnv7ps2LNT6Ck52xKpggYQgxzJnGsRS8uzKxh4te/8QobJBLEw8aiRpOlF3cZgYZdsUFNcPtyaqVYyJXuxJEUk3gML6Bgk79mj/fRfcr4SFI3T4WzT1p+9oy/h+HZZRejpv5/FE12Soleyg56p3eRosnp5d80lbQDt8gfQpQ2q0i2NA7zzA47LDPgS3SjX0sUeIJRY4dTsC+Xl3zPbbWRbtrqOVZYVQ0zqFd8V7bjQFLYKXhaNYehHjectB0MHG+iRgnqwjksRvompqCKT4RfMd33d/xSsF7YYX6i5WRJsr5ZuAH0TpLd5PdONg1mV/JZXzRJXcW2KrK10WmRr+Y6CI+mVqhB2Z4xakM9XqZ285EHNOGxUIX8gZ5vBzIAjPDPWcf/Z8SUau4gujXMQt4o0vEQA2ZFr4HlSkkEhCRlIWMtzwklSIdZt/7C9kd8ILShSuUeEalnWjCepFjBH/LrUEDEscR1TlCoF558W/2WJ2gLK+eS3/05TQHrfmqh7AhaDhihKquIDmvbUAV0EqOCrkrZjbbkL7OwtqVZ9BUJXly2t8fjObso1mA8w8J15QyeaqGvHLucek6Enhqd3O5e0onJVWwVr3brz9f6tWYc2oHDdPRSsd3JyG08XilYXL32x68E+H+I8PElQWmA53P5AozJBx3LwShpW3JCoMSqzKckDcJb4/WxK9PougI+nouD00Xp76dY7iwZyOV0OWtTPkOXdIvJaGYnCcLDJeFJoCC+TeMhkibIHxgvZSf2L2QdlLIznWHgDTBWi6T1DwdP04HPp2maEKwXRWsBafalXHKIwWY7ho6iqpWtbyXrw2yJRjRcSwXCzwQ5RPbDoXnHRK7V/iss7SOUx62yrr7td2zwltLq6SbT6cyJbwFot3GQCocreMt8ltA4s/oWmzFw0/ovIIix706sEWLVsbCsWGiSi/z7uP6levLXzgRaymLGqGe7WAdM5VLtzyLQJUmwgGd/FKV/x1oEdDTdOezTaUQEa5UKMxwhiB+y5TH+V2Z8PA7EiPYcG5HwiKOe9vQQTCHTVVEuZ395dAjMovYTJhXcywDW5BnhdrK+ZeL2afDgmfisnB62qCA+dGqWBzNDQB2mNFM1MuyGklDblRf0u3KDT8X21Bh+UE6Cr85XId1cdqKZoEIZDii0O1fKHg+OGRUyDLg+Q/LPO13ivS20t75jvEkjGBFteZyEe7vMd7GYpF4H8CKq17pVjqmSUV2M8Ocm6PPBqWgU/500D51n0VkCNnWnY7DfKHeYW31DgFYgA0tSbUFetq0Q4qBqY79ZclCglQy7nRQlgfJciBc+95JuxcL423KmWvrEnmpgoqws6Lr3tlG99G9b6WiSj5tlhP4umQ+VRqoRocHvyOvhsec8N+UgqW+/58zHWVpdBvRRxwShnvmrfSuV2K6rdvFF/h9/lHCNR1v97ys51VRSQ/Fli8WvvKqgitOS6X0RQYKLDiS6yiTIgw9Oy9Hif5rqDKVJyOHO/2jMJqjOg6vKh/NH23oOohLDemKCdhFVlWPfuzN3Nwv4D9ALwJHQ5vx6g2vub62YOb/bSWFC5SnpwIQckLX42SXhJavYFPVVANNb218jp2wC12FSX7RMS3fpLGnOJTczJX1/57kQCuXcdf6pmGd9HNciaxx7Pl269MHID6RlvmV3wdX6S7sD8s+BIro8C2jfayef1yZHa6rrD50IS/Hf81/3aYVmxMjZADeTsLYkdIK43THl9vKSQMtWuEahGivPk370mGaxbW/K8+JZhpibMTtZphzLJbGwOwUvGtwUMlaWu1x77kHUlAavKZlDnmFLwu11mkG0Hc6FI+pazNHABHVEQS4/YIzkbHLBrMgMP3tXJWfss9P5Rs8NNLJi0zLsNXgc3XkKNGFRAU4VHvC/Vr+PWTdE6+qqF3x7RXHGlQpNYHFovr9a+9Se5o2YmauSnxrP6P0eXobDuw8DVyvF5+q1seVtiUokrPbFlX5uRVgVbAfBoMO4o1TknBcQdbJGiRp2+48qtib6inW7vhnwOm6oU88qL7bxbVnML3Q+9vldGmIZ23zLnFKLEQH5ZEWogUbYD07H5Kmf2TNYmkIykLcTuwJ+p1ujHFSlmp41RWkZcchrMO5zAUcHTiqvLyOBCwE6TET0Zd75ntuE5rqXAPoY+MRao+BVhw1wQt6XVEk6oyzwaySe5KaD1zem5CIg0qBnzRZ9E8a+9T+9A4ggj1Z3JGS0VsfyY6iywt0hK4E+gwoond7+4Sda3+uZMen+JfNP9lbkc8iYodQyzQ5qLa25YEzcZ2fQWaK+kUAwzr38ksEpm72LobFhaJFpUOVPDbTm7yp8mCvjEWXegDkEbIhN72bSOLw1+05IKHXWxK8Kn721NGsDFMYusdEDE7YMU87lVEU8q5syYgC2OV6GnTQViW0gSumCPFcu3i2cOYtaS1J/pvRl0wQSW4tIQmr1G4BSXb81x6EecT6/UdTp9o5QiViY+c1clkiN9aBP7c+4TAAsqmQM4Zvzgf42H6K9PTJN83z6dpb0aOd2AikWRtj65Fto42mFCVTWUpFFyIV02m/bSt01XOmIgB7EZgTB8uTtnvf30wgCvdIcAvTMDznYbaKZRlIqzUsV0HdMKCMFGpcaFnWJKgt914+DHzv0ndCn8NCefKN/HPRHoGDotq5lyz1+Q2z6Gc5qfrpfwe7WNEoP+IJxxxMacgtxoxPQ6nBM39KND1b5S0IE9m8kgBI/lOFnUhmHnnDYbcArHSOT94lPJ1zqNWLTlONKZ1K7UMTZkQ6ARES2fD2CYS1yPNqMzd1dLdeR6c/Nc8gkWZZxhaNEAWuvMeqt39fNsajfgt22zjOazzV/EEYg1krNrT0idC98eexrhWb821v9PPxlyy0Y0mDNEok7+3+REziNE6PeeipTP5MY/yF9spAI64/+k8x+4EZ3cBfRy16mgURDrTDqTlR271VJ2ldQ/c2p93WAMiy8rnzazJBlXSB7zUorbewOSWXIk2DsKFaiTy5mcNVXmKU0LBsTnKK835B50qqWl6B1Ebmh/GpXdK8oxXFsh2+wxNFrwq+yAXJN8B7jXXZ4jGwCyjrHEsnnBz5dxdGzCuwqAqWXwRAxv2K5rFQCbGlYJXNoOAprNUTqt4m4/pvMHdwCrWRVbxNJ3Fvo2YCdBzQaFFuGJoA4IsnO7+JJ/RiygC8PFfrBkqx2g/XtiapROYWV2sOVU2bT5dAAOs96NOEQXHFchxZ6zSua5LdMsuCdmBoZTmBiGYi52l2qGL6n9MCNXEUXKh6D/81+Ix4fWFqcJmrKV8/7MNrJY+nHbD4TLeNa8a/dqq+DR62uQlxbGb/85HWlsnnVfglx/wW+iURXn3ZUtexoEZPMnp/BzBGGy/sO3Efe/kjUbQDlaroeDGqSmyq3Q7DBwaPY/RTModKBduN1tkjhzM6Ou1MP1gIDUvTFDUnFnmO3ukxQoIOLncx70lGfjXq0waZU4GkuymPl0VvU54Ch0NDyOWWkGdbUq9xR/IXw5l4wBniFJkDr5ID68uxPK8e8yHkRSPzPeQm+ZJBnLyOHT04nXD0jwo5XXFSVfZqu2IMw/nksYy1ThFQa6Fe3QCSiNBBPh88EQSxd9y8eeYwzF8VPUSXaB6K9ywurMPPNt6NJYJYTq+v3QP/6EF9MIRPp9SpPdoSQsYSoZeYhd8BipbhmUstTC40wiVaHDkl6nV1CWyNH1ukfpbr1ryO0TLZWik6HdSMA8IMWE9B0yf6Q8uYUXj18XH2jtYiAjs51DAewo7J+y/ylFpc/Bz1WEHCIB4vpyU5xqrLw4LS0hdLPQYZ3glq9aTyaCywKNl+dy268lgjO2gca0HmC3Ah0aUB+jPo728ZOKQ7Zz5/lo1RxY3xJfMRU+VYPg1YxLTUCJJh9KtJTAJa97RMSIagsbii42NFJoSBk1Ujhl1IDtdg6VcQK+ip/PwlWnxllIbbh073kYrAZS7o2ZLfLPDqpfTJ8REYPG1B28MAi/KQWUBqD8KaT3fgHVCXwhEEbHt7+ugPA4VhOipB0UghFMcWit3nzNX7Py6Re+UCVB8ZeEHA1Uf/tWpZa7Zjt9e37e+Y0pR4PeDPsx4b3j3qbLcYyCF/44khRm1V477Bsn/odz7v7irYVH5BEFvQt+2muGYt7LZNVc+y22VCkRPDc+91Z5+LaCUdJa48030uMpFSGuxmVTaYjYyeQYlqRROg13NjIBONaV368cOz8rGSOnWu4Ewi+1Ds2l9E4yk9XzTKJpF/CIiiySjEfvGaKfBaStUy6zl4mdHOpkQ8u29ju4ph9/o09NjbwneKnb6U4lWPHWLEr4JTs6kEg2MqkWSorMQwppU2dEwAxKSl80x2LWVUHBjIdOIkyqHtjulRT9Hrlyz/mFiHCLeGb5IumFHW2NZjbKXdPerMyRdnBnOMn13Fsy+Ijr9hjLeBBtDsejILeQ+KHlq46I3Dl0WeFwI4qgW8r3mws05X9ufJofx27e/nmsbdFMxdgoTDMR8qICgd7mKBhPfQZvSOHXxvhVA7ZH8tArdpYF4P8efrv4WOy0s51i57vdwHDhO2ZO/GH5dZ5sqjcmtxdqZdfnqu4nS2WEWhdQjoJ0LBwBhsRRTS2bR2TppLBhsKNeJRu0cL3s4jsOTPG0JyZBmamD9EZkw6ReLw3ZAfszDCEpEY3y2L+yDpaFPqlNWqf+qWo7gK8ujoHjxZxZd4eb1ajStkPu7VOtFnbVSJjaeF94tNDuqnjENwXuAKw/nwjd5732fRMIDiNsyoa7DHH3wu8DG4hMiGT4Ctrt/JzfyinNQavinWDH6+nGttPhb/4Iwgf5G1HQrF0QUlavkYPPIIOL0lLRJzuB5B06MTgltxuio/Xt/RqowUfz/mddOyJrmdgWye7x0BFIKylaFlb4CR/FTt0YSiINt9JrssK6PYAEsLSS/All4Gkv/W4Y3kVfxRNibuTJ1cwBXoHDH+LZ9+lEJgSpej13AsiotiIHhUEVrq5PQ9R0Dl8D5QNUxckw9ayInuw57yKuC48eYUGoUZ8RtCS376p70fziO11OsZOMb6G//TikchqZ12OgJwhLNljsNdwNx+RrxOcbpOZ+GniZdTQtjtEbaxliS8BNPmPBYpdOtEPaV3Ituqx+BCvEmDRzmXvwyrvhpgVnMho1r3QiFGLp7JAsBId1pgZRRIrS4QrGo+8qBkuDl6/5Vh0cA/cmPjw66SeK+mvRmgFeWcSurkQkhp2KvnKAjs8qmcT7sLhZ/VGNuvPt+ePgsANuimmkdg9+Zxu6iz2gSHdPjxU7kCP1aoV/ygW1087XxTvlAaRvdi8hUQz4ZFpz6OCFblQZz4UBDy4hOADpcBH0+caw1CO9/aOjOIoMfyBWOFFv1ApHbdQ8tCwkpua4j11OCzb1FoYF5Lni9wqXO5qJjlY1Pj7XoyFeCiMa3CC9ijgfC2s3gl6bOS9skuzmxRswR5RoXB8cGYvNshbEltEyJb8v5fmKAvuz7NfiNOK/GYBu8Bd6enTU+fVmnT05qwnur0tSBzroC5MrQCjhQ0rM7m/UpRtNxCQWkhD9ALAu/HQ/YGDoxpJTZ/HaWPwKVWvzkyoogYGWy1Xg52BUgQbCMGQMO0W2QpX3uaSaLxmQcc3E4BNki02Ot3L980DHP0DsbIyg0FRmk/ESZA5YXIqHLYD9R5qoUfray+nxioMV4kJmkKd81rlkwJm7vm44NtpGu3/t9RM9sCbfoWP2+Dnx4LuDyppwGchpkNYtQAYsqJ82xEBglsClUzXdNdPO//kTWozoQPE2MkMrE1nTxwE0Jvybc8DXfpJS6hnHWwUX10leJFTYAkuQEkp7elzEib5Fz4g9N2zl8LX1VJmrCHDTs1W9EzktXrd9BqxU1KBRL4JmVQZBDQx9pbMk5YhExi2lFHPAwZGLJs7CIqg8hT78devH/jx/U7ZHIbZqnFHYOSQxnnGei4fPyhFNcbF1C06lBqo+s2bo+tpcGgkAi0na6+o/4R8B7p5gPZaWloDkoonbrvmD01p7YZzmixlSp3VHM89uxPkqCYkDfqcr4ZdZ+0VDVlSTdaE6khe24ltz6M/sQqQ25fFizd3ddHWY3eK+wMSovJGgRCOV7rYCo9+ohJBnzOH2F5x5VLM5WVHihSbd9p5X5CNS/q+IBcrls8kMngGFrDpHeDotZXh5bNHKQlxHT4A6WmR311ziHvpbuv9jTqPr+WhXHUMO5BUYJ3umaaNTgxsYr/8O9zP3i1VYl+6M7jjdpIbmNE7bKaAQj4Wptyx7yTeSkfL2/tU26qpt7bE9sCqzII5OH6SThAgkiwMY9Z1MpC2/9G0lHa+2XKR+Sf6Mehl4Ky9Hw3i7ccQMVpLquKb6cB4sN2tAcZURScGoBrcB/283Y3GGq1FmUEsmb9Pj1cA1JHSTQByiYeKay0p+U1YOgB1NIN9jJTAx2JIURgyESapuQgMzm30nTs9vM8y2UXVEXRacNS2GKiFmwOeYLmYKGNTwYTBSTeS27MjXWEHJIzel7o0uA8iLMgtHseDPyDEK//MGHWu9ljre0npugM+8yctwj7xKDw42M3cn+SvRTnXs77abgqiFS00BSCdktKLfA6XBqP4w8bupNu2WKi/nTkdmSyQU2mJ6jAcV31OrHYme14FsjfFHLOCiNYLgkA3YiPQYPFXH82dbQvTCHVzpS+uunj1HaRSrxI567m29l3qCKspnoAwzk8yCXdqFh5W5z9ekGnYzYjuXb4+lIDH6q/sWnmVKefH6yCrtojnMJ1fLZ2xYu1DwvwJjIdbyxXRLjNXPcYlcQksRUpAPfpZyzZ65GQTmKEwSDudk1ENyIL3kbd/5JIgef/ZWGwyGOdj0SqwdE0mG9AatEv6XHPby5IHhdTUjpAVed8+lYtab/+VbDUNvrHYO3n2JbwEtNAJMD3X7v1BnkHkP7hOyOvBTb0D/KByaD2fnVovp0EwCmiv2BEcLZCtHoDa3BOQBezx4fhbJjXkzNnp5djDv4u4dJHGo9am5d3O9sVgyK9IWeFFCwcLfdQZycjnkkn2+Uk5nP46I6BJlIT2guTP9RtNY4AGFvlEb0ZvuImXlID0Hyk5ZPV6VaOffuncFpK2Iw9PZHrTbMUEakpWK+hJv6cF9FHvAabwxWJE6J2p3cV1QMqA1yIYZpSuVa2tS5bFEagFHEjGlfXJdkGX1r2vHCRYanmL+9w58IT07EEMABNoIn7wBeX1Akp6+2iGRRnkIwRpmWaiEqYbsXQLLneKU53ZmeVGAUyi3jATj1hPm8oCo4O4DikecNJsMwGHHGVJLKmw21ytuvaOFY6XIkpW42N6yfRdl2dpAjuZVYINjoJ8sEzEAjXvriI5feV1dJ7q1TBrxettamD+CjVoDh5kCVm5Fx2oMPtpYRgZtJmsLXvZeRBxBTWDH9hxPNDbPCZACoHesgDN4kGQw2phVtKnINV8vJKA4gqoimR0JUpRpEe4VeBFgBm27v2TDW2IQE8n5ChCZut+RX/aFFkRrr6pNxJQmkul7E9iKuzkJngGXVRVedLSk74beLHnypaDEU8bENK0XTCstibBWXWxYJKZ5NORvi4dA8IovBAnncMxLEOOM69KIjlPjSovb2dFOS3uM/8n5UV+7d6Ehisx5ftddfx3EcnCW+j7pIa5GEpNtpQtT5XkzZaFrOiaSpIJxIuFKQjVZ72fZqDM4IgCN5PYFYqvWJ94jZj0Xl4Ysuo2Uj0A8IYlQGqT4PMQ0agxE7P/myjrj9JzJja3TyTqZyOiD7K2APiqLqtcPKEiSn1ERb+C53KuPDBsXgrYH7AXdTRZgP0rnCnRmZJn38raXrCWtpoaaumEO/rlnkLnbUITfkCDBTIoT0eCIvQfuYgtull+oUmXLbR1FWNMGY3EoS9PMayKStS9LFaWpCJTjDrA6ZYp+m6W+51RnIOgYDObavEDoAeAyBQPM7JvOaNNOCVjbzJs//dRHxvVxMLlnCJYW5hOC87ZvVIScKzrfUQq6/5bbDKnWKzPnjG+b+Ivf6pRKDIl6F2lyxo34Bmd9jJlvJG3EQh2XR+Hbd9C2kOXwQNWIe3X5NqGhlvYAJYwm8fYHRGiQrm71o3iOcEtetzb5B+scrV2/H7HP4b+PaiXxFVejVedKhPBX0Vo491W0WXso+IBy3dDfe4oiL95lSs44En/hKV+F/ah7Jv7k+JLQAx10BiIjIFeLf4VlN2AHFOJccDj3pZJajIuivTVJ8jd/SFtOFluC8cdl+oUDLkc8cSmyhUfHl2nf7s4DHJqsuavtarJVP1rNbhLMEKMTUp6CaTdV2S6MHFfEGLRr/VwMx+K0dtix4bqY7Wsvo+r/J/0WbEtYeguU66niLoHiuar/yDQluCFMUnXejgZQvkIRTR64+jNESEVhDVlFD4oC+WZo5j12ryFLjjwXbcKAIbcU187dIseAj/+edS2YXOcv3BNDvfUPOA1Wk4rQGYMgsjj20gb7MNTDZkAHzoRLiToj1OeF1TiUriYzHUp15kDkOhL2eo8it+aCWvgpAF2wWUbt2lNwBjq5DtLLOsKyZj5hapNd50EjCTPdHVDaSh6VIyhZ6gFLaqPNo2T5Yq96akqOho68qmwvkIDlMb/RQhcp47LOb5qclFTZ5CfCRTB727HugaJwGe6lrEO8TG/mbyhSDGfx8xJXrFDHNn0GrzWtu0eYaelD6wZmH0pLtCKT1Pd1UywEy54wiOdFCfbXmWOfw1KFYNsq1nQ7TMVeG8Cixhc1jfIQZ0Gqx4tRsPdkl6dJTC27sPOHvv/QCkG2UIg61PW1tX0++w5BjkXK0X+4jgxjeTIKzckxIpKxpuGSgbEjSASHmOVrFgb3ZEAwVty2Lw7pvM70my/wUXx1WNFxQ6F4LvJ7O7Whp5KtiBZmIDl1Mks9ERryQZXIRYPBl/27BTHUpuSVzQTNLD30v1OwhSajkA+v0R1pMWm9meZUZp7eFJoE4RJTlmgEApTP0xLHI8pkHK1Aiya7L4aQKKQu+hLEFc/eDEZy5ujNA8SoCHOWGTI+XVBBzl4fFMGpO7GYVaGXcf9mt3Qz5NEAfkH7frY5oz1nmGpBped72G9fgXjoNfg4rbwyy34K5WuEKcknWLrtxq1jZkmvpeqYYrj05MH8lWMAcOI9JWPBZHWgyD6Atu5a2Uh10vHIIWYpVd/IVdeVKYpYBPERrQQ9f+z/LfB+wSG0XF5QoDATumwresCGTEt706rufhVHGnhoG8P+nzUBap+Xsk6ZWPphDJ7q6wXohxeQsw8HjycYv8lCiL20gi0k09QOOeVh1IjIqKA/Uji9udI1JOdJ4ZCxs3H3VPiqkrck1PS384NQ4Iwyyc9AwqH3nV7kd/Dfp1Ex/G04CteHR4gIOxxLyeQ6t4RfY5Kr7LpQwatU2oDuFtmvPbSQhXpqAt/k7a7ffeYOk73nlCfUEHuKuzA2Ex/rdNavbxv14zoa8Gu6f2DsRzGVSoqNTGaAi5K6iBBg9vdSs4XzWLG+3Bbg8HG77jjnF0lkIejxRv6633QPRNMtOnXVFo49GMRrqLa4SMcLnR/jR7JF9y39dO8rEmhJm3KXcxLhWZTRAZ5xnb3kSSusjgKSxl7+J3xAGeYgpeof+uPHqvlnbC3GSLVv/dXhUcY1HsaSUUAy/xf5q0Z3OBgYZwE2q23MTwd0KP6r+ZEqOr1DvvwjJsg96gAH7lokE+pgVyzipY5eyuzHRncPLP48jjOO4xO0qBKZF4SKFUSXBXkYuen3j2KlhvESMjZb9DJ9Ir1D0SJ+APw1iSzPOhJF5VkKrTxG/ES+Fp/Iv2XdylK+QBRIUczKivxcVrqyzVRUFmt2hsBMxqsIOiDO6C6EcREWKOl6+RQREHBjT+MLJhpNyIAncgkP5PHha1UUP+i6uHb7Rk+QHtN65sk+ZleB1xxXje6DcWRk8ZzBseZmROP1BbO3KD7xGNTm8sMd+XtyUJprXOuQ5X5AWgmh0DXVACCzaive56PBqJ2eiQuBOQQWMzpaKr5PWn+5o2o6vMdQIssa+ZUOs9tj/npI7qYICAeX7yorv6qT3VG+swL+C5fscS8Np0QZeVjs54s5N3VqpcS2dj5opo30ta3EeCSr6BLF87utbqb1HuODzQV06A4hkwv2XPm5iQcMU9dotzPLaYOuAMGusUXHDgMm9B5uH3WsKmDOTxNpD39O8/OZR8B0WZ2rM9qdOu+x9m09eZjUGQwG1Jw6CRCC7BWszsVwztmgqgyZaREu5aXeYMMM0vlKahnAKAyxmEcIR1OfXXrC01S7mTIzWra7gnhUEaTAFvr9aN4fXKpfOIFpKqJiK5unQDnvpRnaUpFht1egbYJVdrCFDMIF+Ima9KBJnpcWdiWdjLKpVElW1r0PrONAe5zrnyYDs6WH94I2bq7+A+WRb6zAjBQTA/8+ALgDYSjicQLDAbZ5uA0FQojczjLOSW4DLvBv7uq4gbFmJM5ZdErjKzBUmB/KY30MvZFRPiw3NrGq908axTI03w270GO0nozcrMCOFs6IjjiOcB0F3OEE6x+q3uVzodW+h5MCm7PrHWGRffpr4q17fmonV1VDVPmKl3Q8euSN/gy5jnSRkQSKyjwoiabtUrLFYvU+88DQiF+rcLFPk9TDiZK2NBs/BQpar0NFmzIdY0GeiZwQwCd3xsGZKR8BwKg9ZnwuWT2CBm0h2ISPJlIiX3n2oJYtvnp9N/PphtWeCc4wcPfUZFm41bl9onesS6AkyOEEOeaMJ/6EiiyBw0s0X82kZlROss0WZYxYcq2Vu83Dp0c9prq4GXTCcOh+Mjx1p3QQUb2iLg/ExJcWPgfGW1w9FbWOCzCAN69VBRS+X6PK62SwAAyvlw5Nhk7Bx3vAKCOItUp4BnVvTXmrtmdGz5Wt3kAfyg5ekFtogAnl48QFdJIM6bB0DL1+4QyPYVyGvADDloevz6glsq7hugziLhooCfNppNFjXS08z0DBdI2+A13xw3XR9xPUdhYOx0OKC9Kyve2t2xffCqJB0PhPkr5l1SCLTrXanHLkrPGW/7IMYifXDhAzGUb/CGgtKwky163ja9OH7Tr4ifxUmlGaFlZ23PHiUjSdL56apvaghIVNBXTBjN1MRu5NET2uOWLdm30j8lqTWZ71orh92V11hbQTd0/LTt76rpi5YGFjRSNqSeYf8hXrORgOOsPR6VhCjKenv4SIUEbzPTYDBvWDJDZXwLoCvc8JDB6iJr397o2Bi/PYjA+EfikSEWUo6u75zi0qRu8psBOaMYNnMY+yHEWUEw6QismlhwZZJXBaxu5BTf2hot7sJIvZbKFZzVcwUFWihFozpwDgnqOoSpRt2pgbLWqMSeGIYiYRjuqgk7N3Sc6DKjjW9nUNQJYV71sj299jRhvJoDYwu8G8ANFySWP0xfu1zbNdyEWdOA0AYW4/oU4CiNDk9xHdj9SK2hVjByHcXsCG8EvaZ95s0Imb9Zrh6kXryntVuHxA7UmD//imp1IB60wKlHp2eqtsNPlTbyOeH6xJfRl5MYiZrbKz1q13ZrylbrMW3Y0+67KOOpFh4umgIqZXimiYzhtYPcNG1HG4Y992rzQ3BPeLRFMLUfJq47d0cDwXZQEUSf0WJCu9ZTdIcK+8Wse00emKIX/zxApE9yQX0voJLhQPs6dOxP4PYXBcx58CebLPiJQEWi3bhZPXK//vmobEHzNgCOjJA//KkvQ797s77Q5UeYOSY5TlA+p1NVvAnBPl/r2hEKX37rE9nCBJG3j+awvI4+ova3HsyhD8rtwzfrvIqtMYxWX8IfPAP3pw/QRIWq1+OKQft4PV+ROd/K0+kUgntTAZEcFdKnuN8pshSe3QhfQDGnSbFJp3Du/F4hbfBfykabP7ZY2XylBMyIrjeA+HiR3iWET0ep15BdwP0eg7qd11dBfjK49Je3tjdmivQH3pu8DcvwUrztWBUtxLB5Bmn5CJkyLCBXSO9Tl8gZXKA7E7EmK2NMi7HpfIQn1K63eQAh1G7x5QQK73th1Rqjqcwxqv9L5vwcaEeE+eLtjUlFcnG0BSIvoeSWOIqATE3lZXdOu4Ls9Rkqw5Fk4mWllVvniv1JzyOAyCWiHf3NetlSmi6CWrQPRWpe85VnDjlFNQwH00neegHJvJRyc/N6P10PVqSMs5m98AvvNpvrIOqFyyDaXPZIky1v5gBrbBRDKFsnv7cMeyGo7p1mzK1PBVaDSsqDQzO4iMPnEB0wO8K/KBGakkWNXyhn2Z+EDYiPPzkUraIzuTcoXVeSfmgepKjhqvGEMAj54WoEAp6dXmX4a3lIft/yncvlcqDHNPtrqe9/Flw88ejxBXasoNKrzeKucLMd29TkSpkB30fWryOXK//cPXVJ/7H7tQIioLe2+D/f/6zkzZTZMDE8R9i7bEWVx8Gzcb1lHawDcicXhg5C4DSaeF7OYSTYY8rQjyFWINdjrgK8TfuAH5mvwLSoZV/VsqZAAsN/cfc0guvRXp8ZwGlwPgMLx7HDoInzDdbsHzJWbo2STE/c0YyF+Bq9kqv34a7kzCbWyWPNy1zMqcYzIOg5W2oRr6rzN1eJj6ydadcqA6BYPVgMJlebI5pdZucJBNz/LKo0WH4syBm+A60ozbxVc/44J0PQ6rNYfpQvaN/oEuKg+p7PhcAi/JjBv5DaxA3+OdV5qjOF2dDTn69jc+zjnYpQS68qqQS4j6jrMIhWd2bAYmmq0vg15Gva7vS18N+0lGOHkKzLf0tMhg0eBjNW48FyspOgjz1ed5Pp4kmlv+J2utIvbEyLxpcRDIZmw32xxf2UMgShbiHB/s31/n/S5PIdfLjlGCvG/dqdhod8cmZTRtRtbKQMEyvroy86gFZEMXbSuKZrbuywzEcIcSjD8ElHU76s1XAoN5db8c+QWH1upmMP12j7nudp1zEiZNzifSgDVwxS/qcV00y0HKOZRVHYPFIlrbd+nahheZ5vT6xsSfs9NL/Q4cITTFcgtxJTpIY5lQebmXfrbK/J52AM3mUGliT09NZa/uE8FVWk/lFM3QaNe62PA9Hk9DHM5DL6TWusoaipxjirHruTzLwU1wP5CiX/IYk64DXqSbBm9e0+qTPzK0pN/my90+zBVYZtbSAYCvWdxIPpGHkPuus+wBvdyS27Wmvu5fk8S5Vgoxm3LmPsvytcnQmn63d4TPK1k6jTSOHgSvyQr8ONEFsg2W/Z5cIF9dV2hFLU6Ga5pwlEIf86EXXoAAfd02+DLKcdmzTB+jaP2ov3d5liVxMax8ebvAP9kVQzuAmj8ho0uSKms/vw+xx0x/pFYUrkmRis8O0hvmbhsVWn9RFiwmMGNjU6bI3lU/G/KSz82hb4vSVUzXPqyVUsUJONd9KRu6YhhPec/xO8pWwsNIU2CsnbdnD32yCLlaM6TXNIBC2nXzV9aYW0+8KpxzTSxPET2GvOQHm3JdYK9rMc88mO0kdRh018UfrPCvNGymegYEHjurpAA1Hv1pAZHqXyYrPIEAGrbEkohayEPeH0RJ8TzKN+d7tyVFMcxtQ2xzxdIwnhAV56Pgl7UNW2ATRvNCCdD/isxl3fjIDZeA3yVmSpppCu8n8fQ5QBl+hbvoIFRxjEk6ZoYxfdbGpdwnfa9P/iKkeo0QSvY6GWp0ijB3L5sswS+os9muL3+e9QGOXZBd8RkgiVfhVTWFCXeimFsxXJOFNIjTs1QOfitotjjoeTbREfZodMvX/zldYGq4TPyFftQ0cE41ByRc0vzDhsmN5rTEOXXFmysLvDVXbRisk6JS4ziTCz5m4vh71z+c4m6Y12kwcAHGG8cONyiQ6Q9A6yd380oGr+oM6nVFKqgBD7Kv7TV3q5/TEepCQ0m2bKDb2to7hZYxNC3GuHx2ZkhO1AmYfW5NgMGDRm/TH81O2POHv3Vd9p6JL/tDS+JimgqUZTxe1qyNNzkfE9OsQBt00YuLLVtWHbbIJK7aVcFy7w5j0EVKzJARmn0XMHwf+47Zyak6IVVt/p01WmAuBwT7wX4ksZ/wcy581SwPC9w1n3NQVDIzbB+maucCd4gvP4j0rXq38vj8ktRqN+xETsr0VObxE7dlvfeCaF0ZFxqbKPlQ7eeRDZlAgLpVdMEo+Rh7YSuhvHLPvqe/yS+X0IurLBo52JRpXbOt5W01OvyfbtieA7F2++H+P/g+v59lPd+PVGSKaVQ9iJbPTeM1quPNOA9ny40/A25agULcp90i9jtwZMuIPWxy1BgCMK3xQDXygRRNHZuaFdFzVIF+vWvO2YdRNN70qeIuuFsAKFgsGadygohjxCKmJUZ4CmNcvI/2sojPCIbBnIE8Rixhdz5zmJUqcs5XiPPCn1pPkb9sKuExSMrBiM8vc1U/LVnKD1UaUdVlSWJJL5qE0FVS9Ee/L6gh/sJdEkzBbGS9SdAP9BWxJCwKPM02Cn0OWdrNszB0rkbwijSlO4u58I+KeKV/S9OPV6sPr4Yu7Dc4yn6ArwSdZU8pUk3qeHc0Tr7Q0TpWiI4BmvA3MSPjY6nQi9fXD9VJ0hpKLEEckzzxvvo1dE6mkSg3vz/HZU+KpVwACQLNG8qQ9wxOxaxB+NWUY2KekoaXQLz4S4UEr4Wv7xls5SwG7Oftz6TsADWz2LltTWyLmo8/xg3eJ1c24sAyc/NdSztXo3eqEE5TATNqsSJNJTuWNOPBcw8ynajeO5ibBjfd3jli/3vQddJxO0+UvnXGoJ2GYPCkJ5BaUlgtEKa44sXVi59/iOCTPKKsNeb92QjzhBMaysmPSxjoQ41AFn/bk2GRIrOFH/8SevswMEnTCzAlj5aL0H+sQFtHpZskzYWZtC3dV1QEBFFG9RvERwZKvTqcQ+cUpJfobmV0ZD1lfnL0hrXrAJKkw6IpexAVW5znXPeeLnvOGq/sn+UExcmKM3ClEWx69vZWIDHgZyZ86IUEpbp5N22tVjgG6Mhgp130cVlUpiwx5NroithWMl3dw18YfFqC3D3CmvegID+VFpYPpVx22KtdJ0ukez5buU5yt2ca7DN4biBqsjutD/EF6w2I5aCVqay/tULlfBNuw//4vCffISyj7omqamjxBLQmi+/GTUIhUf5NTUlsWLVs28qDbW9Iqsp8tyqdfMi+/KYKD2Kc7VrzAbl71LqS3jWbtEz/tuFnPIpsueli1jyP1gzH/SVHH8dwnS58vRoc1UEKjW3tVko7VLuHWle28Q6XwagHoppFi4p+QgJU2gWcvSPd2CIGIG+tdYbtYsSG6rJEUIVggdM8b4e9S1D6vh03BRJqUnNlTTfp3IYKvW2huTseDoh2Q7Q/piHSHnpWHAZjW/QLyL6Acn1222jMIzpg0EvBVqA9fkVH45OHUuJbqUGyc6yXHqA8tQrzrC1BeOhpQUSM/ykhbAVlICSRu37lOVQQ7WNAINRh84JY8uoatAW8PMqrf0IDsTjvPbcGYKtwXpr4qN8prGr+kcN1V3Mg3nULWDuhZ3KR1ZwaHAPlRyrCPtQGb2bf/ED9GW+UeaZhM3Bq4dlMOU3OFv7r1xSbd1dTID+DCOq9OTxHZWYm6AtUBfEsGOmsGX6BL0rsQv9YCZsBMXysinNmvtb7i05KC6ODvhELcnwGmnSRzyRvBxt7EIRwffTQ78PGju5kOy+OMxuDCwYUQv0Cnat9hwjpLosFPfRKsiPl9sX2IcOhsKxoi4qGBMX41BfVBP4w3njjqc/htkGskSsXfbCkIPEQwmo2M4cwDbdTaFpTYVNEe2wL545462+Bz/t0AxBOsimvpH7jfjg8Am7EVqNzoN0Ke73bQIpswRtHZ3Rkb+68rFYkL0gWRfmTYKnmNN91sLjxKGxjxKvnpTTZRlpv/+JVqrBSo6QR68lwShHcoid1CW9nnj/xEqSrA9RWrMjcMl2k7eZNkEzkxXQz85Nk7Fw8By51wsv8xCDPwe+gXtTnq2JpCEOxT0xPXKGOitEeNuewSiVns+ZyVlQcRN3VlIocUjmPbAgNtum7JqOh8Q70TplfQBBTYxGU2jhU11ulVPZ9ALJ00N3wsOawQ6OrLhGauIhPpnVbO4pf6uHgpewb44+oN9lCPxPBu2xnTSflqzxV/HVu0DixUr+CMOYT4UwNMXr9LoEJSjZZxAbIKEjHm+JIOBbnWuwbW10pPT/E4nvnTj5eNqTaRDFSQ7T+hCmgb0vJd9/HKbFDAsc/FyVqFwcXaU+/txascg/Y0E5kN73D27/2d0z5ufQrgYhr0yBSfAVoGqyue966He7qhWbo88n+UzF5LaLio9mhxoT4XSwU1jcTEWy0dtRgp+D0doeCyV4TXqi3zBiVML7gUrSPbGCV7xo8IkLE1BmrenKfjlgP/+2m5LU/gw1RVV7tZNk5zzRvO2J92+Rl0Nhp9tagjnu3eZwUTCovH6oyTxZKj4wGV7aDPRz6MwLGi2q2j9yXUnOlFsDcQ8RD0rfQdzIYOISTqBukE9xgzKba4+4ax6BladoFXelo8lZpzOvi4MRgv/3t8q1en8p5JZBj60grcvdEQk1t6lxXTUyMTCxPhRxWtMt/ZZc5Y7VsrmOQnGid5zjnigWkJq5vV789UXH35RPK9bhnr4d1EgacO5W3f5Gq3aQvF1VIpT2jmBN62EaLTazqoafLmjkE8R+bwbhRbqxlmoA5h9e/KoDmH4b99cAMrjEy00QWvR9dRZgcMiveit9Q1fpRVA+kL15GN/71fZ4CDuHDxTciY7IJpUtDF65dLeiobuh5zaB2FuxSQWAkVzqqmDsRlSTxNsgk8fPLE78ADaKPxrkV7+vO6gYWRIe+JhM1OYuF/EQDvJDqXW2Qw86E8CwBWTN0YVGQUJxsppE578DED+gEXyHpUVOZide4UcN74/sWMiSyDBCmJVZUdi+MZMlhPg06JaJKqnXZ+MRuOShwxOyaWwQeLtKWlI+nrOqhMEQ3A/wqxozi1a2FienD3j1HdfI7Wj3aG+eF4B6Yk85nuL8m0vfsoOWsf9mEbMvhVUxekHE4WSGyKFLu/4cCaOE8ge5vik/8ssXr0ay3b2NANPIk0S7MDwGbD7UeS70d8wGBZQDjOFOKs67F4qz47/b+iI/NQkpfEGuekNeX5xMJMXzUQJLipaOmz0MAIdzvjBoQNNz8Q6X1m/C1koDKRBFFy86dgMfSHvyBLRfk1ltjLJY2ILiKUTyKTxYSSkG6NYd+j7iqX8MsoQikUI4Gjk322JaJmViVMfNY6XPf34nnXZQyF6xYRmrG3XELR1OUlZX1r8UZq7k2sUeXQxJ1YwxLsLSNh3n7yY03cFjfw10ldfqPthkUMKYWWUTmUR/kXwRspzlAA22FaE52AUVJlPLJ3blPZhGWXxVrKnBbIaK2HbXdPMTZYOHqX6yoIWP6B3tfqgpcASTmA7hT/m3p/9szxiSXEWnbUNe0+KMt0bvbU8/VMPf/4BnaZVRKnly2lobGinN67VOqAJOSf7fwqLLmIFmULxz1bxAvYydydZuLDDpn+qjXuOL8NI844/b76EvGSbYgBRUZ5Y8DQBwaXF31yORi2hFymR46Zg4vTxyTmNEIyZXFMazWU4oJizf+4ux15k/G/fSsjVlk+4QEr0HYq0r0x7phtg+L14G8sv6EzdJVOymCOXxBc+hNLCcqW3XzlR0HAT/6SaV6BDypGGMsH+22oNAenA4tHOkrUSzU4xm7GtBjNunzrR+6/yIal6/lYg2PcM5TBmu0aoKC83fSWPiAPqhP92ZIqyvixyN5OTgN6N5eh1bQoftsUwjid9rImxGgELKJr1lqd8w7FXnDSlgd3rXlYcoUYQXrKlHp1ZLoXEBL72vWlVFGRNrLNWk5SZyoX8+5V8fVdxQ+S//vyRq/MDcN2Mrwg8KfCubwYhRvHoD8meexIEcPVpqBJfeik7ZRIneLA9KdN4bn3Im/I7OXD6t7CLOy0aPFEutnonmYoZzyLHjCi1fEo7fAkssDQH8ebEKgnyv5j3g98S9DRkq7vQfI6O6SM+HO272H07hqtCIYRDwAqm+Kgecp53EJV5P8JcVYW8ohFLP8FCrwPQEeOYj7Y4JiFPLO/oph0vMBpAn03Bgoc0/1b8KwuwR7hVtlpznywM1OVZ7i+M2URP4iwgLoK3xctFOwX2BEOuU+bSpOOlwzC+Pr+UdejQotGvEdqnMjLVsoTtzlgkQbS+as94VUQHmkqXzgKAxmqLwPSlSMR6VZt1nuSe9oCnBvwd/swFAKYwNEVS4e74qWA9DrmD/LJWNusmTccGPFIvlIRO9D3WoB/yDDVXXw3roLuy/s7Z6Ad0bXTCzDlMSRXzPeSB9BNRFGsUjWXfyhWSAslHW9L90cz1ZubENcLoFOD+2gYcVR7uvJpzGCUIlY4uUImAPlUS+hCHTye3Wh1LqbGue+1cQW8+nHhNDMGXDSjbMl2Z/ls0yA81jqBGZHhSTBxAaM6KxovbIZd2oxDdPJtDrotRuebcS1UYG175pUo/CLBcLLh6oWIb4ci54I/NnEVn+MsFbH5kqq8BJmrbBJIEewvSfCU0+RLZUqavlf3U5culMj1FOx4+XFnpKZb5nEqGFvtyp0qI4fwCesl5f0R6fYfTMbMUof43V4x8HHfNSjJ3wYZTHq0Y0Qpv/uaH8ZLk+1KoZjMVAebwXQe3BU6LLUWVPVeCN5wjS8Ldn7LOL885fK+PeuM59ae90BfPbAAzfIoJS6xOyJibmQtILQ70cYED5AM3xRl3VMP6HVoSwQhGUDBOeZ6/0Jh28kweziT1hpIOOGGfM9Qs2zUg1h9NDxGZXnEXg4C4lCsDa3Koipw78N3ARkCC/Vl3Bq8rN4YJ8YmNbLGU47oJzfxoHVP3mZntXLuSEoerZWAeZKiG8aeyMvrjON/Y+i5kXtRXzJdHwRSpX5CE6FQk5IlURWq+WZCZmJbIdOp/w+/eprAZ/Gb/XQE5xgqGwFxmcf++j1DDPKSm/jk8Al7oT72C0f+fNhKM+sYv1za3FvRi1KePSwRL8fLYoCsuV/TlPJ0oM/6RNZpuQln4+0LMk9CgU/qSTrDDS4YJAOnGnpM/ix7KIpy1psgEld09yT9mEZxihhD0E6msr+ptYHzkKpc2jIFE08BnhyuuQL4vxZJmDaDIY/6j13eMu4lKr3/M6Pok52BPFls4OWICyK/dJ++pjU7KL/Y2c5oSu/R6zps8PoSMSoIX3tDYDHi2eZE43CHXLnrrybGhwvY1I1SKPToPhEeTkdlMJiGkij9VkhJELtiZk87Xm12K0llM1T4lb6K2uPmWh1VGcpS+gXtCQ9bSI4iiELqwlorqKev/n/bRNUWinVuOPt3F/rFwMtHEnbr0C6HgsFvhCLSiKDd6c4vEWXcOnlmj6nUCElrYSLFtDRubqDCYTzhFod/+JqbwbdHTJlPqkx9t9hLQ1yrKdWwaC4BCRsNTY1cmOuuPew4j1/bX0Z7dRT3pAspcLUGR8gzQjEmu1QjylJ/vbWUHkFQM/D0jbMkIk4jR+W3WpWdYQKqu1TtF+Vt9EUKUUqQVVt7PM4X0fhG7PSEhGo4pLZZE24lIPWlmU7hGp1/E2uA1Y37rnK+1TecS4jRtB6WMVmCitgpx7h74O0k5vg+0HwA9aacJcT7sLNZcrbYbPU7+sPPfFpkuQmSaJwQhyrC4WxwKNgth1P3uHPRy2O8XcRlpxgRVgqtVYMxgCU6JtmNqBZ3aD0J+SapyZlJtQUWZmo7UkfGopkgNjgEVUeTe5uqSi7wZZo7w0vkY2VA/IW/mcTn0NOC18m7TzJjB3Iupwp6lapme20RKQWZ2nWJvmT/8IFljN9Ty54v60dVU+BwGzbPHCECaEC54ADJMY4A+UZkj/qSnNVIlKrZKwg65woG882aV/YFYLItpa+hnB4oM20qelaPNqlG73qjkAH/jxaQaHjWUq5KDOo0RuRl/uP4XKMMzdlu10hX/6Wlaxl8ABMGIjXT50gSyosqaqEiqUVc2dCDf+WRqA4CpUrJrLVuMspDaB/eGRlwgPdtDSEhqtFC1w7zuOFqIqegTLoSipvJfPNxrj4iYKzUJDJhpSk1aOjmQIniP7fS1++Nj6gOVLxBaTFfq+dbONdn0yRPqMwZN2dLHvTwxVqKwXGunw7+9YWGGngplKsdXm5oh3CQ4RVpJqDA9LVamPquThYx5vLpTZYgMrIOe8YSWgD1XCfaoDZg/aTjSx1OnHyakJC4Tn3CCXYEfoCamCAbUUpcrerL4R4JuTa01ATdXpsisHwpbfajmToZIx0rfdJNDRNWCzLP+3f1QdqjVZMlfOGjY+LVGoVAM1v2W2KRkwxibebPS7PjeUAneaGa1stQAegJlacRaLvFWY9VRCIvq+cJcdtovzDcslMwtplvt+HtnyRGvjizRAtJBr5SnYQVhQejOYWENeEws4p+MbK9/G23CCvnyL2XShNAluK6vG58I83TzOr2ik1gUJoUUOJXmMj2UjCmBvjlzXnxMkywG2wkMVSnS9SuaIBEv8RsQpr+JPVMV2W1TXBfNA5RHgMDVTn/MXg/8GwdKPPW//CjsnW5D2/aO41vS14F3BtFFygLeISfjYHcBl8pND5j2APLUNPdv0Trd41RXMitSzNS1ZVlCaAtu/bSXGZpDdQS6imIyTKUtDW92smdf/VyrHtSQDYFaQHRO+9njkaAa9J0TP8qRBedreswgDX3ZCeWUdbROX3urkhl+zm2xSKWkpgRJPAMINAxJs3gzagkgJnbMeMsejdppua5ihdZeG5r45fSfwiMsLeVEb9zeIr6Jxu9Qh3KDxAyL1iFQJwJjvuBv82zyqEtFH9Zyc0QgkHPZV/RxEiB0yz+u8YI2vBArBExOX0BCPfOtA6S7d57wbb3kehMNLNy6Yno53c5sA3yIzIV8NoM0bO50+CIggp3anxE+D5NT4+ztJdBdPzW+GAxCWSaRQnasLquuW19Z8mMY0bZk6L5a/QzHZ+vPEr4XeEqBdPRnPetvNohM7wRkgc44Qu9eO6CLQaJ9yTuwjrDKW5qQ/Gahq4qcJFhwBgcTYBTW4Ju6eDqVMcKz0c3oKe9/AoK81eGhzRLoH5U0PvMjFhMJp/qbm+rS+3EjtZX4mIYbKHuWsnxRiv2RHFHW7msTKP7w0ov93oCPd5AgPHXhcGzJ0jiubJCrRT61WUQazdOB15vVqACJTjh4SROiPCUcYIuTUIg3EhHGRU5nZ8/gOmVc0iGgIEBdgGY3z560f3YtmVeJC9SSdrm0IiO/hI4tpCOqRo1TmK9iqjkkDueRBRHDZt33RoyoGsdNZXaY5bKycRwosS0mv7b7lbvj/sdROwIfOoBkT0sJTPAbRb+80cVSHLM4czuCpNwCEUY1u341G8RrSySXBzjzOHT340yQyIijvlAyCKbmifhQZstnK97lVEPPbMXB1aEb2NK4kCGfnazAK/aX7vS0F4CL6qDnhEq3SG/LVGsIzw4oEkz3/8xhblWCaoFFcpdDFS0vvTzkdTyIf07Cz2yXKxP5Rsy979mQnSSpGYF4yV07PY5lBGZOeRwBV1zpMkmV8JYxZnbadYdcxn+ITbegJhJcrbCGTk6LendPU16d2ZI86DK4xrVtmjSMe9pZBMBL10MqmtXkspIkOeJ0YUcf+HazH/RlVacjEHtwv1C8a673ECX7IMtAnNnnqXLyHYjCJ4yD8/qfH2zAtZGblDGkh1jwZ+A766TPBpJGf7e0VeLERE6lxeOBxJym4DtWkbo4ILvtph3smRiwGxNpAzYdLvJ8pLK5EgmTEsnEQsFD5jG3gmkj6UIOVnmvoCrzLiPj695nlwcNp/YsVQUA++spKd0+q+EknjDR4UCUlgRJ4ImsODyj4ckX2LDC/dS3Z4De7Ic34hgCg4czBhnL2Ao84vupQIHlVTkTllJ4oJi9anhWXjIpgxINV4m0+clBG1j3Eqdubtk0ql3IkwfgJZzn7zRQa4pcSC9jY4SCYx5qzkplw57xP1DZZapcUb46xPL+U0zbF83SHlV7xmVRlCc4hMVuij46DZDCBl1cJCLzMqteaUDpxdR3xjYZoJAPMHKIRkMtBbPbuiV61/Vlg8uDv/7LRx+Yv1a541bxq0mJAZhFpVOkxpZXBQz5wEV6T7J8ONvcUC8mWeGdCyjiUpYy3ZC3Duv7XuLg26kUtz0txM3TV+kxwFa0OpTIdBjiilwIMnmcwEjRV0EuiitOK/ZGd9qihBoOa7kwyNMwRDBOOSGicPXjIhtSvtLzFb1GzKMHiJkJFHSnOlQNxdTFSF6RkWV89FhXlQZ8aMSYtp/h4AW4olC7FuGm/CXAj4qiW3v3mMoB0n6hyYLZnCmI4gE6EKDeMJMVz1a0qNYyiYx0RYQmxjmd25u+oBWt5u6bX29W1eduNPFQOTVSFjqerdKoWE3g1n8IMSLLj9IGGOik8X6ydRDXaQ0ZnjDePEQ6zwhw5pp9G2lUeTHU3lw2RDKNXGypWySWtMBaEnOIDbLVBdaNJlCbSwOsnkHhzoHsTxUjHdVIIpDaQ/HCc7UH8DhT4XHaNezXJf9rm2IsGW8HcexcRBQOelwMpM+4Jry0r1GoMwzquhuI++hXZRuUGBVKDO4E4ALZ+FjwhnKB9LWhrYswWj7G0hMgzhGmA+0FX3MrdpZHT7yzpIt613W48irNaySXPVdeeXKdQCcN/s5QaHFDf/38HGirALZCSxQTJAGL5+kRtcbcavgAKwFSvQ0YmCNkPVwjySWfjjwclXR4MRQ1GyxPetp3JoFUMQ+sOQ++/OSXLHy4Db84XKw+kEHqQ49TuioEBv361B7ggeUsxV0jEMljeSFC4yg3u4i+LXAguaAM5omXxAaz0yOz7SgmnWfCjEDaOVF15yD4CbvGQBtdgq14Gt0XJqoIimAhPBmL1/jv4FNOW9yV4iSf84zUb4xFGA95wzQN+y+f2JXAEUuXMgqwTfVN2/anYYRfi/z8HrNoopIxolLgv1+WumPi7g5Q1n50K0Xx1GRfmC+mBPwwFnVzGiVteiGVkxsdOu/b6J/kcZGdtBg0LUlYodT6ouE0DWHF9pwIKQjxZ/he/rGcyf+zX4fUREyZFER7WeRvt4HcrWu8uYPI9cDlKZH3SXEAl4Ic0bMznhIEZvD26GQxOcwg5hLhICEysptRVH1+OnqgQOryn/FZqvTu0hY55I4nokb8d9IUwVF51qm6eygE7iDJoYf9d7wYnD9cATk5LYz9sbZqmN9G6IlnodCFqWuvnmI1fsybV9vDXlnZM8D6q9owY4PgW0fUoSVglt70+Jkf3OcQNgbPqxeMQK9blLXblcSQGMtumYXzlAPWeo9XS496L96SqDFAYCth9qhpwtKqjG6fMqkkAmd/asTjR/+AQyz11cV4a//3ll6G8lihN0dGzrvivOKmTn32PSuodv2G8/9HtaWzzc9gntNNoS0hYy7EFtojVgSA3MYEiXY7jPn2R2WBM0tYRvL052O9aEnqcRsvxAYI/nXhQx1T8CFVisz8RxJZR8HKM24IE43JNED/zQwGMEnMPoYhp8KivNwpNXuSn0BSdacg0Zvzh5kE+xcNrxBo2xyePb7vL+DHLNJxGI+BC7kEZ4vX8I/LcV3vMAYtLwEkrp6e9h3PjZ7SjNoWwUEucDYMnAMjkhDYfR/SfqUfanH70//P2qOzOpSjldZ1uJl00nLH3z3K0TJLHp0XV/whYe1LV0hSuS4tfO3RMIokrjksjqXwmZWPutxTKnIVAv4Mtc5nEuIsESUJoLCX+ZsiEtRVmTzXfG+jLp6NmC11F7mJDPdRGQlRsNUHw7KFuzXnl0fuXBkj6UjEairtoQt3Qx8oI7dnASEHWpt+ZXgzSeU97azlG5518DJJ0fiFfOHsr2dE8Q4qBExbMcpcOMZMp8oFIr28j2AjZYkCBGfEO/meU1VHbcaEKOf0r9V99fjeBAj9HGyvfI8JhZaiGfpMb2mFMb7grsfmocuE1jgWuEINErMgObFqTZnnC4/5by+D/qUW/V0UeErz/wYtScMCUUHg2vh78EoTN9oWwLSoWlAtANoJCdfjpSU+Z6XqAkruu9DiQl3QK89y/ZXKo8WU3KJ5TPHTvVZ6TWT/Y3vyzorS/J0GBh2W1IrJ6SZQ5RV1Z6A5w0yLGGib+y8VePIsnbp6QdGi7+lozaV9bviV5IV+ajtgJ+u2j3sp379V0gSp0BbHhQzF2Mg4VmY7Y5G83my2sXW7Ope5C5du87nVCfD0+UTvCs1caaI3PGOpErllS0JEyjzcicE8EYkW1YGg9SUswdO5c/5A83x/EcgQkfci/BAxk7ZiWQXizNAZWr9pX2SyafOBQ3rgIS+Mqduhdwsc9WNEA0PfKnZMd4bXRkvLIo9pHtMnXPsExM22MvuKuXBVZnSqj9PXl18riJwAyCdSN/9pZuLx1kaBGu8NXcpu0U/hQtmW0438/b/iWLJcWJZXkkP8NUquTLLf2souNrMgmuntlv/nyvW+4tw1EW6Jm9QYEOxCMmmmCNCbhEvWVCK6jqaVK0er4cMmA6OlZpUAug7M5ezLf50HnZ1I3KDa8CL37hd3eO5Ci7wlvVkoV5Cdiapp/5+ecjxVJdvY0E+so7bi99IVbO9usFe3mUqiO8k19rEYU/OCrYjOKG6xmQbqg82VwIZcIQyazFvMw3L2tJv5HCNga43xscwpOsxW+LF/TU1zD9EaekAXgOTBGc15CrlbkusOgQuusBTIEAX6SV9rRuLmYKaRwoxhICnVyla/Yy0PNdotUhnTmbW3QTacpSTp+74FENIufPhfLmnu2JWqYs0QB2VUcr8oeUog4bHH1iuHXOusnrXzrna1TB0lq/RZ6JzmZ85QxIWzidsz4Gbssai95m4OecVRG0mx/vnybmCnOwsq/4pXk0nHGSC+31th+02ytV+MFamI7goh9vT7WJ51IfS9H1eAU9fgah2kkkFXqgxflsFxn9czeauie9cTthu7Aw2ParFDlvb4klNiCkDGTwLEMxpa48aU4lbRXdI0vW7n5xEHaAJ7iONTTeEFPXE/5zP85artAQ3ZBppgBRX6uIx7eQqeKLFUAUOLBrqDZ6JxApzUdxa0wlRcFSH9UyvbVI/PIAeU149D1fmTtoCsyj74eD4DzPObWq+3REM2L2C0RJD7AMX4VX3rDRMD52nC8M9Wtq+vOY+drsJBhDxHwwg79rdJnLNB294JqPFUKCp/vrH/TLHhKGjHDnz55ppEEPLsA6d7PeyjNrtPqrQjQel2/SSiw24bhOTEP25ID0UFy4+PXBpzM7Gmx0TcHyevJ43qjydwJQxWOz4xp5umMAiPFhUp8JXH7DZ9Z5inkiUNNtnTIP+QpusvBsPs96A5wn4sLRORddYu4wx5oSBc1T0l809Jevda0AxihWLX3OgM6gi88Ojkbt7p5U95a5oUJkF1R3uqdWkrhC1b1NcLi/9KiR4p7H5WLpmkJV3WHGW1D6jF2sPAAKf0AYby9inoBkSifpb7I/XClmOWetmUFGQgRjmRN43IJMqFtBDEAJVwtfCCnjCKlpcForvpmEMO0RFqq3Y/THVDEm4yvP8DfDF5Th7nC4ppc6W01CchwTmYbta+JJ2FA1wV+HzONs/A0a+LnyJvS/AwsYs796UhCAEVT7wW4RQV51K1xTexI89aseDyGhb1Vjfg6d8apZ8QKBRi120cieMdaCCOAQavXiysKmwCZ5gB2nGvqQyTS1IbK4GITs9IPUTk/cpk6WdL5ABw2LQuprMrJy9T/zmGxdwLqcOT+2WwO4FYJZhfvWLf3lhvdWzgOPuPHRevXTPH9BF2PgfFZHyQyx3UFi4IsMpM5RTQL3qLCBWK7QneR9se24KGcIAFt4r2kKp+k5GiPO2cNwdvlm0RFTcW8XZT3dWPu9f0RxCsun2N+y4J6740YW9Yv+G5II1vwOUiJYCWsncjQ2cy89Zd6ZCqzu8Gr1uKf177hCGo+8M3Apd8R9jxGbSHvxvC3CWqTpBSuHVIO1RS0WvF+wmxed0XzvKK9D0mRriRrNV+KfHCHNyPwVfxAWw/jatlv0K2BV4kXFRbJrhld9BPRMNStViEwagEq4kVaOvyUA+sdQBqq8PaxQx47vGoNiLo7XY6OSMBPaLEnNQNChm72jdqz0q2aLXYNBcghnIy0g1WR8v/5hyFGlgIgq/szInK2mrU89qe8dciVMGugtoBgucAUFr/avAj2/gwLINk1BDEPhW/HsbWyUBfLE2BUH1cXJaBMYHuIDoEym5DoNuAkuYOTfWgass/0VemLj18RodE14NkB6DH6hucDQnvWRhdCZ8JDRXh5/EKd2WWc+ha82x9e0At6pTBpFacymPPzbKknXYXbFeSRIoxen05ALNsoZ5jP2M2t/VgrvPCdmQv2AZnCLxbWZIk+edfW1LviSNU19UicxraYb5JsQpdleiOrO4LvXw+PkeHZV0zGBLckKIKqW28m3RCwE4W4CmmnBLBE3hG0PLvrM+o7RkjtZl1lhMsmgb3ZVCTuld6WKeGCvsgHOz1BTMsgetAQOr29h52hKytAzbYMBc/2bufSwiqVTP/Isxmg/cbZp0hHT/l5Q6XRQLcOfmy9B26LYuNF5Bu9jvfgtxHlRta91qn3Kw6gc3CJ+IVJgzr1gJfenAxjgIlIkK3nFJL3S9lTsZ7hweO8h8rxDIV85GjcYtn5ySfSvo8mB/xmGYdtsmQAWX248lJYvqWjNOsbcLLUQbb9Ef+5033L3dVvteR1loe000M6lH4Coo6wWrf/wexs9vvRdhRrVyOzkDUJaODV9OzFjG+VY2ap7WsehRcXqZjYP3e6Qs0o2HWLxDkyKNCmWvBqBWgZJ+YmLqP1wRFI+w7H+lNjlou9Z79/Eg2WhD1VxQsntBIQT5GjG5eYKX7YFmSQ+w99nM95IYWP+R0kYEvtQUCyKgaoTt/7HjYOviSUorxTyGeuMC7a5je62k/xDvX5qK6fnt9SOvj+8c7L8ckFK8GJ3xUwjFWH8cm5e0uN7e4855NrowokO69j/CmwuBN/F8gbucZ3BY+LJ6iJ898KQDNVsVvayx+YWhpqH/uxJd7VTPUoP0Hn6Nr8hgYgJu3b+ktZn5hSTbwR1hzgBt7jlqh0S01EaXvxbHGZKy8AiSoiXScQM5beZpglBgsfmgXcUQ/vElEysuFHn0ePHlvCYvJG1VU1VG4UKkEPManwp3YvFa3P3t1xdeohKKko7npx97ubia8OWpOJ7/d7Jk7cM1V8SiezU/K/rXoOcxXi3cks0XXCDnrRTaW5sMD6mhRKGfP8fF7RBXhow7RPKqoQGjRHAokU7tgH+OlmAf9dEM7X4YSGIdJg2hZsakjS9ZP8/HPEop2UlpFVHzUKQ/U5RJiOf0WioyKdAbZgvbbSzH0lbZ/GtCOdaz3sOuIxt01+bgjH48m4AInKjbwEnN/Sa3yfVImN8sa5aLb0WiDgMdssblq5cLFGS43dzCvUJxf5AIg+6TCTiGXoQsq05pUMKXpuC3xIvrKxpOQn4+vBhXEkP8Pf6E9wb9Df0TRZtJhffnpi53tyFO6d2ACk2N2sl4pYC294DdiYkWWn0Eg0MyVaKPz+ZIZuszcr1ARwB6o7DTqwjgpNj0LOzaMV1eStr5k4fjdSIwksB0k2tVjeoSlA7dSoxZdHuk/30Guc/86y2mNKACZfdVNpABVpRUDjQJUU984WuXgOiJcQnxV6B98gIQ6APSN4BC5CKtSUUJHcq+JkIbK0rxE4xRY87W+maJt6F4uAPyVYkYkYfAbJuAvMgQPTUY4CIcM3hmWXhI+Ueg67ZhhwsMdzhgi0AdOU+UwWYMpK5yGXxY1p66mgRcCr+yYkFizaGcPMedgs1gtjiVSMYHZkBNGrEnpmyjT4JGus5oIO1VvPCmHIiYR0szJeVmRE4Azav1ZTuVBzX1RGyUE2SaJWbYPO0wlZhLq67z3W9QwLWUbHSrqA/FuV7MIjB0sZGymbbP5qThCiynaCMafeSdSlo+FpAAb7J0FZtpIpTNmStFbheEACOroRrxiTIyKNggVtMl1YBYUq98vriZcAa1840lY6Lb241wDiYkJNdihs8W9TcjvzTNSCdfaaYWsSeJdDy/Ov0f34GtX2tzTLrkNXJtHn9uNvlGBv0mCp4+sfgQtnIXC1z7/e115X6DGZqAb0NCg1nu62IWrBkVXsF4NeeAluUKTuRfKvDA7V/tAcByfoNGaY843Mny/y9Rqpw+8srOrgTE5kC+WL46IhXJsn9QZdLrJOxQXHzO+CJfyEeDdamvtluwLoj/4ywk8D09p+uB/yCFY3FW0VnxI6IMwYWbUjq9PSRdpN4T2ykwNxdgtzf3cfNj3lwKQvBl0aA1XKbBKPElbgo14eQOw+FIlOIxM2lUJt4yBZh6KnOlAg/+FI2qOrXGkQlGaMcoYmRRRNVYwhhi4I/DyN/hprE0i5oe8MgkGThU72ncLZOqoPopToS4pExjFggYNKNDpXJvLrxUSnymz1VfNodK2faOxIldJMM9B/Oa2421iMKgM7ypMKOa3CLhZuA2B5v0XOQh7U31QQanmTzBVQEpre8Ju/MRtXajymv4UsroLKqfKjfE0xd5jNUqw0n3UHkdIp5nqSzUe+AHu6OYJ8BROyMYt/ND/vj7Q6W4m58ASTEPAKi1iUSHwQLBtZLn1Bkn5ezRrIrCGXfq8r3gbktR5FSf8r5RvEuPk6ATmSQDHG8CEa/3N2NcIHXE+V+qegpREx7Vjvpmd7Iau8/giP80JDkYrfMEyitQ3gudBFAu4+l/yX/iyyd33BR3xdRPoXNclAJoV5TP+iZneH1JLSSZOG8plojG+upfaVnpJPpBQKB2oGUypRm84NTwzUuYvcfLw5zHuI7ulZ1kaa9xwaTtpNX7UXCXoDrIYDFePDsLlYI0qe8TiK9v+nFqkBx60GOfL35FsUP8w13me7YpDVEEEE9tC53aQwvchQHAPyiVme5VJ73syJ1alAXR1jFRRnJU6pDAvt5syaJa0p7hKKoEAbsQiAA0wUvD2ZuOH/GlEtNKTawBjUjquR/aVSx0y0yxbOY2agCeO7p8Pr+pSkyk8XmA4H1XxJTeWT8yoxXtvss6CKWcbYTFXlMc3FRleOShw/W2fgDM4POxjOyECXSbJYjpRjjnnKil6EY5vnW0nY2rhKG0I9OcuvZf/VA6BIfJVdy85CArOYvmPYg2Uu6SpGYHDx204Jup8Qoi1+imvgwftgR+o0PchatAARtmE8Kqh5z5xsRY+Z4+LNxq/dTjVt091hX67scG6QqzJh7WVfwWq074E26JJ09kd04lWyunxbrjM0qFnL0TYID9ISgEMcuq9viVxuBM8GssDGY5RIK/DSir2sqIfLp7xvbT7mwNQwL0Jk78Zn1TvpAglXTOREpb9KRnOiVWRsloO0/aWeIPyRxgoi8d+3B/MF6QebTndarTysjdcPpvbDl1CXALKLCjz6iImEvesY33wMLZroPwfG7OsX2bFkFCMT73aIaKqtsidxBjwhaSsoOsLX3SWk3xhxqnmACzTQCFrqvxPO46WJOgi6h61hNCniC+6jPJRVQGjaRkrALMsX8ruQcjc+og2v0Wp+8qfGM9fZ953xFVnNJCppRV4BJ/KnZCZuTEDO03+dZED6JllQbQASqtnHmdBXe+zTzODzfAgl/e3CargKVJvPxVZe33GIZxLLQHOgSmxIGl0F7hfdAYeg4YhMs1TK2AipxdjAsL1uHdYfwPRqEisfWg2FKiMT3bV0b7sUJb9/1CYMo0eP4PqqNpeB0PxzLMJxkkL6bndjAPVhdCU9ODfGGvqbl2piMbDhg3nOy+9wuGpMlkCHKoLn+a59Lg4XXQN9Lv6TzA96MbcLIaBfALSGc0Lyk+8TK3gBPf5FiGTC+dBvnh20SKf3EkA/wD4CyVy0sRk9XWQpL/WZJZRwDBrOfqJoUN2sB7sJ/JmJSE5/6x42sZC6nQ3YkvTloyM6UroJT9mYWmYmiKBPlEGk6TiNSds4mSaBSSMR06NOjBEbuth3LDfINb4Yvz6li/L1cY9aCqd9K1vvMufFxFkFxVLuwGjng9AwQP/K909eBUmvA1uC3c4aGQQGjhgcd48NtLy1DtUyNym/cb/7eQRQ6qtwEjvO5CEltdN7BqNwUAass66838f8nlTGkCay4Z1tSbBe5Xt4E8RQX37NgGwBCn3UfGctKmquCoBz/6lW3R4cbveKhOCnVxlL+ognoNXpU=" title="Mekko Graphics Chart"/>
          <p:cNvSpPr>
            <a:spLocks noChangeAspect="1"/>
          </p:cNvSpPr>
          <p:nvPr>
            <p:custDataLst>
              <p:tags r:id="rId3"/>
            </p:custDataLst>
          </p:nvPr>
        </p:nvSpPr>
        <p:spPr bwMode="gray">
          <a:xfrm>
            <a:off x="289624" y="1344245"/>
            <a:ext cx="11535508" cy="4908062"/>
          </a:xfrm>
          <a:prstGeom prst="rect">
            <a:avLst/>
          </a:prstGeom>
          <a:blipFill>
            <a:blip r:embed="rId12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grpSp>
        <p:nvGrpSpPr>
          <p:cNvPr id="34" name="btfpColumnIndicatorGroup2">
            <a:extLst>
              <a:ext uri="{FF2B5EF4-FFF2-40B4-BE49-F238E27FC236}">
                <a16:creationId xmlns:a16="http://schemas.microsoft.com/office/drawing/2014/main" id="{4569F5C3-1E88-B1DF-575C-25D8FD6C4B62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6" name="btfpColumnGapBlocker488582">
              <a:extLst>
                <a:ext uri="{FF2B5EF4-FFF2-40B4-BE49-F238E27FC236}">
                  <a16:creationId xmlns:a16="http://schemas.microsoft.com/office/drawing/2014/main" id="{48ACFB7C-8B12-7BE1-EA8F-12097A4ED55F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6" name="btfpColumnGapBlocker510122">
              <a:extLst>
                <a:ext uri="{FF2B5EF4-FFF2-40B4-BE49-F238E27FC236}">
                  <a16:creationId xmlns:a16="http://schemas.microsoft.com/office/drawing/2014/main" id="{EFFDE2C5-FD61-2188-F8F5-5AB39410B75A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4" name="btfpColumnIndicator185537">
              <a:extLst>
                <a:ext uri="{FF2B5EF4-FFF2-40B4-BE49-F238E27FC236}">
                  <a16:creationId xmlns:a16="http://schemas.microsoft.com/office/drawing/2014/main" id="{6A6939B6-1FB4-8E8A-79DB-89654ACD3732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btfpColumnIndicator251205">
              <a:extLst>
                <a:ext uri="{FF2B5EF4-FFF2-40B4-BE49-F238E27FC236}">
                  <a16:creationId xmlns:a16="http://schemas.microsoft.com/office/drawing/2014/main" id="{46143617-7607-F85B-054E-610212E65A38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btfpColumnIndicatorGroup1">
            <a:extLst>
              <a:ext uri="{FF2B5EF4-FFF2-40B4-BE49-F238E27FC236}">
                <a16:creationId xmlns:a16="http://schemas.microsoft.com/office/drawing/2014/main" id="{C1A937E2-EDCE-3FC7-2C3C-C0CC45169DB4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7" name="btfpColumnGapBlocker845567">
              <a:extLst>
                <a:ext uri="{FF2B5EF4-FFF2-40B4-BE49-F238E27FC236}">
                  <a16:creationId xmlns:a16="http://schemas.microsoft.com/office/drawing/2014/main" id="{D2AC282A-45B1-C26F-38D7-0FECD19A7A73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5" name="btfpColumnGapBlocker877425">
              <a:extLst>
                <a:ext uri="{FF2B5EF4-FFF2-40B4-BE49-F238E27FC236}">
                  <a16:creationId xmlns:a16="http://schemas.microsoft.com/office/drawing/2014/main" id="{25F80AE0-3964-1001-B260-75393518CDD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2" name="btfpColumnIndicator913533">
              <a:extLst>
                <a:ext uri="{FF2B5EF4-FFF2-40B4-BE49-F238E27FC236}">
                  <a16:creationId xmlns:a16="http://schemas.microsoft.com/office/drawing/2014/main" id="{684A3E48-86ED-986E-C989-32ED916E8DEF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43713">
              <a:extLst>
                <a:ext uri="{FF2B5EF4-FFF2-40B4-BE49-F238E27FC236}">
                  <a16:creationId xmlns:a16="http://schemas.microsoft.com/office/drawing/2014/main" id="{9C084292-894F-FD7D-69AD-9AB9C017283B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4" y="1"/>
            <a:ext cx="11709254" cy="876687"/>
          </a:xfrm>
        </p:spPr>
        <p:txBody>
          <a:bodyPr vert="horz"/>
          <a:lstStyle/>
          <a:p>
            <a:r>
              <a:rPr lang="en-US" b="1"/>
              <a:t>Traffic sources evolution: </a:t>
            </a:r>
            <a:r>
              <a:rPr lang="en-US"/>
              <a:t>All the brands seeing a decline in paid-media-generated traffic hinting at reduced paid media investments industry-wide</a:t>
            </a:r>
          </a:p>
        </p:txBody>
      </p: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2371409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2479158101372451 columns_1_132394494214423332 6_0_132394511887891607 7_1_132394506095396613 8_1_132394511170980710 41_1_132394517934181741 54_0_132394519451637821 55_0_132394519514205518 56_0_132394519564202013 69_0_132479157397692741 70_0_132479157605916746 20_1_132479158140928925 27_1_132479163096348439 31_1_132479163691069154 36_1_132479247897743899 </a:t>
            </a:r>
          </a:p>
        </p:txBody>
      </p:sp>
      <p:sp>
        <p:nvSpPr>
          <p:cNvPr id="7" name="btfpNotesBox347911"/>
          <p:cNvSpPr txBox="1"/>
          <p:nvPr>
            <p:custDataLst>
              <p:tags r:id="rId4"/>
            </p:custDataLst>
          </p:nvPr>
        </p:nvSpPr>
        <p:spPr bwMode="gray">
          <a:xfrm>
            <a:off x="330200" y="6332390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Note: LTM: Apr’24 to Mar’25; LTM-1: Apr’23 to Mar’24; LTM-2: Apr’22 to Mar’23; Bars sorted basis LTM visits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Source: </a:t>
            </a:r>
            <a:r>
              <a:rPr lang="en-US" sz="800" err="1">
                <a:solidFill>
                  <a:srgbClr val="000000"/>
                </a:solidFill>
              </a:rPr>
              <a:t>SimilarWeb</a:t>
            </a:r>
            <a:endParaRPr lang="en-US" sz="800">
              <a:solidFill>
                <a:srgbClr val="000000"/>
              </a:solidFill>
            </a:endParaRPr>
          </a:p>
        </p:txBody>
      </p:sp>
      <p:grpSp>
        <p:nvGrpSpPr>
          <p:cNvPr id="37" name="btfpRunningAgenda2Level378849">
            <a:extLst>
              <a:ext uri="{FF2B5EF4-FFF2-40B4-BE49-F238E27FC236}">
                <a16:creationId xmlns:a16="http://schemas.microsoft.com/office/drawing/2014/main" id="{1EDB4079-946B-0241-D382-95091681D4E8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0" y="944429"/>
            <a:ext cx="4297901" cy="257442"/>
            <a:chOff x="0" y="876300"/>
            <a:chExt cx="4297901" cy="257442"/>
          </a:xfrm>
        </p:grpSpPr>
        <p:sp>
          <p:nvSpPr>
            <p:cNvPr id="39" name="btfpRunningAgenda2LevelBarLeft378849">
              <a:extLst>
                <a:ext uri="{FF2B5EF4-FFF2-40B4-BE49-F238E27FC236}">
                  <a16:creationId xmlns:a16="http://schemas.microsoft.com/office/drawing/2014/main" id="{D655EEA9-E70E-B027-7E14-70D4BB84FEB3}"/>
                </a:ext>
              </a:extLst>
            </p:cNvPr>
            <p:cNvSpPr/>
            <p:nvPr/>
          </p:nvSpPr>
          <p:spPr bwMode="gray">
            <a:xfrm>
              <a:off x="0" y="876300"/>
              <a:ext cx="2486478" cy="257442"/>
            </a:xfrm>
            <a:custGeom>
              <a:avLst/>
              <a:gdLst>
                <a:gd name="connsiteX0" fmla="*/ 93477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34771 w 1816204"/>
                <a:gd name="connsiteY0" fmla="*/ 0 h 257442"/>
                <a:gd name="connsiteX1" fmla="*/ 88005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34771 w 934771"/>
                <a:gd name="connsiteY0" fmla="*/ 0 h 257442"/>
                <a:gd name="connsiteX1" fmla="*/ 880051 w 934771"/>
                <a:gd name="connsiteY1" fmla="*/ 257442 h 257442"/>
                <a:gd name="connsiteX2" fmla="*/ 1 w 934771"/>
                <a:gd name="connsiteY2" fmla="*/ 257442 h 257442"/>
                <a:gd name="connsiteX3" fmla="*/ 0 w 934771"/>
                <a:gd name="connsiteY3" fmla="*/ 257442 h 257442"/>
                <a:gd name="connsiteX0" fmla="*/ 934770 w 934770"/>
                <a:gd name="connsiteY0" fmla="*/ 0 h 257442"/>
                <a:gd name="connsiteX1" fmla="*/ 880050 w 934770"/>
                <a:gd name="connsiteY1" fmla="*/ 257442 h 257442"/>
                <a:gd name="connsiteX2" fmla="*/ 0 w 934770"/>
                <a:gd name="connsiteY2" fmla="*/ 257442 h 257442"/>
                <a:gd name="connsiteX3" fmla="*/ 1 w 934770"/>
                <a:gd name="connsiteY3" fmla="*/ 0 h 257442"/>
                <a:gd name="connsiteX0" fmla="*/ 1103086 w 1103086"/>
                <a:gd name="connsiteY0" fmla="*/ 0 h 257442"/>
                <a:gd name="connsiteX1" fmla="*/ 880050 w 1103086"/>
                <a:gd name="connsiteY1" fmla="*/ 257442 h 257442"/>
                <a:gd name="connsiteX2" fmla="*/ 0 w 1103086"/>
                <a:gd name="connsiteY2" fmla="*/ 257442 h 257442"/>
                <a:gd name="connsiteX3" fmla="*/ 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271402 w 1271402"/>
                <a:gd name="connsiteY0" fmla="*/ 0 h 257442"/>
                <a:gd name="connsiteX1" fmla="*/ 1048365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423687 w 1423687"/>
                <a:gd name="connsiteY0" fmla="*/ 0 h 257442"/>
                <a:gd name="connsiteX1" fmla="*/ 1216681 w 1423687"/>
                <a:gd name="connsiteY1" fmla="*/ 257442 h 257442"/>
                <a:gd name="connsiteX2" fmla="*/ 0 w 1423687"/>
                <a:gd name="connsiteY2" fmla="*/ 257442 h 257442"/>
                <a:gd name="connsiteX3" fmla="*/ 0 w 1423687"/>
                <a:gd name="connsiteY3" fmla="*/ 0 h 257442"/>
                <a:gd name="connsiteX0" fmla="*/ 1423687 w 1423687"/>
                <a:gd name="connsiteY0" fmla="*/ 0 h 257442"/>
                <a:gd name="connsiteX1" fmla="*/ 1368966 w 1423687"/>
                <a:gd name="connsiteY1" fmla="*/ 257442 h 257442"/>
                <a:gd name="connsiteX2" fmla="*/ 0 w 1423687"/>
                <a:gd name="connsiteY2" fmla="*/ 257442 h 257442"/>
                <a:gd name="connsiteX3" fmla="*/ 0 w 1423687"/>
                <a:gd name="connsiteY3" fmla="*/ 0 h 257442"/>
                <a:gd name="connsiteX0" fmla="*/ 1423687 w 1423687"/>
                <a:gd name="connsiteY0" fmla="*/ 0 h 257442"/>
                <a:gd name="connsiteX1" fmla="*/ 1368966 w 1423687"/>
                <a:gd name="connsiteY1" fmla="*/ 257442 h 257442"/>
                <a:gd name="connsiteX2" fmla="*/ 0 w 1423687"/>
                <a:gd name="connsiteY2" fmla="*/ 257442 h 257442"/>
                <a:gd name="connsiteX3" fmla="*/ 0 w 1423687"/>
                <a:gd name="connsiteY3" fmla="*/ 0 h 257442"/>
                <a:gd name="connsiteX0" fmla="*/ 1423687 w 1423687"/>
                <a:gd name="connsiteY0" fmla="*/ 0 h 257442"/>
                <a:gd name="connsiteX1" fmla="*/ 1368966 w 1423687"/>
                <a:gd name="connsiteY1" fmla="*/ 257442 h 257442"/>
                <a:gd name="connsiteX2" fmla="*/ 0 w 1423687"/>
                <a:gd name="connsiteY2" fmla="*/ 257442 h 257442"/>
                <a:gd name="connsiteX3" fmla="*/ 0 w 1423687"/>
                <a:gd name="connsiteY3" fmla="*/ 0 h 257442"/>
                <a:gd name="connsiteX0" fmla="*/ 1575972 w 1575972"/>
                <a:gd name="connsiteY0" fmla="*/ 0 h 257442"/>
                <a:gd name="connsiteX1" fmla="*/ 1368966 w 1575972"/>
                <a:gd name="connsiteY1" fmla="*/ 257442 h 257442"/>
                <a:gd name="connsiteX2" fmla="*/ 0 w 1575972"/>
                <a:gd name="connsiteY2" fmla="*/ 257442 h 257442"/>
                <a:gd name="connsiteX3" fmla="*/ 0 w 1575972"/>
                <a:gd name="connsiteY3" fmla="*/ 0 h 257442"/>
                <a:gd name="connsiteX0" fmla="*/ 1575972 w 1575972"/>
                <a:gd name="connsiteY0" fmla="*/ 0 h 257442"/>
                <a:gd name="connsiteX1" fmla="*/ 1521250 w 1575972"/>
                <a:gd name="connsiteY1" fmla="*/ 257442 h 257442"/>
                <a:gd name="connsiteX2" fmla="*/ 0 w 1575972"/>
                <a:gd name="connsiteY2" fmla="*/ 257442 h 257442"/>
                <a:gd name="connsiteX3" fmla="*/ 0 w 1575972"/>
                <a:gd name="connsiteY3" fmla="*/ 0 h 257442"/>
                <a:gd name="connsiteX0" fmla="*/ 1575973 w 1575973"/>
                <a:gd name="connsiteY0" fmla="*/ 0 h 257442"/>
                <a:gd name="connsiteX1" fmla="*/ 1521251 w 1575973"/>
                <a:gd name="connsiteY1" fmla="*/ 257442 h 257442"/>
                <a:gd name="connsiteX2" fmla="*/ 0 w 1575973"/>
                <a:gd name="connsiteY2" fmla="*/ 257442 h 257442"/>
                <a:gd name="connsiteX3" fmla="*/ 1 w 1575973"/>
                <a:gd name="connsiteY3" fmla="*/ 0 h 257442"/>
                <a:gd name="connsiteX0" fmla="*/ 1575973 w 1575973"/>
                <a:gd name="connsiteY0" fmla="*/ 0 h 257442"/>
                <a:gd name="connsiteX1" fmla="*/ 1521251 w 1575973"/>
                <a:gd name="connsiteY1" fmla="*/ 257442 h 257442"/>
                <a:gd name="connsiteX2" fmla="*/ 0 w 1575973"/>
                <a:gd name="connsiteY2" fmla="*/ 257442 h 257442"/>
                <a:gd name="connsiteX3" fmla="*/ 1 w 1575973"/>
                <a:gd name="connsiteY3" fmla="*/ 0 h 257442"/>
                <a:gd name="connsiteX0" fmla="*/ 1676962 w 1676962"/>
                <a:gd name="connsiteY0" fmla="*/ 0 h 257442"/>
                <a:gd name="connsiteX1" fmla="*/ 1521251 w 1676962"/>
                <a:gd name="connsiteY1" fmla="*/ 257442 h 257442"/>
                <a:gd name="connsiteX2" fmla="*/ 0 w 1676962"/>
                <a:gd name="connsiteY2" fmla="*/ 257442 h 257442"/>
                <a:gd name="connsiteX3" fmla="*/ 1 w 1676962"/>
                <a:gd name="connsiteY3" fmla="*/ 0 h 257442"/>
                <a:gd name="connsiteX0" fmla="*/ 1676962 w 1676962"/>
                <a:gd name="connsiteY0" fmla="*/ 0 h 257442"/>
                <a:gd name="connsiteX1" fmla="*/ 1622240 w 1676962"/>
                <a:gd name="connsiteY1" fmla="*/ 257442 h 257442"/>
                <a:gd name="connsiteX2" fmla="*/ 0 w 1676962"/>
                <a:gd name="connsiteY2" fmla="*/ 257442 h 257442"/>
                <a:gd name="connsiteX3" fmla="*/ 1 w 1676962"/>
                <a:gd name="connsiteY3" fmla="*/ 0 h 257442"/>
                <a:gd name="connsiteX0" fmla="*/ 1676962 w 1676962"/>
                <a:gd name="connsiteY0" fmla="*/ 0 h 257442"/>
                <a:gd name="connsiteX1" fmla="*/ 1622240 w 1676962"/>
                <a:gd name="connsiteY1" fmla="*/ 257442 h 257442"/>
                <a:gd name="connsiteX2" fmla="*/ 0 w 1676962"/>
                <a:gd name="connsiteY2" fmla="*/ 257442 h 257442"/>
                <a:gd name="connsiteX3" fmla="*/ 1 w 1676962"/>
                <a:gd name="connsiteY3" fmla="*/ 0 h 257442"/>
                <a:gd name="connsiteX0" fmla="*/ 1676962 w 1676962"/>
                <a:gd name="connsiteY0" fmla="*/ 0 h 257442"/>
                <a:gd name="connsiteX1" fmla="*/ 1622240 w 1676962"/>
                <a:gd name="connsiteY1" fmla="*/ 257442 h 257442"/>
                <a:gd name="connsiteX2" fmla="*/ 0 w 1676962"/>
                <a:gd name="connsiteY2" fmla="*/ 257442 h 257442"/>
                <a:gd name="connsiteX3" fmla="*/ 0 w 1676962"/>
                <a:gd name="connsiteY3" fmla="*/ 0 h 257442"/>
                <a:gd name="connsiteX0" fmla="*/ 1845277 w 1845277"/>
                <a:gd name="connsiteY0" fmla="*/ 0 h 257442"/>
                <a:gd name="connsiteX1" fmla="*/ 1622240 w 1845277"/>
                <a:gd name="connsiteY1" fmla="*/ 257442 h 257442"/>
                <a:gd name="connsiteX2" fmla="*/ 0 w 1845277"/>
                <a:gd name="connsiteY2" fmla="*/ 257442 h 257442"/>
                <a:gd name="connsiteX3" fmla="*/ 0 w 1845277"/>
                <a:gd name="connsiteY3" fmla="*/ 0 h 257442"/>
                <a:gd name="connsiteX0" fmla="*/ 1845277 w 1845277"/>
                <a:gd name="connsiteY0" fmla="*/ 0 h 257442"/>
                <a:gd name="connsiteX1" fmla="*/ 1790556 w 1845277"/>
                <a:gd name="connsiteY1" fmla="*/ 257442 h 257442"/>
                <a:gd name="connsiteX2" fmla="*/ 0 w 1845277"/>
                <a:gd name="connsiteY2" fmla="*/ 257442 h 257442"/>
                <a:gd name="connsiteX3" fmla="*/ 0 w 1845277"/>
                <a:gd name="connsiteY3" fmla="*/ 0 h 257442"/>
                <a:gd name="connsiteX0" fmla="*/ 1845277 w 1845277"/>
                <a:gd name="connsiteY0" fmla="*/ 0 h 257442"/>
                <a:gd name="connsiteX1" fmla="*/ 1790556 w 1845277"/>
                <a:gd name="connsiteY1" fmla="*/ 257442 h 257442"/>
                <a:gd name="connsiteX2" fmla="*/ 0 w 1845277"/>
                <a:gd name="connsiteY2" fmla="*/ 257442 h 257442"/>
                <a:gd name="connsiteX3" fmla="*/ 0 w 1845277"/>
                <a:gd name="connsiteY3" fmla="*/ 0 h 257442"/>
                <a:gd name="connsiteX0" fmla="*/ 1845277 w 1845277"/>
                <a:gd name="connsiteY0" fmla="*/ 0 h 257442"/>
                <a:gd name="connsiteX1" fmla="*/ 1790556 w 1845277"/>
                <a:gd name="connsiteY1" fmla="*/ 257442 h 257442"/>
                <a:gd name="connsiteX2" fmla="*/ 0 w 1845277"/>
                <a:gd name="connsiteY2" fmla="*/ 257442 h 257442"/>
                <a:gd name="connsiteX3" fmla="*/ 0 w 1845277"/>
                <a:gd name="connsiteY3" fmla="*/ 0 h 257442"/>
                <a:gd name="connsiteX0" fmla="*/ 2048858 w 2048858"/>
                <a:gd name="connsiteY0" fmla="*/ 0 h 257442"/>
                <a:gd name="connsiteX1" fmla="*/ 1790556 w 2048858"/>
                <a:gd name="connsiteY1" fmla="*/ 257442 h 257442"/>
                <a:gd name="connsiteX2" fmla="*/ 0 w 2048858"/>
                <a:gd name="connsiteY2" fmla="*/ 257442 h 257442"/>
                <a:gd name="connsiteX3" fmla="*/ 0 w 2048858"/>
                <a:gd name="connsiteY3" fmla="*/ 0 h 257442"/>
                <a:gd name="connsiteX0" fmla="*/ 2048858 w 2048858"/>
                <a:gd name="connsiteY0" fmla="*/ 0 h 257442"/>
                <a:gd name="connsiteX1" fmla="*/ 1994136 w 2048858"/>
                <a:gd name="connsiteY1" fmla="*/ 257442 h 257442"/>
                <a:gd name="connsiteX2" fmla="*/ 0 w 2048858"/>
                <a:gd name="connsiteY2" fmla="*/ 257442 h 257442"/>
                <a:gd name="connsiteX3" fmla="*/ 0 w 2048858"/>
                <a:gd name="connsiteY3" fmla="*/ 0 h 257442"/>
                <a:gd name="connsiteX0" fmla="*/ 2048859 w 2048859"/>
                <a:gd name="connsiteY0" fmla="*/ 0 h 257442"/>
                <a:gd name="connsiteX1" fmla="*/ 1994137 w 2048859"/>
                <a:gd name="connsiteY1" fmla="*/ 257442 h 257442"/>
                <a:gd name="connsiteX2" fmla="*/ 0 w 2048859"/>
                <a:gd name="connsiteY2" fmla="*/ 257442 h 257442"/>
                <a:gd name="connsiteX3" fmla="*/ 1 w 2048859"/>
                <a:gd name="connsiteY3" fmla="*/ 0 h 257442"/>
                <a:gd name="connsiteX0" fmla="*/ 2048859 w 2048859"/>
                <a:gd name="connsiteY0" fmla="*/ 0 h 257442"/>
                <a:gd name="connsiteX1" fmla="*/ 1994137 w 2048859"/>
                <a:gd name="connsiteY1" fmla="*/ 257442 h 257442"/>
                <a:gd name="connsiteX2" fmla="*/ 0 w 2048859"/>
                <a:gd name="connsiteY2" fmla="*/ 257442 h 257442"/>
                <a:gd name="connsiteX3" fmla="*/ 1 w 2048859"/>
                <a:gd name="connsiteY3" fmla="*/ 0 h 257442"/>
                <a:gd name="connsiteX0" fmla="*/ 2209159 w 2209159"/>
                <a:gd name="connsiteY0" fmla="*/ 0 h 257442"/>
                <a:gd name="connsiteX1" fmla="*/ 1994137 w 2209159"/>
                <a:gd name="connsiteY1" fmla="*/ 257442 h 257442"/>
                <a:gd name="connsiteX2" fmla="*/ 0 w 2209159"/>
                <a:gd name="connsiteY2" fmla="*/ 257442 h 257442"/>
                <a:gd name="connsiteX3" fmla="*/ 1 w 2209159"/>
                <a:gd name="connsiteY3" fmla="*/ 0 h 257442"/>
                <a:gd name="connsiteX0" fmla="*/ 2209159 w 2209159"/>
                <a:gd name="connsiteY0" fmla="*/ 0 h 257442"/>
                <a:gd name="connsiteX1" fmla="*/ 2154438 w 2209159"/>
                <a:gd name="connsiteY1" fmla="*/ 257442 h 257442"/>
                <a:gd name="connsiteX2" fmla="*/ 0 w 2209159"/>
                <a:gd name="connsiteY2" fmla="*/ 257442 h 257442"/>
                <a:gd name="connsiteX3" fmla="*/ 1 w 2209159"/>
                <a:gd name="connsiteY3" fmla="*/ 0 h 257442"/>
                <a:gd name="connsiteX0" fmla="*/ 2209158 w 2209158"/>
                <a:gd name="connsiteY0" fmla="*/ 0 h 257442"/>
                <a:gd name="connsiteX1" fmla="*/ 2154437 w 2209158"/>
                <a:gd name="connsiteY1" fmla="*/ 257442 h 257442"/>
                <a:gd name="connsiteX2" fmla="*/ 0 w 2209158"/>
                <a:gd name="connsiteY2" fmla="*/ 257442 h 257442"/>
                <a:gd name="connsiteX3" fmla="*/ 0 w 2209158"/>
                <a:gd name="connsiteY3" fmla="*/ 0 h 257442"/>
                <a:gd name="connsiteX0" fmla="*/ 2209159 w 2209159"/>
                <a:gd name="connsiteY0" fmla="*/ 0 h 257442"/>
                <a:gd name="connsiteX1" fmla="*/ 2154438 w 2209159"/>
                <a:gd name="connsiteY1" fmla="*/ 257442 h 257442"/>
                <a:gd name="connsiteX2" fmla="*/ 1 w 2209159"/>
                <a:gd name="connsiteY2" fmla="*/ 257442 h 257442"/>
                <a:gd name="connsiteX3" fmla="*/ 0 w 2209159"/>
                <a:gd name="connsiteY3" fmla="*/ 0 h 257442"/>
                <a:gd name="connsiteX0" fmla="*/ 2377475 w 2377475"/>
                <a:gd name="connsiteY0" fmla="*/ 0 h 257442"/>
                <a:gd name="connsiteX1" fmla="*/ 2154438 w 2377475"/>
                <a:gd name="connsiteY1" fmla="*/ 257442 h 257442"/>
                <a:gd name="connsiteX2" fmla="*/ 1 w 2377475"/>
                <a:gd name="connsiteY2" fmla="*/ 257442 h 257442"/>
                <a:gd name="connsiteX3" fmla="*/ 0 w 2377475"/>
                <a:gd name="connsiteY3" fmla="*/ 0 h 257442"/>
                <a:gd name="connsiteX0" fmla="*/ 2377475 w 2377475"/>
                <a:gd name="connsiteY0" fmla="*/ 0 h 257442"/>
                <a:gd name="connsiteX1" fmla="*/ 2322754 w 2377475"/>
                <a:gd name="connsiteY1" fmla="*/ 257442 h 257442"/>
                <a:gd name="connsiteX2" fmla="*/ 1 w 2377475"/>
                <a:gd name="connsiteY2" fmla="*/ 257442 h 257442"/>
                <a:gd name="connsiteX3" fmla="*/ 0 w 2377475"/>
                <a:gd name="connsiteY3" fmla="*/ 0 h 257442"/>
                <a:gd name="connsiteX0" fmla="*/ 2377475 w 2377475"/>
                <a:gd name="connsiteY0" fmla="*/ 0 h 257442"/>
                <a:gd name="connsiteX1" fmla="*/ 2322754 w 2377475"/>
                <a:gd name="connsiteY1" fmla="*/ 257442 h 257442"/>
                <a:gd name="connsiteX2" fmla="*/ 1 w 2377475"/>
                <a:gd name="connsiteY2" fmla="*/ 257442 h 257442"/>
                <a:gd name="connsiteX3" fmla="*/ 0 w 2377475"/>
                <a:gd name="connsiteY3" fmla="*/ 0 h 257442"/>
                <a:gd name="connsiteX0" fmla="*/ 2377474 w 2377474"/>
                <a:gd name="connsiteY0" fmla="*/ 0 h 257442"/>
                <a:gd name="connsiteX1" fmla="*/ 2322753 w 2377474"/>
                <a:gd name="connsiteY1" fmla="*/ 257442 h 257442"/>
                <a:gd name="connsiteX2" fmla="*/ 0 w 2377474"/>
                <a:gd name="connsiteY2" fmla="*/ 257442 h 257442"/>
                <a:gd name="connsiteX3" fmla="*/ 0 w 2377474"/>
                <a:gd name="connsiteY3" fmla="*/ 0 h 257442"/>
                <a:gd name="connsiteX0" fmla="*/ 2486477 w 2486477"/>
                <a:gd name="connsiteY0" fmla="*/ 0 h 257442"/>
                <a:gd name="connsiteX1" fmla="*/ 2322753 w 2486477"/>
                <a:gd name="connsiteY1" fmla="*/ 257442 h 257442"/>
                <a:gd name="connsiteX2" fmla="*/ 0 w 2486477"/>
                <a:gd name="connsiteY2" fmla="*/ 257442 h 257442"/>
                <a:gd name="connsiteX3" fmla="*/ 0 w 2486477"/>
                <a:gd name="connsiteY3" fmla="*/ 0 h 257442"/>
                <a:gd name="connsiteX0" fmla="*/ 2486477 w 2486477"/>
                <a:gd name="connsiteY0" fmla="*/ 0 h 257442"/>
                <a:gd name="connsiteX1" fmla="*/ 2431756 w 2486477"/>
                <a:gd name="connsiteY1" fmla="*/ 257442 h 257442"/>
                <a:gd name="connsiteX2" fmla="*/ 0 w 2486477"/>
                <a:gd name="connsiteY2" fmla="*/ 257442 h 257442"/>
                <a:gd name="connsiteX3" fmla="*/ 0 w 2486477"/>
                <a:gd name="connsiteY3" fmla="*/ 0 h 257442"/>
                <a:gd name="connsiteX0" fmla="*/ 2486478 w 2486478"/>
                <a:gd name="connsiteY0" fmla="*/ 0 h 257442"/>
                <a:gd name="connsiteX1" fmla="*/ 2431757 w 2486478"/>
                <a:gd name="connsiteY1" fmla="*/ 257442 h 257442"/>
                <a:gd name="connsiteX2" fmla="*/ 0 w 2486478"/>
                <a:gd name="connsiteY2" fmla="*/ 257442 h 257442"/>
                <a:gd name="connsiteX3" fmla="*/ 1 w 2486478"/>
                <a:gd name="connsiteY3" fmla="*/ 0 h 257442"/>
                <a:gd name="connsiteX0" fmla="*/ 2486478 w 2486478"/>
                <a:gd name="connsiteY0" fmla="*/ 0 h 257442"/>
                <a:gd name="connsiteX1" fmla="*/ 2431757 w 2486478"/>
                <a:gd name="connsiteY1" fmla="*/ 257442 h 257442"/>
                <a:gd name="connsiteX2" fmla="*/ 0 w 2486478"/>
                <a:gd name="connsiteY2" fmla="*/ 257442 h 257442"/>
                <a:gd name="connsiteX3" fmla="*/ 0 w 2486478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86478" h="257442">
                  <a:moveTo>
                    <a:pt x="2486478" y="0"/>
                  </a:moveTo>
                  <a:lnTo>
                    <a:pt x="2431757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40" name="btfpRunningAgenda2LevelTextLeft378849">
              <a:extLst>
                <a:ext uri="{FF2B5EF4-FFF2-40B4-BE49-F238E27FC236}">
                  <a16:creationId xmlns:a16="http://schemas.microsoft.com/office/drawing/2014/main" id="{F83DC8FA-F38D-9BDA-22FD-2CCBF108D124}"/>
                </a:ext>
              </a:extLst>
            </p:cNvPr>
            <p:cNvSpPr txBox="1"/>
            <p:nvPr/>
          </p:nvSpPr>
          <p:spPr bwMode="gray">
            <a:xfrm>
              <a:off x="0" y="876300"/>
              <a:ext cx="2431757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web-traffic</a:t>
              </a:r>
            </a:p>
          </p:txBody>
        </p:sp>
        <p:sp>
          <p:nvSpPr>
            <p:cNvPr id="44" name="btfpRunningAgenda2LevelBarRight378849">
              <a:extLst>
                <a:ext uri="{FF2B5EF4-FFF2-40B4-BE49-F238E27FC236}">
                  <a16:creationId xmlns:a16="http://schemas.microsoft.com/office/drawing/2014/main" id="{41FCF156-5955-396E-3888-AE0555407DBA}"/>
                </a:ext>
              </a:extLst>
            </p:cNvPr>
            <p:cNvSpPr/>
            <p:nvPr/>
          </p:nvSpPr>
          <p:spPr bwMode="gray">
            <a:xfrm>
              <a:off x="2351636" y="876300"/>
              <a:ext cx="1946265" cy="257442"/>
            </a:xfrm>
            <a:custGeom>
              <a:avLst/>
              <a:gdLst>
                <a:gd name="connsiteX0" fmla="*/ 942786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42786 w 2313135"/>
                <a:gd name="connsiteY0" fmla="*/ 0 h 257442"/>
                <a:gd name="connsiteX1" fmla="*/ 888065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4 w 942785"/>
                <a:gd name="connsiteY1" fmla="*/ 257442 h 257442"/>
                <a:gd name="connsiteX2" fmla="*/ 0 w 942785"/>
                <a:gd name="connsiteY2" fmla="*/ 257442 h 257442"/>
                <a:gd name="connsiteX3" fmla="*/ 54721 w 942785"/>
                <a:gd name="connsiteY3" fmla="*/ 0 h 257442"/>
                <a:gd name="connsiteX0" fmla="*/ 1120719 w 1120719"/>
                <a:gd name="connsiteY0" fmla="*/ 0 h 257442"/>
                <a:gd name="connsiteX1" fmla="*/ 888064 w 1120719"/>
                <a:gd name="connsiteY1" fmla="*/ 257442 h 257442"/>
                <a:gd name="connsiteX2" fmla="*/ 0 w 1120719"/>
                <a:gd name="connsiteY2" fmla="*/ 257442 h 257442"/>
                <a:gd name="connsiteX3" fmla="*/ 54721 w 1120719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54721 w 1120719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54721 w 1120719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54721 w 1120719"/>
                <a:gd name="connsiteY3" fmla="*/ 0 h 257442"/>
                <a:gd name="connsiteX0" fmla="*/ 1289034 w 1289034"/>
                <a:gd name="connsiteY0" fmla="*/ 0 h 257442"/>
                <a:gd name="connsiteX1" fmla="*/ 1065998 w 1289034"/>
                <a:gd name="connsiteY1" fmla="*/ 257442 h 257442"/>
                <a:gd name="connsiteX2" fmla="*/ 0 w 1289034"/>
                <a:gd name="connsiteY2" fmla="*/ 257442 h 257442"/>
                <a:gd name="connsiteX3" fmla="*/ 54721 w 1289034"/>
                <a:gd name="connsiteY3" fmla="*/ 0 h 257442"/>
                <a:gd name="connsiteX0" fmla="*/ 1289034 w 1289034"/>
                <a:gd name="connsiteY0" fmla="*/ 0 h 257442"/>
                <a:gd name="connsiteX1" fmla="*/ 1234312 w 1289034"/>
                <a:gd name="connsiteY1" fmla="*/ 257442 h 257442"/>
                <a:gd name="connsiteX2" fmla="*/ 0 w 1289034"/>
                <a:gd name="connsiteY2" fmla="*/ 257442 h 257442"/>
                <a:gd name="connsiteX3" fmla="*/ 54721 w 1289034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54722 w 1289035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54722 w 1289035"/>
                <a:gd name="connsiteY3" fmla="*/ 0 h 257442"/>
                <a:gd name="connsiteX0" fmla="*/ 1457351 w 1457351"/>
                <a:gd name="connsiteY0" fmla="*/ 0 h 257442"/>
                <a:gd name="connsiteX1" fmla="*/ 1234313 w 1457351"/>
                <a:gd name="connsiteY1" fmla="*/ 257442 h 257442"/>
                <a:gd name="connsiteX2" fmla="*/ 0 w 1457351"/>
                <a:gd name="connsiteY2" fmla="*/ 257442 h 257442"/>
                <a:gd name="connsiteX3" fmla="*/ 54722 w 1457351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0 w 1457351"/>
                <a:gd name="connsiteY2" fmla="*/ 257442 h 257442"/>
                <a:gd name="connsiteX3" fmla="*/ 54722 w 1457351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0 w 1457350"/>
                <a:gd name="connsiteY3" fmla="*/ 0 h 257442"/>
                <a:gd name="connsiteX0" fmla="*/ 1625664 w 1625664"/>
                <a:gd name="connsiteY0" fmla="*/ 0 h 257442"/>
                <a:gd name="connsiteX1" fmla="*/ 1402629 w 1625664"/>
                <a:gd name="connsiteY1" fmla="*/ 257442 h 257442"/>
                <a:gd name="connsiteX2" fmla="*/ 0 w 1625664"/>
                <a:gd name="connsiteY2" fmla="*/ 257442 h 257442"/>
                <a:gd name="connsiteX3" fmla="*/ 54720 w 1625664"/>
                <a:gd name="connsiteY3" fmla="*/ 0 h 257442"/>
                <a:gd name="connsiteX0" fmla="*/ 1625664 w 1625664"/>
                <a:gd name="connsiteY0" fmla="*/ 0 h 257442"/>
                <a:gd name="connsiteX1" fmla="*/ 1570943 w 1625664"/>
                <a:gd name="connsiteY1" fmla="*/ 257442 h 257442"/>
                <a:gd name="connsiteX2" fmla="*/ 0 w 1625664"/>
                <a:gd name="connsiteY2" fmla="*/ 257442 h 257442"/>
                <a:gd name="connsiteX3" fmla="*/ 54720 w 1625664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54721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54722 w 1625665"/>
                <a:gd name="connsiteY3" fmla="*/ 0 h 257442"/>
                <a:gd name="connsiteX0" fmla="*/ 1785966 w 1785966"/>
                <a:gd name="connsiteY0" fmla="*/ 0 h 257442"/>
                <a:gd name="connsiteX1" fmla="*/ 1570944 w 1785966"/>
                <a:gd name="connsiteY1" fmla="*/ 257442 h 257442"/>
                <a:gd name="connsiteX2" fmla="*/ 0 w 1785966"/>
                <a:gd name="connsiteY2" fmla="*/ 257442 h 257442"/>
                <a:gd name="connsiteX3" fmla="*/ 54722 w 1785966"/>
                <a:gd name="connsiteY3" fmla="*/ 0 h 257442"/>
                <a:gd name="connsiteX0" fmla="*/ 1785966 w 1785966"/>
                <a:gd name="connsiteY0" fmla="*/ 0 h 257442"/>
                <a:gd name="connsiteX1" fmla="*/ 1731244 w 1785966"/>
                <a:gd name="connsiteY1" fmla="*/ 257442 h 257442"/>
                <a:gd name="connsiteX2" fmla="*/ 0 w 1785966"/>
                <a:gd name="connsiteY2" fmla="*/ 257442 h 257442"/>
                <a:gd name="connsiteX3" fmla="*/ 54722 w 1785966"/>
                <a:gd name="connsiteY3" fmla="*/ 0 h 257442"/>
                <a:gd name="connsiteX0" fmla="*/ 1785966 w 1785966"/>
                <a:gd name="connsiteY0" fmla="*/ 0 h 257442"/>
                <a:gd name="connsiteX1" fmla="*/ 1731244 w 1785966"/>
                <a:gd name="connsiteY1" fmla="*/ 257442 h 257442"/>
                <a:gd name="connsiteX2" fmla="*/ 0 w 1785966"/>
                <a:gd name="connsiteY2" fmla="*/ 257442 h 257442"/>
                <a:gd name="connsiteX3" fmla="*/ 54722 w 1785966"/>
                <a:gd name="connsiteY3" fmla="*/ 0 h 257442"/>
                <a:gd name="connsiteX0" fmla="*/ 1785966 w 1785966"/>
                <a:gd name="connsiteY0" fmla="*/ 0 h 257442"/>
                <a:gd name="connsiteX1" fmla="*/ 1731244 w 1785966"/>
                <a:gd name="connsiteY1" fmla="*/ 257442 h 257442"/>
                <a:gd name="connsiteX2" fmla="*/ 0 w 1785966"/>
                <a:gd name="connsiteY2" fmla="*/ 257442 h 257442"/>
                <a:gd name="connsiteX3" fmla="*/ 54721 w 1785966"/>
                <a:gd name="connsiteY3" fmla="*/ 0 h 257442"/>
                <a:gd name="connsiteX0" fmla="*/ 1946265 w 1946265"/>
                <a:gd name="connsiteY0" fmla="*/ 0 h 257442"/>
                <a:gd name="connsiteX1" fmla="*/ 1731244 w 1946265"/>
                <a:gd name="connsiteY1" fmla="*/ 257442 h 257442"/>
                <a:gd name="connsiteX2" fmla="*/ 0 w 1946265"/>
                <a:gd name="connsiteY2" fmla="*/ 257442 h 257442"/>
                <a:gd name="connsiteX3" fmla="*/ 54721 w 1946265"/>
                <a:gd name="connsiteY3" fmla="*/ 0 h 257442"/>
                <a:gd name="connsiteX0" fmla="*/ 1946265 w 1946265"/>
                <a:gd name="connsiteY0" fmla="*/ 0 h 257442"/>
                <a:gd name="connsiteX1" fmla="*/ 1891544 w 1946265"/>
                <a:gd name="connsiteY1" fmla="*/ 257442 h 257442"/>
                <a:gd name="connsiteX2" fmla="*/ 0 w 1946265"/>
                <a:gd name="connsiteY2" fmla="*/ 257442 h 257442"/>
                <a:gd name="connsiteX3" fmla="*/ 54721 w 1946265"/>
                <a:gd name="connsiteY3" fmla="*/ 0 h 257442"/>
                <a:gd name="connsiteX0" fmla="*/ 1946265 w 1946265"/>
                <a:gd name="connsiteY0" fmla="*/ 0 h 257442"/>
                <a:gd name="connsiteX1" fmla="*/ 1891544 w 1946265"/>
                <a:gd name="connsiteY1" fmla="*/ 257442 h 257442"/>
                <a:gd name="connsiteX2" fmla="*/ 0 w 1946265"/>
                <a:gd name="connsiteY2" fmla="*/ 257442 h 257442"/>
                <a:gd name="connsiteX3" fmla="*/ 54721 w 1946265"/>
                <a:gd name="connsiteY3" fmla="*/ 0 h 257442"/>
                <a:gd name="connsiteX0" fmla="*/ 1946265 w 1946265"/>
                <a:gd name="connsiteY0" fmla="*/ 0 h 257442"/>
                <a:gd name="connsiteX1" fmla="*/ 1891544 w 1946265"/>
                <a:gd name="connsiteY1" fmla="*/ 257442 h 257442"/>
                <a:gd name="connsiteX2" fmla="*/ 0 w 1946265"/>
                <a:gd name="connsiteY2" fmla="*/ 257442 h 257442"/>
                <a:gd name="connsiteX3" fmla="*/ 54721 w 19462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46265" h="257442">
                  <a:moveTo>
                    <a:pt x="1946265" y="0"/>
                  </a:moveTo>
                  <a:lnTo>
                    <a:pt x="1891544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45" name="btfpRunningAgenda2LevelTextRight378849">
              <a:extLst>
                <a:ext uri="{FF2B5EF4-FFF2-40B4-BE49-F238E27FC236}">
                  <a16:creationId xmlns:a16="http://schemas.microsoft.com/office/drawing/2014/main" id="{A6D29B32-61E5-6170-2420-92295A74390D}"/>
                </a:ext>
              </a:extLst>
            </p:cNvPr>
            <p:cNvSpPr txBox="1"/>
            <p:nvPr/>
          </p:nvSpPr>
          <p:spPr bwMode="gray">
            <a:xfrm>
              <a:off x="2351636" y="876300"/>
              <a:ext cx="1891544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sources</a:t>
              </a:r>
            </a:p>
          </p:txBody>
        </p:sp>
      </p:grpSp>
      <p:grpSp>
        <p:nvGrpSpPr>
          <p:cNvPr id="49" name="btfpStatusSticker277017">
            <a:extLst>
              <a:ext uri="{FF2B5EF4-FFF2-40B4-BE49-F238E27FC236}">
                <a16:creationId xmlns:a16="http://schemas.microsoft.com/office/drawing/2014/main" id="{3515D964-C662-3F34-46B9-947C89A04E05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102664" y="955344"/>
            <a:ext cx="1759136" cy="235611"/>
            <a:chOff x="-2269853" y="876300"/>
            <a:chExt cx="1759136" cy="235611"/>
          </a:xfrm>
        </p:grpSpPr>
        <p:sp>
          <p:nvSpPr>
            <p:cNvPr id="50" name="btfpStatusStickerText277017">
              <a:extLst>
                <a:ext uri="{FF2B5EF4-FFF2-40B4-BE49-F238E27FC236}">
                  <a16:creationId xmlns:a16="http://schemas.microsoft.com/office/drawing/2014/main" id="{0A0E9250-6B76-3E2C-899D-598AB0B426C8}"/>
                </a:ext>
              </a:extLst>
            </p:cNvPr>
            <p:cNvSpPr txBox="1"/>
            <p:nvPr/>
          </p:nvSpPr>
          <p:spPr bwMode="gray">
            <a:xfrm>
              <a:off x="-2269853" y="876300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62" name="btfpStatusStickerLine277017">
              <a:extLst>
                <a:ext uri="{FF2B5EF4-FFF2-40B4-BE49-F238E27FC236}">
                  <a16:creationId xmlns:a16="http://schemas.microsoft.com/office/drawing/2014/main" id="{0819898F-09EA-071C-4F69-5D87EE2F7814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69853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F09F56B9-D46C-ED08-4264-597CCF9B8923}"/>
              </a:ext>
            </a:extLst>
          </p:cNvPr>
          <p:cNvSpPr/>
          <p:nvPr/>
        </p:nvSpPr>
        <p:spPr bwMode="gray">
          <a:xfrm>
            <a:off x="10572125" y="3495343"/>
            <a:ext cx="1273157" cy="1010659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00" i="1">
                <a:solidFill>
                  <a:srgbClr val="000000"/>
                </a:solidFill>
              </a:rPr>
              <a:t>Paid traffic includes paid search and display ads; Non-Paid traffic includes direct, organic search, social media, referrals and email</a:t>
            </a:r>
            <a:endParaRPr lang="en-US" sz="900" i="1">
              <a:solidFill>
                <a:schemeClr val="tx1"/>
              </a:solidFill>
            </a:endParaRPr>
          </a:p>
        </p:txBody>
      </p:sp>
      <p:sp>
        <p:nvSpPr>
          <p:cNvPr id="47" name="AutoShape 2" descr="Sonne und Strand">
            <a:extLst>
              <a:ext uri="{FF2B5EF4-FFF2-40B4-BE49-F238E27FC236}">
                <a16:creationId xmlns:a16="http://schemas.microsoft.com/office/drawing/2014/main" id="{4C32BEDD-30F8-DAD5-DEBD-142877AED5D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2E5E38ED-FEF5-888F-2AA6-E523A918E5C6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 rot="16200000">
            <a:off x="1684924" y="875391"/>
            <a:ext cx="3893099" cy="5765075"/>
          </a:xfrm>
          <a:prstGeom prst="rect">
            <a:avLst/>
          </a:prstGeom>
          <a:noFill/>
          <a:ln w="1905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DCCE4B1-084C-9A8B-701F-C56C6E478A81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38" y="946635"/>
            <a:ext cx="252287" cy="251574"/>
          </a:xfrm>
          <a:prstGeom prst="rect">
            <a:avLst/>
          </a:prstGeom>
        </p:spPr>
      </p:pic>
      <p:sp>
        <p:nvSpPr>
          <p:cNvPr id="38" name="Rectangle 37">
            <a:extLst>
              <a:ext uri="{FF2B5EF4-FFF2-40B4-BE49-F238E27FC236}">
                <a16:creationId xmlns:a16="http://schemas.microsoft.com/office/drawing/2014/main" id="{465BD279-8379-0224-713F-526A93444577}"/>
              </a:ext>
            </a:extLst>
          </p:cNvPr>
          <p:cNvSpPr/>
          <p:nvPr/>
        </p:nvSpPr>
        <p:spPr bwMode="gray">
          <a:xfrm rot="5400000">
            <a:off x="3535590" y="3024921"/>
            <a:ext cx="232435" cy="5849171"/>
          </a:xfrm>
          <a:prstGeom prst="rect">
            <a:avLst/>
          </a:prstGeom>
          <a:solidFill>
            <a:srgbClr val="C00000"/>
          </a:solidFill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CA" sz="800" b="1" i="1" dirty="0">
                <a:solidFill>
                  <a:schemeClr val="bg1"/>
                </a:solidFill>
              </a:rPr>
              <a:t>Targe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89A2D886-398A-7E8D-4556-F50EE23C733D}"/>
              </a:ext>
            </a:extLst>
          </p:cNvPr>
          <p:cNvSpPr/>
          <p:nvPr/>
        </p:nvSpPr>
        <p:spPr bwMode="gray">
          <a:xfrm rot="5400000">
            <a:off x="7330114" y="5122991"/>
            <a:ext cx="232435" cy="1653031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CA" sz="800" b="1" i="1" dirty="0">
                <a:solidFill>
                  <a:schemeClr val="bg1"/>
                </a:solidFill>
              </a:rPr>
              <a:t>Peer 9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458A39E5-C8E2-5F71-A403-CC251E123A5E}"/>
              </a:ext>
            </a:extLst>
          </p:cNvPr>
          <p:cNvSpPr/>
          <p:nvPr/>
        </p:nvSpPr>
        <p:spPr bwMode="gray">
          <a:xfrm rot="5400000">
            <a:off x="8978667" y="5170891"/>
            <a:ext cx="232435" cy="155723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CA" sz="800" b="1" i="1" dirty="0">
                <a:solidFill>
                  <a:schemeClr val="bg1"/>
                </a:solidFill>
              </a:rPr>
              <a:t>Peer 11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A2039849-C3FB-7E40-66E1-B7C64DC37CD3}"/>
              </a:ext>
            </a:extLst>
          </p:cNvPr>
          <p:cNvSpPr/>
          <p:nvPr/>
        </p:nvSpPr>
        <p:spPr bwMode="gray">
          <a:xfrm rot="5400000">
            <a:off x="10155465" y="5594748"/>
            <a:ext cx="232435" cy="70951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CA" sz="800" b="1" i="1" dirty="0">
                <a:solidFill>
                  <a:schemeClr val="bg1"/>
                </a:solidFill>
              </a:rPr>
              <a:t>Peer 12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3A1B5F9E-DBDE-F795-5916-473D5E4F3D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829551"/>
              </p:ext>
            </p:extLst>
          </p:nvPr>
        </p:nvGraphicFramePr>
        <p:xfrm>
          <a:off x="758753" y="5481879"/>
          <a:ext cx="9844902" cy="228600"/>
        </p:xfrm>
        <a:graphic>
          <a:graphicData uri="http://schemas.openxmlformats.org/drawingml/2006/table">
            <a:tbl>
              <a:tblPr/>
              <a:tblGrid>
                <a:gridCol w="820408">
                  <a:extLst>
                    <a:ext uri="{9D8B030D-6E8A-4147-A177-3AD203B41FA5}">
                      <a16:colId xmlns:a16="http://schemas.microsoft.com/office/drawing/2014/main" val="99631817"/>
                    </a:ext>
                  </a:extLst>
                </a:gridCol>
                <a:gridCol w="820409">
                  <a:extLst>
                    <a:ext uri="{9D8B030D-6E8A-4147-A177-3AD203B41FA5}">
                      <a16:colId xmlns:a16="http://schemas.microsoft.com/office/drawing/2014/main" val="161954745"/>
                    </a:ext>
                  </a:extLst>
                </a:gridCol>
                <a:gridCol w="820408">
                  <a:extLst>
                    <a:ext uri="{9D8B030D-6E8A-4147-A177-3AD203B41FA5}">
                      <a16:colId xmlns:a16="http://schemas.microsoft.com/office/drawing/2014/main" val="922728448"/>
                    </a:ext>
                  </a:extLst>
                </a:gridCol>
                <a:gridCol w="820409">
                  <a:extLst>
                    <a:ext uri="{9D8B030D-6E8A-4147-A177-3AD203B41FA5}">
                      <a16:colId xmlns:a16="http://schemas.microsoft.com/office/drawing/2014/main" val="35396638"/>
                    </a:ext>
                  </a:extLst>
                </a:gridCol>
                <a:gridCol w="820408">
                  <a:extLst>
                    <a:ext uri="{9D8B030D-6E8A-4147-A177-3AD203B41FA5}">
                      <a16:colId xmlns:a16="http://schemas.microsoft.com/office/drawing/2014/main" val="1966293867"/>
                    </a:ext>
                  </a:extLst>
                </a:gridCol>
                <a:gridCol w="820409">
                  <a:extLst>
                    <a:ext uri="{9D8B030D-6E8A-4147-A177-3AD203B41FA5}">
                      <a16:colId xmlns:a16="http://schemas.microsoft.com/office/drawing/2014/main" val="869471868"/>
                    </a:ext>
                  </a:extLst>
                </a:gridCol>
                <a:gridCol w="820409">
                  <a:extLst>
                    <a:ext uri="{9D8B030D-6E8A-4147-A177-3AD203B41FA5}">
                      <a16:colId xmlns:a16="http://schemas.microsoft.com/office/drawing/2014/main" val="1257803649"/>
                    </a:ext>
                  </a:extLst>
                </a:gridCol>
                <a:gridCol w="820408">
                  <a:extLst>
                    <a:ext uri="{9D8B030D-6E8A-4147-A177-3AD203B41FA5}">
                      <a16:colId xmlns:a16="http://schemas.microsoft.com/office/drawing/2014/main" val="2688590524"/>
                    </a:ext>
                  </a:extLst>
                </a:gridCol>
                <a:gridCol w="820409">
                  <a:extLst>
                    <a:ext uri="{9D8B030D-6E8A-4147-A177-3AD203B41FA5}">
                      <a16:colId xmlns:a16="http://schemas.microsoft.com/office/drawing/2014/main" val="146733693"/>
                    </a:ext>
                  </a:extLst>
                </a:gridCol>
                <a:gridCol w="820408">
                  <a:extLst>
                    <a:ext uri="{9D8B030D-6E8A-4147-A177-3AD203B41FA5}">
                      <a16:colId xmlns:a16="http://schemas.microsoft.com/office/drawing/2014/main" val="640904270"/>
                    </a:ext>
                  </a:extLst>
                </a:gridCol>
                <a:gridCol w="820409">
                  <a:extLst>
                    <a:ext uri="{9D8B030D-6E8A-4147-A177-3AD203B41FA5}">
                      <a16:colId xmlns:a16="http://schemas.microsoft.com/office/drawing/2014/main" val="4037872660"/>
                    </a:ext>
                  </a:extLst>
                </a:gridCol>
                <a:gridCol w="820408">
                  <a:extLst>
                    <a:ext uri="{9D8B030D-6E8A-4147-A177-3AD203B41FA5}">
                      <a16:colId xmlns:a16="http://schemas.microsoft.com/office/drawing/2014/main" val="2146903175"/>
                    </a:ext>
                  </a:extLst>
                </a:gridCol>
              </a:tblGrid>
              <a:tr h="21709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CA" sz="900" b="1" dirty="0">
                          <a:solidFill>
                            <a:srgbClr val="C00000"/>
                          </a:solidFill>
                        </a:rPr>
                        <a:t>Peer 4</a:t>
                      </a:r>
                    </a:p>
                  </a:txBody>
                  <a:tcPr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mpd="sng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CA" sz="900" b="1" dirty="0">
                          <a:solidFill>
                            <a:srgbClr val="C00000"/>
                          </a:solidFill>
                        </a:rPr>
                        <a:t>Peer 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CA" sz="900" b="1" dirty="0">
                          <a:solidFill>
                            <a:srgbClr val="C00000"/>
                          </a:solidFill>
                        </a:rPr>
                        <a:t>Peer 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CA" sz="900" b="1" dirty="0">
                          <a:solidFill>
                            <a:srgbClr val="C00000"/>
                          </a:solidFill>
                        </a:rPr>
                        <a:t>Peer 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CA" sz="900" b="1" dirty="0">
                          <a:solidFill>
                            <a:srgbClr val="C00000"/>
                          </a:solidFill>
                        </a:rPr>
                        <a:t>Peer 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CA" sz="900" b="1" dirty="0">
                          <a:solidFill>
                            <a:srgbClr val="C00000"/>
                          </a:solidFill>
                        </a:rPr>
                        <a:t>Peer 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CA" sz="900" b="1" dirty="0">
                          <a:solidFill>
                            <a:srgbClr val="C00000"/>
                          </a:solidFill>
                        </a:rPr>
                        <a:t>Peer 6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CA" sz="900" b="1" dirty="0"/>
                        <a:t>Peer 9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CA" sz="900" b="1" dirty="0"/>
                        <a:t>Peer 8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CA" sz="900" b="1" dirty="0"/>
                        <a:t>Peer 1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CA" sz="900" b="1" dirty="0"/>
                        <a:t>Peer 1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CA" sz="900" b="1" dirty="0"/>
                        <a:t>Peer 1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6349751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421861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think-cell data - do not delete" hidden="1">
            <a:extLst>
              <a:ext uri="{FF2B5EF4-FFF2-40B4-BE49-F238E27FC236}">
                <a16:creationId xmlns:a16="http://schemas.microsoft.com/office/drawing/2014/main" id="{286ECA46-70A4-D57C-4B0A-2B3F29239CE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4404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84" imgH="486" progId="TCLayout.ActiveDocument.1">
                  <p:embed/>
                </p:oleObj>
              </mc:Choice>
              <mc:Fallback>
                <p:oleObj name="think-cell Slide" r:id="rId10" imgW="484" imgH="486" progId="TCLayout.ActiveDocument.1">
                  <p:embed/>
                  <p:pic>
                    <p:nvPicPr>
                      <p:cNvPr id="5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86ECA46-70A4-D57C-4B0A-2B3F29239C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5" name="btfpColumnIndicatorGroup2">
            <a:extLst>
              <a:ext uri="{FF2B5EF4-FFF2-40B4-BE49-F238E27FC236}">
                <a16:creationId xmlns:a16="http://schemas.microsoft.com/office/drawing/2014/main" id="{928AA783-BCA2-46BD-8665-59261B3344D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73" name="btfpColumnGapBlocker399837">
              <a:extLst>
                <a:ext uri="{FF2B5EF4-FFF2-40B4-BE49-F238E27FC236}">
                  <a16:creationId xmlns:a16="http://schemas.microsoft.com/office/drawing/2014/main" id="{29D9981A-A6B6-1862-CDCB-5C41CE234B31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67" name="btfpColumnGapBlocker607281">
              <a:extLst>
                <a:ext uri="{FF2B5EF4-FFF2-40B4-BE49-F238E27FC236}">
                  <a16:creationId xmlns:a16="http://schemas.microsoft.com/office/drawing/2014/main" id="{59CA8323-7175-FF82-120C-4CD2EB81141F}"/>
                </a:ext>
              </a:extLst>
            </p:cNvPr>
            <p:cNvSpPr/>
            <p:nvPr/>
          </p:nvSpPr>
          <p:spPr bwMode="gray">
            <a:xfrm>
              <a:off x="8843764" y="6926580"/>
              <a:ext cx="540544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5" name="btfpColumnIndicator271477">
              <a:extLst>
                <a:ext uri="{FF2B5EF4-FFF2-40B4-BE49-F238E27FC236}">
                  <a16:creationId xmlns:a16="http://schemas.microsoft.com/office/drawing/2014/main" id="{9079212B-2132-0350-545F-FAEA38D2E37F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btfpColumnIndicator736305">
              <a:extLst>
                <a:ext uri="{FF2B5EF4-FFF2-40B4-BE49-F238E27FC236}">
                  <a16:creationId xmlns:a16="http://schemas.microsoft.com/office/drawing/2014/main" id="{ECCB0E6C-B6DB-BE0A-C0D6-C1B47FF25DF2}"/>
                </a:ext>
              </a:extLst>
            </p:cNvPr>
            <p:cNvCxnSpPr/>
            <p:nvPr/>
          </p:nvCxnSpPr>
          <p:spPr bwMode="gray">
            <a:xfrm flipV="1">
              <a:off x="9384308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btfpColumnGapBlocker938256">
              <a:extLst>
                <a:ext uri="{FF2B5EF4-FFF2-40B4-BE49-F238E27FC236}">
                  <a16:creationId xmlns:a16="http://schemas.microsoft.com/office/drawing/2014/main" id="{8B92BD04-6254-9514-3E17-71B22E662DD6}"/>
                </a:ext>
              </a:extLst>
            </p:cNvPr>
            <p:cNvSpPr/>
            <p:nvPr/>
          </p:nvSpPr>
          <p:spPr bwMode="gray">
            <a:xfrm>
              <a:off x="5825728" y="6926580"/>
              <a:ext cx="540544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8" name="btfpColumnIndicator246615">
              <a:extLst>
                <a:ext uri="{FF2B5EF4-FFF2-40B4-BE49-F238E27FC236}">
                  <a16:creationId xmlns:a16="http://schemas.microsoft.com/office/drawing/2014/main" id="{B40F645C-5EDB-58A1-2045-E8ECCC91D58F}"/>
                </a:ext>
              </a:extLst>
            </p:cNvPr>
            <p:cNvCxnSpPr/>
            <p:nvPr/>
          </p:nvCxnSpPr>
          <p:spPr bwMode="gray">
            <a:xfrm flipV="1">
              <a:off x="8843764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btfpColumnIndicator387430">
              <a:extLst>
                <a:ext uri="{FF2B5EF4-FFF2-40B4-BE49-F238E27FC236}">
                  <a16:creationId xmlns:a16="http://schemas.microsoft.com/office/drawing/2014/main" id="{3B134348-B84A-689C-6138-F4839ACFB29C}"/>
                </a:ext>
              </a:extLst>
            </p:cNvPr>
            <p:cNvCxnSpPr/>
            <p:nvPr/>
          </p:nvCxnSpPr>
          <p:spPr bwMode="gray">
            <a:xfrm flipV="1">
              <a:off x="6366272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btfpColumnGapBlocker401561">
              <a:extLst>
                <a:ext uri="{FF2B5EF4-FFF2-40B4-BE49-F238E27FC236}">
                  <a16:creationId xmlns:a16="http://schemas.microsoft.com/office/drawing/2014/main" id="{E752E715-74C0-363B-FA57-5419B6A42942}"/>
                </a:ext>
              </a:extLst>
            </p:cNvPr>
            <p:cNvSpPr/>
            <p:nvPr/>
          </p:nvSpPr>
          <p:spPr bwMode="gray">
            <a:xfrm>
              <a:off x="2807692" y="6926580"/>
              <a:ext cx="540544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2" name="btfpColumnIndicator523410">
              <a:extLst>
                <a:ext uri="{FF2B5EF4-FFF2-40B4-BE49-F238E27FC236}">
                  <a16:creationId xmlns:a16="http://schemas.microsoft.com/office/drawing/2014/main" id="{1446B007-BAB0-220C-A274-9EEE3FE0303E}"/>
                </a:ext>
              </a:extLst>
            </p:cNvPr>
            <p:cNvCxnSpPr/>
            <p:nvPr/>
          </p:nvCxnSpPr>
          <p:spPr bwMode="gray">
            <a:xfrm flipV="1">
              <a:off x="5825728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btfpColumnIndicator162008">
              <a:extLst>
                <a:ext uri="{FF2B5EF4-FFF2-40B4-BE49-F238E27FC236}">
                  <a16:creationId xmlns:a16="http://schemas.microsoft.com/office/drawing/2014/main" id="{B4480D23-6FA1-9726-6051-5E413AA54008}"/>
                </a:ext>
              </a:extLst>
            </p:cNvPr>
            <p:cNvCxnSpPr/>
            <p:nvPr/>
          </p:nvCxnSpPr>
          <p:spPr bwMode="gray">
            <a:xfrm flipV="1">
              <a:off x="3348236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btfpColumnGapBlocker742465">
              <a:extLst>
                <a:ext uri="{FF2B5EF4-FFF2-40B4-BE49-F238E27FC236}">
                  <a16:creationId xmlns:a16="http://schemas.microsoft.com/office/drawing/2014/main" id="{58C179ED-8205-BA3C-CB7A-64E5045C7B4D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8" name="btfpColumnIndicator519946">
              <a:extLst>
                <a:ext uri="{FF2B5EF4-FFF2-40B4-BE49-F238E27FC236}">
                  <a16:creationId xmlns:a16="http://schemas.microsoft.com/office/drawing/2014/main" id="{2DE2D332-607E-0506-2DAA-CC23268F865C}"/>
                </a:ext>
              </a:extLst>
            </p:cNvPr>
            <p:cNvCxnSpPr/>
            <p:nvPr/>
          </p:nvCxnSpPr>
          <p:spPr bwMode="gray">
            <a:xfrm flipV="1">
              <a:off x="2807692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btfpColumnIndicator208092">
              <a:extLst>
                <a:ext uri="{FF2B5EF4-FFF2-40B4-BE49-F238E27FC236}">
                  <a16:creationId xmlns:a16="http://schemas.microsoft.com/office/drawing/2014/main" id="{C0F9119E-F9DF-AC42-A526-AF838738518E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4" name="btfpColumnIndicatorGroup1">
            <a:extLst>
              <a:ext uri="{FF2B5EF4-FFF2-40B4-BE49-F238E27FC236}">
                <a16:creationId xmlns:a16="http://schemas.microsoft.com/office/drawing/2014/main" id="{F9D9D2C6-506B-AC5B-15AF-2C0E06CCCD00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72" name="btfpColumnGapBlocker511877">
              <a:extLst>
                <a:ext uri="{FF2B5EF4-FFF2-40B4-BE49-F238E27FC236}">
                  <a16:creationId xmlns:a16="http://schemas.microsoft.com/office/drawing/2014/main" id="{ABA31EBA-68A0-A205-7EAE-60D2D1C3DA0A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66" name="btfpColumnGapBlocker570595">
              <a:extLst>
                <a:ext uri="{FF2B5EF4-FFF2-40B4-BE49-F238E27FC236}">
                  <a16:creationId xmlns:a16="http://schemas.microsoft.com/office/drawing/2014/main" id="{D78E8598-3BFD-B905-2766-8BBB02CA611B}"/>
                </a:ext>
              </a:extLst>
            </p:cNvPr>
            <p:cNvSpPr/>
            <p:nvPr/>
          </p:nvSpPr>
          <p:spPr bwMode="gray">
            <a:xfrm>
              <a:off x="8843764" y="-205740"/>
              <a:ext cx="540544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3" name="btfpColumnIndicator541543">
              <a:extLst>
                <a:ext uri="{FF2B5EF4-FFF2-40B4-BE49-F238E27FC236}">
                  <a16:creationId xmlns:a16="http://schemas.microsoft.com/office/drawing/2014/main" id="{F6A5D051-9361-2130-9D86-BDA3B3AA96AC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btfpColumnIndicator900417">
              <a:extLst>
                <a:ext uri="{FF2B5EF4-FFF2-40B4-BE49-F238E27FC236}">
                  <a16:creationId xmlns:a16="http://schemas.microsoft.com/office/drawing/2014/main" id="{49CBFD99-694E-C81C-69FB-0CD1E75FD49A}"/>
                </a:ext>
              </a:extLst>
            </p:cNvPr>
            <p:cNvCxnSpPr/>
            <p:nvPr/>
          </p:nvCxnSpPr>
          <p:spPr bwMode="gray">
            <a:xfrm flipV="1">
              <a:off x="9384308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btfpColumnGapBlocker919011">
              <a:extLst>
                <a:ext uri="{FF2B5EF4-FFF2-40B4-BE49-F238E27FC236}">
                  <a16:creationId xmlns:a16="http://schemas.microsoft.com/office/drawing/2014/main" id="{80325E54-F47F-48E3-07EC-2778B62B48E1}"/>
                </a:ext>
              </a:extLst>
            </p:cNvPr>
            <p:cNvSpPr/>
            <p:nvPr/>
          </p:nvSpPr>
          <p:spPr bwMode="gray">
            <a:xfrm>
              <a:off x="5825728" y="-205740"/>
              <a:ext cx="540544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6" name="btfpColumnIndicator252479">
              <a:extLst>
                <a:ext uri="{FF2B5EF4-FFF2-40B4-BE49-F238E27FC236}">
                  <a16:creationId xmlns:a16="http://schemas.microsoft.com/office/drawing/2014/main" id="{632F448F-8DC4-1E5C-A07C-2CD3515A91E7}"/>
                </a:ext>
              </a:extLst>
            </p:cNvPr>
            <p:cNvCxnSpPr/>
            <p:nvPr/>
          </p:nvCxnSpPr>
          <p:spPr bwMode="gray">
            <a:xfrm flipV="1">
              <a:off x="8843764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btfpColumnIndicator910157">
              <a:extLst>
                <a:ext uri="{FF2B5EF4-FFF2-40B4-BE49-F238E27FC236}">
                  <a16:creationId xmlns:a16="http://schemas.microsoft.com/office/drawing/2014/main" id="{3B2ACD34-CEFF-E3F5-7BBC-3DEE20C949CD}"/>
                </a:ext>
              </a:extLst>
            </p:cNvPr>
            <p:cNvCxnSpPr/>
            <p:nvPr/>
          </p:nvCxnSpPr>
          <p:spPr bwMode="gray">
            <a:xfrm flipV="1">
              <a:off x="6366272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btfpColumnGapBlocker197737">
              <a:extLst>
                <a:ext uri="{FF2B5EF4-FFF2-40B4-BE49-F238E27FC236}">
                  <a16:creationId xmlns:a16="http://schemas.microsoft.com/office/drawing/2014/main" id="{D8798C0D-F135-A281-423E-00B44A8B7322}"/>
                </a:ext>
              </a:extLst>
            </p:cNvPr>
            <p:cNvSpPr/>
            <p:nvPr/>
          </p:nvSpPr>
          <p:spPr bwMode="gray">
            <a:xfrm>
              <a:off x="2807692" y="-205740"/>
              <a:ext cx="540544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1" name="btfpColumnIndicator667145">
              <a:extLst>
                <a:ext uri="{FF2B5EF4-FFF2-40B4-BE49-F238E27FC236}">
                  <a16:creationId xmlns:a16="http://schemas.microsoft.com/office/drawing/2014/main" id="{BB0BE87C-3568-DC34-BB5D-1E574DF65AA4}"/>
                </a:ext>
              </a:extLst>
            </p:cNvPr>
            <p:cNvCxnSpPr/>
            <p:nvPr/>
          </p:nvCxnSpPr>
          <p:spPr bwMode="gray">
            <a:xfrm flipV="1">
              <a:off x="5825728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btfpColumnIndicator495713">
              <a:extLst>
                <a:ext uri="{FF2B5EF4-FFF2-40B4-BE49-F238E27FC236}">
                  <a16:creationId xmlns:a16="http://schemas.microsoft.com/office/drawing/2014/main" id="{29D2663E-F0E6-9917-4380-BA63D074A4AA}"/>
                </a:ext>
              </a:extLst>
            </p:cNvPr>
            <p:cNvCxnSpPr/>
            <p:nvPr/>
          </p:nvCxnSpPr>
          <p:spPr bwMode="gray">
            <a:xfrm flipV="1">
              <a:off x="3348236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btfpColumnGapBlocker462187">
              <a:extLst>
                <a:ext uri="{FF2B5EF4-FFF2-40B4-BE49-F238E27FC236}">
                  <a16:creationId xmlns:a16="http://schemas.microsoft.com/office/drawing/2014/main" id="{7DF0E58E-806E-D369-9865-E1652EEFB79D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7" name="btfpColumnIndicator234264">
              <a:extLst>
                <a:ext uri="{FF2B5EF4-FFF2-40B4-BE49-F238E27FC236}">
                  <a16:creationId xmlns:a16="http://schemas.microsoft.com/office/drawing/2014/main" id="{E7A0F2BE-AC5B-73AE-96D4-FE2A0CEDA74D}"/>
                </a:ext>
              </a:extLst>
            </p:cNvPr>
            <p:cNvCxnSpPr/>
            <p:nvPr/>
          </p:nvCxnSpPr>
          <p:spPr bwMode="gray">
            <a:xfrm flipV="1">
              <a:off x="2807692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898746">
              <a:extLst>
                <a:ext uri="{FF2B5EF4-FFF2-40B4-BE49-F238E27FC236}">
                  <a16:creationId xmlns:a16="http://schemas.microsoft.com/office/drawing/2014/main" id="{E5DAEB13-09F1-0FAA-AD52-ACE73D293D24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5" name="Cut_7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kkRwkDcp+/igEYEdfT5g1hiCTa/4vblDh4TfRbgovM78rTILTQL0tFZUKffyzIT0PAvgszZF/RXENwUi3yLepH5WY0PybXn7gXKsk69/e2KUJ+hnzDSkuz3uU12pij9s7XZi6CKgcEKv3kQhtFrDVjpOhqNUlpSec3wbNVwdfiAgUzVYtXeffjxmUwZWBOMxzYjIxIQIP/RWIU+z4fdx3oOo3KBZGdlW9qXpcGkwnq4/28D0RsIZVF6+yKeIm+gBUBBQnYOGkfyL9377FL+lRWJLt/nXh5DkWgK0voAA8cYQCNzGvb8ClRkFne7ehHjsu3jhaaSlTlf5QEIB5FQotZ2njzKKSunCyCCB3E8fjJ1GrHgEE9THYyLjz0VNnDqki9f2wCNPmDJBGhzGIHhaYPiMm7F3eY7ksXYzv55ChoI6jqiQrOOPYvoDvoKLDxv2GmU4d1+fbxyOOrouLvt4OaDNOqfAKQTM++UhSLsDDinDpvAzPgFsmHShe6ZvrNzVz/ZcUMSrGFCKytqnu6M4rWb1TQk0KZR7xGMZrQghkyyrIcGUkSZzXFLvAqf4hbVOnmWCJ2U2dd+z5KckOwSOiE4BV28aErLuaJr4ctuyD8GEzDCcIyDvrZvYydGzmpXse3EZvyi79ZoeB+bzsW9OiiZ19iLCN2D4OMa7r7Qw8u7SVKzIx8S1Lsoq9jQYJ0xQljAk+7ytXUYM24xEsaJwse6tX+cSYO9LZjjK1WcrmPqppCTH+Z1AYm8GHupi1JKMlby+3roI27UZRHogoswZgky0XrKeN7QVLuuFDWFwMroFrJHISbry1N/CuVn2ccnO/v3ejYRZwzDSHfHMKQbVr6QTbFtKxUjYdKqoWi9xzcEWmLnl6EW0g/hnRfja8T1EcmoKfjleKnoHbKAzBjqK8H0h0BSQFaBAZc5aLmr45X5IXl8/MXtwUN3eo0YVPnJweX4AfJYpn1MXkGuj9T2Y0uZ2pwLHUP+6lu1pAcQoVAM1gThS9Kbxsd5ejUegr2WQC8DHDCfP4wk5bL5XKGpuQhvhGR147fJTtEQSri3Mk1NaRIIpsG2BZUPmrKiwntK6r+24qgtbzzXZ2WdfuYRgSFGXmftvonbsgxPlJ4hJF2bILDmEAnR9/dtxB0vbX/w0PX8id6PRYHykPYGcAKffml4hlphkZUp7D4FRFRA/66SAKUHi31ST1f9jaQJab78RdRjWiEM6KSaKv3OKQf3uLfcfoGbihamF985KjVzLCX6KdQSKtTpFfcH2PmpncyhZI9wSU7tInoh4p+BLshXvld79eHc9A/XhVGjFyRl7DEsAF8S/MSoEJXA+AVJ4G++e+BIcffzG8h3ucr/dYAqzF3o0CwtvIc2o9FsZ+eiQanZtA8s55daaWGEMXKNTvJXaLMlLX6kt56+pTNBAuvJX1J4KuCqcjZkW/BivUIQ7lu74nvmQd5rgdur420jm498Qpz3408rna4SJwfy/Ikbk2RwRswSKgB0FYWJhxguQb/LXhSSjguJ9ftD3J+b4fs9K60vUe3cJ+urONpasmIgv+XvnFuk+nN+SSeN7Q/Srkh+3zdeEB4SmRuA9/8bC/MeniamLV3+QPT1Thd0Gb0gW+LDQ7ZjQfaE7tk0etoaCZ70LEZjTortuXPskyEHNabF6dQYvBiyrmEYpBZz8RTF24eRkz9yo5/Hucy/oh6EWxXQCM+iyM++zP3MpSBVtYUrbtW8iZBKtouIH9nv2n0mHqyII/Nnzsvhsjh85RcbS5Urm6pxHzMRMuJ1ZJVstiBsgeAwyrMXyRxa1KW4ya39qvbbeN2imoqOWpVpSA7/s0ndSuYGgQbHk/nw7dDlXPVKHteb2Z3vxsksDbVbyv6aeFaO1pFtJW3Vp8RHz0amR5vG1d24RLya3I13OuoQjh60Cl5DyABDhQ5ujla+AkDHnxqFpTRpJ2tR/cGpIyP58nO+b0IfMIa3DPO1MxjDLVxVp3nL3u1kAwSxvE1N7MAPscaIHETrYJ+ZQrpApnkA7VkR3xLoCNccfKbEQFuPtDpLX+IGw+40ho2cbEWYvUMktZnOkiPxkjh9iw7Vrq48jKfz28lThAl17uW2rOdjcmENovDHVlic8qfV+ZQ9dAu1j0zFz8m6FjtPvnj5x+y3Ba5ek/FxT3yFvaAKBGjD8+jlxIYU7SMyA05d6VxxWtz1czANA40Wvq6tEbrV6iXAhW8vsMT8c6Osn9IqOVCXM7c4KtD98CpFKx/Eyndokw0FYxYG0eQG58r6r3sWiyiLp/M3SK+5sAxWsXQKCWQM98hmVK6LAUXl1jC3mxoKbCprahig/ni5uZxJ3qD9rdux1Xj4X6SPv7d4gVXdFs5u1KoQ4wvHQkyhjxHJhqZtI2AtY1xCb7mZMZE9M76VqzmZZdXIMRD7x+U/jRaLDvsq2kDYQgXk8Q0ZYdsoCUSli9AAJoLlxfEOZRwOxmk0wElux7p3YD+N5DuVFH783uMAmMXBJaK0rzR1DlPvYwamDsSo0JFkj2Y0+TwEFcFxt52qS8qoHW8BcJ8Tzwn/L27kpiNGIvv3t1RlU8SE8LF1yWXDzkI0AzkfOLHreU8jARBqZ0QVckiNlDoC7IHmYzbE/6rqXXmw02740EMtJleJtS57QLzGpmBGXN6L3QjUc5RW1UbuPdqjUjnxVya6ybUSy/OUB3pOnkfNk9u19uJOrwy4vy4ZeX4GwWUvr/sTQkxOaEMy9CWRwFnn+w4dd2A1nqPxaJuKghGkgLEKs3dHlMLckmKM6l9tOmeHbAJ+oyD8yEcejbNLpqvW1OduvlOCS330/mK/sbf7xLZmiLjYRdgDhmVKtLzWwvFVWQ8rZp+wEgmwE3JuPS0leqXREfuKMilRpZHu4q/YPU4qzFRbOvP1n6y9EzYCJ20fzsrHlh31C1b8ud0DiW6PCwHvO9VUK7W99I5teggVxgZ8jIMk44agQElYnYOJ+MwEmwAXz7xwyMxAlAMbKW3WpjFdQnLvavoqUOWuMrwpL4GH0kdqR31Ku5U2T1ZA0IuHmIz+bOo+JYQe7uv6n/YSbUveGJU38Q6nYvRYfRsgOttn2COmgZTVN7biFocC3f8sWRH117EvNshvSip3Xs/WHPvelA1ZK6a/MgFq+NAy4s/OlNh2sChconV9zDI+5hVgw6tUjNouxuz/pV9bz78xiWuRzFkrU8Xd3lIV5FuZaAFnIN463FGLt9YoTEZbnVdrUHg43yOgIn0jBCdv78nOlfm4xhN4b6N1zouYL6JZk8j4VVLC8FXVmp5omjAJW5rhFngblHx88RN6L9C880fv0HySGPi+acRA1pfi6w7iJ9C6LXpm8g1jM+EJ69LIlUxFYkBlIFRUY9G9GtQJiyEePz+m9H+dC1qrs7lNd/jcJzUF5fUlt869vQATsWDiXt/teCQCZvA5qjToqzKd6VqqAMV6JRRI1c8w7z8HqyLYMV+eN1xz6wbgRnDgDQnbbykecvmHDY+aqVkzOCDvu6XEaqbsDoSNeOpmA7ulVk7rMBKUJIkK++5YZJqzVgjV8ofvjs2VpTflq1sRp10jS7Ww5qXzoIifLfIBciRfJRn2PICUk1cyfWG35pXJ8TLjQ9W38WKGX9swYaokd0N/1u/6Bs4eXxJ2LFsUM13FdqZ3w+XvZtI4OWNzEEDGmrE70vA3tr2Ix+YoeS9gs5ekFvov9wGc7BZs/ZnELLvnQtSRaYEI10d0N6EsKV5s4IQs1AN/yEOiJwZ3HvZ1tGOhUJCbvcoE705r1isF+Ef2JvMZlD9RHezPDt0UTtw3K61tb9ApZvmzmig2gX9Q3wTMCU+sbUZoMLv0wlnhs1V2SflsceR7tGbpnc/jG2WVCVAeinnYqWt/KoDuOU8FNMNpeQO6Is1d8IzqAIouBo/GiitNWIb4yWrvKLyZ/QoVeDuZ9ZWCEbgCu1Ya/WFtc6SLxM+LXmzvsWib18OrT4TVKhdGPSay+wAaAZmqkE9XKYLr+XnLpxmCq6b+d2eMUqCD+98WWzzgAZ07kXPhgq8CaSm2bICHF61X2ZOJIz4fDiaepVOhAIep1hXBsBcXJurxkBd3qkS17sh1nGs4cMU+cR+dS+rEI2Dbvjb1YfDS1sVTrMpgntNdvntkfhX5j24LZjtp2o8kZCgDEmfdNRHwI9A84x02C5ikgJ5XEeqStUs3mfXOwzKtURmBCv9pMUE6sokoAXOnnEmIrYyZIhOCR+OEPBZW8OH0/iJEAHZ/cxTSNo9zTxSPO3x7CSRrszqx0wuoSUQXIdrRDA4nFKRdmGaP3mNij34aY57o8PMA5g4Vrmr/wy05BXJTdnaxRmvvMU5ENKaepspbMvdga8X9AWnb2Y8/QthhJdEV6rN9lAqGmJfdeBr5nXURryO5pz8tHayAUtfIece8qiOcDjjkKxOuXXrEIs07AtfWMWECABKZLD75fWvOhRVUwysUMEAmoZe2WZUPis8NM6lU3Xy2jMc5JQzK4x6tcC78yyOmFW8etoN1Y7iVn2QtuFRD7sIrjgtXi6Wm9RJMwD4pEvWl9Dd8e2uTzAY/Q5QNDKV+Ne6GC5ySY/D1X/2dFNgAEVDshJ3o45DxrtDZtyxL93vXjnM37DuuMsMz3pMdCaZNEyTlQmA4hTA4c8s/Eu7bQtHKBAxGID/EPCXVMe/lUhXpfNug1XdF7k193irrW8/LPEFAskibJkXDrZmE6DZCpBUu0/Lp+/IInohX4HMJf0iyi63d9KG3BXNbAYP1xrPcW1m7UINn8XnZg4ojzH240aIOdimOU0KUnx/XXkGa3Nba1njaVgjhRSvzkd+xD/tXSG5bAHKPsy8D+RczXPZagpNevtihnF81uAajTJGdPCTAmkOQefMxblGpXjmktiVrA9OKbbVvexVE7Dd66zopL/BIKy3Nb4yOQ7d3DG7XL1b/2ySFI8gtqnDz46/ckO0E0hbtWsllr+pCN2qEx4yG/zujO6R74GnUFsnazRa1eJO8ewhfns9XcvzF4tyZ/3kPMIaJh3SE8J6jTNDpTmbI04+dAk/8xaSpaTpJLMdoaEh4VRguaaoo1Q296JzrNOIRmehcubUbkOooO45I2GFrTtxZFgEHsDVc1jk5FWocezQmqhqr3NEtiNYHgJRAOXy4mjSegCrtRblMAdQrnYiEg8XVac3BmK9hI2iGZ8WwTGB5MCq5oAWivYT4bIJqXN+MN6Kk8iQ0oEXyXA4XtKKv/tnko6PkGhs0TgMFhT0CXwcYExc0DAmCaJt29Y0xXLji4J/1uJnfsopl7e3/hsAlhmBHqCYgnxxoWuKWZixflSZsuhk4LEWVG3gE44F73SZlAbBlTZc17hF0rHIWhTOsiSHG/ZMuyLABSniW6gZBmMFhHm7PGqwF/UIyo9r3V0Wa77ERAyo+05bTGAuuvxA76Te52PahRtdlGodjfVKOCYsdAJbYCkeCVpCpuZvjs+B2BAym9W1R+TPCoV2qaBhDDY4QPkyhjr4Dnxvo4x14YOli8Ax68b8U/hsHamEfI8TkfDDBQpNgCEcf7LKEj8ZvuPdKbwVoHhwLcNb4Y00G+G39V9NGp6hdFBjbSLVNzUGwxXmAqkSKWOrhPWXADsZmaHI7CLYEHZyh5gm16QlXHQRck5Jw7c2HvodwImwe3Qd3byePLQDJTxGvgvC9cCsu32qeMRt/znI7vjMqW08LBbhaZsmxIkzh4tc67bdHw5gzdi7bmqhHcu0xJPZY99kjDhBp9S8ZQgiazpLhjC1TkKH/EZ1jcz78CUNwT03EXXm8ZneYEBRrmTxrXYac/iIn/59ZKkXQ5DkqEHuIKjtJGToeaa70uwcI+lZ/Z8CXbu6TsnzFckYkUrSeYrSc92U3WjnToZsCglTAIAY6Syj5UBj+IRwjcpcLV/Y3hdZr7SuLg5a2Kw9SFEXra1+HiONg6BBrHtNVhwIpDGKI6nhenIVQmt4mM4G1SYGZWv7F+J1x7cOLoDONBxfMpeZkwZY6G2+WrIc2cMkcp6uedpTqch5TDBqRyB2CrUN2E2gybkHgGtkQK+qojiwY6GrczEqLC/Eir0GUvmFhyg8lqAYQ2dAy0QevzCEIR+GGYt7ohGysDAFFebrpVFvaJkHQ8Tm3vEQmZPQ/PFcsCl6XcQy+uBJemjLZJ7FqjFQtqOuSHH1UFPKQY9Xo/syrJE7Qvlcmblx8OtUbsSBcqIsIwy6I8ZnVa53TXtH0YGDbaiyDzofWX/HGvK71FLJhgYbG3T2OR5iEtLbXYRk6MiFNWDUjbpNju0RlB6Xvmx7Dy4IV+lmUdMU7WMZSRKNNn1GqivkMHmQ2GhsbzV5B5gT4pOvT16QXanPlbW+BAveyf354PVhH8D/7FQDVcW2qJ5E+zZISWPsEOqICdSJMmderHZxGl9eU0NyuCCGXjb4YH7icZluJEGX/T8B5cpk9/s9M5zBx+ff1SFe35jEiKr9l7hOv55sM2cfSL6p5X+1RxyS2jkPc20rpAOfI7YloZy9gjb8Y3h7VGEby7zy+6p5Fjnn2g1Bwe0GU8EV6iNoSg9tX0CqlKIkHu+Ywf4NqHqZDa0VkZjcRiUSVoE/jicNlKNOWF0Zfo4TDjzIKQ+zVclf1w8yw2AT1XD5dccXHBxRdZjeRpfvvi58jFm87hy0QXG6abODhFwaPrzwWlW9k90MXWlCMMpxlvG9m2dItA/FS12G4w9kPZDvOPWUwpD+jDmPkERftaJGp8Dz6ej3vOhAA7Y9aF9msVU4Fq2EZpUKK7hvFdKlUqhVcuZr9ux7/uSP8BAAQpViIMt/O58XLCXhsoYI9L+d0Y5IuaGWr5NEtgfUKy95fFBi6iIWVfgdgxRrjAVkgFjTeG3r4ReaouMPqhwrrd2oZbC4DtH5YWDohN0rHf0/9Km0NqE9nE62O+GSSHLGYSVzwui3kRwYSFEyBmyKg/qoem3NEbRq3VJlf1fK1zVITwgoiNfy7Vpwfdkg1+P3y/ndMqLjpaw2DDlDtQ628GzvwSG5HKbbNLRYSlNBAXLYPqCYF/eXT0c6Ga/wI1hQ8TmiLFo8NBhB7PJcCJtbLyHUza5vgxDoSFHXRenmKxT+5Gsu2iwWQtBpouOdi+lx/Z0LoFf0qRb4uYiEbO1kiI2Ek1Cj1ZjzQ4ngfOdgXL+H7oW7943seMdYVZrFoyCpxHjqIJTD/Cm9Nl0TYqDrmoXHZ5NXlnhLclSPHV/ine1mNO/oqnq7AoGOuwCFUtL7/TQxPlHrSnuKv4xDyYwoAbFXzllnIWdSI+1Tiyx82XT0SKPVsZNJzSn0igM7DHIJOqBegpZgpEd2xOlKc53UDgAc/jaNajU3DbzGQZX4JVsrVapQhqf4Uh4F+dyTfr5y5hzRY8IvKV5vCF0SAsotnQP7/hJsfXGpi35Pa9J2K+LG6c/ce2qI29Jd/FoF9kIUta9U1hwz9pvur86Ysly5csuszYLVT3Nn4HlPojOBK7Eg+gxUcfP2K0MdTQ5DJc3qBvWl/xtpLgpZhlYkN1INLCA9zFjdKaqStP9v3GYqZR6XmK0ET3T5pEa5rPK24RX0Zuwws2nJrPvVVwG0JTwz7Ahn0po3ui/utnDi9CNl6ibifSBjS+75swt269g2T9918esGxr3AWGFFkKBoN7W6Qhbm5zyiOtJiOec8+J6EoMOlING2QlwFw8105+7bMrOQOJUvmtF4N4V8GAirVAeMhzEf5Vr44jqS2kjV3OUYiJpxihY1Gv41rD0sjXCGhj3i3gMN9LICedg1Ty8N7QO3tTomnE1rwQP7LYVwLvWG+R73cyXMugPzylGZ8eODyWr2pvfmapYOCKNiT4kIiVor93Kj3GYixsEragUli9NMBuph5kY9GvLCGLtrPYuNCTPtwrtFVxTDHhuPYxzKv9xbP25iU6cvmJP4ZzILBVLVGxpL0SvoG6gtmGhq2uj+W/KnJ3zqJYEv9hOl6M748Wj33FgG2NiHoA15y6SwHuE7iSCjCXT/9Hny9IbZlXc2SZPO5EOTePuSfqnHDdRjEYwTlWf0084F106hbypz32ZQtHs6NijeD79CdB8NXh4Ubzdavqtm4ZEXkJ44vt9TPY3/kguIXQ2nShdWnOsNRVfVvuIaoLHDn2OnvXR0abmkZusxwzzz4XptcX1R2LadLAa7u+Oq9kYO5+Hh/GZsNagopf6WXsBKfyvNgPOpWLvP9hbrt2cOrsVflsqOsLickyGf5yX5ooKDfQj3ChmBJgW6bRlAdRJ5VAXpyP/ugmKHeNMbtlLQPUYOyxRRKz7AAL9fVxgWhgPL0Ca3fHViKUkjIhDIXgkbP7zjkrdub06nOOwrAisRdj4Kx7WAc3+1ZUHw3YFcFWk29LioWJU2pLn6X/o7y9xyF/BE7tFM/9PxpzT9wf7H9P76GKYhNFf7R+PwTTmx52TUd01qqP9izncFr6K35TxeIOeih6aMCyV4xTe2nnL2FDVKFLQyQ0V81bAbBXC/m8jA4Lv0ZluUdqiwLtE0z48+AP6CKj/4onaAN7J72WzUWgg62ZpamiOZmu2ZwvrkDMAHEOtAJFoIkv9do+vW6LI+aXVfQxtsqdNipgrlY/LADwCdZR55M6w/nEo9sh4zMkpPhupx+3qpP+mbibFKwJl5MSMw6510ot8xVO6jvLyrSjPLwGhlb9rFiL6ouhaBEK8MYMPmT6cwsztDC9inwtxqYlmUu1JROizReBcPx6eUBL5fbB6Jht1KqY6UcLm6RVmiUAmlYOTT5NYZfBjCSeQMDUw8U81TS0jxEV2TqMUz3HNMR9tQ+5Jeihgf9MME71GCVQD4JYHdlPNqQcuKc95WEBwUwGvCvKxCELlFP0qEym2f56g3bdPVWwaOLwujbmyzkWZt7foItk2Rgo2NhGZqrp5/QqqyboXYfeUJkSFE71EnFKm0DaM36rx3O4CPmwepoX685oicUL8L+taYcxA2/qelvTwKZDUBwQduETSmKeikyuvq29p3+Ga8ggQg4drtKzdz5hDZjvL54ELLfLThZ85TNSeG5yNjhaZAjyHIrnucDyAF0+UCmGQLv4bJ7cHr42XiK966ZK1Pz9ogMfVgt/v8lQtgt3+TWQKlmOze1Bv3IRtwzgUwSSzh1fubqHg+KvpXHkUxE4TTNX28qH79+IiLsSep2mwNBbL6fdtqE4QWfnh/QGewrpm8v+QlduQwXyfffA0la1MwN/IXHqZq5tuHP9a++8O0eEzOE3rqkLtwZ1ey+PJjCyqYRw4WGpUrcZc52PoLinxe5Y8LRN7IFBwmnyTAhvHHaN64Vx28vVRf0i87ODUu/qz0+MMo4MsppQS7sW1FOlveW/VrMkrfMStWuTKTJ5TMugA39jPF+oOmPYZyc6sWzA0eNv6UtjyvZUy3+AG/EJqt9iB/lcQ4US6tEmzyqSi0P24BjybHApBF3tc4PD0RtbaDN9KoA22S18wPlvZnpRcl1HQjGeS+HqG2RIcRVasx8ESXfufPhPmgC9jpBI8vPCf6Yf148LojVUhOdX8iguoceTe1S+fVlJ7UJ0hXwFj5YcoDIbJ9cDK6ziKK94fRbNsSrkXEIQg/AXWhsarXEDeiWSzE3KXPES8uMsEueBZlyMXN5t3Gj8zTEJ0WP5jw1jNiRjSiFeS9ZYTWlfSRS5Nlg1T4u2Qd9bSU3oF6yRXGyx5M2duZwcb0XaoU00LWaVfskg4IshLN0NqgPDbmZ9x5Tshj4nXB5Z2J1CZt8yKR+R5/WH/O/r+j/zyfhxLJpXfDS1pgPDH827eKugW9spXCoW6Zc9gny3KZONz++ZzfYpYdti+idSwLd64wS3QwgVf2ZteF2FGB+deLF5nJJKzQyAsvPqwU6ORm/GI41DLSC4efXQp1OkhzUCI5mWnGahzyfThUkf+hvPNGG1f+mzwOl7W4tMcTzMJjZ4XvBjMOKZXosB6s0eXlLSTOCbq8D94IDPjY7MAbpe5fEE36M/iMz3RpfupYXH4LynvnfCvBikw/Z7XjZo7QPmeAhaWMPxw6Paz83imOlrg1/A3dsD92k0uv21amWnSe2Td94xn4NWaDM8cel9+3K4PRZSIWKtefaCmY9oM95BxrYMGwBXP09FaAEaLuZIritZWlankoH9L0k0W+tgeDRo9WAFBl6GkaHHkChHbGv+OAH96DN1Q0AkgBIADYujCOy2IeG55GXZ37KHKxrB5EflZCGMtqBw13MfrZ1Zc41TbGKPBxQCD1TiWYMPtps66XzG5go4RBE0w6vS+HWQidWl/13czmFXZ/+c3/az5xry+t9qNcEQfq2v2LP+2paTcUyLwEe0PegG69rl4Fxsf6bCHZ6R+21F0yXSdEz07pJCJSZFKFwNayZkk8948eInXn0xArVfwPnHAnr8OCGDDJ6YikfR/PRyw3uxAka0UXeQFUKXBjK1zFCZ+JAgvwWPQH3t4vdaSDd94TStEyuU95oQECDJL0Bp+IPQyFoOODEGYT3wJvx/3LkAeme2r6sdrSwya4Cqwo1Y+o304xZIJ9ESuQweSxPqbzg8JBf+US7pmA0ogFdJ91JcZqnRNcNd8LvSne6IVycF9ay62bIYXHm/f981TiQudThHZ/rjF859S1XJGB8v3MIZP2DgwQOLxk5l9sVVC2dw3UzVNh1kSNB+DoNtPIJOQUHGBzMbn/WFiz8TNrj/+TT/7tlKk2UC4D5tbpBk9ryuo52FD5JSx2GVZ/OAN+8wpTmZEarwIf6rCIt1zJN7GHjXMyAaKaChwhjjWEVw6UTSlK/sO7gDQ25WkFJTnd6NkUZmmQ6DUnjHvmORUH7YqGpoIFXIN+pjBXZ1iLxmTserlrRaTKXMYG6AUCXk1l6JESQwzyJjlljzWnFfXdNkRA0G16I2rRMjMI0warIRBRNNriYFsrXIJFbgpnzUU/GS2BY83S8fqT8U+7YxrNaT/m0wANBtWHHR9ljHqq5CNj+ygulxo3/Vu2/yrEp72xeREzO6gjUiNyw+uqdEsD7wyyToIj8RKZtoXrX4yllhRXEekvC9VYGlT3/WFPX4FggWIjeeU1/M+LRuNPqDL+ZzN8RcvIHha6PGPPJ/jZ4YqxK6CxNF1X1+fxSRI6BzNsN1ti8Gc9hms29eO/cRiJTAgglXJaBIzwkEl6zXfFueMbMffyFSq7G+g/w8QDMoIOxmvY3AHVcNcurdLtMkxCUV+9z1qGYPunYGhqbcSxbnmrGg8Nmttd94OX1xv1el80ib1aqoyLuWBZlKv5qVeOHz1/fW5IzAlLxjgiyoPoKvyvP8TevEJQXqNn59ue7E828hO/VpZvMNeJOI8l+xftSpnbfuJ7Pk/95Vix4YXHO6hvv+HXandsQfZ+frtmv8BLLZ+a6HHwYwGELjoGaWxrU25vkBY7bk61ponOQtKRhFUfevFJa3I+v2vONYcZNa9aM6Tr9PKaz8g7pS9Y0wGLJa3bkBkn95M1/YVZ862cNM1myKWUSAXZKXp9PEUL6IR6H+yyP0GYTqE/wqAVZVOCCwHnXWki3geJ4xB/7tO6YF1ojw4fqO5ELljIIOp/9yA5pZb+MTXS2njdM0x1STItvy31prbhZnrMi4QULOWAZOu3nd4Cf5DgkoQjsYK5lmSAlfckWdEYYJuSJ4erqKRUO/XlVDsjjX9oGgE9KBRhmWk4cZIVlMo2pDkGlHertBjoMpaw7OwIkQmHaPgZtiLWb36ZCuZaq3mxRMrsdjvQMwngdrKpLUWFMJ0CqcJyls6L94LFwuG1yMVtmpJrZ4guT14A+PwURxYgl8WUQZ171ALAuLcjXoopupYMGSHpW0ckT6RJLT52KksQ94Kl7nKjpPqPeGLRpQ66/m/acvD3bwNNBjCGht9w4jIG4oY1Hnv+Tqbyh1vfyyJdZgtMwAoZYAF9OFIHgkdbdrxAAq0+QxIafGGiqrGAuAHIBhmpWbQlBfszXSlS5EkcQZSY/guyy9pSyncwvLSF2fvOFYeSs76xt86LCaAzuEBqj1FGlnDQPmdWGUj2+ghGfgvriXg+Jkwl50IzMHhDjngK4B/LsALssMz9eDzLu+jxqTyktVH+F06Eti7TQ9PgbCjZ3yflsGykqWxv7sW8Gwk0ekqX8/YcK46VFgAgwb6jsAuuJlSNnC6x7NHNOgHG+NP3MVvFNKAWxQM0ZxK3z2oNgDB6GQWvpW54aue6xxvlurARMrCMSfOjy3KRmA8Bm9DvLnknuEb6qdGrOgS1mCa0VRV2IQS7C/RQzeayxVDRKt7JUM6jF7dARmYZfu27OvfO+ChE9CvhBEHNjeRLn+YYIKLua+Dk1RSbhaszaUZhMYsZCe5WV7vPoGFIKYnnCwT+C8BKNkRSBNey7E7jkfA4z+OqIOldhB7bf0LNWYCTpcRl1AOG7A1hD7TTxF18exGulXvWMV+eQBSb/YCQT6lNCI7lHBBCjA02deY+aykXVOfnGZXN0XvOPhMcLlVfleediXvcW3NmWoE4np8R6qdP2vzuWQ4g9AXM9frgBsJd3lb3udg06Ckx49HCOnnvTnZRubh1q+qhjVV7sA1H14fYErWkPtMoR7fwAD/YVqCMXXP50B2Nfb2dJ5OsnbsIc7C5PnpBp2OiBCpsYm/t3voLNQBJWqozIS3CVunmBW3wzdw1OuOn+CsutoGioFMXzQwWaLp7tRRAzLHp1fAbV3HXWB1FWz7wSx2Uafv/mO72bOssitSZcMmCn4tXZIU+nv0XbQ2OR+I6ShvZQEozqnthMBay9p9W751wifyZfKFQ04RvB2oC6OxUVFTs0w9Z5uKJFj9LK3j0+P792olFtcOOOKTo/J3EWlER1DEd/e6UU4fsFxFbrZ45lye/lNzm4vbtv7nNsw6Ttiv2L+18lCLoPfrpGRSZkAg3Ok6QWAoZxv3RzK9D7F8TC0xeXd02veuzUoApe9mnsuc0s/ojXWGtG+k/OzKuNnTQKMDTg0KUDat2RUPAg41G0N68skgxNhNfRyMPxwyp3VPHSEmSkHNOceJs6QDy+IunjNTo+i4X6eeryGKtBDOjD/VTniZpg55BGYGj1SSrbxiNUrssqUoGKOi2gfryrcI42SCArmyEOcXn+gUfyOI18ufMYXZf1aaOKgzT8jRNYZAVqSotjJ9IOakqk9tUTIoeVWrKr3uqk5zmCqpYeHYra52bare4hkIOl0zFm922YiVKRx0CnhcgDvQgTskB/GroMVccaK4aGrkcAkdGhdw6T8ZYCs1xhi6g1dJLuROZApTdH8pHOXDuMHe4TIOia1NNF/lBdcSPgOECGvZhoYUp9CgF3TstlUcIoRcndglA+XDMz3aSJZ4ejku9eFILkApVtBi6FUgvVj3qDl7cujX7EkLcebQsdpsgsHD0R5cIp8xilCoAKaMKx+LSJAsPpKoVHPS71joarI0geyRKrv7/sM8KbWFYODMTQDdzCgpfGeZRrgxOmqVNuoSgaORL7esiKqw1lTycng13BJzijt/GHZs7Vve0ouHrjjw1Y75alYAtVREz7WxEoxRpBMfmdMYKoZeOtOvN8ERxVUamoQ+Arh6iWmSiRLhE8m+UZj2FXSlZ0BmDQo2sZ8uKB75uE+A2ze1DtA+rOtPd+dVYaTtcVYZnM7OZlHZ4vc1scgAJShRTHqfFcOzREBnwH7ge9yRDgUwaDNiIyZwYzWVSgItgBGsEL7t8ywtsjNlrelKwcDu48kywlwZxH9/kWMC/sdJi84wKJfLzmbKosjutWkdkM4J10BiUh6Y9VTxiIzX7HqSebqGoIPV1wLzlrUvVYHo+taH52RoLN4m4S5KRtjHKsHUuLv+op1dZrVKyJ0L5O0P4OkIH6AJnFvmuBkeJzduTh/lwx8DAHJw2UKZtv1lNvUt16QFAVBJv4ClEGZZSwg/oTVaX4CkycuxMD6sD7ArJKxN4TJhXGIA0Xgk+qoKsQ//HNIs4JuwuMRCb/dJkEUGivKHGCr+YTrf+EgWDeWuyrNui45GMPcPaoluyZYMXED57nc27DvOkrqXkFLsLEMnpTYxSbSZxNAJBjZJLHJUvPux5kPuytgUF4Wy8MaB5wscLeMNO+/Qn8mG3QaOGzUM091RZJDVp4PVAcqRUc+BTvihZRR7B9OqSivJEQJkDWv2EsAj00Y/ClEHmXU31jul+42G2YrbTer3TrJFoAdYjHEHqzIbBLh8oJzW7nIbbMqgKMHSQ/2h8WJZ60cCmowWnb4j/9hT5USxpPBQ2bFXS4dMkS8zJuj+wWojdVJOmyvqHkP4XCjrtxTejePV24bezwiIPGQhmE5lgM/neYwnbG2VNRmQfLM08dSFc4586lG2JZePqv9ozcc5Z7UU8UP3vtVJujx7LydycUil51qWxiRvnrV68AdRY8PI/UHtbroySYmJp/ifUZwKTc3d/bne/r2mkcXbemy0QkHPR8SQUPwDOVJ1R6jcHP6/6spyBycudqDIuKCNU4hDTYZCqCXqgKCjE3jm0jXOQWgdTdO5b/Sjiz/kHcMqSi+07Ue7UHYS+Gt8CUY4X8Pm+dftVLD+OiQWtT/20YzxRCBBnbM+67ZG5V29GG35D4MXVoqAvHFU6JY5+TUXUtXVta3FlOyLhzSrM+DBIpnWQXnCKnq7GzARahW2EhKHh2hcBO6zN3rsZwiqQXV95hYSJl5BnTQIoY7pQz7b7mWE7BtOt4ErsiQSMEoVJCCd03bTqAFAmJHu64ZOov04P0dAB7CciK6ScWFUEMWrku50MlI2ekj6x6TayQjkF2Czc+ZuNYv8RQk4P0tERY+BuyOVhJrUqJBbrocEelm6elxbjdKejgZNl+Zx1V2k2hw85L2YeUvpdBUBHXYl4sO7saVp1C7snx7rZeOO/QaP2XiftNUkYuZREzyE/3lB6vMsLta3PjG1BRLIZruOmTYP0wpo+43MTKgt+K9pUALeRshENx1ry2tu0j67AGxF7pweHah1oKLxav8dFxIfiHBT9urIILuOzDZ5GtcPjq1bjJsAVd8jKzTopQOLn/llFlIrhohU5Kl+1ZUQCsWlxs/RGlyUhyg7jOGmyOO2uVw1U07XHxFRN02NC5aDOWRmnwQ5iRcG43KvO66cgLrJZVtBsmOIIXdmQn2EGgraqq+mypC7Msturn2rDbDKkXHzDRDZtOMdzIilQUnlK105Hgkldu1KKNKYzu77n5IhR4Pb11LJhIWorFjBi2tMlFP7OzJvGqiXd6tVxTjkuxI6zOYBRGjh6mNNDgjUu9JschcRGcBBGEF4fmy0lIedEIJJOJbyxzSV8wefKZmAcHdKxDlQC5Syb6wSg5o/DNLqZzipjeIWXVTm8YZVKbHEp/7zGt2ubEu60qG7BZUw+CR0p1EyUPanU6e+e0sfxCUkSSlsDM+ooDJREiTiReS6r1fnKeinAEHt/i0WJee3s2lwH/LAwqt3Qn6IASL4tgvT8s09skEZvqtgaytCNyCkz7jYqi2ZJ9zHWMDkj68GbWFJRxaD9t3KoG4/Vuznclr3d+jnvLKRFHsqUwSc7jHjMsZbrsnofQD8t7jQChHJo2cFKRL2Z4H754nvSGufm2TKDJfFdhdUCCtDi2cYDeH45RGaTcct7UsOvXChf2YW2mSIlr/QxUxdJ/e+v1U7BO9URXOSq8QqlGSw2ApIzD+6soAouJZfIdUmOih2BTAwmFua5JO94cvJB+p/E8dXH3IVjlxqkBLtJznReJXzjHCzBNjHDr7qzvxB6swSX1suBAwUlk2QkHyqKYC2//QFRRCE56oeJPyU04xFT55TSHHPc3RYnUPbZJC39VyQ+t41ywlZFOuhlwQkRHsmarJ70qDH1zqq2txKyTO10wzpu32HMGHVATUUSR84ycwyQ1QuESBwMVA4Vh5P4sq3RXy+kJDBo4N/L0FXViR7pjXKVDeK5oNCWaU3GwXq7pIVSFEN9fuLlFQPxulOHCOan+WuKHL3FWR4/8RQWyzehR2UjMkbZ2OK3tAVcSAnbYuvAnHX2YiWRyhNJFSg+/NOgX17SbR4V6wZ1p3akzVB0mOhvEQ1q4aaKACr0TEUCXV+h973FvEWVs0hEfDJLv9W/bZ886dK9yXowtGC3N/SuLJI0Sp6M2Ab4w/vD9Guepn3dA51TZ+N5KftWkRFKli0i+ez+1GW4kVdQz9LGp2HeMihKMarnMTQ0Ngci5NPtZl5tnqX9HiiLXR9/zCDGm+IsA9dOPWlP4duUK6WXz3df5bcwdTuymK+ozmoOpXb5LfURJCWRrnH6xxHTJuomCmejkoiVdOHafpRs/rmirrIoJ5+1BvWhpR8pc5Cx/rihUtWfSm5ChWijjgmg36dORMGudAjJYST3SdB0MCn/8+rB3slm00HbnELB0LWxszeNG+di+uU3FN+YLJAJ6Y1F4Dgzm7rLUJGqAIPClbEPWRmcTxsXtBo8PIFZIEugURaZTuh1YvNztqjJFiaCsdESGSr2SmcHfNx6tFvxaw3c6jmusizLAZt8FVWhzXlXr3BA4q5PqYdXFDELTKiNqJqd+h79gGo63MUjhXuS0Q2YBUf5M9gC+Fs0WeTnKCvvmKK1XAO7Ftp+VRyqK4HNPzNhzQNrGto9vgl7nwMsRNj0XwIOPAdhgWHmbRneW5HGv6tEZH2hRlem4YLC5KTO0af5yFVcQRivLDMPxvMj45Mnno4OtVL8GLIp56OEn4p6g7dfn26dNUN+8xaqJKkPFnezmfiEOwE5Qjt0ctAlFjOoK1JLJMEb63EgHTenmC/iUZrUF/x4lzAfFvs4aO0rCNpz/U7bewAJpEAtvHMSvMq56TlZyil8j0+wvNnzTptMyaIv/w73H59ZTfv46JXmabiNhh7OS9CwqtCXt2QfbgLMBIuE6KKj+1rG+CBbMe6H6nCEZdnoMK7OR/zdV/OdOWr/qh+bcLF7MeE2SgaqFeU0usvEG1jJ09Rzffc3j59MLjRXGYLXHZhzxdU1ZMgMTNIq5Q7kT5tBmAympc0JsnvctHjYvNSiTM/2Sw6TMDX/NRn6IhtbO69AsVGd2iZ2ZzTZWRV4fmMU48rd2soutopwimKXIHZOXqTCnwFLYBKDHNWwE2wT/XOKBFeCC/IlOktLDv1gB/cpXFMmrOoOD85G9SojX0C5DqlYllw/APXAQwJYxyBDdpDz4y6me5hQlWlIpMwWZE/yxo7Fr9x9FWcHnJxWHL+2uiCQb6fJKyHBC40duWNwf6sz+8S1qd0Ip9HfPgSI6vS4YINA8/tx7DzgFt1iZdFRJBNPlFCkdT/2XSVCLylXJI/oyLOAKhhTVL0tAFMiIGeQWlOTqKVag9zEvQ6vsXeeCgyreZ2jTXSkyjYctQEhyse7789bEyc+/ppu+36XU2YgKf7i9woCVfJYoql6NWPmlaFFw62o4P+VhU2YM9Lo/0/rSdoeBFR8oCoEiWgcCaMYZpIcMZB2DmO/xiyAdJ0zyviN83afcIjYeWkgEZT74a2EFvTSvqQqTMF4LZfys2XpstL+w+zvdOtILz3Sp2v0BZ/OXVcMJi1pef5VsHzlD369yVqG24ZfWf8b7gGEIhiroACZttWeEYfNwSeuKmTQd3jmk22dx699KWw3Obfy2NCAAWTCDdnUaFDVAhvSphkyUdFqErS++d2Z89aETvQ+XrZnVqCujuzF0m0MSg4wussTCUUxHJHOFBvT9JMe9Znkm+2EWGXmzNPIKRozn8SbV0t/XnfZemEVexiNB2Zw/5xPgGmCOMbsFx6te6W1Mbl269PQ/+YNMVdzPeK1xV5gmf5MRd1VdLle90swyUysxQa07QVmOf7LMhqzK+SQMnZTYtHFzjyzVYaxqIbluWNtyVD0EXBSVC0wx4f83ouryglU5PQmGKWewMPsNY8WSckIp/7kS2cWmCTEa54X06W/bfRPHM51qh7X/U+LS8hX9Feo/GIlFoJm+42uPxG9fNGgiMjttzXYJ+50SaaWh+1p7023iZwx7M8/b9WfqEdfJuBwZnyEAKKAXO+/ev8g8jh+A0DnRYTaFbf/8KIukI2X/WiDseivxZTjKojyzm/W0EAkdfCAvOmIM6wlOHK6pPqavUzaliceuTxhNVIwN5Th+RuJRr7o1fBX8g4impxBy6S3cyy/HWHXNWC+SLMplQ+rxwtaos+3uSK7u15+8r52CsQELvBpR8/oFwJ3F/hi3fEVWNJz7wKySlZrfLOZryEYftC8fedOSVig9GnoBzi2Cdx+zdTNmCX/f0Lcmgtww5qjqvdF97ABe8uzuRwMbgW/FaLBZ4izKOSFyeVZSjz08tt6kQYKqQbrkAu07EdVWscz+C1Ls66mfmFB79Z/Rh4xwZ/vCiRIK9btD0MWZpaPrK9CyDaOinhOezwIM6iWR7kPbaz35cbvaq1vY9KmjBxCZggsXzYQz38pJ60Wtayt/wm314jTH/L+52sSyHsvtMYVt9Au3dfQvIe9ttaVZh7HWy7+YiV2gki8pgrSoCBw0Txd9xIJdeZRKWCFSMRvsXsIZfuGJX9uOnyRnz2P9ECxwwNjGua5pC3PJAK+yoiiDfn5gnPxAQAWA3LprqWqU8JzaEgaDED+xYiq2TU+oZhEevCdJK7i8vb0OV7cduPVLdzNVv0UOUpCwSP9MSs1IHVokNFabMVhDzgQXNUP4NWw4XzOWlwj8ITCiAcB9Y77qYFH2qO6fA4zH0BN/QBzzJCk/eIt42cGVvVLQ6YasSPYKnJtaoAe10HBNAUmFJumc1iGrL+JviC/mzheGm53Y/zbjVXd4rSR5l285w1mziPyS9gP3UTzhEN6Sjg/z8Vc3eSzSeg6q6P93aJM+U8LmA4OPLADa6MyqvHopbPphsQfKPIvFLSaV/rJSYX7ytNCr6ie/OeapmAcUnlrzXe5InqelqSYjdCiBh+mcbupNwizFCqymdbgf1Bvl29ckkB9R3E/FaNDnhTHi++XKT4AWcepjR9LgQZxlusyBZ0Y9zj3oqZb5RG17pv4IqfHG0XnqdLYA5vAhKFn7hSEynX+/okuc9+A5Ntl2wPE4Ks0jgW/JXrONBRXT5DAOvOflWUh5b/WbS+9jkrZOCENyPT3UpaD0z0cgemSOIxK8y/dJEK/QVlA7wwTv9gYQ0HeXH6YsSpmjFG9uiMAyNzHOWifn37j7uJK0ghrUUDmy2W3FbndyzZvEm1dyrXnf6EhL9tZLSIyrLG4ZNdp71Kx2T6cgeDt2uqo6iOXY2FZ5CuM8cVBhJMyYY4Bj/OoULpGh6pn/cHNWuEDg6Uq9aGYdFDfnYxa69FUZFIoKbaHOqSgb4o1Gng/ep+I7uMJZpSFyxGzP7ejirL28nn/5tAMTJJh0GiueRv2rnaXQDOZR/097jSn9nw6EkqPB49nvQBWhQVUqh0XelqLBv66s2cUalbrZ0TBuKMFaq8WiuZljaPw4CVaahxGWwpyXJY5R9FWF+oafskxkBMfnlguGcXENV8jI2dV4gZC1IX+AzChGwnMy3nWIb0/29PXxaeXfmQrJb0ImAoJM/E8wwRJ3Pitdq0n+qPtsBLzbmn5hvnAw0wkxuepiSMTgBn+/pejgz83n1Ghwdktfu+DYhszXMAt0HTN27HM/lW/jVxpnvEz6kRDapUaOLAs7gpgWhLN4YbUO2YfXcEGkLM188j3ei2ph6q1rhK616U3S8/bIA7ermhqxC/9h6rKFJ7ciEAoMMKszCIADTTQfqEv/mbn54lS9It/yKTsAWuOdrDoOYyWzG++vhWoID716N96dwW8f0pmOPAB1PBfWjbHUr9EA6YTLgsPksfwYYJvmkX0oLe4V9g7rNvtX5NZF+BRp16F8e1/MLmbEoZkpBLc4zUyopjMwKhgi+pHqJ0z6Dp8tHxtYazzgnpPnaKTb+Le36aDFeTrC/jDMUxY3dKfnZSRNT8FCLgAIwYYmi7DiO1d7srHUE5RMnADMfeH/T26l7PDhKsupfPnLhqI7KXSdag09bLUHIXIu2yJ+vuxD02KOzEKCwLIDaYDO0gNtSslbK66bxaEZ3Ad1Kp7CUqk/2XMlkv04yTHxSnEIN6q2uvgWwWw/VMWVoWi6D0ExFt4sxgvDGkFM38xfXAz2Bpvazs0ZIO3ZZRyjWud2MsBcR5dQf32ExXSlCcMHlgPN7UQx7P8+vJpGBaIKcSVkZwgF+ImXiOyEC2/FMgbpzsZ4D2up2lgoO9kioTzofyNl/1s8oXqx4a6Jf4dpOPpBJoizpuG4yY44dt4kyNhw+JhnLSdvgUF/80qYarol1xzgwlvjxRea/00g9P1R+mG/VeByCs3VFaUz5x4p8JIvaPYJDpqYIZg4RrCY36rH6b5qh2jW85hA58CCWMWLpMeLMzD4qNdzbN9/CjHeTxAeBOePE5GhdKz8UP4phFVXBNK3gTk2CL1q08IdNX7/gqqLvPqxCwkDmUUQPn9RndKZhFNBN/eJTSEwoZsJ8tf3XmkUql4glos8LtpimIaqSxVTdwZfKxvy062RlV2XmGnvSfNTMt9RAhAbION90Eobjkn6xMfOpz8RvxsMEZL/N7AHVgytR+aPTmgTze/amrm+TyXTmJ8cSRouYpvZfLxQ3gPj+SuiG91PWp93i3ICde8e0NEIdWdGJI8/Lkwl7lQSu0vH2S8ZsGcP52iXXCY9SEcD4ITdYn4E/4fMJdRpUcOMblkFBWWC5xS3hRvEK6XKX2kw+XQn5pcGr+5Ei+fcISmX3UIb6mluHmrpcG7f9GhleO/Euu2/vQ4AsPBdyBDlkoyNIloXsTtruNuANSvhqqqp6wTiqYdZhPJnYRAkxObkEzL2HujpOmqNR9zigl37H0FW4HVeEvwQB/fDoUTy7fPDkjPYpe3eyWOmoVXvzO3CQes87Eirqvei57TzaF00q2SQVPDqOpfc2d3kopfRfc4O82clG2BrA4UXnhlZBbhYVp6hhTKbQf/D02NC5H6rLfzJ4ecqUlNkw0c+uSv81pf+M9wkQ/d4S5UmYPyF/J+0k/vUmZD5tRzpLUrTSOhBMuttNwXCbbhlGVQR4nUXDl7s7gU8GpokQ/h1NzRy5BDikNyaaXzaEDpAf/vMJJfOt1/1NhC00H3kQis1EjYl6zMizjdQehXyrLMeZcfCcRhhUUSblRsR9uVzIkdw8Ij09g+HQh6yIsIbxDnharYt19aC9ZmdcXA1X2n2GcdK7EsHLORAG5CLPDPeGMF0zzDZcZUhcejs+WmLXy7dm+FdNRcmD2cds2P87BeHOsn2qnnNE/0VyWsuWL6y3ovwsM/JRtSGIDlT5vfjmZ4yZH+ZLDKOF6pGD61dvF07k4k0oJ/DJrntOzJj5oC/Km+FxxHm0uKi4F4H1f7yaRNtfF9KK2jJv96FnOvocFfiZ8b6VtkV/Dv5jT+owr2KwxEWBTPaI8r9xaQaeqtl0KxiwX7o1dnAixinEYpHgikQNjUhxfm4QpENCfMulczBEUlq98OEEe2Bpc4ua+gD/t5wR6Yj4sTkR2dQtd5A7k4u4JiSHISVlmXdoXQixJ/as69NKZGCQcr5e1KQNEAwpSbSdYyMxnN0drtyHJVZyNvHhcW0UjPmVjIeyMdPaT9dNfMURfE8wptqONKBsk/Tzq+DRjjvfpPGLOVL5ik7zb+VoR/2g6Zj53mkk7AySWt7AFy6z+2Y0KjgD4dAjVgJ1ibmJbBjJYbn3Bn6ko+35PW5xEFIX5GQUqJauOdEMxl2erbi29X2S7+7E23lAyFdFXE4EkEG5DC8QT8llwg5A0P4l5+bT4EB8KbtjyGd9uNNsXa2SWoiqMMmX1JAJocWjKqR1L1Va01rjjBKVyTejb77Kpp0PDtWb7gh3ThISaqN7Gqb4NWs29H2r1vdJWhrr6vgTZ+dGy7RzsqEHQXrKUAMUVIsHq4lYXxcsff4cFBAHyH1ktUDLf8MI3iWboJZ3NVpX+B1a3K7O5FGXSJRwncg6ed8wQE9zFrO+Kg116G1g8ei2T/t6WhRAuYUF7bgJq7Mtgnp39r8WDAU/z0Lj23p3TS8rzYtVWK4s63OAUvI0iguGOyjLdSQfzd/k+dPkMXDMX+WS1VxY4Bf8GkCnb+38HgkIkAK46WA5qWYr4iCmLUJR+PTO3cCFBiM5V+V82cVsKfIDtz84bfBNyu1D9OT9PaCMBLX6n5zVl4GuYlCbofI9AyJp1+v0lohruNRx2qMhRXq/7hN32Ii/068dGSJVlqduGj+ZjNZoEhHXFGuY3NglUumrhxEAJw51KokKEp5IS9018T1giNSYspGMVraMibLBK/7yfWEa4HWVE35HcdEEg/pz/49GtKyEA9r9tBXvP0JHRvLuesi4XUmfurtgpjPYBHCo41Aavtbh6pgufArXhNpnBzqA1UaHOQJE6Jdez1LL/GvhVd4XlUd0sYVuBC/JSBNqGCGpmGc4MH5TRhBxWagN8wKyhCLI/H43Gq7piV9V+XKOqnQBmiI7CgJy8qlApBhsWjfmBnOCwZzvvztp+mS57W2WlJiuxR62XQrbBFRxavpdn7qbT3Fjvsf2X2EMTpssNUsOfO5/jpDy/v92SFRltRqlab3SyiIO+OXj2JN5DFhMmiPoDfyKa0UfCGejFh5HJpq9wK0Mxc6tL/QQKZ148fttXIGc0kFgXsayvx5rWaa+8K7otNcEzvP2V2g/FY7LOHcnFoNc5f7SkE4poLx7KX0DvCKr/HaIwCco8pF/od4sieoB82aT94ql4M/4zS/f1Dx0vj9WichhhHmTQF441rRK3DoCYVil2lNLVdIoUrG8DwibY/8ytbJwvDSxT53u3zPLqrLjivml5kQ+r3QG8kdKyyrU0j3IVN2dry3QqnzqY+4JHS7VZ1BKalPU1pdADgUuHLXPgHtITJ+fEHSIN+Ve6qnhzdqAWuvHuqN83wyqXwZtGjC3kAuLHdX3cKS/tnNT3x9Ms+Aj+6TsAttOMub3lTuWUv+o2wJ94b9u0xRq+tlIy5YMy0FBvpChSJEkPnz4cflpu6WWcdElrn7JdS0gShGbyo7+IM7sOJbRvc2yrCSgXftpW/QqV3hdIhuQVqsA4opuVN4u0Q2p7AdwZjMaOu+s2Ph8Mbb0rP1EBZScFEToM/9m7ekpNKMy8arzwHrtCdOB3xpcfSwPkapAWUb/KWbYk1KJwjKEA4mfbO6HTxOIKZkDcBgaWJuPozahwmyzFNdBBW8wacCu6CAkgzSvOkaQlY1XbYvOqwBXR0yvBSzhGcmX+rjnCtzBuKa88/5j/1yPDzlSO9Ax9ofPBvzuNqrx4XKhnwfNp67tb65MEtHDAckdsJtS5dOqHxgRhXQhLlhyUwhccdpTUGK5pCsD8iST9Qg+1LCybwfstklIPSGQk451ov4wNr5cH18mEPtN96FcjFVahFg6U9cYHbSKTGaLZpu/qnb8q5exG4NEz9FtG0P65mDBgKCddsF4ScAqRHpiHah5jEmDqebBUpibatnSfXtY57FNCHPWzUk0REI7RIISQvrXvfMK+NROjLCN4LyFfPw/FaVGvM49+L2C1rLrSEhmUMgiceVNB1cex9trKr6uZlpz4kx6wTkrmU0EtqyvyXE1EphQ9AAfbX9z9ioF965ZFUOiE3O2ypZMSBoDyYEVnmIEHpIDv39cHlDG4X0wr9EuC1PMEX3NlUgXtNBXDuOifc/eeRnz1cDkLE3hBd1OaiZG3UDNXbk4C85Gf/4QhImY+vkVOXo5oPCMazLc5KH1CCKHTwgiCIONxxrSbi9Ag00j3arX55vzcghFck9GK36A9v48JnFp7cW0XrBh90apURub5y7bLhIInSnq/aayaM+RSwWGI1higfVg1KAuUE5xEx97tmN5cefCSC9626Cecy4b8BXj95gVbHBl7x8xW3xXlmNYH3hfYHCFgAGPZQDIkXpI2svA9z7MrvVho/8ADNmh1mr/o4aFzx/eYUDIj0JSfMYPZ2Etdk0SLhd/ofaVa2/L+P9OFv+TckSdmuBEcW2KsBrTb3vUiXx0eZE/3Vc7kNbyHyBQrSHIbhuGpUc5r0v2JQVCRmeYqemj+haOAfhY4SFAvjqKFvHeY4SgBWjE5oeLan3BHOnlzIUsqc3Ckku6gR8Vi9KxSNHnakz9Oyt1UMjeUzFEgHUaK2UrnWO0hoOl4BbUvMAHip07I4TL3N1cBteNpCwFVetcmIeDlbqld9zbV7Vth50BPQ+wSF1UOtuKtTILWdpKQesc1pKZjGaW8LfAyVw7HDS+70/u4nzi+IdEN3jOLHcmOIQ0WCFJPzr0NdyTRYOasVIDDKD5Gxpq4b2MDrJ59GCbUN9+OcEM5KzM3rWUyr2/2rig0/EPaKP7mZ1kSotTr8dpFTz83OhHFv+na7oHt1IfZ7J8kvbBkjieM5YFRYBn68/MS5kadhZwx8YZF7YsV+mCrGWf9Ksa6YInce4qkArWMpSeAc0XTs+ZCtznhojLMnUjlAQQ6FXN5tUDtxhwFIdy7SNZ6GTPfPWYLBPDoG3x1nuTDruSE6y3xTCif2bjI+4YDTen+YU4t2n8DhsiNikrramr+xOnKktjHajgIG6oIju3VdODjgtG1bJveRBaXrcp58nYWDbDhY4HVm+PDVhtBvlS94saSrqlRPiow54hXA8WG4lAPA1g3mM7ex5p0+wKG9vUGE+kFc3fH2pTM1cTbYX0UbbDDhyZprmQ7BlIQus2CRgkx4Hk6ffvC5QjMcJHlb6QLB4Qp6hWKhRDO2AMRtf+eUxtha2yKhJRjUBs72RhvgQ28xdoFZTZeAYbHI8hnif+tIllYPMnY2tlxa21De6zgaMbWnpT24WipZo/HWAi/yWi+E1TEEY0tu3TUanElczFyEjmh8ytEoSN3vMSBgnLVUNvjWCWVnSte2Ro3eTrpVvS+cFs87+BNtC0Zvvvvu3uxV3D15sSQ4yZ6Do/OJmy1HU5g9TjkmyTUwxHE8SRp0hAx9jlvZDuDNLKCWZ2ZznfvPQdjatHZpg6E8whAR1/uKFPvC8hSSCp/ZZdOq6PQX2mMY6uLjveZDWpi3pcdulUsfnZsiSB6pua+Fj8oB/Q9mL7bTFwcHkLQTeuSXyZTNeiFW6JtxOolk8mAaF+kFR6dTnFFbmaqCPh93bj+7EtYVHf3WSmoEd8fvKH056/UAzBJm/rGuzBBhVrP4jD/wtfMu/S8zugF65frsGkjMwQqYdEi4Pex/7NGFvotLJTokxkVUBa/7xScXNUfZb7S7AA/H91F/b3ytmKsMmpMiiQxBLzRZLfAXsDov3aPAtw8hxGFnqD6W2oXbXCOBNdznnZD3LYuWqpI0MNLDGWXilQ5yr4+DC8ub5xCXwOlVIuPcyu1VPgqdjZ8A30VPo+will/GhxF/rE56FFOqZlbAVea3PwsP5md8GPYCHhkJ49FVvfXpourim9DT5opKFqFwOWJU+v77YbKYLfkt10X7s8lJBgdqBdhIbPnqQG7rYyEgflV1uKW2EJk8lgzoyyNbPi/InklXRNqVUBYCFUMDShl6PKAQU0ZqVTLcH93FJMP6APir8+g3k/GKG0LxiwuCDWAGqLfCuDYEqqkp1SlbPbtfAevFk8jsf3P8iyeH8ZTRtsvLzCyK7CvwrROC0tGwBV2FJ8AA7TIRww+xj8K5373nbDZZi9aYFD0Nw4mUuRAYGs5IzsBoFPANxvhncAPjptoqm/8Z4wNfSEF2hJhIsW6JzkkFI4trXKXrYp44JQ8PwVHsRdpwjADKdkaWqbZedxNO72x3E+asb+/QIx9fDED/KbYoIfHMSLUPmCn/jwuCu/jCycThLw5FL5o8vskhvPWG6wT9JWd6YI3YphPZOtzWglHeN3HKO6b7Spk5WCy6ZQQg8cFjAekZUrBF4Zfb+uCVg8utVITHBp27UfKa3TWdjJ2QTARvcBv3dISB+5CZUQWMzbKOCMOKltZsk6TkwZ4WL2IxJo4Y8CGNoQe1IVdb/ruem2sR15pjoveTHTJYF/76TRGK105wPWYrrDkdgznLe3BbVYWPjVqo9hsfFJX+Yfosr0Ih8NgqYfWeYIPKmaF9xFz/WIGumij7xoTmKWkrv9/MGO2sf/uwZPsyQI/2rYWTaBL3tYv/Ala0O6fu6C8Itqb7GYEmXOm0EIKxLjnUI9JfRa2ZIGxhbIsB2vswQxCANGIVEm7Nru22HO9Is+ynK/t0CeHEIh9mLjBzpsbLLG6+Oj+agagAZbU4wcds/ZpC44mcBD3aMcAm/3yvZPe3MJfm6BGBO59HtJ/kZj+Ia+MY2pOdRfTAKLK++N87il2RCfKsmbrmUAniAc7m0mCyX4+QsPz/EeILlfjvdk3SXWODEdbYoKqIrjII6CA70yeJVmtragLz1ly+LFjx4oE0DVH0a4za77QKvF8xxYmrR/2tAkhm1Gmt+tuZ7/2QhE/LounACOJzqKoAdtDCRh7JDWkiB7urhGaiqWKSouAeQDUy85Lovm+PODq12TfQVyXtGhh3IYk3JuvR4dfM5zQeXHJg294kNJ9vAfqf5ogC4HPwtNDucKbKcUkEg58NgB2UEkQsOp18ZnkFW+E5ehoz9ZugpH6KQNNXve8AfIxyvFJ7AUmM0RorF3mqlsp3bXvmeKMHihoV7tTUj5vESMBF6LZn4LplhvWJt7C+O6JiTL1aISewAWjVEYAIG/1tyUnJmEHBPW0r+tmj9OFr7zWgkMwLUrLQen36UOlYHAjjpAPjqphl/2tZMrqjpwF+b5DjzQZqyoK1ZtAZmIR2biW9BAuHasPKpOjgqhiVnGqHgRxlUIeByWhry0jhX4ktxEIWRovrgL0N1ZlLSuYGA9y5FUv+IS89UhqUHWqyJRSsfliDff3WH0C5jkfarC1Xlq13XFGug3AGbr8o+zlLJNXQQOUhKKitF2CdX1O1FGZlty2xVrkUhgjEYayWSDSCU+YGM0vAv1yaeyyB9KwvD7guHA+S974bZEeF0orer0ATXJZFmw2A7nw8v7SVxWBJC2lzNVHrzCn1y+kaAdZ2wxvr9wMFb583DtsvmDQWt7/1pwT4+VsMcr2ah/WXWWIezlgQEfF/soJGaskiHjRatcJf5lMjD/cQo04OpbUce2ycQ5ryv1j5XwL1MuYYH3msLVoLru9Vj2okCftbsbjpXEPCbZ948bRwbjuF4Ztl24gOxQlu0ekFDwIViHJ7H4KXyT8++lt22HYnnzPAsWqjr6zgLWvLVsOpSAUjS3OVagicXXyO7+HCCyghamQLqyekXEVUfhHE/YWGAJYfuvti0bwDIq7J0YG8EyTOAkwYhqSUPTEZ1wyAlROrWremHRy0SfOUH0qgQXCOvKuGL3C9T8cYaAx3Pd2b9tfM7QnhBfj8Ce/+v5EZ44ZN6mp5soWhFpOtoZ1IWWqlCZ/dzznY39LoP555CMt+KugRaaYfmAaeXiX1C6O4m8rZ4E+QpQ/5zZ8kvteDFK0v1OQfaanhUTUg/4HJaKeghC6V6hfIFGH4fO/oQGT/XfIO8xGI1aJZGVUbhrqZhp8fd6s6eglPH7fZTAXDILXImQxvxX0fKKrzK+B/7mG/ST6y3ljQVP7EK5niRGAXUxfKmgIHaL/ojDjRPDI7QEihZvvCb03sG4gWpv6qnSVbu40wCjlvCDsyeM3uQF+RWCf/Dl0SL9/mpy9wGX9xmaMBckihK4S9puKiXR9tYhtxl/SwLqGQJs/iSvNUXy42NgO3BPxTBsdo5UqQBKL1qrdeTVxfhPwud4lnInNoNdwb2QsHGZBy6qTikOHFM8/a0DRZ6zMWE8WwAT7TeXRMWalmcy/JXylGCpMCZeAmF2PmKmDy5C+TvF/eNlXC5a0jYU+PGlV5uLVSGVxWGBlvfH+begtyx89P2FASoG/c+4HjaDOMztnjC83npDHsbLcFPvt2sGY44nKbx4C/LKWM1II39aZdnJRbCit6coGl6I0bPpUml0rVFfhtQw7SZI4lcMHpialWXnRQ0jlCite9/GK1pDH7hBf0dMAhBalpfltyBcpEpC+IzNxwATXRf4kzp6aUdLfDXd8kTOcbQhUc/37Yb+gJK8ZdCGSRqZBsCaMqIvHkSTcks1SRf6c1q3E0nsOwrYUr9FXyTfexOMsk8rmqhJD6sB8ZD/i2EexPyk9G5vFLTlY5QK/JRT75+xFQRNXYZmWSj7DXJWrLFZMARB7N7c4SFkOB0lw6MDoDR0NGIM9A3Qf80zNppWUsbGM+2be8G8ROYiF94VLdSpNGOxZjL0Sqem5LPg3pFKqmqCbEdAuFkh65fNrW/tVOB9OVoXh5LnG3ZnV+CzUljVTkIhGPmvF7zKjoUp0DVq1dJbIOEbLVOEPhtQ4i4KWeEFQTBTSubL9e8cgdLFTDQt3izkex8IEkVqKGYht4k2Hr0rQYPZVPUTjEYvImQDx+DDcgN/mYc0fIzYWirgPWzz4VDoGDweHh+edEPK4XDruBfIyNQ7qq4IcxZ/708bCH90qr2MTaglrNI0NGVyG1uLECXYoFStZ6LKfK4H2rurWP56kpGwP29Tyynbe/MEScese4XSKPRsIBdoXV2RNDAkCLTS6Yn+LT8pEYp+A+SN5Ll524koTzRlwheOszH28FBNJtBYTQaM5l0gkSIRg9i8yqpSKVCbs90n50cAc3aL7dMTQoOBNv5xq3BkyqoNCTyXwFkUvUPYOrvNk4dJpKsrDSo0tJiprp4VsQX/goEk+sRGOpCQbaSqVdd8+aldrES6CHEbOUrUuFSodtJufY6x7RUn1mrK63I3uDfpF/BUYTJ0/7s79L2xosfTwLInQW6Sn7f6PqpmuPLQ6yvnLQb5fQWvOK9nGa+pcAH2ALNnE5q8yV2BigM5yJy4Il4Gig9lPx/RSuIfGEaRSByMdSEky1jIGblr818vXH9opsveBfETnTAVcSfnmLtZkm4Cs3yMJ1bmyNCe082hN7SFsNUKOXKqltFY3hlyEGvqu2qViH+cQdzUs2lhnPuTMpG9ACrX0ZqDd1wnityHu9uwXMNNj7L3orp1RnzInrGFgfKX+63OACuT9ZgDUXR0yI7b4sxYl4YHZHK5MleQR/k/ZOJNvAp1zBB3Wvob7HNCArCtPXaIPrhHYh7sfYYgU0cix0BL/6CQt9ZcRcNv8ZAfToExxjbCDDHDqlV3ip/Tj0rKsgaZpzv5RG9XeuCvS/6Oe750Jsnh0PlZJvnNrHlDGpYAxWnGZ5P0o2zjGkLP+Aw1484SbwVn6M+LdBtZwIKlmWIS/qEzj8trCYAthi7BsLmBsMDi8I9yAVluDg1hdhL46F6O6WtM+EGLP0M/O+dhVru4t+qYgcv848eHHPBdMeghz/orOA+aioYJFOWUEMES2lKr2ca3UexeK6jnTfUnHIhvwXGDAlZ/mkelqAB3st2rbUcCnUj+m4YtiHpOYQIOiyytNT/whJQcOlvLnelb5Ak0Kr6iz7SKI5432Crm9Fb1K12zh7moeMvF6Ydm5QF53IgEr6v/iauOJAjjVlvIYMTzAELHaTCdBozNFsF8p8Jf8EwoqkNEJ1v33QEgKxEJ4j2CLCKvOuAjducJ3Ti4Ylq2WWk557qWkjcE5diZ74Fby9ypi88M6lmzSzGwpBgmFEgJTKQ3o3IIEXG5jVufdkaMquCXfC+OmZisiJKx4AAvi0eHlsiFVkdifOjyPYalM7sRiemeY6D8aciWjCrchS9/KUL1vZjUawhcigEvrCjcABd44cjLJu0FZnu7C9RbpOuPY4vum9XwRgVDPTMu9ChLD8SOxqqCupGKMMzNdBsqwQ9V0aHQiH2eX/mPMNuBMVHOtUpHaNNFEwNKiUvSoJt8yku9yJ49S97sLY3bdT1UnOqcbc1ZcavyNVZF31WSjx9XM3Fj2V8683Kq4HY2bH3rkHXLIw9ReMM2lpEnPwDxN+iSPCjuWtJGOug0rgtthBAGA3T2o/N/my4fU5Jm3bn9C0pa5yKDPeGoJiKhcTsf83GIbQ8w8o5XlDWOuPRKW8pe3gJ59wMQQEN2XUoXipdZ1pp3UnFXVvg3warzHFiqKtTuDewYkhJYWfLHJSJcIb+Y9ZuBo8Y5m4uj1fjOAczkuiPyfkswfhh5upabyTcGkbWm5LQYaXVYeAeHs6RKe+JYlPED/vU/2vozB3rROGvkfSTRBGDk4/EUSyJhqZ401maGXA44JSdEZtpjnWAGl9P9JW7bTlXRShshd2gt6CB2hp4uuimJ3PbfedCAgmLmRQ6y7UcfLE2JRGgcOFfEHIqc1tE6twhZLvU5cVq4EDqmHpCmiVS7ATYx+3V9rmpt3wxwtiIC2wbH19fRbZTmc1oQytKXxAyLdNh/cFXsipLvjcGWabWm6c0WW585VusHF6aJXREA3vJXqfj3aUYVCxkM5sHEJgFz7YLsJmVvfplBF/XZGGQJLmIiNIiIrV8lvS0DDJkeCtq/VMn9pm2xbPd/lWDWfMgMrIXWVU7EAKhhV1QhYNA4M/BpH6cxd4IbNSw1OSFk+GIoXzhcDEVI8dam2EFi93JtFXTWlloXj9YVFTlJZ1niaimgM1DyDbphRyTGaJ8OOqnGchS8MvPOsk4/Bl2ZL1gwapjOXVPg2IaNr6/OghS/S9Kz8engZ1z9lX3Cau4z3hs0eSrhVmuNL/qsfjVAmQNPf5nUB2i9K2Gsfm3IAlSr/93KJ1ik84qqpl9jwjxKMXV8NRwCn82NiCmzeWDjN+udrF0DQ13hLJvSLEBKo8X5dMhVHST1uUuuyAI988C+of+gptS1/0++pz5vvTeJv8L8jLcJxY0WKR1xDQKT5oB0dmt0TG9Qr3/eyDnAyutqIZ+q32fxWdb+pYhV0AScJfnGQJovqsoPlJUnIfzMkge7fUT9lMzEfXIL8eEJvHkmISRlkHf3bfiKud99OFRoCsyTZ/Lan7fo+wqrWvhS9qBYQXy7Qb56T7dQcfEM5j+S5uvhnfAdHsSMJKfsrOxu1Arz+j359/X4fn4IqEV8HLiN4XMzuvkMLXR4rQLVgIpCbaYQGwqwzfNuota3Bq0D75ZyYlkBBg3XcRdyQt1mVG6TB3cPKAAiyCdpmuBXPn2nw3yimEnaQsFHu5eQpBsgkNE3xxsCdC21+dHu88CcehryFwS4QEYTxJvPiCDNGWSx1X/DLS5BdP1BWQfsyH9PzSZUCBnkWDPNQ6Ca/vaqis7PFUQ0OYIDvbK4694wb7OPzKRD3crL2JaRWMUq0rR0kiV9u206tRV8kkVj2dXfMQL7Ia+hJ1tBXNVYXKCfEAiXEia/BY/vEYHlPCUq9zfld8aQqe7ws89qatQf2uNr5e4sEBwS8+orbqzhfvXFWvb/cTcIoMr8F4JXj4xmlVOYi/Ll5WH1tCC1xGkbYQ7qQU6XPHkBae589kUjjEChpme+WL+oCk/elSQqCpwi8LrD6sl5SRSdT7qORwEQScUoyOCkaOu8S+WWBnpMcnAQ8iZAEkZZY38nQ98moCE50xEUvWxzGVo/YoKM4Iu/3/bw6C/PlXyDoMX8j+y37rHiueKoENrYcecsYDdBmgMLfTnikSbyZqRG5+JQqOQa7ZAtE3DacjHm8XmBxjwid1bpqKx/uI9by6x3xxU7FHkHkHQwyozW6l7SvbtGdd+BDCTomPFt5pibkQOnskIrP6wQhZih8Il52+0W3laJeXU2CMdYJ+OGTNir51CAD07cU5610YmWO6owwUo8jY7BbTVU6vZkIHxVJEqUg9S/mr7GK4ZvjdYnf4rhpFeQSJnLH9nsYFIESqfVhhtOZd1/VJjJVWvZhn2silZvMPLRRUK+u6R/KJUpP/aoFBTKd4TCDUtcjcVYsIcVry95i0ybCiSC2QPywy8GDO+triRAG0V2VPrZcUBim5kP4ztmT0Vw5oZJziiN+ckRL4vKLNTxp06PTtJQQ5Azpgfd8GMQKvHFWXqaw8Oa4mLAk0NscQ60CdlvmnSA1EaeYaMKhujBkYVcF1tWq0/Wgk9XPs7MM9j/zEFWNr53zM2WVRfmYOv9EjRdFkB6EKgQPKAyC1kHcQcRXnNG9DKOkuZHbTLheBCPzwXMk8O/uvN4S/FBMiDp50bE2bdcm+2zKGRGH6C7tgLQkJZen5gE6kBW4Jdhw1NLXXE0szxVhuU0zBNW4Gf8YsaeM0JOhLYt9P1JV4aqFM8+PCRksXTiZ+9RZ50SDMBH4q2mwlZ0vT1R/kHDCHl5QR5rlboZeQAhLQENHIU+TQ12dW3UqkSC/0wyNLmL+BGu0uRBJeMJHI0ie3o8nXesIRheHFZvJXSSW30t34AuhW0EFXDZu67VoWs2990OqgPz2OiQ+jEvMPD+8pUJs5npgMa+ooGKqrPvfEiJqRMTfgGaqNSRk7Y0j9DARrlK0LOdyH4BZTiydvWkhyD6XppwqUDcZFXb75nqMTqJqY33WN/kUU50dRuOlvTuVV+s5fFsa79Ff+X2i0rDvsf7TAzPOIDoPxOzTusmFmZ/cR5p5nio9ZJBHS2F60E39qEIF5AfMuk5YG3iVB8svsEm/V/eP2B8dUXeSi4UQMfZkez0Eu+WVX31vdwEh4ILV2vrrYdSa4PRCmgC2jB/lBYr83mjfEAoQIrUNea7A5YzX0fganouDBaEsCN1bsCTipP9AQzEfoApVZWjJuXH0QQdfdwMguPjPlR0XsEK/t3vjO/+QnrHsUK13qHD2kQIXLyiy/qnuARTV5ororjSEiQsTsoh+513rxW3pj//r+SSLkgKVTFxkdmx8bOS80WT3zAweqFdIGKfUMoSZ5OpGSJo4E3uYqD5eDEvMJYqQKzPqYMlDzxGPLai0ySW3yB/9A8ZZqFrm38Q1cCxHdlM7OLOqBR0MaxrZjteU6blQxxC74bSdhVp6GHnb45Rlxc/kERE3FerP3w0O5Ai/19Y/dfXqMDYk7r0qt/2ZXMYtbbuIF8EYsXMEO2su6HnGMT9pRS8lgkkaTbe+lgzvgvG1lh0S3oyZ1WkiC7wwL1sbAq/1cqom9Fv4q4pkNiESM3lSEV/DPvOcAeiTmgXZrN3TDD0V4yeZnu1/ou2hAY/K+NGCD70vXfW/1M69fnAUvkh9KXKbIx2E2374r80OgWo1ZHpoT+Vlq+vUL5UjpzCEZq63S+eyZOwrUDGCDV9WwwipNiTj2o+ZRvC5sfkPbd1CZsb1s5d8StT1iWObkWfOXvNKI0SNZ/ShusqNawnPoQa3FsgrBXJpq+hgoTzkBUV6iw/OSLN/Xqueak2bLVfwlB7AKTFdtKoPEVsfj39//62M4AwgTTStrU/vVpfKz5vT8y4QZfxjxnigS20mL4pOWseYKIF5G8qYmRqeu2qfnbVGuKgkJRSWSXk09F73SWysBaK74DUuupclsew75MCdQ8odyL5AtfriZHqkjUa/O+ivW/RcJW7oSx1khfhrnHf3VkHn/inWh/AC5Kgdn/Wt6JU0zqYkm9huSlSFiwkQ4glmcm1nv9Bx/ovrtcwW8dPwOavAZB2BO99aze8SdM0ARpt7v7LOTbPdsBgHC3cWVlG11onE/B7DPJwfgZwQagS9MISwL/1bilz5kNSyM2cLO8lVsSMfNi0S8Rmkrkgi7dmU0xXCn8wcvDtR8Wr1dysSjPvEl02zNzus/NqiRj/ehhJaAwf0qIoYLXjqroDFVWlHEP+7kfzyB0mhjreeo3dn9k9QBbj+QcLLo9+cRO1fWpazNn2WUiwd56S+rZw8O5OQMRbz0QWZu6Qc9fG1VrNOG+AlM2A0F1TsBtWikqJIcQCaKXOC4KflGyRiTmLoOpRkSk0Dl2T+JnSSJhSGkSo3KQmyeqikw9bWZ8EB5X2sj1AUpg+gZJ9fzi5mksu/GQysEdQnaJg2uuCZRSzj2g+lYnZ+HXmt3gLdjU0mN4WZLwO8Nv9FLGs6o26NTcJjmux3iLrHcnWttOCQ3fWy8FXiEQvsaTtQ68fD0kl2d286/hcIAd01D1+T7qP/G96H4OzLmomacTRtg2lL0bT+xqlwGTHST4AfVYfSG4GsWSHs6e5jVkXmRN5jpIc2saVtbUWdX514sUgTExlF1axbuXAL3r/DaClhwvrN+O3BETthskCttAYRMH+nAA0lKjlGBYvyKQuq/gknoAbQwSkytXpzavfodv+/6tPigmWrfNJXNnxRqnNcIJH0vUKjxadGWzM2JUWT7LsgKsKsyba8Y+V3JXXW2a3mu0BKd/NLGTRFrVyhHCbCmEaGThBEQVkMZi9qKH/AhcPe+i7yq5kePK+fD+BZYS0EJvMDtKqVXu3B/bmV3t41D1Oce7jy20oQnL8YhNzb0s9EL2SrvWBxqPoeh3XI8kKx7A7pVOpzfkYOusJMssm5QrIPqEHm4Wvd5OPlda57bLzSDtzB6PXCgyKRc+7VdLW4zbplY1cNEGYiJWevYaWONN4skdOAqaURhC0WXSADw9XSQrojHaoOQ/NubkmBv8Kli2rcLGCDY2f0HaGrSVOWvlxufgcBoTvYQFRyhARmAR3VCJczsL2ApvDIFNhOWTgt88rxASIOR5Vc381GD+AZXzRiUX3capULxC8GazIp4F23+PhVlbH7W9vS5nsFtClxFPnTvgxzSaiIHQt05R3Zt2s18ZL+8FWFOYPwJmou/a2IPQHJzQEX8LAqC/T1QyAsWGJLrJzISX85rbAEhbbpBIwU22B+k6wO9rzcsTM0KA4JRJ6u+bmy1LYVqGKIxpDymDgjoLe3e7CDRmYTPeajU7BPGA0l1VZ+uII8zAb+HFyKAjEVU8hNe7rD78DjJk160FrOUzaLltEk/AiexVKpw/H4x3od++4P3rsRweJ+xcay2Wm3jtA+MyLgfe4wtiChGTOtm1Cg5ZjKOEqwiE4cHKQKaOPs848gZjb/yHfTf3eVkPkJLBuco4Ji3SmN2iYpheYA85D+k/fKPYnWm9Xk30N1Zh9L8yG1yWU47HnIdYxnhGW9hVmK00rlEjOkN20IjvoPN8UExQuQD3ea04BeIoeYt/9yBaXstMww/kWL7gX2AdRexaF5w5yA1ny2mS5OOCcd7w8kS/IYXRSGHcJSPbD93+lqleYsvEOrahnP8Kt9Y/Mw4G/ADvRDw/1eIEsHfh4tCCWzjY7yX+RD0djwg+wGe6AwTFKV4LgVbYBLE/NaRly2BOYqyyGeBavHW5hSigiewfTvL85hC/XMAWNDahg3kEJ0+5A4M/WpDQNU+cxcNOwsmg1Oz5Xb3UP8Hz6ynEvBdZJwF89gZWTLUsFx/voCARs57QLFWktOIfswrAibbNbTNYtesRVbbTYC51Cyj3kVLKvCNn0eoYag9ZGiDTf0pbIXY4fJkcuamFmqqY/kXxqskyph43nJ3637w68fc9TWYXdUQmpRdZdIVmTAh+5F0JC7j53DLHYs5gB5M37DPAKSTzYz0ZiGPx+xD33Hqsd5nZuW2A2hAc4JlFSDI87YJ9+eB86DZqow2wT//vX1k8k2EIkPkUxJ2e3kWWVlfXC2Q7U488RK/4Uga+5zdGctjKzyC9bwjZccQ0VviDBybOf6bRve0e1Kerhb+BBVNSBzTJKvwGifySVsYNkoPY7v4vHIA61GF4I5R2B3RRf2VsLdge747HaTIfWrwvEB6gnQi6g8YBN1HboX3j7rw0+kZKnPloDDnpBTqkSxd9DzFRZO1YyTaf/fVIT5FAIQyG7VfmVut+YX4VM0kY9oXSg+jOs5rVnMF1rtI7s4d7MDt+Nih/s3Fc4+Jmjkj/MM+qL1jTABQrzrTqqC3TYv3QJAKGUj53RktU6bboc3q4vk4NG+8uPtc4id7YWfwAvakKhr1XWWSlj6lcHFdvkVDgv3hVzIqSSowrSyYvGuQLyeIdMt+VRb+BcBCkmkH1ItdyV6uahEhoftSb8shRHdth0t3qDqeqp87XmPXXLX1Nt0BWo2u0sVnHc3LAE5MuK7DgA8NWJnEOxRYW4Tdj5qeMdK2q/FQXPfF33kcrdU9QhhLvFJxRXCkY2E1TZeIXyWFgPEtxAhBO4atgOXdlThLtJp+Qa9scRVgtw/szKeabCS39C2ilgT+iVPB40yA+0IKNjgKNISz585LveKdBfoWfc7G2t+pbBB8GGFGCZWz8hj5WDm7I7s7H5GZF9bWaOP+07tPesY874I2U7OB8Fp/xp/Fu1mJZmdgRe1YaAMkgHcs2846hHQJxoGLSB0cvLUEhixgKJwD4MqcK3raKXcFaddA7bsTgGoJ+3QkzVUzh6Oce9nRk9YeVkQwRClb0g3uTdoYj22wKwUBh7y0oZAbywcoLtcxaWTR+Q0E46v1X6aWc3MPAInrY9y3fJnC4ngX5OJITvIz4c9XMNpG7t4TA0JpdBIAY3jlYMSRyT6zvb9NhfQ0ifhCxOXJ8wx/jpXw+PHbcq5bssTIbs5b2nbqaHW1nE089PDe5YimVHKmkEnSpM4NFiyRaZoG1Rfm9bRxxhayYmPLfcXuyHsMz6GqecaSvLjjOVzLi/af3cK8mOftBGgmqJCPRKrJyT9OhcALEPX7mMjaDzdujxCnCRe8Kb7e1a9voWtOuYX3xItCBSyhWwWMz25yUPu8y9cSTB6RqJSB9CvnJ8KkD0Lu4+3vf/l48ltswhn8jkJk8Z3m0lHnbEEgngIb4rFAm77L5x3d8PXgA00Tt9Q9KH58dNJRnbs+MSSHvUVumPVY+ujpa+I9ijSP1zsJoJjkE16pXPQUUs+qFw72tMA9sWrZ/8sQwG1Cu6/qWJaQf+dNBYCe+nPmZLXFfc2OXUOb6+b3FIDSr7x+7Jb/w75+QE9dtIVIevggzmIcD4kkHoHMt6ri+FJ0MEh3fAsoFJ9wOOcmbich+gOadXSkT0f5uqdVmuXZ9d+AbvwQU2drPjy6VORoXiBWVR5Xgdftzfq+g3R/WUO19GTJuyvxC9DIlxFVqVjJhbBdcD/u5m5HeW2bFxdwo3LPQlMKYnfoqD7wjsFtWaBEdL82L7/aIlxIzPgUExpq8+1+R9d8CPjKbCMqBajJyOt+5mlvl4QIl3yZokdvNb+NfzFH8M06OTChezrn8vPfjzrh5sHPuhIcm7lrOKYLY130VaqSKur7Rbn54mY+anjSBW7ITLEht0pQ6N0RxEDUCouNV0UI6G7gWWY2fHoA5kGH0IBE+KOcoM3hHNUM5fIV/13MHANqL7wT1CEry4qVIQ8ELyFqzTzBw83f5KjF942LPj7dmV30dxSP3c5Fy7AQk40fUUk6shAyKrFQI2khIJE+YQ43fUkraxY5vdc/VAE6xj4V/It6CvcUMJiXzDuv+lRbkFGiwW+i3BjeQEPVg9ZVYDnpn3J5IVUIssM3GRCZQlu3CJPnFmtcDPBuxS0iAk5nO6+HJMVE+5NbSXHhfY2fLmrnq0JGd1Jvct4zhFrky+wUTfqtFkTTy6UEnrzj3re1ypGPquP110ug2BlbIt7/JRkNr35PzaU47fEYjtp72ZgQQL1UU3/kt7Oy5tEyY3b0dGbFKj8AjZw2y7oPwoUr2ZAHCKt5UfGTRjuvTotnVBjLxsfp6xZBqIAm1v83+RbBXxRUxIvr0xn0luE+1o2fQkCKs7rEGOEhLLgM5LJnUarVQYqe+6+dMRSqEe85cr7MibF7b4GaBD88gYmmS/3rNgkwqd4gYxJxAVRCMx9NLUWRK3yOmtoYsA1EZB//wo8WUfHGWA+IfC2e5uj/OA2wSzGvvLTo1m4oFnNIS7UJTlzIuKrqPTr24UOttrR54mg4iOIIOCOKSy+fDs+uFNEbDx6wXQ6ok6KSCVGSfYxz1lh5arhf0o9ZprMY5fo4iiSIGpUNy+JTwT8iK0Jtqo1C7XlMWS61vQ9Q+18EYpq312815TK9s0x9FMCR6xCdfSsU3IpuDvt/a4VnbyWcuQm3QugaTPRskkoH6xRtcGuHgI41O78IKwwBZK8bLD9mfzscglYe1oSyFJPK7TCHrrRvVCEx1Lj3eu8oYavoykMm7i0uNq89yJmK8jZYSr4EOQqJXJhNUqL7w7c12KQXOMw3rxnzAiz3JTbgKM4swKSAmLvq20GN74/H7txiGRxgXsKnsg1ECnMQBDsl+EqbT5w7iejG6RBM21bAnDUsH7POaUX5E3i6YZVOySfTfZARzdMTQxZ+eKmaHFNdEnwzHMY9Sfy2qXPXJJyNs2hoBovUgGtuJt45xrX/pyPsx66dTNoz7IDK58kmcTRNYHLjrKj6mIT82kWw7F4jlUkUFZBAcx7KK6hVfrKFTBZG8Ln5BNA4Ygld+Prccj0fSuYI+wTB7O9pLiZb618DPcUFay9F8+j6+0EgkcZoVgNeiuY6LyFL4nrn38c5G0f4p/PUujRK+BvV7ySXjgalk8mnmtWSRUGDVBCERvNF/PN+ED6etLrWBuWMB503pqCybnOW1cOSh0JCohqfG7J5ZtiQ+uf5kY/JEaX76QZWk9YB6ir0u9QFL9Q4hoiPVoe3KX3iKusj3ubO1yY+HrvJKsMa3UTr7tB0TUHd264yu+/u+M12BILZ155NmLVYrOVJyZU+rC8O66S5qbQqKbnbtooDpo2UXO6ud/vwiOSTkG7EdVTVlC3dovbTyuznd+qqRV9xaPFdKBsbR0Vce9ftPY8CnGyuJjFY1ewpEp7jHOjgda56kKj6QL1Az1ms1KbXcJRbxaI5Aedj4Q6BYmGtIA7kuGnOSHDYuwUQFA555jka3reyKaxNbETrPOX76h+Hy1cA8MVIBZxBuOp3RhxqUBdrPaCz0moszqqBep7afZzgmelfVAAClU9nK53mHuBZja5LxNvSoLzS8pKerR+gUrbcexKBTkUsvF7Mf8ulfZ4yO0/4iQ4sk4slvKVDBMpTVL/FBPagfmSrOSON/3sz3SOEGkHvjyViVwGQML+6ldPzMThjR/tIc2+uiNFcngznnJbQkzWXIbyT0ZWHUQPfGC6viwy9/Gh4Vi9UaMaI7fkIszIPW/vchk694JwKQ9HiXI5lIW0TBi3PW4ay7IzTbRuyTZk49cj5ajDWiz8PpLiQRL9ZaWs9z30wJEETCUmN+D71y20GdC7pI76uTLbzwcz1oL+S0GjQvsguGkHLjvc2eO2B4gtXKgQ1pNuvvNyLFqhUjhr34bsVYsrci0emNW5RZj34EKfqSkrEmT/7wzeMIQL36jOOtjQnrx/ZmDjyJGoyGv0O3RMuwo2xg2vBcLoAu1XXORziYCYb5Er9uPuvI40KqMWHgYX1jbSgqJ7wskGzTw5K7P7aH4d7Fct+36GdZNp5wsz8qS9jERWdVm26mOk6a30f99RqM+lC8ChV3LiG7xDdNrPFY1ODCkcIwIYcINXvb/6eJelcpo2kGUEzO8G5oBKTA9X9NOgaxGtaLHJWZ1mkgnfEqFu7gud3t+5NdrFlYqv8IXGuy27xrzEORQFV4P+CsotgWxL6YWcSU3GsIBDpxDWlt0ds9O1UHw3lg1z9wDlra//cXdMpfGAxdl5TmPQ9xFyfctKAu+mMQrnfboqCQVqFnYf/ExHFw2R+h69zXIIFRtJ9bqAqHUpS0mkYxzhPbNeLuJ3AWktGMnqwzW39j3FRdOjuoKakVvbs/Jl4TsvUUsq/ZUkrTzOCAHcRvw2f1YEUKTgC5EVEd/OJ5S53FrGCtQSgZ2yVTKe13B85ZtWq2manN4M39diNryPDyLngLLMwycYXMnpeZ35gY1UcUYEEGnl42c6bqeBymaKZfdE2ZEwu3l9hQcj5EDMcqrUwtBeh4dDVynAd3wEc0lWfZcBX3NFInTtSP1v5XRWYtCt5aEFS0enQtMZ0ajQ7aFs6QLxkWVqbvQPkBWmwKVZqPZ80rgLq/DuILLfNrrpKlTt+lEvC2646BgvCXkJBbf7OjSxxZCkjM8WXJyLqHk0ZBwbDbfwowNnscLyg1Q+wKz6QR9yigY0ev+WcMzvjeB6McjwNNUW1+poleU/3zIQWxnB78zm4Q+y7toHpuDkwVcsh1WH5JtRNREQ/SQ2MfaA+49HrbwGSOYtS5dR0ITKUzoyReQ7sIyI7HGdNnK0SWCrEhcuanUtfGNu93uw4Bfxnc/q4HSflBF8/LFYhellNB7eOIsbyELNhfn7eEKQmocz/igVrnSXIRT5jNos/pHRnW0tb2e6K87IOb/fE3PCjNxOaS1LCFH2JTu50RKrni+4AQ2UOyI1J7lp+xFC3rAwb+NNS9Y3QeQp6Z9VvNH1k8oHOivYWX/sLQ9ofRBqWO+u41JC/Oc0JdDdbWf3ABLFqxx1BpCVQ7TZuCbntbxPE1oGm6xES1gB16S7ln3ICRRgFMcm3FF9XsVnpPQX5HoFm2U1uiDyf13CyyQpFUrLr04XATW8CB7F1SHgWyJ23KKTxmkIyMPBm/kBxolMFPkz9C3uPBsbcanB1mYoTI9HTvcIHR51T9SECNsPs9fUBcHhypgU/AGgB7gWqpTd8TEjVwGNIxubqZWl3mBjSrIzWXBjZh0aRXSsbQMTAaca6WSE5XecNcXD0HNZac8x07RGotOsUkP8O3UejPh1mDBwEtnus9V+zkdB2rR+t2GV4MHP4PwvHp7IW/rmEw2ZK0orUEbVKLrZvC1qexDSgzGHXewb2PkGj5tfRkmp1yd12Vt9iwwkGeQksayTvYDQJI/kdpPeRIHDv7i+xeMTnHL4q51E2Zr8WAWsT3uDT1cZv2rlU2oPFSw/mEniL42VDtmAgYRw0vdFcl6IwV4bvosPgJJ34QGUPSVIIdzub75uEFgH+h4F7pBIzTER9U69AfXOaZZLUe3KBRF07I3lVyC+R8dahUBeaOYZx0s1yes/Cvpemwi2pn46zPIKASOI4aTJG/sT8ehB1s59h8Ao+seXp2FuWmIVuzGxVIPidFBC8C13kim956r+xmQphffzmaH9KbDsUUo8Xvc5exFoy1jrjBEuxpvtKRSXK4gDwKj+LOBhlgwCBj1BT0uoUHlFAL6R5bTD6GZ37o+Yp608BK+2XxQ/DrNxVwj8lAQRudJRCHWBTu4Ul42lnuMB4LsUukGBVXGt7I3t5Rz4jgJsoZ106NhzcBsqvqiwotLsKz8anhTFHi6I3nz4ojZELlOpJMww0rju6wbNDK/Klhx7adVMsqbmlaHpeViKKX+yVVJW/hbvIDyql8T79zOdajgH8guClEaHvIKclpZITS2dtRyx8pARvOsZQsT1bhBgHYtqf4KJjx8V0+u+xy8XY8CZyuFpU7Z7jJ3Koew9uaJSVZhl/EnvQcsHeT2XAIKW5/5pD5GeyA0Rxe3aaOX0ms3QmhRdAkeJnUAJv+35/G4Y+EMh4MXZdYvigmTXci6thZx8a3mgTxemueSVuel/Z6iPcxqXIRC4gg3vycZVYFXB3VzKI0p2nOmdUdDI6ZqxHI/W7okzpAupuwwm9cAenFzuiSkpH/J0TeZcD6B9a0o7QMWb54S1mdhkvBHsjnaWT7rcN9Sy0ZsYqAI2Qi1jAy8YGGUDN86PIoi3DuFd1Q2oHomPAvo80CAXDyc4nBHKF6VtSf8ecieIRpsKlJTAj/iQWF29apBRd/HhP15El8SfAJY1m7oQzMZPNEiJcgI01DqXgCpGGOasuid2ZJaEqQL8lQxJ0I54gFW60FHnmO/wE/IFTkbG+dxfde7fozXOhg1jwxcJu5YCjtSjUS5KZ68PH1ALcgTUuf4EinFRvW8mQ7dwy9ynxErhOYu4LTnZc0cT10Oj4Ggth2y4fj4AWX0IUepyDVdcIsbU8qbqiLKcde8l6Nwu4wm0ZBdVlbTRZu2myWDeVjKmVQP/HrlcLnGbu83DPlxkhPpk3Zndp2ojGrjyNoadOdRxEfOLnxn9RZBy1WyNs0rrwkfnJYhXCPtw/hy2Qe0765G+tdlwHylVTYA+cs8pX1nma3srhcehf6nKh0mQ3YqINpSRaBxpfK0NvvcvSSlu2ayXBbXozSLeB/TUC5sx3uc5y8qQ9yMqWulUv8rn9KDAHkgUhNDxVgPopP7wL0XaXHTpvmXvu9h4inR2ryJSeTqje6zGkV8WppY6adQqLeSxOYqWVNHsNHEkYNVhhnfVpGGVt39q/ltI556wU8Vc8K+NmjvgbwSAHkMXr9PxRhX5AVhf9NWOJSZYkSitpGLScw4SPUlhrWvarmlsuNft5s/7sEnUjN7kPWG04DhJCFyWOp0exDem5pCc3EEavjgMbsy5mQWZZc7hu7sVbQ1tBVWCtH8sNqkEWso3UZx1kKtHmCNhcKfctY0Xr1dbZhQXDaI0EzexqGPXYzRTmGSLsT7CJl1pV/uL9g5QHLXbHIHqUNFfoeWmZw82IOXPc6YW6Rw8+FIPQ+UVOoE48qDcY2MtuRaiAYIlY0ER89RB8q+h5CQcgTLIJioPGeds5yfS+CqHgK5CpXJiuD6LC6HcgTC9xSZlUP7rIgYD4DE/rSb0gOTa6mpfiseWPvIbmS/+xgjlJf0TJ1lAThz1QP7fP4Djm5u3AUDRJ1I8AmT7pdEzvz1OEEPRBNh+EXzLz1P6a3R+4UfoBfuNnUS3ptathAetbHuqIkHF89l+7NbDEO0kN8YYWLcpHAT/8+OyFkIo62aeXERiokQ26aaYJMHCRFrI1E9jzlTAujkgGKoDpnAK8VoI7HjWLU0L5glRdO42rn/ZvDZyYKtyKK9Opszwf+cVIegkhlL3VdemppHVAOLfV/2EzofNIHE68DKMCJiDXBYxBpfKzM5UGHLElAAEor5oQ1Q3NijsC+FPl16h8Pwi+x0fUwxGJpu6LGsLJv8F8sMhgcvlMXHJnZfk0LwowUTh46Sc5xW83eFwgsHnWrUZj1A1TFyMfliPvsrovac9f40ASruvdpOS/hqj4KwLqJcRgc/20KY9pId1KXw2+7reOmeogbCSUA1zcAVMevRp0pO5e57Uo3yDL5Zn+Y+L00QwyCfhm1ulI0zDMJhiJuf1qPNsAOs7rCHQsEMkXo1/j8yDCo258xBRP9ZZnTMjwS/iCWiUaWM1bCBLSljDW9fxuhr4n1sXpnNn6g7M8sKjMoXyBI0w7PVxxxrfU+rjb45bG6Yl5SZ1hcyJKUrNuOUJxg41kaxngezf9T730WrWbQSnoF7m9fLDV1zu7eJnOh3RxtaD7KGE7/6GbLOq8LgVtykoG+taEg1IsGpXsuWll35TLj0NwnfEuT9BNBWY/rjQ1qwa2oJmrskd1Tem40+QnWQ7gH9o5eCBAjh1NhxQlJlWUhRIOrpPGw8ZQu447tgLlR8FnBoJjT/eSUf8XOeROVfYaq/VVclVcCRalZBWItvsiHbTMK+bZJJPaMbzTRDdXVmFOUS4umybCJfa2XtBQf4Z2c8VFyTHS/hBIA4GI/x4FphqIeahgVXX80aUjqsTaeh0/Z4UKv0DJr/gK6GZ7UQWKDitjS8FNamY8cL5CaNAQ+vuxQw7DyTdkJM8t3wVJv9HQPh/sLGhZjuaFIH/gYugTUYtdiuyxpTyxn3JXGWalqGCU197O8YSnTYbU0C+RSmj7BzvuDhBOaweEDdTqfWsl0ZSN84Ngg2WHaFUNXLcplRzIyd28IoIyJv1Qb/aJPF1Ted/xjFIuFf+WUGTdMfyGzLESQkL3NakltYvHmlrLouxOQOP+Ui4utEF7/ICEzmZhIPTqKy6Ryi8g80r+7T+zM/EtxV9JznQkaioLLQO25X0ZWzh4RFV1zuwIkfA55zY8Tg81i71dcnGclSy1TPg4W+0egqdg8np9t9e1LDgPzZqhKeXsxd0ouGteV+qyaC1hsqvZIz3gUSzWxUfIsgWP/G/F/wEI+LVYtiZ2XLQ0zskriL2uc6JJkq/GJdBsIqjp7s2Pi60mJYcMa/Mn/Dxlz6xqnzVheX9DUgaDxnoobrg2DXeuWibzmUbTUGG2XAzU8DjF4ipGtTZycmopkzbSsCMdyceIgsWK2tFsGrh91K9IZ7vz0pTasyyKxgZ9PwV6mjW2cPGeUDcLZuzxz0SVWAbYYlfGgwTWt0Cbr+UpOf9jhfdyU6EWZeTp3rooy0BOHLPQf73AceWA7wRtEk+pir4RQiL1tPkjx7iquCkOXbb9nJY2uqvWH9IXvXKrLfFtHSXvKbnsnilLPvh2bfdmDL20C9bT1VOVaH+W9f6O9PYF5VHQeZ6A/EM6U4sx4zZy9BjREIJ1cl3jva72+uwwEuf4FbPaCcestLjHS/Ds/xvU7AjsWYMyCqR5pKt1dbjLl5r51Rq/GlFPwXgEW4AYeOwj5fC/SMO1iXSq67x/M3vDys+/Lu5Nn9puoapz67W2+bTuUCusENrhAIE3SG81tZ19wpKww7calhTh4DgcWp7yXyDQkiCQpsBcsDUaETjYd8rXI4SfXH3WxiBqCGDmDQoFImQ0ESf2iVUIeTDRof7tlec4k3opwLFxG9wK5gYASNijvW9lUJQBS6jcwuLk8+dzR4YI3ErdF3wJ2hjLTvioKVCd+y2WYPoIRwV11Dwo2UwmGPRbQXs+yknwI333fFCCENAV6NUzthccRNd0qcofpzkg7EUG71S3yU9CVOysh5g7uyDGY5wGeEc3uaHbu+NuqWTxsjeyIpbCMHazA5aqpn8maIRjEKsD+oJueV1cvJYZo7mcDON3T/W2UL180R+aMHa5P/FZ3a3GOMU8fUjJ4rvRgYNfo+XYL2BQMNDzmBLwY5c9VNDNMqq8SK9kHhGS+khRE4/Lag+IsG9mNR/C87iAkNq2iGBmdyU2qDG6B3/RMi55dqRxkGHfitvdHkf55saDrMHUJ401ZTZbWEcmXvqczrjqzW1rh2GAJLWSPSFtnXOgKDNbwXI7n8bdZoQOp2y8mMl8sQJH/YGGv0Pn+XZLmLSSYoeoFN+28XRc2RlydxQ+V+pwW6I4Sm8nA6i9xL+qTvxdbRRBl+iRehbHSonW7CJFgmY+wBHypd7yUbegZyXF0xowLENnyxT7zGSDesOYzlpPHppl/hvOw5pZlSCD+UQqGCh8pc1sBNkkf0VYUO5ijypcnazOFua99fK1fU0yrLEZHPSNgbeRtS2bSRhf/UQNlKAOVS2SntgQp1ztezBQqJPxtkkeCqmusjQNUwFd11xbwNUEksccJLBnMR8yxuki9hLML+IxGn4r0XpkyNsDhl1MHev7ZjjA/Scl0woGpQoJIcf08vdwGfff/GBqxLcznW045SpaAvTKLEvo8OkcXmMs1jCfONndaIVwIELjK6Z+cuesJ4cCw0TYpEp+jSgD/lZmY8PdUePgRAW0L+zSx1c4oNhxzH2/yWVnnXgZSKMprTqN0DOjw76qGq4Si/7S/gb4M9hCtybQQTZx+aZdPIF7lrOUHIlUBgCUJ7RCK3EucxgUvDz3PR/npRv6MehkBs6YXEcfNNK/9TZmXQ9xdmcNREGFH/Xpvu6DMzDpDeynS+SjO1zL5yXe5ECnIb6jxk/jKeMltxOsvbXGlNMMiTugOfAh2h58hIdWYyfNf5wOKUK5/Xf0DNuc+NbCk5+PW6UxQjW+tJzOQARFSJ5ltgwvNfC3NcnPZhXK/9XG4RjhxH/4WGijK3GYQQD+wvz62avx8hkkG//VJv7kK3e1D9bd3UyhrPSvbyYqz6ZyCuCFtkIUbdTbBhy659Hf6aqKj585AgrbggMyZBZazKBr2IhwEItP9D6RlwYQviqmsJoDlhlTHxo9MBRu8ysubFqiiyvbv1EWIVYMLyWwpFiiRCsah/cnoAukz2rUC99mPnUjLjq7B/2dad6ZzGzrznlb7jINEHsho8BpcYm2YLW0Qx9MGVCMQ9nQNwTklCjAiVDg67Wmimwai3iDJS0XfostfBLmJG+P6HEDb0LyNdY6oD9iXMCnVmsu8k0NyfOqsvRORtLlPfCkSw1g6MOw6jXux14Je2WLgxV1DnC1pMr+/WCl9WUP3zj73HBnz/nuKn8Gft2Jf2+yX+1+6d4SZwUOTnDFHsf/gnhv1HNb/jSSqER6MYDrWDDZSQrvo8EX+NU4q8pZZizsY8B2iSA+0NS21xASWtIif013ujbYXHOoIwX7WGjeBwwobTe5+oSIfe3fEEJnxl6z3hb0+GZMZ2gpqgnBpmoKCvab4JhT85QjTRtmqS9732W6jVc1VwDTqOpOIgkiXqjzUFLkT7H/ZbgWQOQRm5rPQ6Xvx5FJjxiK8c1KRHWnnLKYrIWD/ahbkvcBS4fgAAt9z/9SNcfws73sa0zLpkUG3VoTpAAXxd5BA2mRDRKdy0d5l66OfXiEu/+tkkgj4zIyGNo3WiJQCh0JinLJlTvrKCKKQHMRZv7BMogRW2m51p+EEvTWBVn4ZywNRrBGYOdo01xlGvX71JsJG2iV7ZbUcmx0DeejBcafvNN64z1mL5spBrY9TgRbbn3feiACyQfrb1MnB8pGYdno3wsrbzVwCDaERd4P0cl1+IGGw88JIQdStmfvjXPIc4EIqSLaeXNcK64Z5qtZs8lPnILpJXbp3Rs93bDE3F2nyGHAoFnlMwZdk5tVXuJYicevzBty/SHFHEEdRDcxkMB2SY0AXmO47XlOndENeYs0jIFu5GR2/QjxArfN1TGODKZBE0vU5GuVuGUM23MS9rVB7AZLWAN+26dhHQbD0sphPfTLOra85OT75+nQZFMGFPLoD8ou6V2B86DXGDCoSJ8pax9F8ZK+Lh8H2I9Q/s0EBcm9YtqFACdbENcWQ9jy5ifX5FmhlDI6gWs9br6fLRwkklJKHam+CIhLk5KCAC1gRp7goOuFV+Ncmii02n36N1UTRDuQKoKctFhcDFnImzAMsoq0uQrDRRDUN3ZJ5T6FTaKwr03gzhfE5vKQWKRg5xFua6DEHNnF7ddlSUxUw7UhhZ6UtAhttE5CcKXIrO0t0Yr4a1wchLcuCEJ8RwMZvIZpWCfYL8iLO7U+6tBQv4d0xtNmdbTcqWTPZ/CWuUCNnJeatFmJ7qwuOHhcg1ResGMwnCSzcx+jhr31W6GrYKTvWoWW68mymGhsdi2c5mUvWQztZ4nUdQ6fIFMwHBzTi+IOBbl/XyOYIdqe4roBpYtiDrLu6XpE/NMYmYQ3tVO8xSq9P6yHCPRprAOqRb5F9FrQJK6cJVHfxuXluLL2ico00GVgEGO2zooratPIXCU9vhVuy/f3tKK/zHNWYcAvzf+0AijwshfxJzOuPwWaKWpmccLIOXM8251Rwdo8hmsDQzwDbmOkpNOcCLmD7G84jAHeMEDrn5oop0psEl+UxI3otwWqNgmtoxWoD0CIoJaBRO2iCcuahhao9vsx88akvvuUhIkzLcnaCqgRD1rZWY1Fs7MqC1ELSOOwNMNUMvSn6+sEzzYfixFtrggilZOLVx2Fh0ZO3BN3TMJCbssbeCpPyvRN/ELE0yGZq6KxdRvEn4EbW3VR+0gFtaQzZk03UFX12QRtjjjttUNUDiie1/uClApsVy2VpXwyuh6Mv66lXXRZUDM04l3ClgWbflqR1oRGVv+gPp/xcIeHA1jVGl0+0R6+PSnVUkKYlcGNLDqTu7YoPwhk4EngrakfPHs/gdSCtcutUN00PNvRKTM3ZlkLHa7fyvm1Qlk3lK3frDCwCs4pMW7Xc6hw8Tuxu0UI9xPcTYnbme6cELpPqrL7HCRw+5bIJ3l+emE30L0h3kv6jYF28ZSFqO+hBaf7DaRK8yZiUXYuPqJVTytKeGvy18WsMR/KD3iuRKATAhIba26yQN6jmHvcksq8Zx7bV79hGwQ/TthcB9to/nytFeUBkPOiA6+skFwShFpkx1ifA/I+FCufsxQN6zUDgyPy3AJCsfHpdXyyjg8yylccyUH/g2TAxCJAa1MKuZls1MC+i6mR3uPtolr0ANE2FXrZ41AzyuIzRSwjmo6MT2N6ueBuYo6FrUi4SonyUpTkAmHVy2NCgyaCWTDayINDKHz335GYg12XgmR1giHvTAtNbX14T6q/VifgWzMs2ji5XfSYUccJhmeWJZZc1i3Kqm1js/ZR5K7VVsAVyR+Z94SaisXtNYetE4NUC/SmjsNZST9CvtVdZxCQeHlxelR2EmVMYNuB6pHWUIF2VQNyORprEI7bOqx3rYZ8rc6B0G6GqnOFgv0YJD7FOVjmiTI7Fq/LjnTk1+Q0uUTTWrJOpznebsSgITrEJ/d96uJKBrT3QQxlcT0TuRz5vKaHMsuxCbx/LfZRs4tpY1SCPDnQ3LkZ2WsiZmshD0HWfXGCIUMlq74Y2cFCfEQUWz3OWlc0ZSdu/UX3YYlJtSBzMY5CvOXmK15Gw6vEojQtq+fGqfVq7Q6yneWmyjaXlDvv3fjA3/7opewaDZ6hMZlExfApBdobLdLWAeezRDSs5N01UcNfL47jwybeucE3ysBjjs7HJbfKPEKi0sgxqyOZSZHsEj/49XRLAI4fdfRTZsPu4nhqdpt+G8MgzItwE/XxR2hNwBnADMVUk71rhEQDOtBPgjlMIdAyBnU+ecVlOo7aNT81UM0Xmo5W93EjN+X4wpB72ErZT1oRqZTuUKPR01INcGqvOI/QNn0p46t+Z74u/RV0wRpPXO7aO4GIqKn/TFkSgRIEJ/FxdN1nrZqCV+Flg6HuwHPaEdLHQMasxn3j0bJtlYysTCJOXsPcEXGCo+6hyqprihBcNiLP4NIQc7a+Aa49ClE3uvnwpnrra74oM4aXJXU9wcW5J7MYOqd72bm+PLYMI4BnNJ6Ykrq5P4Oa3F2aj6IOOg6QkJU9bbaxwSRNGjqDp/wyoAWzeZEYkoH8/UuTkeABETs3Y5/tWAPXejfnjUx9mf1glKi7YknYn++Wxpv3br9biekLzZBZ9KnyBV4uADyx6rtWEa8MQv7+pogi0HFIhVIfk26d5aqI59AcCU+arvnEk35T7niX9+s2DhadPTSzHoVquNSI2vCtki8N1mLwIZ0+LEmmCzJaHU9j54Q294rOGmxkhqxFXCOwK3OjuNOXQP0Ztz3Wi7RXYS8msAu+L16oJ5H/O0ky9mROdRFEA539jHaYSODC9xdGwHAI0VcKP4EgxjDDweu5SoiK88g/uvUjyhNUYDmzTSYT94jII6/Mm5eUygrdt4iYuer6d677bvAji965B/rPA/HS7eQaVbsKs/2pYvJrH6G6jQ8mmm84PEAXdgpPgYYmhCrzLmT4l5Cw8F5ZJLNfyfSBhJRzNWwCGWapImHD58LZLm3UvBOvscbfRn3Z7od5eBMcPo72l90PNbXOWArUXuLkTNC15iKavyZhNS/aJ/PrNboL0L4y7tM63e9gebrsSfF4X88lm8SR01US0HSSgKVg+Xx1cQ2/kQe1uxNStrlA2Zy+EYK61GLodIOagLIONXJHcQHxWSffIsXPTXf5KwAUAsMm4e2V7vjiXWDPjzl7o4JUY7Rl9A+TqNevlDxMYx5KW63Ib5/EJMVUrDX/Pfe+RXgY//YJubG0KFjM8izznvGz6kYEhV1Rc7fIITev5kyWPFNnXbIvOsMu6knkpkLcwSzBr+a4D13JuiFZXk0lubadygcd+I1sX0MuZ41PFbdPvhsDBZvac0G9hlOGd+8bAJuqUfJ+AzAmZY1uEF80cmJJvEpVoNyIbbobrjmFZvW/REa8fFmT6vTOuM+zJfODvagycv3Fjp8GGbA0rkpXcdZAxjgxKsI3orTXIHEQSXQCFrxZjKj2A9E5i6cCyPQelj/3Hp1QgiiY2+QoeW1xxTpR0jz3oXwMfk9dqVRe3+KOKwGNs8c9FnpiuQQBzaQDjYiXt751Hed4fmZpKIoU4DyFBrMX9UFFTmSMH0Jdf0Wo3e3wM002y9lMnWIRcfNE5Pbpmtl5LJocF9zCGT72TiJxN0IR2r0nS1zlPw7NttE31NXwUuTmJNFwAaJIMXGHtcA8QXysIbuGXyaUK+uolMAydWnwVk5MnpSeH6ayu7G+C+8+216lm/w9w3PX1+g3dUIG2KI4lGYIL/v6bZDHPJObss/FY+G2+lOp977WikPWtxKcuUuoaqSt7t/TsEDxkTVPVyrpQVltWdcBiS6jWwooyVe8JRD1Ny54VdkEWM8rMj0jm3B9X59oyRLXw7/vv0pr22N0TXd526BflchQMOGL3DEF67Yjq36FyELzOo6LRq15YGvK/bqpj8jJx/iqUN4+e3OUOcA1RSFSbWJ8hn3Y5HhQS5BKflBY43zw4KZZ4jhDa5VF/P2nA1pFLLzn7MRr5tt/fUmoeWOl5m9NyNEC+8xBnJmxKgUY/KyNIAj98GNGZH5rCgdhMWqUrfOdJVOT0TIpFAddy1V3Frth7Z/hj0MPW8rsZy/CeQ7LvfHSZDs5Qgt/pRGI6FX9Q9CduF36JFvYyITy+qcaBJNTPVcUyxqRexOr7ezE8WKOCFoAxCOEZ2wGU2dlcv7XcY4NweW4gOXQfwGLx9P4FeOWMynKzolFb3R6vnDjlhEIpGqctJFvacijBjOt1yW/xoLEyZq7e+huR83jaqI219c3DtKjB4grupVDpt0jB7h0zALkLelCMEglyN+1Av5NxSIzt4Az+Z01Z0PUAiSwwwtr3WKYqkS/Zw04uHHUVx5H+fe4v3rw0gekGvbet+rIHzMIQX71+KrJLqwo/HOK9yhD2WXyKt8aFvzK6FTpCAMDOieGh1Yg/DaGctbLrBnmUMdlzgs5j13JvnJxs43MkRqetSPHUun/xbPySx7lpW23pBGWIIuDYOp1d7It65Xg+8OK9pkXKRIRuCwwD2rUU4GPDhWyO/45hQRjrZ6niSJu8w1BKoIyyE5L48ueBtgwrBC9cJvAYb0y05zG3T0Ziz+lohLxZFmyAQy62E35ExC0RN1nrT1mChgT5ql/ax554pmXZX9eU5fHFx6ym/JYEKjTc7NgjXgcYDZA/ZFOlhyMjW/5kQlWXZjRfu1GAo2Y0yrd8Grv4ub+90WAtAcJKUjgsbGElDgh+MB+Z6YtmKWOu+JeM6MfAz1MfI43PYzkipFoO8LfaD4g9vgzUXCzSrX6BxaWbM2kO83e6dq6e6ktuP9DkMm/j+q17gOR4HA2q8NuXKe1j/hGG5ToBzv791yYcezlWTBMA3jk9ziiwCBTTkeSS8RBdTsBgjjHFx9dcEhA+PrXtje3z6sKtXOPcjyU8cNrSoNWBX0BqO8dFHio0yk3IESJA+WFR/uOoKW1DAPX7F+TSvwomz6YQrto9+041e84xA43Fmu1HH14X9GUD3YcEVpK2jSnh5xmyyzMIawqL8QNt5Kz+nQOmFlpi+IPwFl+voOaS6OHImKzOazbayEgpFIofcfPZK8hUC8NcgGqkliiAK9zJlERrDNh4Aq5e95ifYKJAnPnx38Fjyojv0qHPJZGCfbKkiuDCDUa3K17EJUfuFHlcg/1fZRcn0j1OYodYRcwg8ktHyLFQ59sqC0eB20rWo+8wERcOgcdjz8XXJTZf0Xqp/m5l0qinx6WTv12Pw/Ap/JdPh2MrkN/FCDeDyCHx7MFO0kqO8ftvDqP4lv/nkQJW9GHaNqNe9VYnFvIK84GLBnYJcw7n3pQPxqmC1Fbo/Id3pAaiExZF3DGZt9ppnRU6It/UDMWRRc2EhDnIXbrXjdsDjdyHbryitBvtDF1BqKErFE28aMy4jevzs+vMf3fESEI39Z3J36srP4IiVkzQCxr0LZJJ/y9vTeAOpEw1fqIvPp8rTzT8tkxR3zwvgIAxgNf2K0FTP8uhJdhDuFS+k/NI+Sjet18lN+PKQx+SiYjJm1whbNqcDISzOtrhe8kM06SiJkQRV6gBSxqHcATudFgA0lk3SaXLopjzPCXIRcSUyQsVTAjaReWLlU49tgOaCtPw1cmjY5Cn2/keqqNXhfohc0Sb/8fx1rWxu6VcebvnoRPutZjRfmZBrDwhj5Y/mROqNFPRto/9ar4uoddcmphxAqDn9c5qOLy+L5kgsUtWXAbOzTF9iucmLbuCv7KADjbepwuBXD6IfIjzb4e9wZjuw+4J9SXMd21VUkrO5jAdBUCgEexv4kO1tLBiheCGDj//eMDdbZMxK1a9L+w4+uKQBderrhCHcsplnUnWzzQ1HI8AvOmUUrJ9IELH8Fn34WXsdk8r+3O4lUIXxrXm6gwMs0Q7N2QYdNXByi7sNLayHCktnCJR1A6PRyVkVK5Lqv/FTocT3DmMZVYyo4gKuXOb+WzBXoiRKljhxVaakQy4QVNskgRlzCFYGPv2KRwHpqEuegiK2AGYPoV7y5mc/7L935qa33rethFWsoSmhSyY7Zx0ekoMpFqMka7Cs8QqQpH1aoXr/k1A9cuimiMWCGlfjJelThaFM/fQJQfYk6yB+shfmDZS2rmRKLseOD4tJcrmUgD9dXKI65P7cop1l58zoFaHPwrMAEJBemWaC175kerOLbgF9H3vct0Pr3rtLtqxfNQomkRswwzlNbyD7GvnSwYr236uLhfZOerD1pNEa9FrRJMXLpWexvwbk/rwAOo6NpcugdnRWxvEngatQw4Gaq1OXNCYN1noeJ+ubaSJMRo0oVDK0wP14X+Z+Di+xlKrA7PZYYvpKZdcrGmYAivy72iK3fkvVOJazdDHmHLRDDXMxGp4xqR6MjrJZXrfCiDrUc7U/pq4OTOk5qE/wvU6UxAdXJ5CtBsvh7X2v1/yfa7OHKYMbljbuf+n5s23JuBC9gqkOgog/FIs6f7ArHWJ0Zbi+bsbwPOD/YU2AZySyNwr8dswEMGOXZiX0of3jPefjoCiQnex8RDFDuZPKT5AEDqKwMX7AtqI/EVQKLUw5XwfEEVQK9yoLkFG005gjF63nu0pkZEIkRx02x7kCWk9xmbI4dICjfl/zkddLGo34qGRahdpSl+kFJdl4bxoPYaZAsLEqq2V86mPjI/kotZbQup4Tz/JUdR+jMcwJCWhXEg5qgxhktjWO+tyB8HrXRyrvWX7AaO/NAB1w6JlH+6BrRBGbnhFeEwkTuFIuDcXV8KSPcg5hRh7Sx5qsbAicrpDgYsOCPfJCrUPN8RIxS8vxogS+IE2L6r+m92fMBvgvNpmB32nft1/Sy7AvQaiFtOQvhAfVg5vWb/5IgLQsBoP6Gg74YU23/5+D0Eyh1x3qPk+On6/2eat4vyAk5pnHZ9HH9Wo68i/6adIXQYVC6tyNDjMGk6CpQA7Xlro/94cXLTOS9YlFmxWt029IkgGKqhRkgiSmJ4c8q98QuF320UAgVyv//kkXksQMseScMuTVRBP8xqzbO3t7c2wmb4RGvYGwAyzgJmpdA6HNVGzrYHr3iOb3KmRj8y6Jr1JzS0ChWNf/xIn4U+fz5vhctKhYM3Swcn8tM8sAZU23vE7W44cR871mzY7NjGREaMDYP5YwQNUymVTRqmv8jvry43VXI46mtPQeE8kOy+CpOLmZBf6qd183YstIS3QhEC3GRUkR5vn85v7CShluZfZmRGHRORe/rs0dX8op8MEBzaMrcD69aJ0akVExVSBNyvJIV5Z6VGg7Ip2Sit6chvE/QtQ9xQ8BDWOI5o+mvvnuhzqCPvYdJpJZGmDWoGGdTXUAMumXY1UyJyVTB5leGkk0Xkow75DtMt1dsqdORVESCwp7kjVVAJg8h/hNkcsxuB2j6wz8WGxqrYC9ahTJXLyOlNz/9zYhzU8SzQFKvg5fdJxrfwPEHpuQbTarvNxissqA/BgU0rouaByIaxJcdHoFNtCCd9MEyxQingKTY2COJqemFu8uI3rOLypEyf+rTliQ7mwkiVCEmECb0itxnJTB1wc4jnWPS4lV/Gr4EQ4eyZq+QSRqCPOrJxduaddgcIMebv/qPhZdsPqN53/3SAc8/3cZBI1COmX7RVs9CXha4bFBgBBIzPHuAwjmf9Dv3UsiQCrHJggoSP0/lrlTg3yawIFDfCVyBnMhixERTzXl0WueBLN7BT1JHmdDoMdUsRwwoNn4lhCHgfUwgULM52kIwOAxdAStfpfCvY5dM2wlgQKXP+6lXGbr0vuDffNTSXJQJGUeEZcoxewEoNp9sr8VFMQJGplksN1x27HZPUmRJzwd8XvQ/eWBmea2Vl9nOw1RStJ6R7eHDveatIn7W6qc6iGEfQ3fd63oSJ/zMDG1KHYNrh2KQ6cl7kr625No3lx3SFvv984F6ERGMQZaQINP0/gWYq7WaJoGK/864XhQMaGKJLPZPMCWnZ/xc/Mu93Xf4W76oU7EjVJJY66GUEiWP/7Vl934JvnPBd6fOCmp2RpOU3TSi8OICIaaWOaFI/yxAx9PiStM+kFD9ARA/+wLz8k7rjGjwgn+KY0cWN0mwgTOaWIllwpZF4Zq4FR9aOaWlvrX8vpHrWzVobNL1czBfveLCR5xdPIT9kyEJnoE230b04zrck5VL69zj3z8XFIhaOYJARESPqCmPM6H623+08SblY7bdV+H0w4zYs9cJ8Rvt4WuMh4PUB0Wi3H0FPajaA/hN9vvor/O/8wEzUu9rYkrtNl7ZAH5CQGfsfKoYU7QE6R/ofdcQF7Rw8wxr1RR1plJsfFFeRkAPqtxJQOEMMFj+soXzVe5LoDW0rvQTq0Ur9mOARAQMVpS1fXxHCrnUZZMSEAEfiiurgefLZ4w3poQOaNpmnIc3z6ILYPt5MV9ztpnffmvNMLcKmU3QosVasfPkmLLRZVuN9ZPiyioEhiK4U4ScZZXBiaul+D9tbs+pzfMjZkYQcDzTNKWpo62QqIY1rMDHuaEssH79En2MbtFxKrjMURmy7ZhsbAzdJKIarku0SAtzZ8Itef51jYcZp5UKo653xQL1zgTZ9jPBD6kgdnMWkoQvpOlWILhXSOlcXDhbA6ei8ZsRxpbng12ToqitGjhGxFixR0aYPqbVJLfaq94jQ7vwurm6M34SgW1+kuCEGbEPnr/6+2p643LzHCB02JUTKhubFhSffWNHa7a3WDCWrWzz1WxqRxu+yGXglZOv6mhpXpaKGY+p4tFt5GSPX8ZS3RKPj0156EfdINveDsrFCRbHOhiQDlkGaTjNBmMezDfevO/PGDVtBQuCNiT5ji8CTB7SQy5NMS9kea81UMCL51Ozwb13YUXiiGYr9MVSz9m9QejnjrGsvIez9C7n/iowEKbTQFAAI9zHw4tEuZOmH1MK8o3g3RC7m8FrVVIs1rz5HxwTJvShoBDZT7/uq5KthtnkSra2UcrbxgXWHaoyrmyGoUsliErO87bwPCKSAOC7Z8jKYk4/w+vQXmJBEmfIMYD0weWjPTshaaXiWhUHGJoojw/CVgYwMEJDi9XhKZzoNTr8tsJtmQCXWUA9vaAurTgifX0ML4Lw+BsbkFEucrw+HRK2ihItGqto0xgCcpiLYyDPjotWuLU2GtNMY5a1QXKlPcduaClguvFTwRSrqS+ktxbYSKyVKH5pSe8+2UTLW/R70qkHnEvbWerYENqlpQbxoDI4RhQqWWoAMAAwgiI1Ell047ZTc1n1aIInOq+VJaDpbd+AMU2CX0ZqBJoPoLb+kBlf9kiCqEXIL7raReQfkdi3FBLlcU/DjJdJmg4zEtButKr/V/qWY+Ifo1yZZLMoaNWk+zcr0Z15VzSnmtumc1dQvjCkqOC+lusqAUfF5XA0DvJDHHmSXGr8FroKWAaU+hdY20dVjZRYVTuZMIlbDdwc5bZE8G2aYc19P5fkdaS1AVBp3T3dBB5qxFHMjVFlKX156zIuGwaX6SBEi+PKnp2C7qnDJ3hzKUdVVAExwtXa+50uxiQ5Ru2hUM6BIHKHgtnqFenbGl+yvVBHKY9536pLqPADEYK4H+G9T2/VD79fOI8/9VFKKjxhIvCA5uVWJEn30B+MQ56Cwg9LZvNp+tu8tupsgvx3DrGJ1rxm6dpnWIDxhrISN3rEXsm9QtJRgxMhesblIx2jbGGH6I9TwbbAQZ7hH81vScQmxibnc+WEDmDi35dTESlhImPNl8Rj35HTxx6+1NtPOgvQe8jaxD0/xzmbmqr8hJMrstxvZ2gbrsvgT6KGf+gEIJ4io04nkfiVFOulz1TiPFRKadLcaPU53QrUSPsc2RNAhRBRpp6MVhT8yhraISF2pkh46pF88rCXW00R2nEUxgnHy5J06MJ6CMsF1gMBke+3HOvbg+0kL7Bq1Bhe7IOP9kBpO/8AbdQRG04krDu3QJZ9IEwZaB7Pg6dMRXrvfTbKAmzETbd0vPBIaY8S47pUjLrIw+AW0onDD5Eo0srYSI+j3d306rCo5yjNLewYNsLUpn/w3Sf914ZvXmmDgbH0ChDhr7CvyrUf2QU1o/C5JlrZkQwno/m3RBICmWgwbPySB0Oek4juxGx/0NF5gDpY4Ksq2KtkCPFYq4HFejBB1IdGjZoZOFKvqzDv+Si4lApW/xC0aDyMbNDo5D9soX9iOEm/Q6B9CDFnrOyQMTXDottqrTAE5guRGPCNWEnfZqOgAUPA7siVH1OUbCevItZaGmOtbesk+yL1rwrVoj/4OJ33Fc2ZGgWhwOywfys/PSJX31zkMRi1YJEnyf67foFMN1tXp+mcPOAAXMa8oycT3asH0Via+AjQTgybYZvNWE2AL11WStOA9Ank8sPwQFMwpkN7yTsI/YH65hCPVm5YD8dlpGsLxxORuQEv2PCHPeUxmRHzFw+w9xLZpvuD9N/oxIVdykMp+FDdqIuvYQiuppAkYLOA433QnA2d0ghjuOHwYighoVVbzlM8E4ga8Aka5Qo3594wPkSsrDP1pyqbqHIrskqjbqcOv/3lq8HnK/LhIznZXBdjG1MGtuJHWUKrZWS9GgyZQFOAr4QxW1NCQ4JHwI4vCtu2sMkiV+PE+0om4ecaVUDbWAFx3bl0V9PWPoPSv/9ieWJ6DWqH5QfuWQmTLOK9CKwnlaJYfgGZNIjKgm4JHDZYWS13Y3JuKCSiB/u4c+ee/xnwUxsrggfHQRNpE7b6e+CokUAqXI0arhXG2V5/J18Kaybe+sLhxofr9sV6aYu3S9i8BGNYURA+OhOLQgpi3q32HuHpB4VqKJCl8m5/NORWBXkiPhGaLQi7bPdPSZTzSyoi2hJ4eqbOq4y3lvRoFyB6zsnEq2oZXaDWwJOBEGI1L1SHv8nnTMCrVKemAd31aUmLUxaqgxzBNui+P6iKjfIdarzfij2lqlFKzC9SOs30dQdZQKqwrXh3UU2lfTyzgESRcp2DW0X24PWOY92GBYaWjQoiPpWpAm0eZ7sl9pKR0NmrnqBf1YzTi72tAQ6et1/YnHew0ew83Qe/o+Wk/oeQmNz4JqjICeVe+RjLnbelzHpOjpBK+zUpYmJglOKxKgUw28SJzxI+3KydVKRmYi317DKcC3VFLOrnLrfr9qcU+qVTY6UQxvBP6irJwRhR5q0O9J/1LgazdRQJQ9femqMp7PB9QNNb6ZQU6muddVMzvNrtRWSKpkj76Wxog85SCk448CE/Rq9p3ehulwCos4a+qKt8756UWsK33PIuzfnl/iJhI0NDIWdV1dUbg8XfhrUW5iUmIAb9YxqjLt7BVtS6+7y4s4vGlOtRm/MSNlHQk3LBuXLJ7lPu9d8WPEGx/iUFVT805/0EvUbXe2pmH4KTCdnwET3REIwQRH1ydX42Bz8YTSBV2LJI8+XOQJ1ZIy0cByPKl6IIcT23M/02oRLb5MMN0Cwx2Xo9HOcPdvLePHlGF3qUcBMfhx4TLB6OukHiPeGpoM7MM0TioqdDWPhz/blDbM4O0JNIKgoDG5ac+RtIVK4JQfedNxBSp8E5CF4Ys65/6fJPa589LLf7FS68KNt33zRXhEWUtLrsYb+7YgZqLCBYQabEDCeoxIQK+5pHQsybZdaOM0UBb3+7GnX+U3XbMXaB8zS2Ki4uB+uF1S5TEbAl1KAeakq1Dnup9n99BPs5Vx/v3xtZP1ixvkDDgKWJfyu693d2LxU/EeiOVsy6jDMvsY1DzLKpidT0u+vC7/GqOawz4JjwHbnh9KGTFDiRZbmGdhnIL/HpwFBtoIIR6Ozwp3xvaJRQMb5+jUuuIxgwWfohHkxw9AiUuf8RsVSxQTnPOvsBti6cyESfTfwpgkOE5EtdwCCN84KRMoSZvvf3QEATWgusUafBt9+y+HtOaobWjOpjocQ+gn/UUaVx3XHZAb8zjcoj1resDlG2Iyo+m+ZCrAYS24IhsLm/+cYHwW8+hR2YpddXDc6OgVUPuTuDQv+JCF9r50iii7ksnJVpJwnVl0u/PV+F4cD4zBC+95uXdKp53D9qbfItdWS8TCjOWJvWB8WlrZfieek5IjZErLD28EeXiAYSSHW7TtD4Xy+nJgcCOBZh1eye3681qDgIE31xLwA7/Ye08t4FvB73QCNKt2fub5h9Ta6/u2vDUNk5po+nGChJXKEBax3mq19ey+UsyuRDdZQgoP/lTdCHOxaq/MD0zh4mp6xrzxOiaXXQTfisP1Fj863a0qUREhK3nxkAhxxfimBTQG1UBen1WWWu6b3zdVgRfxoKoAua+3b/L2gLErZdOGpxq28KrnC7CeCEadQYuTvS76nKWnj2/o24YKVYbTI5GUY6j2jyqF8mLRpmKBI3lJh4wkO+uhP130C4Upu/Jz6ms5x/X6B28Wwl49ZARibmwK5tkK3q4xUea01dfHFVVqZ5fTGfrBaW4fDnFa7jdlyz23DH5RPto3JZ6HflZ0cskmTX9BirqFUWXKN2DlTQHS46X8IQL42Zgtr91UZvi7gNZGnaaQr3WfstjOSMbJMBWTPtS6XhxcAAOQpUvuQKOwEAM1qJY4yDBkk3sO6k9Cv8O+ZZ6ZvVOJCwp+TLmjLq6ao2faZUQkXGSAVGjsJda+w5egTUdd/yxZoMZAPwzdZvnfUvHo4xMXYQFZ0Ot2P0oFG8zTYUgiYijoYuoo5FUIcEitU1sx0XpPWg2FATTCOtT1AsvhH40EX1ZkvTzo2KzI89hqJhRo+i0MVepiuwzY7E9qAQbH0KpUX+MP8XHkmkrbAs/1nSFaeL9+BsG+rfPHjYSYevwbzIab+921hXx5ncZ4QkLwFk4kY5jJ1qhlQofiKvyDYXnIR3OcDwC0lrajKfHnqdTN4MAWF99WSlUa3ZiprkCDAAbxPM7jlo3UVcDyuN6oR+U7RrRALnY8w+s6yX0oGfq+c7mfT2ywtRsREfQnGYUe0AmEiDR42f1LYgT4YQjanucCh4M15IBLbVwZ31j4VTYRI809t9finhfO2Kvlz0MFWLsWMzpJS+jlP14Ft/XCxWJBgogAhyxDjzKLDjtHTyyZkrSyx45T06Dq2QDKqRiJ77yaAt1pgqagyq7QEvOx8b9yaBhls87aV+rrT1Dyh96z6tQTb8/Im2HALRiQHrcGxWzR1DtOEo4evvz0e9NX7Ip6AXXSdFbqMVB23Km/slL4iMfGugqntetWfA1s6gkaIoHio9yNTIxtDS0tO5/3Mn6hSEUM+LgeS6gZ//lxui2mcvKXyCKN1p7oESvsiwnG59AOCgMPsw5dxrcbHZlqy6oTm/1Xc/EaSKcUYbuaqC7I+8fq4XJakX9zw6e22d+iqi+JbZcBViAiPI0p4TnbuopyfQiYekAOea1L4yAJ0VNxfXm4HVrONZLs9KXtWPMtCr5i9wBp0TBLEBXoako9u6MqSL5tU46yFojtvGOMmrUjTrkf9UaOuljAAL1bHWaBbPh3i3zpJWPMVKcwwjXTXy+au+T/2Dbt4743fN4RfKqxkPWVwANOK9lvOL7ADQ1irvHT1Qj9apnb7PyqaV1KIgalnqE5DNhNqEPxtjI6dfvwNC/IHHExZkdO2IppAokQQL6IDniVQ6lodOvPsm8nfo+ltQl+tuHkSAm2vDdcOhUEnfgzxT+NoEpA7quGr936/HqD8I01okd8s86tAwp0TskhsoNEwq4PPgkJOENErlsk+xh0fIzgcKk/F/5UuujiR74TqOD6fxT1B5MtiW9U6H/6JPQ/BOmDN/v4o8VdEHbgepy10fh06Og9m76mFDa4ktyqK0lbvBzAFJwJPxZVIZhXMMO43wGb+zAmbYgsoH/ZsNMHHSn1RQPjldx6P3YVx0ADhx8bA4rdlSnftN7ycuq9no/AhYYXH8s3dx2Vp8AjAd0qWlUO0zzfDw2fDuwJO3wuV0mMi8HRqq7YkbdFgy8PoINOoIDxL0ktNZBhN3uNN1U5vPSBfoWJhqjaV6d7NT+18YdfxeH+CN8+AXgF8jiWLVfM1qzesnFjYfRKzkg6PgXuv7kIRBhndH/tZsTxG6b3AzNw3JWy6i6cOiwIofZxcYt83w8cCsI1C4gx5lFme3uwQMaJldKEsU0e4ptP9KHogCWjESrRuSqTWt4+X0rgXJbKenheQ5Zan1OCJmvxeX88F7Ejm1KN/uk78WzWPY/v0yCAluXpxwTQTbEYJB3jqDZTGUhnvUVFlh+6F5/9TcoQh7aNo1RbbPwZzDLBIN/q5+LZvterja4xfUVIjuRwyYZezCdLc1Mx+c3DAHx4UEmIH+L2o9KLD7MxjednbzZlllNsqzX2nsbrD9blY8//8FDHagnBUGduU9cp5jKsQv4dlXJ2eukdXEM1K23rPCpQsRBW6BN02w/s0iEP/AbFj82ZVGojMd+a8nwWpcAztgiCpvNTas9rhIB8qORzeXqPylhCzeoRHeb1o+EpD/W4DnwvYZX68QUksmqtqjr0SpfdIqCvgzlztDo707rmvbg/0HBsN8WxDNH8TnwgYKs8im70FkyHJvgN2s2dQkRO06hmx1gS5rJX9E8mYiAKAJKaWgjo86PFcUhVo0OgeJENoNWLsQXBUYkSU1epG09qwFrRyKAmfmHSZ8y1EPxNQ4Tz0oLeGHwqL/0iMgNn6lEosGHP1ThsS6lz8UE7W1vGeVlHXB4xQe3H1nlGxmDRkCGkU+Gtu7/zBiKxy9Ga7AnFoOCgDjGo4JVV1ZUfjJexmzeeFtLaEWxXHGO3MApw9m9ABcuhrSJz7nHM6+tR1Bp5US+2xTrsiopjDAmvTz4TLMx/qKKGXekQAoCYKWkEuumjR19KemdWoQjBc9sx1rA884KJ6fOkD/X8c/2CAHuPP5FtrG9JEjxOMBuW0qNA9YdhxVcIU4/F9KwXyQAIkEyCq63sYfmrCWWdVV03JgCrpmSRHvB9X99eX6Lnz9B6yhvW9r0kK2Wc+JcP+KGNfZ7mEjh9BReb0uhLf6pEFb5DDG+rQnWi66o3FIeuK2HQB/AJC6XAJHxduXBnBackuW24+BjQmYxLsEZxC5d0sHe3ISMPaOgsqDmY5nm27tGkG+zyhn1+ng91rupuMxKChpD50M4nAuYrh/J6OKSijiSPfA+vwkVdKXZM92sQPrLBLUXE72+t9ruxS9Dg9JFds3sYVnV4GzwNpOAWO3eKoPEKKkYgVZ6xjiH1CFbuLnle6dKfbFIYRLsgy+jtDlWoJXbF4dpFMuXP8+PzQjdpFjbBk5DcJlpx3rOUYCrDvN8poxq7nZmVxsmAXtICVT9C5KP7tWnkWUhoLZsrDDIfAGtLFyKeQLiiFXDB5tJ5QeQXQ5wwqvH6GG8ns8RnEQ6EM8wW/3Wd6dMZEhsbzo/NPrLWCC5Rt8iYuTHrRNfbPOJ5S5S2yq5EVEWW8+tNz3h2R14fHf8HemGt+MLMggrd6LzcUCOJniw+3cZKzO5A3QF38vXRR45fXQH1G2Supidc4mr5KGldydcnZLiviAaGXUmDH9WfbbtUZh1wEFrs10TLQ2TqKSMWKKNLaW+B3ogezKpq1VchD6UNC/HTE9NIzDoBAAZkAEXHrfIjWUEImWqN030OdrJbcx5s3uryfZxdfNPUprd9MzAsdk3l+kS+lQfAvWwWd1izq4OCfVZz+Zf2AMWuBnRLcsogEqPY8imcEddJmcZo7Itm1cRRBSb9BWBhn6inv2dv810//hnMV8sJFZx6CqrOscQNb+rDcLDye+cGH2r1T5P0lQH/ncnsG6JyKYFkJGJ5X9bbMHE0wcprCQ5dmUvTXexW0LsBupBICAoYLonCiO7QwfYLIg/JlG+qoDcVrVQfEDISTRYqDTpDzEEmx4UoAxm1s3QNj061dd+quffP0gGZVPpuoEmqGdc/KassZpwFubzdvUhHv/ytJdTme7zPE4GFajR83hNrVmsUZxtZLw2HVd3+7S/6+Yn/TXnsTjq10GFGrKex84s9aR/Fy/th3x2NrNG2/v62wYKYJ/AyDkLjD3DorWqEkLLPtgj1kS1BI4XhMi9CU0AlI7g+EkwRQLMg6R4mI6OvosstIBhWMuZ+ilE6YI8ES8v4YKsXd6qcFYkKCh5P8dPN/+9BNzL8vlNWHssRaRfrgmqQR74btE/7+c0tYP/MFhuqQLzFUvldMq1kpMLtFQ6bxgrTwkOPkNawWtneDDmCDpnhomxghtfMDIQRWuEbVRKgdB66ntqyAcStLbLlLIedpZ1jw+fheMPVCScGJ/gcAM5RpgId/2hYStJyaBNAD27fsQvdq9leSwFxvamZJe41R0sH/Oe1zwnpy8XmYtr77ZSTqKA+RwczXCSFbpTVWCPvE+YBm4XToLZWk5xL/o/3aqySgb7zkwxBSqxVRqdi+5mKnh63uYDup2nfj0X47hhvywf+3JTOJLJDOIcxC3hnvlZgy2YKwyb3HusPbvnbD2LefJ0j5jNbzuaHbXJ/ATDFCmov9t3mgE9ZHN8pRXRU6tE71Cxc/m3LS803GTUfpFzfX+3QX52637RRRPMsq/iRq/v7yuO1SAO6TpNsUKw5OrRUlkXJYS8cNTbh8P5Sffn0Wqws/SeojfspHV2GQdutYQaDCPMF4rgDZ/ixXVeBFTUBgJyDLx2bn0xkbcgR1nUvzFyRbUgE7NzVQzxHtw6ue43VEY1WLxYe7Yz1/TWpBvqU32lwv2tgIRy65horMliFiG+Fnw7onota3+Chd0xok9SgbbU4HaUuKDEAo0bCnDywsIsIB0robkHKRT5GY+xSmITFoEzU7ofDEvD/ddRm1vIvazHqOwhXVUnPYI/pRK1EitNG+VsE0Q+aK9somxJTKuXXt5GPIrjUMt/4rr4b3INSELpYK9mcZ/eWpqdH3h98mthQYAsfGKD5bT3QbjiozurtPVznIWW06Rf91EMldS8T/g8UReLHCLJvQIHfia8NPJrpN+2fRqgHH3UMWML2AYOjQdIJyqomvYQJlBoFNuV7s8GJGvK0QaXvazRQzUBvJ8e5Us/TP0c8f1XrfFxO5HfkpBc+4ZFhU4RCMOXIBNZHpy+RVe+E8f2BS3IKqFIksJ06m1fOiXA0dtJIefhOWZdLHq0btCz5yye5Ce3JGlygwZ4D+ItDVyL6qi7QDTjkCIS0aw283b5Nw0GukJ1mzdMVhCH98K3P3TIR9SRkjmD3f71IaRcDlW7x4+MAiSr/wTf+mgjS//rs0yJQr9O5K/wztT8oU97Px8ACLZiBqe/tXUt0jeWPWT1u/QsYKCizCuC7rXd4lAp9s3CORJq8JLCGQVKyT5Zcu3Q+oqz5teqlB2YcFniTBPpsspxiTqyXBg6Uspe1BuIr4WqJOVK8kdyNTZa8YIOgdKFlcHwo0HsulPvl7xYji6g8Vm96L8aDaDOZRXqrxf7Yj87ox3CNzm0GDFun6T9UROHaWeZHFAiP17XiKR+F9OfhMht7rdaAclIy3tF8yE0B4yIJsPTTsY1OFILvt5jORzE8x48kC27XXoAexh9FIMlFQ0ZPQP+XvChbQBqRQUQptvsRFq0HWDpXD6ACOMSIB3Z5ACFUV5rpPIY/caYBL3g+BZAHckv4lVeh3JSWf+/wlKKkrnLNFaX5rrt3ikZzzRW44WT+6sweeqw8Q2LjF+pqWi3fSR6pD4nuklWGEGvxDUK8G1/YNWqpKW4iUgqj7eLCZHY5COoP9zhZPpkKZiyexjwXieQ4Cfbp57r7geadzT1Ynoig7/r9dsb+OqrDxYm/l+2mPcKd6HtTz/ksnPtd7tEB1hpMY6IJSiPaaa4MiF8tmXWEjNFeAtpvqM4CbwdkqD5fq0PxhebBiWQ2OVSWHHe54Z7amJ/lI1g3R5ZNmzBi1pnsdw42ZHfj8aukyBG4lgX+zploO+45kLdLQOQCGbayfHeNapMvwz9pndNHmWiuH/4aLhmuhTTt3dxY72gErXmIorpLn2ArqPebF3JNJTnv4fPVQNnPyx2kB/DiUpyQmVYZUwbRHgCbHq8b8WIeyxln4ynG0Nn0tvJRbXQj4caMhhlhiPZdRTIgfXWav1kv3lD9CrFbUwHyg6UJY8WmgxpCFpOnCwYsQQ1D8nHzMuoCKeHNgZdhQpIRJkt2mqG57X+W9FHrvIYxLAIgY/rO3jcipup+Jltx185ruORAUSUNP7f/uOOmVsjx5K54dX4Pxc8207xxdQ+hRUeVjJWzXG9UdsxAAdLjuXaNYAPqt+CxNEICaELo+4kzC3fmH5SsSo1h0flyqnaHgL4uxGGJyI8GJ5mu5PB/u3GQtUBG9rcnCblbhavvY/Q2IXKzn+MIazbi9YaAmBROzZUenLn1APiVzBzEQLajvgd1soCAbGmKhEZ/A4KZbbMXsJ42e1e+bKK3gLEr5TTgVR5AWSR+l5bJMY5B6maJwWor093RHWK8B7QIBUmW3FExZ0FiJViXIXyVXXmPExbevr1tg3gmJBsJghGrET3mX5zyQMY4XinHxzqM4ku5WtQvqI8zublepkjj3PW8NO3x6VAlOIvvKkOi76HW+tFlcEP1RLJFdktWCMXaov31rYiP8BJRqIQaqMEh1g7QazN6X8ZHVkXvQoO9spI0GGZVveDUlDu063L0LbecluqMpqnXT3BrkfxZHOCviqi7E/XbrhMvLbgIDr92QBBIFp45nCKy/ITzxSB4A57y0E8e98cTqkaUS1iIDFJyRHOO/xBQoSMiXc+8FkUNv+kReH5CfJy0je6rWuYe/YI0vyNW/ajvCQOS4vNlDz6NkUrmf+W/yx3ilJX3jXJZVOqvpoB7u5yRD8vEYrdYqQ4AA9Pbm4B6Nz+kwASE3edzgEyuccmhksUhW5f/tmKrqlOq4EHtMpilEz9Im/kZlXC7QZYUMvZo8sVGJlrw07Izafo1vLatmayAFN8HJzbp6tvEQJ+EAgG6ieAehSd9/7v1sLr9BukYFPpluHeLxzgn/nSED3maPbLr8RRsqlzDpPZPW1emcRZ2C3nrs4LHhUF00MPwkHVTj93Dp8MdIrZAUGpXeZDwdRbGTNDUnWFvXHlJDxWj5tw6u+2zokiQDy9Gl08L44fb/QliBr9xn/DcG4PPnkAvWmBkRvEw/ltF8vgAAcj3egjdniyILFUu4OBynxrCHeiwWrGitwTCGttyDiQwna6XSWHoJd1E+mX4JOEN1xvi+u87UN6Zz0dI3aJ7tIz1uJ86Qfd6QWVlM5MD4kLpCdcOOmN4bV2XNjfx0/DZTkLusFzECK/IkuWWFFaX79/fjrqhtLncJ4sd5+VzE51Jh1l4NXpqHcMyEYIBiDbdCKRdGFl6YuwlnY5zjVKWo+zIWvH4TMqVHdbT9qbAK0x9ruQ19oZ67YwkxB9FOUcMC6cBmcOfaf8S8WR8gPLgpwAo+zvobMpQVp8EWes5gZDr3XMytUHsrC4/8opAs1KRx8MsbogJ5ONR3kb83XvAEJsEDBD0JbMJWEPmH2NyxdL36Tj66cJzK/4QTjOa+nsmJJKyTghcZ3SG+9xe+Ul2Y++ovmPWHygwEaoiu8MnbLlPHtBx/dqNgFK1sn7Z9DfQ0bWgEHGU5Gy2c3fk1lqgvaZKcl9SObLvGDg/N28GWLhx2tB7q/wfsUXtZlcp471x0W5aP3CPplCNvHU1ey88uCllDgeW3iPhSZPzo//KffnZsF16xFsjZQaor/qaNTAJlNpFlWhMr3lqQY3otnWyr/kvzfYlKiKcgTJRYwX1eWh+gz97I7CHZuF5m4GXS6jXJ/g9oZKvZoN/TrUN6UODCpBUvZ9rEAxSgOm7+AQvr/cW/JceIYDjyti4ZBpRiTE/4NMMiDcZzgpn3XcoEaUhT/BAICfUHvUoqfwBSjGQp652SKiitPou+SN1YrZFzDEROLtuht81SoDxrxoOAOBhwQnDVyc95+/O1BDL3ShEQDCsyWpk/PK+ch4O3RO7V1ZHShtYx/h7OGa0UfEs8wm/ui4vpoDM/mUAVjWDYzKYkz4WYw9Gb/vn2maRXbChY9mwdBIbZiYM6e+GbY3W8WJ0nEMwgEsyt612GIGuqWFm7HhVgFvFYuzI/UrgJyRRvL3eaSxOwedp4VowzFVhL6ls0ryjcdcDnlXvt3nSBqzaATwhUbGy6kJa4zaf4SYJMlO7ze9ycmOEXgw3A14EOu3/un8U+atpGoMGJwTNWn4kxD4tPizq6vKSwkZ502m1qldq2/ijeYG1g6kie+t3iAH76UKLCHm0efHukxUarffVajTNrs+9FkOOVElnuE9Ps+J2a+qYqQkrSrnSqDgOQYTSPBtum13NUTEUFAZo05Zf2QJNCNPl6SOz5q5Qvh1+t+ATeS2mXPOEFE0mwNKH5Auuagw9xeE//8GtvEjRwkf/oUK5PhfFZErHSCjQpSe0vgXnMDLtBE/KJbA4dOA/+umfOSd3Zn5xtQVmRwMS0LIbmuY4vKL7yCKOhTagMsbV5GTgpltlyVriUT9rWOTVub6p7nn68Q15/LMMG2K2v+pGFMrQvHPLVfBCVFXprgFWGnGbs9SgKU6KsIZjruCyAM3WpZLix9sBy0hIc863U2NsgflQqbDLf+IKKOyukQtxwR3WAh7tFzh0G6RQGtZ3JT+j4blU4gcDj6PybVQlerqHZW3rFy2l1b7wYVSZzkoQsOGR+XAZkcCu7U36f6tEG9vKiLPF5eVloQdk5cqP2oj/EN67Fldd6y9gP8UD2nCtBFgcC4fDU0h8/oVfWMrcyU8tZ+/DtRkqBc9dgbg7GQcXhZXDgfg+kBBe/M9o/cogu+GLXgY3ni3YiHryMxIYY3V/EhCDTGipKACVWleDJf98zOYzomjC1g2RouS+mEE5Z/holJprdp2gjgkRCurAF6289nLaav5fjQnBvoYip01+mttQaU6JxBOd+KdKAttheATY5lP1R2LBPtf3atz+5ASLO6uF1GN5wGsXZ2sTplcP2OLcWkJCLBSjDRStuyo6PC4MMe68dYv8vyV/OEr6puc4cjS3aNjz902/WymPwYoF4TFwVqMwiM+pHM70uHRF59n1+RODHVLnDXv4GBrXgvSiRbz9F+jSILe7Qz5nuPXLsjZhUNrdFHFUQp7suyfFJsOQfef6BNy+kBMkkb47JFvHduYH1vGQjg3gwebAU/LpbacMBJkD/qZTji4XPuPXVIY/oS26W3N29LpplXSObSbEcNnSZO3mnFfJOYG89niwTJ0at0doU5oHWJClNPtCHgScNJMj0Di19BLyZ+tou378/MTZINWw5rzi4MVeO7Rp8iBEFpgd3ULgjT8eVPu1czTQ7Fkndr7o3lJ0ciW9lpt0lbeBMAqzo1AAA87uKjD0LzZtenC/ZEgllPth3hf3NCw0/zc4/FJA0e/YwQL0o2kVLoaypbZ91X6xwSskYP6qA6wFdHPEtBKMRtaq572599miahYUIxd8TxiI8yuHZ7IG0mewd5rA6Hr8+2XnH7v3hvE0FZLoe4kAAahLKeHp7CwZ22fhZxt1GWUjcTXTFHjFksL1++9hq5GuYcrOwqYRg4WcqXtRloZafDcLZr/Ng+kqjI6kKjZYrxzfmGJyMFYSssB+F9KvdsoY+bc+pMfGjW9JAvSdrApxYtPyLiXFV43zc7ZFj/4Jx14gzhw9rSCsbVqeOUzk/Ho8/IPt+WZHH2QKYiYfP7bvPXIqA2OxALSyL1BmJi6a8E+vE861DUIX4hkRBL++yTerdt1tZKR1+ucA5qWOt6UvrQUUhWXQADucKo80hQUx83WjUd0izaj1tcMSOVehhd298arsZWdJGR4KCxrxLvghpKWKWNg7fWNDNtQYco+ULxICx9dmW2/3rEvi84stfpv5pR9Rkuz1xKURD3JEWvgc5T8tgm8/PsTLBTvCVKk8ChVKh0CFkd72+po4l3ISKzfvgF/tOXI0YOYYgZs9JRsz7Ixbl3kdohCkmQJi0q8rOPcZ8usYyJo0RtnKjKn5QsrOxmQkseirgGHbu8TA5exUZb2vCPRfPk1rNBF6whj3Asqzi1ccqOCTNQlPrSVJpP0d69Q6efXFwHWd5/KTdgibfrR5j0BtWdKHgTfhN6oaEIrvLe0gYV7kNOgGyBQlSk/FNRLGnnvFTGSWB4IlCVVR6BiYjQCWkjdGXO4hpuQ/OKd6+kiKoejjyNiPT9bKRZgOlKgf9dRL2+trIen27xNS03ngX4sOqIvPb3FBRX219p91wLetLz3s//3DWtYg7t1tjsNeBFUjrSf86IUgOliT+RzzYI4EX5S5k9Bwlq/7bw2FyFXEYGIjdK6TzHioi8EWicNyRI3Q81OsftR8Dh/TaKYibm/g2ZcdGUrPcqtLBt+kKhs9xAU8ernmmCckEK3sgnklUljYkF7Id4FEQK55dLz/cxr/EsyXOs65jmbegR0a1LMy05vhi5C0VBh2nCNHjuiovOKKYdwNYdaqsW0EjYnpktfwqejBTmpI020mm+oy+D75+PNfyo8LZ/MExiDz56r0cJ8rIxPhZlFxp/OBtu9RrZxzEG+M9+TpSYqiroBjtlDQV06Ps4qPUkgF1XpW5auMx+oaHGkfaHdU+CGHYIzuLK1i14hWfEbVAsJn3ygb3MBCaz3eVrxKFs6ulRHDkKvGrwl8VJ1OD8e5zueRrT+if3TX7bjYOQ8OWC6WnSBtUMVUeFG8jZNgfgXkuNCLSvuhptY1NjLEdNKJIY/vYxubM3QpG0qoOZGCv4Ka7aqiyRJ+WEOHp/BzMRDMCefMNzhQ1Pzz/Bxh5iVIGepDOucDzKX28p6PjRf/8KL55TDeIpDoH7e3RjVlQ80U6Y9n8PWYjdMqSkTUFkG36UJHpiEniu6qc/jBP8VvCi68DaftSUXTO2aWs6GecD6tdj1vtiJf2tUhKoxMyjeLAdUmxxpPs5twXQl3I0LKippTdbJxlXhuuZCc+H3BM7sIP4t5sbyyUqwAPnUfvC/Y7h4c5ZNt20EcfuyQsjaq2GujkH9SsWer2PWvMCZhf+6KFmrlcWo0jJYVFp6rJMvuqbRzvASpiFW+vQHnuQrTN8+FMWJWpgFhKMcJxJXiPh14YLdukondoFMSmF5F22z41cU9lAf9PR3QFo5yOJM+KAM6SrJPWaRO69TD794Dx+7JNFJ3G9rcXYM4LcgP3FjxcQerW6AEclrYRZlbAPNmOPC/Uc7DYAptR3vQ2oa6B2lRBtHv/E3bjjoKlRao5jA9HD1QEYq47b9+D37/iICemm1Xdhnjc+/0maXRtQ4qjnbLqYR1I0CWItEXHkJ6HnGpVmMocCLUgEAoRlRP3FHfwZ8SXfaatPbkmTAH06DlIBJ6URza/aHEw1QhT/7QdUfsfVXgKM2ILIsckzzoctUDAs2AsscX8CorKmYrRaNgWmEpfdJgo8TjGqltkW4pm1Z5ex0oaHbfzmR95Uw37fd4QbdVr8GuwdWoDZT4RGG7Dw8Ag9+AXdt+npsxu/W/Pofw51omNMC551TtAW5uCmjLaLQJTk4eS52mhnPCYML1soI245/RHomiPb3AH3ds2JTobdSQcSgmSaVGLtF2Li2TRK8xIrwotWz1WHWi2ylik+V4oGZG6/CBZC3msR3F0sHdkREuuT7xTiM+KcC513TqZlTPYaHfrhtJjltejs+sXpQgqZlSBFMKt8TymwR++PeXZ6BhH6VKM1jdooc/+rKKqWlC8IzgamuvfDOLJcXvjsQlpSn5DZLfws6KqPdLRpldQAVoPo19570Z3bhuIbwo7P1X1ng9KbSg0OMswsD5kpw3n5hIY+Gwdp4z5MzIht/EzSgwpNPKJYO8d2D1d80AqlQ22R0TOIsYvKvak4PaKto2t+f6nACwlC6piX6U1+Hs6KxtHNpV7s/8+YKEjnNI9P4jZNTiup3/twVEeRt89nk7AwP9aANZS0o3GASGXbGcYbAowTfGivdwjbVgjkeLCOBKdcP06pAODyPA5bXe0SzDEsJQh328A9tM5ehnhhuXCYGzkOr68foXeJPkfJhd46jy+El1carQyYir0A50AB72gVNn5+vi3On5+iCnc/712P0ANERRGE6Xvx4wlephBn3RtHdDqZ0j43EnC50eIlu5O2gObvZxOcH9/Bc+kCj/sUerh1tvuwESYxp+MeA2GvJHFio/+8bi39LQcX30abk26x5Zb7NRg3wusBG6XrmBpbd0z9FqzPNEosQD6Wu0ywQ34VV3kkiSKTvSwUVdsapJNmNlB4MGD+WNkES22CiOERMlfeTeV87F8WtCw/5TCk+IY/AOmKjImtncYsG36C21fpWEvhgGlJ8nx6fBtX8YjwsurR8AXU+T4fe97YqulXFm6cpMEqe4GB0nKjluEhpVw+SisJ2d5hovtbwCLA9DMpIlCXZJrjt6QJj5fnRBz2qzju4GStgLimw1LErTyM1bZ0QO8TLeX+EzBLRpOSPySjPS95pRSJF+igCNAbJXkmIA3lvhpNLjhpn1Liopf8UOvCFVtH375RlvnXNx/vzNe/Rlfil8ROpcS6sZZGSs6JnAdafsxQDcHmr5R51IirZ3M0MlBlmEZ0SX75dK05okvlyB9vFCxJjMidot8Z7HMVNXKUVf9k/5HSdPCc/0bChZbvJ+2l/Cuc5yuYiw0jagUTJDYAnecuO42cOHbA0vd18OAW8Orb8w5SDXrflk9hfrqYyB+qjCSXYBPp7MZKA4f6WbcURrmWMq8q+cGTCPb97l/gRouYqFcT2qpMT+AONIOAJ2GM3dTk4S+AJbaiFPK/cYUwVdKbBrH0cowBiHydhakS/jPzoBUkMhLtUJAMBxnPoO6N4X7Z44Yx81J3r8CyWLdFty7akYXMQRNpCZVeEkUpcfOzc1tFGy3zNMO++MJOgFXh8KJhOnQjCa8CkRuHpayMjgz92/r/rb8rpbfG98sjqs5XqkqK640W2jtFBrys9eD5g9FxBVZ5ZnwctMBz3mW2Hpc1rjfzHX7lsfLykD9G0oW9t5esHpNS1wWpfcmkeEr7J0a+l80oAcd+eMmU+oRfxThxK1myQa+TpbMCAtHgn5dwMrWI3rjNzy9vRfFCerlltUp+jZPmxNwqSWtKwTvfAJ5LYFWXRx2e0VpbGCK8e7JRfK9JlOQ7QYUU8P4bAC0grtSnv/CiYdHT9p0YPfFNRcAgMx42eXX3QRy2Axw94fq8wJ+Cpv4rNtut6UlKpo8Dm6SwpFoLCwp2coU/FCFxLK+q/yWYhYJdQmsJi0Shz969UyZUEcxZgsB27iST7wpf0uEITPkyq3XIiyN2ZDF+kOCeq9B7mrOt8x3xjJeMVqHCgZkvZOjMOCPJjIyfh2KL3Kgsj204UQzrkovB3Pi3Q0MKwTU4Z92qxk7g/RtYRlW/s2c7iO4eqehy8OpoPLmXxUuP5i+7KSOLnaayuFc15RNnd7XhxpHoPmxaFMmw0fH9zDpOB4gGxezRLJ4XDeB0p2URQATFXr+eThnf/UGamHb8rrdNpoyO5bh0jv5kOCO8WzkXhZMplsNr18l+kfCblKyHTSDvKJiFAzwTtPvsK5/Qdwu6hkCh8tfX+XOdYZP01wH+nBrbbZzssokT+zFshlwc4MoMcD/z+OIaRSP05UiWMmCSfuD6fCLsHbAHHPvj96H2FFXJVKyLUTfhUCnREA85m21V6SjbZUtiUPCDC2VBulKZffxkmN12tg+srj4EmEjXINkCTdoaEZxmDud14pQE9mGODx1qqasgfP/cf/kw4hJ/aUaR76/dQXYXldUn3XDa6iSRav2Ioj/ux9N+oo7X8wDotat8um65/U+f7upKDY/TDoA8a/RGdorgblHXi4YdAUZDoUl6Mwb8kJSkO85rSjkHBt5OKB8dg5cfQH5fBtEXNGK9LO/yM+7gSwoKrkE5IQ6YiBcm1TK9N3JSumioJ0Qd2n7WbPFWy90oeC4TOsiukJM4vx+GruqCiJfgv/IohmIaGo3ml79o+o7xSoVBVRwofqk3tgTxTXX2zmNZutYQP/z2JVgd4Ji8a3XhAP7530r/y+Uv/aRzPZe45TNp9NATMAHkGuXovmvr8Nq5nggw3weePzlR4cht6d5TrZHEIWKpgHYBXbUTIvSqY3c8S6mCeMhO64CIM+RE3soL4gBvPZ8JpFXih91RE/9Mfam58f9M1oR6Bz7ag4dgbuCjn5FhYJF2GvrOcpE0m+Q9kXy+WB/Nx7GBgbyd+8E7ewB9ARg4I+toa1JJ0Qsg5ZO50yy/SaMJAGxKeDJcCn57aeP10GF7KR3gIzr0x3KLm/lWJRK1IgvA+oFEGl2w+LZL6BTm9mS7YNZQn5zovQ29PbBFNUabHzyAiw9GJiNiTWsOz+yiVFDlLO/KZqz470CdyubFJ9ilzcoQmKGQxVjGBpUFnHg+8TXvfoVRugtFFeYiagDIA4BZFfiOGxX8ymX8fLuI2UOHD5xkn9cFlkzn8MsyQhGY4AIoiDRssLr8xVED261tazSnEx46Z6vMPitokexDqVthtZ8B8Y+mgnVgYxKv6urfFF8nHlh8QgO+1hMV3Hu/Gbz/Y3acFLJNXK33ltUbSSvVjmMnsO25wcdhA0iJdD/e84NI6HA+gjg1txShfqfYwiz3y1gG8j8aloXAVOjPL+83xC5P0IDmYDpKAdWewH5PB2f2ZO8rnjlAgI5zEettADWqKXojv20G95wQjJT9fYf9+a3CW33SujDApTExqKDMHctAIwHddoU2ZuzXTnFRQx/RitnM0NtCEEpZ7gW33jsLqxcF08ruNB6ljTh8wWjST+HV98kidbPQPEWFpwMcTnBOdXazaI1nFCYCn4fIyVGGC5j3NzDqUsyhp88kk164Ffj9DTwuUGP62G+LsfrqhV3Q4pXRa58dQeXDXLD2WYsi64oGkSHVCIovXgqI9ZH4O2DO2J1XKyaE4fV53t0o2KVkN51GTZL+X6Jz4qYdjkXODc7NyPNGuyUV5e38XigLelDkF6jccX96ALwFcAXMO8xlAAY3sNlMrQvo/IGVrFqThxyH88GqTGxWgDeKwm+T/HoIwraZJfOZccBB2ND0W4koA36y5CZFXkpeuX4S8YIHwEvU5M67PEnYpwlLEQAilSHeNGFfUoDTQxNxtkus/AumVEa36NWdwLN5cESh9FWsZbJekhok73eYQsYknS5BGU74L6h/AokBiyfgmZfWgPG8cIUUbmsSVoGBfGS0ClnR119aD2lThAeq00v4Oxy64SlQJnyh5QAsG/PPRPnAlZLNYBohVMTH/gdBp9I07Fc74u/RwpCtZQySCcF/GP2/7+bZvAlTvaTP6qRFY87tuwLR5SLcfK2HAPMm4ozhBJfgbV4Tqna3mPKcXCM6gAbsjuZYVCbb0QbREQXLAkeotiSIexqbcxwL1yw2y/p349ynSPP3nvXdD+vYylvhTFyv0tKQTFtlpo2ZF3Vi6T3t21O+hsLxVD3bS6E3PsLZf5WWBDmEsKR5lDqXK5DRqURwmQeX5XQxyImfHYeQmk6KE6gQJG0WjtiHmDDYY35iTzgKwQq3WgSLaXFFUY57AzbgwHZL+kwAJ8QRwKtX0YtBK5s1uIEKfN6+tA1f78sPxVLcwDAAD1vXFFfCI6y0qWDv1bQ8TeffBG47Xf+WU6PgxA9X5S1q7u23I4zIpMdCkLbKw1/Jf+L9trzEroYcGPenDWNkpgHlQNaet2jnGXILU1fcF3ClvbSNQkol4jt65tQ/2R1stX9Mj2ycs9LdZjkub2GfMIPKYbo+E8MEJnBSMPW0gLOZ3f4z+7g3/73n2MVYjL+IMyRb3zsECL4zgBvS9qocrXQpl3OTEew0ygBvb3lELtHYucjgKCl04iQyaB+xewNSa4QmWuO0xeqNWjc+S1iXaLhxCXk/RQDk2CgCXQYgiaE4w1WuxdpbsmuOmrw1VdpfGh8DzT8AjTnEBqc0invbZEtMSqpvkE5dk471F6eM5CRHylXmS+plBhaT/tpx8vadRcKLmdcDpfinV6MS/77rieCaOKLAlqJwyjsg9qfJ12vtoANEyg//I8MgKC8KikuQeLz8LB+tOFuTixrr+3BLk5XbcBKPTKFBdSUiD/N1sGKVwQLGQUqRFt9nYlq9p+yzQziZzPq4rc7rI6eK/l7YLv2co/spUslKYAIF6p5p8ONtCeBeIj+J6l3d4zHjF0Zib5w+qndLLApS6jTTI1jJBy+uT+vsSN4MJ4BWfbNuJivmbPiGRuaMefZn2VcHHk94pY+p58xRA0zoPFkt9BLknRcx+IEIuiZ+aICv2phP5fxDAFXIB/TS3wOG5Ecgtxqla/C0/idS3VydMTka/POVQ7kmD5/OvCZ/bS5O9oZVQIkgb4VtaMhR8mvZOjJmYPgHuWQPrY8CL/eVRoPtDCXUPIAa7U3yxOU674YxR4pKmmkGu//+4Q7kdKBtkvOMMdrzcrCDOfoJJ134ybBcascJBjg0NLS6Mc/SVLGAGjK4gPTTHAtdjZoclYE5D69wrlZwPRHG11nAiuoEc7SlHvRSKiwhaEE/UnulUsIM7lGFwVeuyD8x0lHGbE9lDqH8GFSwo2vBg/9TSfb5lUBxSWbm31TAV/2S745ccMvZZNM+wFsmNmZF1PtBUn8BemQiEy7SE+uqg2ce1CWuC5NbI9rkNHwG2LUnqWeK/nmGioR8GCq49Ve2b+UO+852URvkGEzRwi5ZdpWfdh/HrmTz1NDacOgaBu66moMdIcyqSMHbLm5yVeaMyDG66S6ops6IBNvW9Whba00MssML7XyPoTbLGXnp7GkQTrKgj50XXt9+jEJlcHIkAuEDKcQQTcMsoBxO03AXUZwEDcOeLgBmKu4nwC33zqs0u8uHXwbHl3GZET0K2oUfC7hystNcEkP3Zgwjv/vFKy7aFlOZ5F0g8QJwrSnwbbMuYGu448mF9T4QJj/Yhi6VWjKFMsHRYvX5gRdpsMNDyPIemnLGw+MjurZqRLdFoitgBhaLbbtS+5LApOG1gZgnDjKoLW5Sh0EzTDsKjgDBEu8/fQrKde9fhrCks1buPKHyyrtl9aP1OD1oaIPtJT09egy9M5q0swVOyOhippsH4/jHnurygl0+BIGb7MrQhqcYKrmxVcFZ+6azLNnbgWXTxmmovZrcQmwCF8vHWf/Bf5qzZ4pJbYLKOE7xKvGrbfGl0jDkpCQWca2sy0M9I6O+NrJ/v6NRu5VowtwpvOwCYJf78ergypLHCnbAkb2RjPVqV8T/2+7Yw4iNBfOVj6d4Gk4DcyovwnW94KBBvkkyeayMQsNWB1Wvub8AYvptIjuPg0eUOczUt/cfbCPhiKE43/XOS5u1pKy9u6iuubGKj88PLsDtsiNGqNtVZw6kwRmubpWO+OV/h1lbvuBu5NFoQXqsIdE+JYfmqdSTZULzB5NSZCpggAMY/gQuAu66HIV8/EvtLm8BHuENlsfW5D+dLBQI8sloCSRrSi6YypmbHahDwK4yLCQtux0TLkxS/zY7xE0W/hxcR5+mTjsvUxgGSrbEndXlZA5PXexgL8Oy7PR9bZ4TIS0UVOK+xBdguID5B0IxauTz6+mlUoqwCCeQ/wWhIOJEX6uB1SmS8s4ufyXlAa2x4U69kAoLQAMKMSsSn/KL9+OHVKHm7xCBDLnT9ko3+iXVTlBX1s08WHVQ0v5LNdUe86eVX7G4hKdaklpbZqmoW8eHe2jCTraSTjYDtJjXhiICq2BPOylohSbJrTH5jFk8FylNdrnX6qCuUoTWTaKrl49cW3tphXOgStNRhEm93hMLfS7NYfdozgcl72e7m72/USz3jLY29pH2t5kQcp5ajOORls6LfVLYpkAGJwJNl53V70/ouvG1Krp1JJE0nCAmRvPGx/t8E+Eb/MfHsxH4x+Yew71apbZs00J/6B68EBywdQcnG45umvqrzzSh+j3Q0r0DJARJXVAiwHE9ouip7WBUzdVcg5MNHIlnq/kQcTtwbU9tf13y2Dxn2yE/TzOVnrW6vuRN/Pxiyto26dyipX64UqpjzzOcWWZi8A1LWr+e/E1ThTOPEJTn7QcM7XNJbLKf8FCpWDSAqy5+Kfl/Aexx0PGUWuFW1jm0ZUI1k/u9UH1AVktdt+IRw/f0rQCgXMFWeovlurecJBz98CNZmU9Up7VwZUbVoOoDmGUH/97X+l8u7aG6mHzZNp7+1So1CSECOYsFfPYPkh/sbYKIgDuYVrxAHSx7XhXA0K0rzV5Vyvl3iXeFkFdi4gaPFGeukzCY/r4OXlP1nk7pMv0y/eFxsyqBrC5dEds6vviwvfkj5yuAziGgwO6JtggNFTpp2mCKU3FlkuHGjZ8xQ12o6UQDf1CL/TZIQsnnxwzov4Vad6VFm3QGyclBbjpKZtzVzbH4g9jZdFCDoSGyF5YckaiLy1wuWCvHHO04XGoggepOdVtyTWmJp+QX4zlaKttjZGdWNKUx/EUZRRGJB7XqyWqWG/GTcRKHnTN2an5uQjHRzy0vAXnAYeSHvN7MeFsC3jjSFzy2cgmQtbmQQT9QGQrX3EIPlRjQ2eTGWm3AsiZYS02r6If8PckAW2qO/52o+bkc/41o6/yLbPaq0MzuYMRmqybUV92oO15u6RtSN4jjXSwjh2X1SHpgZhy7e7/BM824JNwt5NDxVSUNK55air+RR2FKpxHPrCL1swHNeni5zJ3VsX3f8pitziSQo56zxG/Dh3yCxUjUX/ZCIBUzoXEMnfbYfRJYNYSBjF+YN3wP/j9uI2EOx81PWnwapbCJANeCIHJxEyiOXI/Ea1AJ5KeYPA/iLoowMaxbRFLTWhP0rW3T0BA1BStZMCWJ5p8y7irKEDUO+PXRX8+/KUmriMZAoyPMmEwYXsQnqcRZMbRruSmSqOdIKTdhZmPLoWG4KSLMS/usfWyGyuGQO0cDNnO95RDsWpY1+REiNEWD1mq+jDsRnoJutTdXHcA0Fv/dTcdLpZVJAe+IPCnjkRvYcig8fubPWZ+ii/IGY5VK5B80unJBPrW5iunGI3E3eVhunWacBh7CIKFx/34ic7JhdF5GtahqAP8ZPU90WRBAAuKgj0rVF9x/rlY40OglDdK2tv65t+Wlwf5ic5R04yYkHRmOWOpVVWFLBW3yz98X7ZfXW4c30SsjskdQuHLbJS6I5BDaxRmCmiJzG7LUPXIDRhDYIQW12u4nkMBZoS3kSfRN2O0BHpS6uLz5Et/5XBVjbbrrs0FfKZMM3LxGjhhocAMy3w1obAHSYflreuzZdHmqyxJXxAuZnUPAljxv2Fnbmhd2F3YOw95QWg6uBkfjCejLWALdPkw7uf0toXCaabc6ub3iOqbUVAe0G+5wboYPcUPMOvqriGb05uP6DUZdTSrCpZciRXlCdFWejoC3D9DFGq9Hf5vUOCqtVL5pq0SPhBDkT+m+ZrV9nagUHRg6wdzt2vBJ1Y0VmWdMWT6sX1/zlD2scXFgYd7vUAF8jSimCERJTfDC2BWacFmAj/pD42eaWHy/qodmutD3qE/5ZnWbvK97oWvzb84xy57w3MOs22yO/hjK466HosWcXxJTngTSk8vVTDCMYEC4iBFtkFlliVgkYRcZeZU56bHxpe7Mi/z+Qw0EBDVthm9T+PavmK1BUwyUe3iYjNQXrUHT54jeXuLrIARAjYwAonM62BqE/IvajHfdlZC0soGflLpGBRn6cEyBx1oLOKsvOm5fwoqDpXLhAqcqn+Xdi/j4Rsodm3l5NWblXFxaTO8ifjrsKGJ3/3HH4EpgGDYwBhwpjiaxe07sfW7HKZFfT4vltpMx59paNxQ+R4FYB+bQjD+/STLbw4FReMN/lKUFI29tZ4fZo3CQVAINt2tHwhHxwntRa6NMY6tLSdxd5QoiRJLDSKTLJhQ/Ys9OzplAj9QFu0iVJJz/2XWRe3IjbOIxeA6aE1z6bN9hGxAFTnmE3ksyL0FULbV8UdVmgmo4W949OnTHOpkovCAa/qPIMmSftEZGb90oKqUy74cCTb272W5A8fQ7Uh6ngqMmoyjXzW/IKfAH0qDCLIB4B5TFmnIH5dffODZ552zqsrgxthcC9uHv03F281S3C4JeT8F4Qz++wkuoXnFPlZMzhtbwgyyZ/1DfFJy05vnoVaSr+ZC5mufjU5j69hrJHLCWVD5hQdFG1Nh9+k35fHvja4YvmqMzCtq+whH1SpcDcR6fHS0EnuS5giWJo0qjOU9a7esJvZjyHmDyf1Z1v6o2ZsiSQuGg91Qi1wR5Lnh2GOtho2KAX41PNPae+4KljzkPz4poKefXYDqAp0pohPDfQLjmigtvB0i95W4WC653KH+bSkxOAbVLCuRj7WmwS0s67NO4csocRqfaNu/I/khgXWtP34MNE/IEbG7xY7nTIkfl5QBS9AFg03Q83SCMAR+ovKxmf3UsSSGN+nTq8D9qkdSyvjDUUF7Rjkvb0OgWM6gK6RBg5997o5sYLkpF4SFqxhtGhefuDtmWE3EpeDWn2IK/Bl248QMCpo2n9+ta0at5r4N3A1A7yqYEIVzGl/kSRbOlgprYhnBSPZzcyeUOeRbCD0GLR6SMavhnbViN0gCmR+6XcILyozd3WooON9SD0UJZKTnDo6pJpwi9+esWZbqZxCa/yY/tPdSRQi52f47HBdjDa+PlmZrxhYqAoS/U5DTuVpRiPhWMUnUPzafsLyy3fLztMmQTF7cVZ/8RsHj6J9QqlHJs4fZnbHUHGn614p6unnfGrnKVJoMOxJJMg9tJ8+SJcDD8jk0zf4GuGH/W/Jt6GXg9ogDjdtXI1hSv5vIpAljEiLTo4ErzITN9wAn6P7UmKfhADtDzpviN3WRXIE+fmngupr7Li9htFptTJniPRRw7YD64n+azk64VmRIXyaRMvSav4YyayoUYqMbEByvOE/3C6KsMP/095Jk1n4v8y4H+7C/AFCCtkHO0uRTeoYXUmmr0GKRqaaiUGBCaD8yJ/W5zXZquZPVy2EqVKtYZi84i+sgUm1SpRa2ZPUHMB3pm6biD2mFHNFOrwo31iYc9e++DMMf/gzbV4hStirOmnVX4/KPk2x4SbrQNWgkfDk7+m8bXVoRkjQpuwePgZVtSqRuLlzbbLrGcyY3yyL3rdvGwpyL5SFMwqjXSJTyQQxU9Boaz6DvMQQNv9cBaiUmLgnoZUjqYr8VVz6KzmMlh769+Czs5bTaxAevHQQzcrJbcwV7Ygcc/glno73yRnomoG68ZfEMqVU3+Fx+1IDBIf3HyorZPcOnr3ZNyUnBEYOffsTXH9US7Y8qYNVjsxmySAXW4jvGPtFbfoZ5l4pO/wceSHiRqtZSeAidgQGuKNell5GrMZlGG92LM6Iy7DR23FlyurKybzj4QT890R8dQ0r13jaWh5gsiwyIC5H086vdXBP86s62mREclXq8pLPTasEu0CsyBLzHkSWURpHD5BbNp3/b++a7NoNGTv82Ua90VKCZIKnWFdKnAQdh6A6Cv+ZixD9C8/nNNO06qnSVs4H24nr5A5Uoc7A/LEtmcTvDM0XEyJsESplnPx4dk2Vmzz831AkEh6fLxoADtLQgOHrDMHEji2bVRq/ksO1LU0eQ9DudYo9RYhXfOpBGtqtAfN6VbKqshaOIB33nl3OmLVuNnstzqGwdBmphlCo6osIzWcqqae3wPp3A42CDKVMEsziXmNPO27kBRyBu/loP2YJF6eaUwcLFqqT2uB2n+fBDNDE9/Pp9Uz1xWlV7LERSVqRXpivaOZ0Cuouz9P5/qVLXD+uTGFSkFcSKNmpAKUsaKNwW5654f1XjSRxFIBvDhrQiyWcKEpoF656JIWir5Y193i+NpuIyG4fKo09F+MQTB4egiP19t73/s2QorCLOAbnhM5SNnem6nNvNwNw/cXe+9TWiffe/Zj654C51H9TSfvnwz7sLFaghA0reRdF3DUtCLCLM3qbaTGUpa9kCbRn72o6Dj4z5TC8FG8vaWglgPwUYS2bBW3FGwJPhnr7HDiDw1gNvudQMzraKa+x1xIqNCQShlcksrxdDzpe4RwahggAlFTesCjOSDq33lH/P7ZYgrbhPAaIflOZQLHbxRgdlhmXmh2wlrQxMotzxTcpRXsVjP+9uaW2ZYNgWW7c8LzMM66G5WeN90ZEWd4Kob485PbEuNSChP29/IM4OLnCKLWjSrpun+JL264j5/qtPncjF/9QQEHaU/S55MFZ570KFLVb7Q4HXE6WqlWIHaUoCR63l7oNt+hQHFxs36jblxwVZo3hWhMHi/mPuhGdYZrUvQLKe08pWXcHpOt2Kx960OJrRb6mRwQupDizi3GjL5BnumMAFCnyUBrdb8CvNxH16NpHknsFXc/vbJgRdr5NmtgIiqEh2KnfZx0aIXXESJqA03oN1QNYnTLwTGCYqjSS3mMX7UE1vMxjOtKWy8pK/Oa5XyIyMppsH/IEkMjkp9YCK2SjryVURe2y2zmJW8U1q91SOedjU2GjzyiEEgU+bhVquTsV2OB6pQsm5Wurb+xSpSU+WBvvlk91fa78xBroTZLjQiKn8w94dR6t1nOCrDBbsOeayS++Xg/kAnvxdCwjUaozSCn3AfFlX9dCvcqLiROOCqioREQL31XGQBZaNTh5x/brTV0o9kQ2MdmxT2qGY0JHdTKQfM3w+k7ZvRnvu+wNL3pn8ay3U+n4EwKG1VTmA+sxwN25iaNb+oZ4l1HwzvENsHAcuBwVhAkfLK1dA5TWy7uJYTEcWfryrW8H4vGEjkKX4hh0wfMbfDjAJkwMuKz7mpH0lf1EyG4qo6x+k3xLYnI2xxT667G6F3ciLLELjrY+YjKJE23TaD1TpHB0C6+ljLyHFkHYZbJpq3RXCvLD3uT/cOm5Ulpx5Gi2SVvYGRRapYWDJJqUyxFO24A6vIzzGnA3FkK73nqzq8DPHGkdx6HKuO+b2r7v1+2t0d5hr2goJ2mzlENuiDwlRtM9I1do4VxeDAZ6gR6zZz56jXbKsXVTjvum+93JVMQ/gh/3bpr0PqfhGifdZpwX3Qh7GRBUakncYLJmbmUOYXDDyMaqMdoWxFUfbl6lSZJd42ERoBn1pxUTirq5Fx3y/7MBgLLlIsfoxLJMHVEY1jt/ow8EciBmqQQKav1iFCDLhbOwlXFgQff8iHqQNut+tFqAQtu5kS7wVU1qxe1vEgbigFCnOIb15yjGKuhoygs1DVBMUmYTGYgiBELxDoBcPB3WJFUv+InDiDggHAji4xJj3fkGqM9SMq/EaQdseLC4BB08bTOGICa+05L+9YMbJCKRz+7RoL4XHw3tuK1rPjCJrCV0tLREVHGnoiEXRklO+3A235XxyUx7Ctzegce8G04D3SznZToUC1O5vXty1XmIc4mOKR7s9tNaifSOB/er2NXS0/h0SvZ2Jrbr9rpawXYbRXI9TkJ0sRhAsZ4uovzS4jxax56WNqxg6S66PkSGvmHvxhyHG7allwUvEIOHH4ahmICKQjrfCMn1MzyhQkk9NUp7DG8xbPK2JtYtL2nCJuRe3FgcksEXkthzmHbTWiF/KO+d1lzqBnUn/OaSc/JaOWXe/H5tvDLYqefW9/XbSyVh8UPTmENFolSTzS8niAPW3YCDSSPPzOxx9fDHkGmss/1Kyz8pH4qlVNdYcVbUcacIQsXpfaNg0E8sPR4D0js1/8pe1j/znbbTU/TF0RMfUf12NG95YmcebWMmX4YhqLjIgES8Bmj9MWxdb/EAGKlg7FDfxy8q80+hfNkfbxks/wO4Fgbhc2Z3QYUQRJ3ee++N4th0bY0Fw0MXpTfi/wAD2bhMKRqY2AdslmmlSPberpz2ac9wSuHrxGLYg4NXu01QnqdSlSyNh5n36k2LC+ApQNoFktPUpBGrJAUzW+rjMsOLfnqgViki6usAkjAhJBLjn2XzZGlJkV010uaTSmDAlfjk5a5m+HMFixIQw44vhWO/9M6/lkL6PrnnFgurtaNf+yxzeUEE5gunJzKd9wZmmNFZJf39ttPXymdg5scIXZlM/nE1gAahzDMIAgo5+e1H6fWxj0g+toK1Sxi3uLMPpKJDQic8q80xnw0mq0d9id2CpnwriyaX4tJvG3K2rSdXjOjxy2uVX2UbLFSBNAWPf+ZBg9CzmWgMDtcHoXl55a7CS4Z3nlyL5aSgO+bz0N79Gm6mKMlPEx5nmoK+/jRRENh/15ocf8pOTTelBPYIBsLB52I6b/7kYyPfbBqkvnFPd5yg8Km2qBG5fWgKYz6qhQ0SFgheJqVVRVRzpi2eXJL3N7DITjnmeTFOpT+GDb3sfcIbEhTpppV4GHHjin9NCXN+jx/C2x4xL4Qph9LiDinAY5j5ftbHLApAnbhQ/zpRmiNaUA+Qeb9QgHNZYH8yv1pQeN+NxcPviqoEJnLJEAeEykO0vzYGF9hP973RXY0POmiMFkVohwPpVAxk1/zaFFQfMJezWYB83KuvybfbTFC/VtiBj3FYhOIbpXr9kzi1Wf+mb0t3aYRywtSiuZb663fOLk7GDJMlYFv07pPxde12kg65fUKq03nUSg6c9FLEZCGgGkHkDmWvk9BPmlB/WelbClKgckhqijoBi75jvfbXNbbAYDOvzYG+NYDTC2TGc3VWbViwQULQzz2XnfO3LDjAinZqsEH/16iN9zt+h9E5NkB1opDvlFXAzPUZat7OkZHvP+bHCfHCpgjOIdV1iTO0/9jRcxKWu7Gtze1r1nwn827D+kMcDf8fO1eQ5L7FqZyk06Ey/V5dBY/gRWQoYK/Q0dXJbbSy7ALgOJrCzIm1rzU4e3+8HzB1SjGM12kQewbGPlzBy125J3HdB0WMVt0IinFV0QDFHxE+fKJVq6GXVSFfr3jrntfKxNNBvjpkek+CwHfBlLrtl5eQ4pw0rVB4cq1tBm+Y/tziMUoohdIitTA49F7i6bhpRJWHVVDvU6V12uy2mSZhfSALqaJUs1V86Li5u5ueZjVc9BNXicvJQ2cw/MYB9iD58WzaaakScBOXE/IsnSlAKJrOst9SExSAlQoFMInfkW+aWGOycj097Vt+gf7tO4C73ioj2HrUja4H6mCspaDlZBV5WOl5fPBHoLfFDVwO0j1OlnHiBzkxiVCUw2MCTvr3n8E715Ae36P9jNn7aGcJTYA2Weo8va8lP3D9K4I1shUVhTfm+huBOVeMMR1Cy5juOKh/bQRln4Xf4Zw7Lytw2YCiVMaJukO96lwT4sJoFkw4Ssv6shr8689Ub14k4ODIKDM3kphaGq/wJ5aZssoTHmvc2MI4eq9f8Wkqu7uySZ3L5UICKsEUUBxoi0Qp/QASqi7pIw88l7JvWf8TQbTMCrLUXOcZnhFEyVwFHz+OxWQPR5kTfhZZI67eur+GlA1IGR+ZYSb1uv5P4MmMfFxjGDGLJ0biKX8z7H84dcfPXg2/YpcmzeQpXP7n8M7SPWNwYdjaMpfv0edxFnWHZnrlI/ReIUzdOXY+PtKff9DI7aF/KklqMNisMBNj4zdwkQbaSWo2OzlinYwF9xeDye22ZAYGlxgYiRk00BtiPUFWbSeoVS3zRTF/Gb8dfQ7qDT7UqtxAA0jnnyTWi7ChbaRpUXaLkpuJS1/M3s8OlIaOrMNsqIq7/DDduRRNVhLORV8rQNMAc+3D0uEv3blVbFlWUsgkXwizcoasPCjTOhiy+5zwd6KoIBfXeUsw6NIHa4ADl9bE8m23y6anFczEQZ/Og+x2wjr1fQg2LRts/YhRfn1PpA7y9jVoNZ0N8oFlFaD+2TJXjGISDZWFzL9/+sH32nv5SISPRJcumPZgtlcxeVmEa25ZtWTKQ4lYaFLULMUilsnZleV40EBL3CfRjBosKg8mqH5TxlL6TExm/V/M0Qg1MSMk4zvYzVkyU376qay0san+Z2BL0TsN+00fcBta+pF7gX73ElsW02rTcWoNO0s5D0G9ixfmmQifaGBK7U1qugqNWTElIz/ixpPqfsmqrHAbwrZzZiJjdk3w/Aa/TgJ5AUqqnyVmq8DlhlxncFYnQmzxgxvLQ+H6re0B0OU9b4ja5FTj+B/TXelDS5Urdbw+So4WkdApUAKkz9F4XITgCzPQ7ZZqCJe5yXDQobK9QPh2JcuJRa4XUkHe4PxV4ifIeMHgQKy2HgZrUm57c/IiCJhO8TRteG7PlqNDp3cLQGTcOV+aEaNKRkwajWELE13DlQMPDzZt2T+6g2o3Y3wC3Hg2RF+C2aOpUf1UTJeEj+tfkQ7Ewa99SXo42Y+xIjJZV3PPeX3uTUqXNiBH+y4c3KPUPYrnQ1gBOKejkm2rpf3tZyABbWi+qJfKbv2BggtRlDXItjDjCnfyLbS+65HckwleLjtuQ/cAJaPif390UolrgEnbLqnQXpPOhrKZc/fDpCpHDd+rJhQXX9z11nXp3WQNW80+ZKo6uLtQPp3iVX+TTsx+PAUVn0SiPHrCaA83who+22UQGpj7c6yqINHbfYebQKHJcL1ZEeOE+S1uFAIMGHSRMfvKNiBM+cDG87YNHDBrRbhRmd/pV9s/jcx6LdW2Addy4wn6B7DkwFxPnZc51GTUMUGnuPZNtqDgUzy3VXJJp2ZQGUReALdcQt99AabVEP8uk6t2dynxfZEIx/0+drMiy/x4gnAjqHb12PgbWHL5pTVfqrjBBpJAkwK1XbgYMShKLcpn/392IdVj35iE233K8hjM2kb2Xt9IdgItpATpCRl1g+2IeFMF+GqVxLdLGX0F2wqC1fcb+fSANEuMQ6o1EtQm67Ufg8xLjm6QgN4MwkWoQf+vtxI33Ffv8GAW7CcyenAV4ghoIKrfzcryw4xHeFXCW0korm5d1PJECTr2L8GmURXMNh2oHSwOibEYo5k8rsEnAVNTjRYuqSzKjsN4l+BCR3LOEijAMRDRn8tWclVv6LbrJCzrB2bTLuBHqKMcrTYg1mB4asywuh+g+B+wPgFBD3aDAEAYnHFr0Z5IwmwqeLaqkKUb6PwFvIRvW8oYWL/4ECftO8MUjJ0Gqk2ylqb+CHXTd85BoSmpfKnutZrcLXbPpc0kyRliZjzb5+sWmGP+GR4CH6SEa5OFTj33rBklQxfr6nR9l1Cd8iP0Ro9lM/4jDnKp8fwruptOi0JTomaxdEc9WQsINZRBfIPeZywU3l08ta1InQYrL3aIoR6OrMgCoWDXRafnaWbp1xMuHuQ7UAs4uPbPd+lfKuPyC56+csB1G5K57KJBaaLIGjBSx+E+R+0d3O7uqy2EeNJrE6Agle+EE8eSiOXKtZ5NCMwew9nCbnl3N3EwaKJOKwZX81QkF3YyKzaRiR6qDQTeAdAWt17ZVCntyvv8cK7rOkC7FXQexa289INMj8QxluyVzSMA/EjJcXmM+Dynfovag86zHYddnrxXpoFpzwHrg081qTpn8DwBOqLCZvQXRqvkgTKS18uuNWMV2njdGnPTawsMg7UBXOlKlD8o892umSLa9m7nn4TVvHw8KIlga2a1lwyWxkDgQxrJWg+K9w128y1kgudUx9SgflCkkQBzeFcRU/8GiZc45rNI5yhygsXdvsSSBiOuPX2nGtRwMUGGDoZt+Fgt2QTzKHDTUMrMZk2e2F40Q0c6zYs7sNMSjXsEqLKk51dX8UwalraPKponUnpn61kXpzyDj4hZZLne4eOaU51lm2GsZ/ujIZiQto5Wp/Rq3s2GmYPqNG7+QYCQANEHlLL71wIHy0mhh2/XoxwjPy2OB+5NKXkZWOEFdD8DsAeYdjYFvHsSnyfH0ZBmZ2cMTlMLZLg2NNn72yaQcUn0hJNilBFFlrTmuS9vpf9pVaUc/IbxbiLctF0JFXZFGTGPhnOq9jnju902XoGeravjQ1iEGBdkjvc44ZJRZ9gnvTezGc92jebnmt8006Mqr4FK3f/Q7Php6JO8bciHoQrzh32IOmDUWbNYUaeIxD8Tmqwp05p5HZ+s3CZd7A4iWPx4DkAUTidickwT/n9HfPuBOIqHMewZzyVLSVcmviqxSJFt1ctBPigJ1A6KYFQUnpprXc5+Ckl5DNowQNmjjdN1x+rxoeCvl/m18/SM+W3Q75qJ9g/TKJ3OEuamehO7ejRIwENsprwuWpc+pF7np9pPQCX1C0yHstDZckqw2sjAQIAjTYwgGdCBmuFNgiQxFRFcIsbCvyByKrnFzYaZjX88f6oIH/yIia7Bav6yClzvxwHzYSCI+aahSmpkOpjjHDpKTEKC+h7aihM1KosUSqIl5XkZwUcuXnDUw5C+FqVfcmx9mGSAMxDrHL+silDZEVPv+PT7M83r0g7f4OfjarKbrcHlc8YNZeJ8vkJogNpqZYBX+T8C+3XVKop8dBNWIUPcuw2GKNO7K0E8BjDZaCTZ+eKAE3jm/B2rOCsCuC+piAtd6W5Gl+osYhbQ3y7VMl6OQc2dCF9206FyxXSzIBY8u+ALiM5/zxB1Hyw7ISlsko5ligt7WzrPxMqAEfaioBrUgKj8zyZB8aI4cpAvxdsn/sW2Yd0X13e6mDRc8d/jHdeF3qVN+zlbHmAixwFGpiZ/uLg0utLS3QlP2VelMR4/LuWnSF1HwUkRigb9TF2+miTIHZJk5P14rJIFVoBSKpUDDxTTnvwN9XTd/1ArhpH1WyB1cs+wN03cE4R3ilFg3vOQ8Bn4XLuFNpgrZ4Xh0hG0eeWuHyvJwXHmJFRcX3e8UlvHcf72uuUDi3cQcXn3NwuO7fOOoyqtJDdsz2XErNAg7ihFVy165GRyLoHdUSGt1wu+tRG3UBAsLOpBzc/DxqdKBeBxYjUvlri5RdLU+kaPUoMaCWwgjClGLVjrLYy64Qlvx2sznrjz0/LvgXan6Q2hLYKmogPDfyqtAknTwZn3UR8HIlQSLjlehM5UqCdWkbS0mFLVikkMDpetSEjkqH/Tl1uSUpAxeLcIHkQwOPQ0jUxRHf+wPeiZRpNNIfEh1vjpcUJynztG+wUfZC+zAS5AWHLy9GXEwHJ8OvPxV7AAVa4bekpx85Jq/6Zp4qGXeIju83I2xEbwaOOGGi5mbDwEy6FWSiV2i9KfTF067PPKqCyVyB0br3xR1DtU3iNKHHrLw10VanElb1+JVqoHyaMAAtuAbTxDqxyWnLFRr30IiWXxs0JRNS6tfPA+0MEvC9fefU9adQNxrz1LT90nqrRi/6+eIK7Z28zSNx4iOV7ELrwAz8eovZXO5WIxqiAKsdOHkOsg5OF2TWVfWKl68lFRrszgBSmMu83F3k0SMG0TwdZEQFa+xfqG3LEW2tM2sTyspq1B+GtIKXiITETgjVtTbU74wKcMY5AjrIDwDaQqbrBCPto/rz9KLSq4K+qEPx5ObgyoBpXEbue/ubdO7KAg21Cs9SslcL0nvttCOGj6LyBqQ2oH5so8vTIzXOcsf6ci3fwuYScJXYp515i+se6N2wojtxKW/MNFOFlumWV3BXI849nTmTsyPOB2dXZ7oikzubwdSA+a3Z5nMnQBV7w/+mhKC+F31ZxheUvY2FuGOM/LwYts6YvpyyhDDrUxPVd8zneOzI2SvUb8mOd5O9mNJXknKWSFWvBbO28sYu0QDynKfCipcGebjQ3R5g6jt9PV2Q+d4eQeNsSTiAV9nwCOeUrZqY8LUTQpyvNv8fk9NeclShgxnjeXtrMu5PK0uqqW63GchR9U0D3e4XnVMBfg4YqRrKuqEyBGAZRqLaW461L47Y+tr88L/t7MoGZqSDeb2jpnhXaZtUrxFYiEYgAPF12WEUrsliT3RMEK1f/4CKiW/utWxy6ZkEcB703jbDQz4hDGv9IkzQDYPygXgnIZcVjCnndx8YnWgHp8E0szjEulIBX51sxOE3JjdW5cVngxzKGYbmhycy2+sKSRFeHIIS8zQb5TCW1Yb9wCQ6vbgZ//x8gPM0SZgOSxhHdfUYeqs6t8d6dFsL6arwEBQ2Zi6I4YaegiswjThNffhC6MrLAOH9UqKVxQ0zzARMdRxsbfUkwbrKEkzaTATNx8G/vAuIQIKCehDZ7vJXP0tF9zghd+fbgD+gf+cBIHcMppY8oUq7cZN+EKgscCPm9Wq0Sa71RrLCJ3Lj6hRzm+C8ur0Ee2xCMXPsioe0dS9FXTHj15HNH4gO9+RG9JzXHuEDx8F+JtUIPJnOLSRNdXy7nCBJDoCpjmspWT6/kTV3n00o+Bz/nrgPl80XSQPjioOFOmdLzklk0ZfzuCvd5hYoN6xDIdK9QYz/QW6jW7qCZlETzalrF6O0tSL4sdxHMMv2E2KOYcej+Iz0AezW2h8pnrr0fJRZ8YadnxBUtLKH0tJyhC8gMHqAyYoNxzH0baCzad5aqghViz6DAP0+kb6SqwKGIM703ad/sVsHbs6ESWmgvepXqnpwnr9l2I7NRkuV+FnIU36+ldatsgiLJbdgpiGxvIlI+R1F+Sl1Pi3ISA0iytG56pGdJKCdlslDYuDqTNGIT4DbiS5aUjpAR5pxiHsSVnlI57bKH1sS2P07+lGuYnCeYvOvwF89RO6aWS1QNaoRsggaQvvHQmbjYgT/MaX0PNNHSeFcUOjAX+0QjwOwZpn+yOLlJvV0wpY/ECG6m5wP6evtTA5IxIKedQT5pUHqYCX3KoziRf8fbhjQLjSuz0HP4xzhrkK6oRma2rFAIDdSuNoDg6O2Qp5y5LLIvCCaE4pGjzKVFFehNdfV+rgHZYBy69cMmPr2P1N8XqLoXsE0BNpCXtKNoxGSXQQG196L0puEbaSau+85KkjQMS4zroJIw9W4zK7vxhdd8qTULTG6f7XbXKhaZs13BlAQIhOrkHKwHWFPIoLHw0iJAGRTY3SHkcX3a4FJZzbVMEs2iX5cdExEHTGGIaLldiwzr7vmIUit30RgN5rQ8UondJQjigHCL1IeJUuKCjnI1YoLKxITm14jTg/v39JGfT3X/AcRRLUMijp9qN7hqFp9RxwY/aXaCS0jYrDfgWtPCsNkW540X8P+8drqbWDTJYuBQlATq81wsy7hWBE6E+VOoZiUYA4FhZk/ON1KJw6bGavXKwn5zoKMW5CKCGCBT1Vki5eFecBYbVSgoBQMcyWiJ8y9R0FwIKcROvoMCtvGuxbHpbEz9/fvHqqvQM6dCOFKyZk3J32Ecq5gtX16oWf5lfuWyJTaOW6Wrz5O9C7VOwagP2aub6aMtcAjEpgvl3zCJw3qVIMZuuzXD5h4a3UCO2fhaN5dl2VERIFFjmpBnRqdqDk7Yq7gSR2XgzQJgpVASebdOmEUGnKwDFtUvzd3MD3YBdTzyh0kpEAw8/w+COopHBOuaf9GokTvBNyv3Z3UU7q1zuR1d97T2o2GO8g75oUMduKAgo3Tz3mYPU71yt1SuKwKoQJLeW6c3/t5n1H4F82qmhPN/c5ExikZ7TseVN1teRtrNowILxv/K99ftX1u8F6nMnLmAWDC7ds3bJdeTQfvuqpLqaEzKYzavtHfby23tEz6OTflfCLSd5pC98/+SjBCluxHDoBK1KTS/gN97wr9Dx5v6vgQrt2lGmB0hPtcQnzwIrQ/Hk/hpZStf2DPKoxCcSvOQleoyFNRdh0rCQKt5KY58lxnHhoFvikrqnNAjiNvnp/2NKzx8pAjynX8HoT38lhdk00VbSthsM3sId3+kB2r/1TKylL0WrLWbPu53GiNIJk7e4ZkvNZ2iVScUqTCG030sdynN0skKE7/PtqweNpDTxx6oVXTIb2Q4c3OcbIj4FYi/tn9lE+SLTqca3zwmHbRhUCL1axB/FqEuCjdqg1b6OnR7b4oYbmN+F9Hp4Wj50z6QLIZ2WxtngKn9LHWEQXOFOlVKtSmUkZTC4lziMMGqEkbTcDQcssifLUX6T1rGJMjoQZYb177VZMgY+5Qdzg+rS68kbpkMdSgZaYl05je/aOSegof13UHBtCG0rS7XwjFOBSDtKJ8H+TVKaqGwa7tRDdao5DN8PZWvrroBkoXGgVnwZd3ts7QHG5jChFGnkDwIdQWC7Rf7gqL5nRlwZo84C+2/mt20mg6thwrXJehLckM372EAJL2QwByE0iOLMLVR+9eoKrgcAeY4gmV+Y/TNWnO30fLV2K5wolxOnyXXpXSSzf6uscLN2jTs4t8VYN5+vnxQ93BkGCQEt/2vqQfQwEA+F1zPbKlLu2fWNVYj1fv5QgjgrpGIY6/FZmnKC4cTi8R8MhGQe5cCtEOVmI2SUdagGxq+IveCQ1dEP8flO1tU7xLhGLu2OQ815SAgyt0EUQYW+nBOh7UXOxEk1m71OSQVwebnRyOn9fp3QUu0XiPhq1wpAkI1kQf/Vn3zMBn4S3qRRjYm9RLRXVzC9IesO3ZIt2ZaeYZ+LCpY6xsaxHyANfhGFqAE+1YFOxZ3nz5GpdhkhxV44x2fXXSRKgthNaSEhWZAqdn7Cdi2xF2fF+4/8OULX1lFCjjlTV6whEaXX60BP+siWO41P9cLH4LLddjqw/aD7F5+iXoCRGxm5s/E5b2PqKDEfOexTaMMxOCSjdJ4NFS3u95cma8Nilh3nO6M4xcd18F9N40teOTZn+im2s1toh5x2c1BiOLU+z6o2PZGPGO4i0UZ9KEUzI63IN2fbj1V4NVTUa9vl9Zi1k4MdEmHk2Epjp9aaBHMRnoSCGx5J/u8Oi3P2mJlnTrT8lhZO4tLI4w58rAkC+9mPh2l3xuQ3EwktUzvHUxG0dV9loX5mFoidVn3sHpUT6RhgLkBVo+JR/A8u7e1yuWKVhOsm0GO6CPfnUDp9ILeONZhnWE7XLKGtUlO/REdBXKbczu/fVJp8r6F/413VsBuvweZ7378CLrdLlc/oWr2nI1iQbiq+ieiJEoQO/B72+UUyc52qxNlitZKfbEeV0wwWk6f9rrEGW+k2HoO81w7egfrQpb/kEXFZbKgeUOto+Vek06aiAlf3Ve3II8jcbhqhhoMznAtThFsNIQylLtcNg652x9gHS+W8diLDL5oPNTvY27xiQidLfAZIIaxDWP6OGwc85807lwtacVUkBDgeMEQ2wMhKWpcc4lIYb+3tvRijulILKy6F+khVTPgYj13CVY1OOXDunTu9MY2X1eIONZwehYeitSOYklclOh4ktQiNSsRD8UIkpBi2WWZuCkGG8cJds3sCKFYI394HMaR++QtDqFC0tOaw7qaZaGOiy2qXG16682xvzvaAST/nRcvZQbEkcQyNC6QxsE/LAP6jKlqiitfce1WachZQkHfDawLYsl6hajbT6W0dbLnjebD+RFSfMSCAR94ihcpoB3Qmf8GJ9siKwXmq+DD8w/2A5LSFHescPXRl84gsugBnsXL2wqEEwR45g8AKhwrOqffrmfcPCqlLh4zLRAplBVP8fGsfO8rnwDtHmIt+g+fIxpLQ5yt3ys0KDeKsLP1kvSLiLlfcsddUj/BtC3/CVBEPL2wOIJXZOCe2Npl1U9amT0ybOu+0o/qEdzB5FInd5XJ9ZcdRLmUIm52Zr8BXJMCf/TlKQv8zWdCn9mHuzTigKB5Pfo+hlNiIoL+nuVBDrSZiSsvP50hIc+fntV06eADhAiq4vW1ksKqJ0kI1LGh16Qn+Eb1QkeuMYtta8TlUCY6e7gG9C4HkLWc3ihc4j4nKSu1jm+CQObMYNPuIjaA8lnlwyXSROb1NPA+IyLdsdasSBidQrlFFCJudLWRXpV7JOUYiyibpTPmq/HhCbQycvt/q1CsxpLkP1EinaAdPw1Z3wZC1d61541YtEfZt45zwkxSQqLHTRNb2PznVKcq+zg8D2e6KgbSMIdUztYGHW6iBxw4gakNZA4rNA4ruVo+ZRpQm4Fv+qICeXzWPvN5m7deRukiVlMQOCreq4q6hh0Z+AHxtU/JFL0vpLnz2ZCFNj5Yyji9m88Sngv4T0/SIa6ldSINIQXbySgSSMtTnq7UotTv7hDSpHOICzZt9CHi5Asgq+YFLer4f7IB4x0DsLCYmX0mOPBGTBaQLuzw1RIE9kW1Ze/pks6vXdGhJyJyBl6HQCZFTfNi3X4T6OUtvF45AYVx8lHFzvQyUCGf36R6VMvQL9gGU7gPXY7elWPITuUTjESJMiDxHHq8/9truASOe5NkQgaOoSY3dfdOXnnh/tUwxD/Wm7IrqJRY5nUn74oMbALn1mMSRlNalHfIvxuL9Vd+soIyUaZTcsMO6x60w9akx6cGgJNAgOWH9NrtGTg7SwnNDYaVc23u0D2WYNu8Q+A3qEaf7AmqeKAMSn9h+G4AmohIJEJJlJ0F/QOT3WblHabVVG0hKmEIlu8wDYR4h5EzjPMtlLSVXF5IirfJ3DnqhqMXzsSSlGW1M9Y8V0OohBDr0I+dPS+XfqIpTA6RF7fc60HpMZdAdyPzGflCiQyHrn3+FkdyyQIn81hklZFWd2ybju8NY05Nk5m2YJp4ERaB+N+ZyvfXImoqNlgh84buv7bBVIUEvrAQkDYsRN8fd6Eal+3Hof8LW0d7YzZp2F7pTC4wWSlLyz7ZcX5tjXlAy7yPiyhJBqAxPUmRJUoAvEMz3Vc7O3Rrrj6xgLqYZPDQ4nkeClnne8nvQDrY8uCp29qS+z60/zUWHMiqOQqxBzi1TpOJopa6c7Vl+d5QuIR0Jpd9Ln6aEuLIpw08xdPSUSydDE8fsA0Da1H2IFwcaPJv5netZeIlC4hcJ+Y2qcYmI3riPAQDoUubgslQxL6svHZIVwbhaxbC7RcY2L66BmMguA0/NjOffe9lACn5TnYN+OgWX1nmg5KNWLKF4YTepZbN11aRubtpXfwkgSKd9pNKofhwX93AUQebARcd183yeXkXSOoST/v7aOwti/87Rs4pEgWUyyUdCC8y7ERpVSqiRama+erE0HB00dRDWybZGyJC74beAVUXuzprmYLfeHor9FQW1JzVPRSrRUC1Z4/1VduujwRbvSnSPWX6p+CTvxUkQ+jFa4ki7iwZORwjRjMyZ9JJd3iyagYFlwEWlaJ0Mh4nPx80b2VDFzW597m3585T5PBg0/cCy/GAWCqSTECdEg77ZLVb3qr8rBmkV8TrMGdXG/RcnunGC40PxawdFwfJNhCYpV3IzyDrOcjcOZQB0lZZ5/EeALpXnIXngGM3VaZAD0fsVnL7+708qYChVpTKxAYbAIUvS6oUHhpO1vIe76teU96q6M3HR03ujSMClMynT6kfryseF2wtTl7JmY5hOHVpVF0xNSnOuS0mqW1sPTf++walNPIMGdg2LbIVzjJXoCCx2NijzfwZsLxBwJ2Drgs6zdboYAkfZqBUR4OcnMl/tW3JUuuwO6iVGnvEJfyV2DuQ9l0Tt377FPFa1ngdf8TdNY9+fup4ovbxstbR7B2+R+35CpitwZ2nl/ZLEioDBC8zFCcbWFRUS/PUhj7112WxynYfJozWGnSShsHUx29ja+nBReGxid9fpTtgVGtz10xiLRi03p33kccVSapMbWQFESgsBlTRprvWP0xS9KjYI81ZJ46JNGIweNY6KEZVPuOSqzIQFUYa/jr/D2ELlge9O/W4I4L8xjrDnSPjEhVAXUCiyfB7T7YpKYNE1ZbIU6e2umrPwHzJsHg1KYKiaaZplTFDQB2QSG8hYz57AjFbyHfCPgZhOCLtSx3hLFSoAP/bVJ5I/74BTMJgl1fKvtbnuhIrTixQBXExVLjbYKDGKz25BSSGe5u2Pw345YZWkZuqqdFxDza4c3l+NVLaOl00BEzn2yBQKuZJv0dM+X6+NwwdU4s7awT5hKcToUMGshQ19FQzEcPDYDAxFnVNc5H44Jwx1QoYzn5tXt1ILNArE6DlOaP/B+XoKm1XgYxm0pHu/65K8KCCG9IcaxLilJZBrQRRTH2+3rbi+nBVdZvfcCC55hnjYhu5u67G/rjJ39Y/ZHGDVBgKDZbnkIwKObSSAdMAaGHMj1ZMETHTzWjYbVrjzGXQbqTV7aWlQuRX5UI+iqUrMPVgiOmjZKVkbkzZvR4NXYbq/dw1XGR7OccFs60FD0rzXIWQlPnKUcuTTbtUQ4EJCCUEoJRseu+vzqTI8frhhALqD7DjVBj1N3iiMHtfZaadoINAvxJ+2+uMu+P/5jdUGqKXocuFZzrcbfmzP4NBx8XX9i05IFN7COPOZ0enA58AEcsqpubtIm4eXEajrNBLuh2Skk9GAWd22RtsFFIf3TR9hFgbY1VtUzFTUKdG/Za2XDWqK3MpG/t/lkhGkg5fE+FUPTEtD1YfoTwoFMtj5SNfjjRuGyoIr+HmMYMSKofqeMqRrX8ZDfcq6gK7UbJ+swWZqILuqVb0iyOMQqmY4WLb/MRG2hdQRhTuHMa3siM6KwCviiwD/PiukWETKkoIcdjhTu/0xeIDh/GTQ6R+D4sOQapabrkrKalnKkOmwBuZ/ZXFkqUuKSIkskz5Skx+0mOs21YEBWTjQ4tExcpHagMmXqlHwoOPo3YEt526zBGoQ8gp/9iRl0WTjlH5rH7tza5DRGfcV13HqhQdnfsfsaOq2MCUtac+z0WZDVngmmbJXT7XzKnyNVl2SGmFxO4ymO4vcmueTdf4H4DWTJZ3HmaKJjBsbe/B0Znauy/f4V3XXt80jC+c1OPzVwhubgjtJZLspQTxwANz/Gcf4jjFN2vnnpMUVU1fGX5J9At1V5IUb8KgBhD2IPTMWa3rxA3fnUlySg0WQowUD+66sPTLaJigDkRnICYuF5IBACcyK/jL88OON3y04k/Fg5jOcjw7oatxIOA6oBwBuj8hlnG60nhyR6Y6AzTn00KOu11eQaAdFatoDTHZ4sh8F6s4a5Lb+XSOnQBMctIqrP2kMEn6jvMUx/bSlgcdN1b12yF+XlidZEI0w0sHg2NSIjrdO7XLHPZ70K17m1GmFHaEALIai1vS/K3ZZ3f1dtxNOZjhQZ6djK0xcdKPjgh9Lh/Lw2gqFGmbxHw7kfR6ysHWPWZmE8fdfq3jtQQSykQX26OR0Sj8bFoPFRj6FX/FUPK1lw31hNu8nfU5Tjw9sgC5KToPIHcSpxUQT3MFbtkarQpdLOzfyo3156zoHQ8ovrpijIHlqu05Lq/QGE7foArDo+asFPXcyuPrEKOoKT0Zw8RC8x0W3uP9YmxXaBdZAqjHU/L+PIGQ8mHsCt2fcfPsX3Q4oZ76zsXqpTFhN1D0ZjuIDl4iPHoJfnyuYWbqvnJ8am+yTn9n/KqmdspBkqHaSklt1YNmI2eS+Ay3VZh5nqmhCWPNyzR5EOmxAP774dCkSudYzrdjuBG8A45pwUZj+PbqAeDUGCV4pHL5LNAioefJV7nZvzMcLeDvVG3xpr9asOS1yJP6PVz8zPs/TKzws5KL/G33IbbKvJ73h5hYGMhdGmjPcVCC0Ji/trdy8hWECeS+A12SHbZ22oPUXAv+Xmf24Igd2lBOAz0jCN//EGQh4/aKt7v62gg36+tdZO+Gbc4M0ePRKUX/TJDxPNTPgoAzMdxKpQe5qdRDjVnV8QSt4Q+3TaA5TjXP9AShyD5BfFu3+cAPCMH8Ch/DQVm9NlElEk9l3sgXsPTSJvqDls0lEqnzKaTg0GJr5gOMoW6QdiPzxMS7nBqvW6GmciOMaK2AZX0LR0dcFK40OQ5WZpFXBicgrf0XNUjeP31kzMStPH4Y3rdG4HyQFwjAehpSTPQ9Ghs91mSMeCX2muAlppgR/KV1fJ8LqYztPWQuWuVW7+fyuHLU6RJiKRP73hxE1I8RG9tTDT3zXO6aAUh2ECn4uYqER2UF7tpxzWspiliTD49eVUvJpUnerEojEzyeXbn5J6VBnUPKwWrxkd/qryoSMb3wPgxEdfMHmi2/UzFxewW2NlY1XborFb0A2j2Kn/9nkWgKRJdBFY4LPSmIc1cFAnKby6HOTdt6A4vQQQbywd5XIWSM9ze5bkTqvI9L5skGISQPv5RUi0MhXS9RBTYzproR/0usArtqxjj3rdSRS5BvIGXlwITDNVhR0GtcWIBDOlBalr/dx9j74B85x4THEgoxFpeKEm4b14IAFjFrmuc8hEZLMmlae5aNv3/rc1v366HMoX7cR/ELNA9q8uJXLgLZMxdzBxyh0oIIZGkfgzCYSvUo5LIfU1bjvdkaxjautYAvN2fUWGBNwRE+VFO858k/4fs6Ztcx6ESctMHFTj9jO4f4pX4m2s9XboY7G/Wo/ZWOw9T/8WSiAuaqsseALjTf2HTaswl3uF2ehIckEnFKVlRvrIxwxSyKzbHGb6tlkpKAnlAPJdzenTyVdHeKIDhTRDeT6OJDK1y22VczY1DZanV74vsgnABi69YdAprMYh1wLZQ1JXtUjBAvlWZS/kU6Kr6D+7PeJ7CnmV3cP1FkJnVavtkyj+RahJZN+0T3VuVtTBjMY1k0GIK35IZRtpsVAtpXaXzJlsQIfBYPyC2PHfADC1zKVZWD/qZFOZpxZwfvhE5CB3ogND3n6Lz+1rrDWLAlgopxX2nPgq2oemnYfBCfhkrkipR3yD1fhQnBUFAzSd+GGU6h0fPuJRffvN68qaJ1altuNpMlXKaAqI+7zjjRm034ixUZhIyeoIOEVpioLhtlT9dGDIeYvrvQ7p/L57uUGq1Oxt3GLiwqvgJXklfVarw9MKWDtI0lWkFKORj57c2XjXVmtLhOcQYat8SQhgpiuqeibYTM0qCPINzGJDNgbxKk44MaazC4SGyc70laDUosTXN7oD5RndFj0qZUHNWOQpBqCCY6AhIDyz2y8dj6wZs5mltzbPHfuTNLZv3pDmVC5O4xV4t+TP+HqIbzJQ1M+yhvFb5BRN8y5HpRb9gnHHQ9TrsmYhGKiI96aw5CAB25wfEBixzhwuZwgclsnDlOCctsCJwTNVU6glZsAcN+GGxmpaNLBhhWYFkZeG8QfEI59DM9+BcxU++m9Q2/sHASbl0ZR6zGTLZuV20rB9Fi7XjvSC+O4QNKVoWlNftRxsngz1yVdn4d7posp9DHWmuDRXeNGksKfwQuUnBkbGBpjILv67TeqAXDNzsWh/9RkkrKkQ2H3mJFtUIGDjQfj7BydjTbJqYwuJNxOqY61rEz7f7pfaVDeohilKKBYYD9fOXM23CCq1R9oQ5G7ZVfjuCLuerzj4EwuJfdJcJe7P5dAhjb3jiOW8+0fVZ7GRy7g1Vg/FuUVhiGxT0x6MCdIomBJcyDrU+d91gzaxAv6+JW8qulMRRgGUr7cpKx8aiohno9XFnesvUsXKp/skYYaw5mOLPyKxV4JmhASmQgZRfTfmnGr7Glyz3y3+4oh1MO3FuUJsgt3nN6DT+CR15wJ2ZqZ3wrllF5OxEJO0BbJZhiKUOhRuA9F54vv5xv/Pa0YM8upKukJuUE6Z4ezAJ++GzGqVD8KMjeYdJYUfI/OtdGITo56uMELqNIoGqKGfrq4hhUsuGHN7n43kOko4nk/F6kE3R/kxJYMzHCPcWxVDSD6RBTNry+kId7lb/RAt10+ubbvhSt6hoUJbK6OqoTqB3MHaYQs0u5wCEyak5J/P/9KMi9Y9fqmq8EXf6DVn8TCyGudeJs88ySx+bzOmqxZeoRplsV3eqvNMtONh3Z4jxB91inPciyQPSEgpuEGBzM7tll3epBdwvyyLxQ/2gSSxu7pDITO+RUbnf0tPc8KWNYqFOxhJ6HqqqjT6le6FGbWaKiFP2MP+XlIwtV9JDgGY2tP1q8No1vUgZJs0Zp5fmEeQPrPRTLTOxeWtmW7qYT13exo0JTrwLDN5vWfpAa7NkNZ3991i/qqJM51JAUw4PdBZOqZkfd8RGBNXvuZoJeK8mCb888ZsQuf6LVwftO32pm+iTlv/56K94OHfdzoLNMgmpHBhkeQktSq3MrJ1qBn8SwTfw6x9r8WPcrhuVZFRcGi+ehQDeMRxllbjQ98NXqJCTapcwqVqE8duOPuwyIlfBvc6DHVpi2hesQhwMl/EYI8/yRiMWOyB95pMtKJmd3ExiY0mPCzIMu8jc1FelKPCpvNgZIsrVg7VVDuzDYY6iMKYr0GKDgx7UfHO4L5mbLvThnXlt8jvAAfdxkd3ARJpwWVIM4A+1wUBwaV/m8HpoYf5UDzM3yy1Lr52UwyYYLoGF3goCoa0oiDFXn8ngl4RbnViSNxTi1HB1WkCODsUiCTxx4VRUT440E9Bps9Dfm1//5DqUNxEmHCuWpJYtUO3TjLNl40aa0+qbdg2OUnu1J8sMFzhFslVKmSWxbS1byy1pjN9Ia95zkmohvMWpp++wEei8tZGuVONlIikeEjwCYL6uU+Ah085d5Su4HO1uC9ShcYE1ZE9Vf8iXGZBUpI/LTRkYQms/qAZXbLTz7V7MqFaoD5rK0TCpGE1QJYdIxB+vqi7d1PSp8dYrCNRa9LvFyTkkxQA58LVbtdyQEjSsv7dMkcrXL2qqC0Sg1FnAweo0boaLQj/oU3/3fDK0cYl7Z8qpDERJJxkrxIkIMt7CVbUnreYyvhSePU7tt+fPxRB9Xb7IeG7P5G/1xmR34yre0Bjmt1B1xNlLB/Sw2DrUcMz/0ghwRcS3njKcnE4wZ71+Ld/Yjc6MNyvToD3E0kFs+KXDOhFGmjnJJQCMwKSrLUdRBA5dvzt7+6XsW+j2EJj+m0/YXHKv0zB8aYTEY8BNGW9/oRvghMSVsaPretTcamEFaXFFltvLoiGi3zcCEPSrwYW1UPLVhYcAHyKYQBDHKXORKW6I3ixr2yXQow+NRDhIjQuGJJE5XTjPfOnR+aYis6A3TThV9vHsxttZ7QYFrWVugTknTFDpgLck4zH3tynZYmhXVo0LWZplHOX7CYhC+P6kKysD68cacmDU5ji+pmRvlJgM6Asw98FH7CowvnOgl3JGpR+guy5urnft6trcwNYwe4HXPH3ZuGnbt1oKZjv/1ua/BmC1tYaPQWu9wqLax3moj0bdH2xwPvk0cg+yjitw2z2BPtBoUNrQ1vpuRANWlpE9uhGm93i7rctxddtaa8hkL9TXSCDCRGPQXDiNHNT78miC1p77wqyFana61Gt9t+g8c11AGXR3l15g55w3EUNMnsjA+ozS8qZ+lNmUKWt/OBv4m/l9sXqK7Nopq7ROxeMM8Qw/xramvMKPrFmygL/mHFZiV0ochxvI9Jz5YG3sJoqOSWl3+W9kw+BPUsoQ9ll8RoHVGdqSuiJKLklNrNRA30BP4qcpEs1mmvlhk2drTQv6+Q5Qa2dcGucVmcOUSPtocdTeVqbbB2u0MTUGbgiZPtBn7krkHZvTwJIQupuDkGb0aUkb3rcxowECUo+rrEjUfjP4VnkLU0ehssltAjVdu36woF/1COQ93jCJ16Y7RjWn9mrmwwplpmy+bsz2GGhOBGHIM2cBqt96ETi3hnmpRkq/t8s7Xp+FyZwMp81DTvMy75/B0HFeONg72bgPSULDkA9H8p0JhSYDr6MD0FxdT98xDdfly/1UceslAdzF+8DHnKPEDey+a891nHjdydSeOOo6qR8l2/w19JIYTxq4CYc0GBgWOLTU1VMx4JFiGIPEMXyj2y4HukVqoK4UrwD1exDTnp52xH8b7Xh4+6sinaDpZ238cGloFplXnx3qGoRGP8uzIBu5leXdCOrF4NmnuwYEBjO3Z/TVPb0nUISK5hrRKv2LKPz3Pz+O5LtJwTwj0ysIIeDkaXkM6pQ/hev1F18ZDK20sEHpQmMFWrm43Qj6lyYzHlpd2VEK3gp5NZp0FnOO8M2OoU+faubXwZ/j1JHZHJz/PHJ8sOFTdKBec0GcAY9HyVlTCdRAXo9XNaL0sanM7rtK1hj4oYg1OkShZTIhWI8NnOmlQyDQc6SSCir7dn4zNc6Z4rFPpAnehZJOx0i7KgoZXpMrZHdzSu97CCu/VFyEtQ9qY7hMRQLc/6/b7a94xO1LBgQuReBj4ofvENUhXWubiNxTAH6CYnMYfSXadyss6//vZFQUrQ/XLof/n39eE3TiPY0C++LI1B+6S4OVR/+ZHwUkwGADw3UmT5QBymmZP8RB30CgbwUw+sBgHJO7vqu1dceTvCLsJ9ADm1pd6YOgc/3AHhF34Jw0AwIDG+dEL1fJxRXOieB1rfAOX36ZvcjoKoqLL6VxT7rZRXvcgHIMqZyuNHX8MVQM5jgPBB+t1TpG40PlM6YBEztaVRPGTDMAhB5sm+Kf3sqKK2XmZINB4IIR9v8mG6UpoMe3aN5i5iVYMy+zR9uYlaiCfHQ9LJsMGAgkFT5SZ45Z5Kj69BVfRL4xLx1nr/8zluqRfsceX7CLJ8vReARo7DUrJiKFR6phsyL3gO4SVo+HsuA/fjKJoqwFyY1J6klwMsWozAp5rYA1QxepAM/gDAyCx7eitJ2XXlYL9NDjJ/0BUS1Ti8Db8kaScCvIZc/b3Hc96L7mzp6ss7FaBdTVw1ufPbSGe1xMhUafoFAXzxt29//wzl48WjXva3bMVNRGOM+ARpuFEIe8DHd0l4+IGbzNFqCL+zFikuZBiip3xXgF5tl/4HEojZwukt1MgYeU3f2wi/CkwI+9fClwqNtI/lsQ7WBALCn5IFa1sG350U6rZG71ZMvYuS9byBr8cmBdQGsvMtKxv00tmNuGaOdXx0bdpX/OAX1waQGQEIvIJrK06SzHz3H3+BVuQIXasvfAd7FoU/GKFw94hMw+kj6+trB7c5x1ZJF5fXggCOE7sXAbZYOCbFsL4jNoVof68zoiDUfnlR+T0wpUvMdh3CEeiY+G8x49BHt8+tv7cSchj4mUmcKVLMiomiRiuqYv/ljgBVfsu6g54N7PBAsuqTlf7DDds2R4zTgabOc456rWXxXbfMfp4cAU9GbzkjSX0tSsWJqNGclTrbjyblUYM+y4X/cxMqF+3TjKb8IBk90hoEr1516l0pHwdo/8sAFhraOYxIBWpdBwWCxcQB/WOXAcspKVFp32cGSnAeJ4B9CgTE51z2LZmXtUFu/ORt/3kWNvWeG6VFRA/6OMZgv2aKxeco7Rqp3uuqZk/oiFyOx8Po3I68/jNjElSrlW1JG4Oi3mTbBj3Ud89iw+rUOuzz8Ovaob7lzVEBoUwqvlb/n7LNto9Y3ceMD63olwzkzZrwAcnp8evYE03vFQshr/6uYGm3yNxkTFC1Pk/tPY/xyRgIFy6xmMlz6pFH9Z1seQ5WzijGUIBrijjLhS8LPATO6MQr3I4wfls+5AAde4ETTPDt238dxTR3t+rkb6+vJ9SPbupl/HUCWZUh0mNGIu2syONnbfAc9GSE1d+hssvtGgj0RtzeOICcZxBxCTgsyQQKGUnv5GDUdzzEsl8+GZJJiinX9yS/1whDSPtP/jqAHhQWtN0wGib7+L8S1ZGQwbqYZ1KpMeSxWiu3gpF61dJ3dnhSTwJUjj9RmVRTXQOLdSGCVMU5rq8/7LMAGsJaHV5N+l9Ez+J/QZMHxcDUcfvbobOQXWOHrbBpNbO/jMficOrl8yrO15OVaHXfQEmaTqejyF0WvJrBc55svlfpTPKyHSJkiwNXNNbIXoUHPxG/lUlFPCzMrO5i0GFiuPRnhVeU+GMpY//cq0ylae8Eqev56UPtiCPk3DrxnfTAPpOVk8+G026CBNbxt1s0iA/YD+q6e/MgRTFXvIJV0n4Zog44V1J8/bR3t8CgS8UzmKJSItnwnWqagjACnILS8R1ayqUyQHAARodTy8eUpERLHmiU5BbsmJuHEhheGyRfWr9uxaiHhApsIZ0C3rJu7EqQe7pF5E0qW5FX9fPSU5kLh3ogeVbSuFdVsC62k/LFjvLxa/xzXWFQOYr7ZnfAOUvulfiKrGTvFV+0wUna04mpU9SorHhY22OrAtP4VQuet3hZn1bAf3QDb5+Qx+gAV5YFq3A8nlNwQ82kCYWhkLO2GIssgFuxdiqPQ/Z1YTCwrRHUEUS3eA02IQBplSb+m90sWdMyQxsXO/iU7/Pvh+WkYtpeSjSQGPpIypqdfhOGmIhn0HuRYD5lByShIfh48C4Z6GKs9viDQkXaU9cCqmmgb8mRr/k5ze5vCYuyspDoWK2Ez94pTMfHXwIicsaO+cqQP4ihkaz7eUx8FhkRwQm+Upr1yii6s9XGXADnkzCEGirax+IYqAhgRCccf3MjWNoea8jZqLOl7K0EAQLws8/Z9bvfJBcyq9q05dc2Y8toP2fKNS5WTyViJyZtNhoKrz8i6n+5N42gB0TUVAAA2ExmGfKQMeMLPvpWigK59VeOXTBeoKKvWl422vNxhL1MxZpr2FKq/qk6IPGdbt936Wb6SPpfGvTV/TUgHU5imLUYYVbArTz+VaKDqWj84ycZaiNYOukASdV7gY+6ghBjkBrkZ8Pz8jW2QNvpBF0Z2TuNgUT5bBqOIcGac1wFu2l1p7j3N64K6QJ/Z6VUtsgTopbyTla9ARgQXkjiifG5CnaBV2SprNW1ALIn4oRpY8eDf4yWMtapBcVpfdZPDGY8L+ztdp4Jvn3Z/KtAAXyrTQKMl+yel9vJ4uuzE0XOn4RURINOAzUNPDrEqnKDUNmgac+Cm8YmgCniNOM6cIYBF62P81geCawnP4iFJHgouhu/4TJr2IS3QVBHZ//VtCvTGbMpUDp/MaJTo2B3cQ26Sya8/osSIHOcSXPbuT6l8TzblScy4IwR264uiCJA2sHRkVGDsI7YeY35E7nEE6EeNhP+z/Yf3mmMVlpvKM1f2h/8/Z6642Sak35WwU5J8FhtPzLzcHhqC+OTqFSN9MThqA/jzJiqV9LSbnhPKOCQ/WAFIJrXcUKt2LXuN8g+tkbS3fYOKyU+Haq2+prPSS807xq6obQzvgI8S2Gv/D7GpOZXODmpQA5F5CK/2Qh8HUUuWAnqVNnJw9UDwXVANbrx+c8V5wucpnHPf1ocdwhuODnqfz/b2XO1EugQBMrRBZ8yzjaCI4ZHasSUXx0gzK8gAziEbMuG6RSbFdIe05TBcEtme/vn8eoEbrGua7Un3mNPQJia2PsfVK+U/cWxEFzw2cc4zxWAqg+jbthnqRyGz9ZP1BNud8EL6oeD0S/r7+aImY2mPq0Vsw6VX5fwLZURkPjGyJTv7cI1bfQ6AZhnOG4z0Sjq/9nr0KhvVho48FUpnTJoHl43Ah2RAEIlGtt1/ijcCqZEAHpo8Yfhg5a62C4F/lptLfOKOvhtNofhVPmZgxoKXFu8N9/vGO4kfKiUHArjFGokeDHSPQzR45XkBDK11zdejZIpCVCuCgK3MKAGq+BqVsn5GqQNrHg5opTOszqWq/onbfo6O1ybjPpBJRATerZNLy3fMCQZ9ObA3f1rBE13dVvkdbnOCQU8sybvW4IFdOgH1GidskEx80t2/OkLBQWpzVavi1tRQ4jrhgFyTJ/PiQ+3dbGPOc91Bw6cAPFj/dnXvVAL/SYYeiAXSmpLmpYdk30kkPtHxXcWoS15fzfeMvTKa/a9v4LN0r/EZtea/wOmfxmsAsBY9fQ9uvebdYZW2LjFTa7togarJYzk128AylfjT5uoW0w9D6k0v/xTuQrPWy5wR6cev7c+8aZMCevUu7MIK3STqVQyQjYr+zPZkN8Ma0BFF2p6Omi/6qsw+18FVDbJmKKHrFfuSLUX+gvb2a4iQ+U3sFKeDTli5CHrA+pp3hg2ZqLTTe3jN0/7guJBI6HA/Z0F6JqVqTC7YnyvZrOjHsAPqfSj9RsVF0ybqmID39mag330qgFZ8nqSn1nnk9uyqcznHix1Pl+OZR+POBcT458QmBJSZlBsZrSBfNJZ+Ak0wMvSi4sygMm8/s1Dx1/iL4ix4MEULYnKJ+q/xYqYIR0Hftjz1Vm+9CSoxtXuaJ/A2JuW9XymA/PLIxQET3oaqgqS1tq50KJ9F0eCJrNNKrhxNgBff+HqRDSiP6v1l8ViRnIwqQoKpFUUMp/EC43J88ReCnfV+i5KqxDEe2QnAi5YHv58VefvXLNc52FUYPXSrzX+TJoWu+Ri3XXqtNz9wdBW/zc2VD+pCieUhVX7FiPPDhnaHXgM/htuHbrvnM5xEKJ/1S35p/L6FXZuMmg2392iI7CnPPIEVqWN9iu5tL4k5hhmvTcZp78MU+bOswC4l5eeocpy6GrTQswn3PlgEE+CDDL25pbcqwELMdq95vC7S1vQ3KBXHED/L6d9L5MovY7dUIMbRAOGaWhJS0gN/K+p6bl0ZiujO9vve8H1ty3TWtYJv2e+nMsJix+zh6sibi59hlJTyz09XjAxzLKt3MTmVdGcG7INTpQrZEZHg4nak+ULn8GIZxIL2ZTsHaeI0eRrIdydJIacfJeyZ7TAdP39rCxFMp9IIaP38yfcioQbdZvqJhmVlH/K/sT3VQ0sX2qN9CA+2mO6FojhTnLpC6CphBPbBsUujPSLHu+25cjug4IyY87ryJqQ6I91NI7hL6+ojSLIB5oybuMD8Q31curiPPyGNLTdUGZGVRKVtWP4eVylOkaGXBr4ORnIBfirNNxtG1eJXOorJeHFnayKULjb9ublAWVxRXCILOFFX1kno2CHSbBjutZ4UjulR69dv7e0EId8I1ibOq2erJFTZ7MGCOX5JeLQQCe4wBvsr+QMB/PU/aLew8ZmQaX0rc6mNUWZxD9NamlMNp4VQ8PsmazFA+w65q21A40OBuaQwYmkEGQpgrD0rTu5Y4sRjGAXZ0yos0QM/w545CbJVc1Ngx8sOB1nLV9FpZ6Zch5Tli9ryLZBZ5DCGISBZ9E3N24FQhXqBOQ3+cUJej9wYxXRfREVHe1NCuo61g/U+Czwe1IS5JroCSgxYQxoqAWzyN6zZ/AUrTT5Yb+CvptM3RznX/ZQqUWilUHjy27zSqL7lOVivwV1RbSUtKvMp9xCZIsnXoU0htEMiBTIJoW1O/w8J8PrGwZJd8HIsa17qC89prxYCuskvkMsed21AQElcYhEu56s3uDfFdtOFDiXEZmIIqLnIVJbbllLZf2yG2YBOQ4rkQLATBWXYSfPd5S0qTLy+ivUKZCnQZ3f0hP0H3KjBGndZxWjnnVFk+HxKWRvEzlgdd2Oe/vMkhO3qDi/9UY6b/0+nrh1poAMbFB8e8i/Htk2GXwS1NkLGLpk23KT/SjTP1bw5sRFORwt57L7IHba0EksQ/RLKdi570Dxe4TjDPvaFFZ5wV/9CuOxx8qJhyRNNNGy3eO28opeT0gS7WjwICFylKlX7qX5NjRLDGgnBxFGncAUs3zq1Lj9glSoYhW8zbIQpPYY559jGVcP9vC8JER2CgaQFpAdo5ymi9+ROUoHXDMjE+uJKTYFJN+csOXRp4aDd2jER4FZ0MtCSZSq+sc/HuJ/Sa8AVgDy90FHkZ/DzBipIcllyx9+y94g25h3qxmX23x7jB5B7bezQ7vXnRLSw0ahjQQHnb8cxnE6MS/Jp7pUhQ4igj6sR9hnLsd9TEgtu6CMOxIWoSsZqLY6N7bKAUx7Z5cVh4qIZ/6cos+HfcVetDnkLwaPajW0FQCl8dnpaK3T1GnU4pdCkokcDZU7O+ElujnHwRRkwBkWsSziEwrEZsuVGtYImKOYXTjHsSHr+C67YwSjHFSATQLjw3OBTqhbXKQ97F8/Mlqm1ds7rKc54XvN8GfsWpwmY6f9XPT0Gx4QBPTE7jRfqPTR7ycPCeDzthR4UGwzO63KfZ9ga2HG0TD2BbynTkhFsR1WZ5t9T6rYGR9HxC4iMZkLkrlB/QINzOjNWRrYNH3BXidoFdT2hlmtvAc+AQcQ72MOB3NjWkAgLmGPy/+JwN5myBzHsxZfSIDdHrY8GFcjUuDMqEN6VQAodDR/eBL2Y4bNx+Ko5oApd5xRzI4kC3q4vTe3DqcZ+tBHq6jI6pSHm5g+ZtNk749aWMC1eIwuv/44xd/5ht7/8D6xsYQJQjNG6NStINIsETEsCVnc/7lNOw0XUbUjA1YRm6ftnwQKfFi4VUkTcopBUe01WwuPxSCdMTdpqynWxFyGv/RUhtTiTXhJLZB+977jMF5JqIVagKU2OT/heF2XPsw0VaUrlYoj5BTK16cdnlF7C2IuMIidwi7cB7QM3KxzrBiu+EAVKHBqppSPimsprQKSwxklsIKH1yWWdzZN85qGr80XgYiD030wMEUyH9gTmHraXfqJNVX0+2yzrh2ez+O3ViZBQ5IWEuliuny4vmXyKzcuZB2RnLuqmIXMsp8tTnF+cKzwWOQ0N0FCPaqCHYUl9aRH4DqRUfdAYMqaKq9BpvkTj8hN4FgNQACL9UGif1xcPkK+NtLgXN+fhwdBoXxSKVK+HQwSoaKwM0T0tlpV3UYLoJhIl57OUanaPYsL7vrwvXOh4XWTJSm1IljXOMSvlVieYMR4ZHzmZ++tsNmcmC5kesqhPy+Lh7MMrQheVq5T5uOhei86s36ScgvUlqp1XLPJ5/xwtUGMaPP+B6dDn18bGCye21yDpugwqiQ/VOvNIVnQd37D/wrkJ6gJzxal9rpR56XzqlDknDU+wFiT1rMp0Dej1LaSxzraAmrO7tUIwxL0t2QqsTle+tPQkRp4+QHBeqeij8IhoZ4HKOCieXRUo7cqfTUAVWCU2ccyb1HpNjpevXIX+aLytgpEpuAxvp84pXshA7pGN6MfH//+yBuwErP5L6LB6nKJYKsyE9YkRdHl1q8rLT8oQwmI08CyNNVpG6fNEyDbDrnd+VkTXAJlRAZTL/pgRvMny+jFYM98Z2osvY2PRuAS2aYm7whpHa5pQ+sfmeL4QQfI2TmY3WIpiaXrTXOZXZ3dG0AexRqMzJjXf+pI8msUnrhYaHQutguaQeSOjipUrxyTqa8AL//VqAo21u0vMC79kTcaUWSHdn6FNK9agaED5MN6bfiRW3KpSrdCAiUVH8p0ZAnInNrc8XD154Od7WtDyPp7lmmI71vVdRyMwIwZ8xR/j8pVpFHNrNS+VmNaSGc2BIrKTR0q1UlJqusfPCoUfyIgVjrUQzz3cZH6z/2/3g07fChBUqkf35SoXH4V0rgMbrNo6GGdeTEo8nZSkXRsT/keflvk6iaP0IB+Ccoo/lTOY7z8AL/DPjzGB5vDqYprSJCaMl64bYt4S68J3975ukvCQ0pwVDDBastuGR1oDUqZ2678lwAgVn613X0u160657o7U2ZEZizBMG5U+sz0zoaWHCFusJebTF1Q71S0CflU/5PpjUlIxv8tJFXx25IZOgXXauHs3MmqCpMekSdKrTeUq4sSX4bYrfCRWHsv6PswGJPmDkYpz8ZPcbpC+DiqQcy+cB0+FInFAE20AAthVg8yGap/q1pugBpjjwjjpwyp1MZ4XKuYBdLSW1Ja+HSuFZ9JS2rEuB4GMig2Pf1z5r01tun1VAOPq0zlhglndndjZnr3xCesT9G/KJuJcQN8+C1U3aWsYmtdGBb42dYmEPsxKMYneje6tlT2vHEMaZvu59jdE5SdH542Tdc4oQl3i5plBYQiz552K/7bTd1Jeml1C4SIofHBnL+Mr3f4BD1MlJAvj9LdpYzLX7AGgS7x9VS02DeYjo6DTQ4neQyq46JeLEjBi4NtxKGJ4oYEjW8WZemzfv58ZXq7Il+4UO6L+TmxooO8NGiDz2J33ha3Hm0/iBAxjM4L0M9I+kKG697u+MMJAKD/vE64C/wvrotGuAHub0B1v5kLbjsG4MbGHjwgwccJ3AHN/njfs0WslFg324bEkdiyzpKbrsATgrT4T7Hm+Qi+x0nRFaYXBMvq/DUywPOij2uLH/tmdTGkIhgdXrWAcWqlb8UdYg2/lUBwNFp7rog2RghP9LpLgW31jXSLxYpGRmTmBZObOGX+RQs82NErd9f6vJQEzB9WGKuCjfW9N0dC1bLUabJvcE04vlA77IRMrvi9c2kupo4hNnQNfl8UOLD9RdjjyKgjdC4Iyzp9mVEjTKNvA7gmG2adX0EMgu1vfiYQYjMr52wJ8HNgV0M6XWZ5A7VIjVPGwZX7U4T1PWZJjO/gMhuo3symItsHE0iWp2U9h9OC1s68VCC4yaayXAlux0+aH0QNDoVdfeU9j4zGbWe4mPoWK4zrezii14ZGiuV3eYYxdv1bPKBjNbIdlA4XEK/51XpdJ9hjYt64kfTlpYMEUndQoHuDL8/leuBTBw/tQepIcZBt+QZA0AxFhkJKnAiPGlxxHD1PFPPZ2hsHLniSj8aOGX/oFgR6Wxb009u5Sq6/+/4yweagCCM14emuqBDT/TbezlIXeCzhA9A3F2Fl6NiEDlZZEt/3j3q6lgi94eP4pWeOcOTpgauuPnsIarzD06Ug0GidcS5RMaq7CIbTyWrGUYVzG5U/jSku6nytF38H3kt3/r0dQzj5AvqymAt1oN9/Cb0Bbf6FpmQSfQZw6jMp54jtV8F8ZR8DODie4ytxR8eUbojOsNI26TZbPHPwfGaki0JFreaPRl4hlzzTu9KnlJzow0rrcnIS/2JHQ3wpidFN6mxZtxFz1pApt7cMoCWEFU5Rw6yHEl85eOZzHk6646fI6THZEjaTnke7d6XhI3bOXT9t5MCSA/OTJTlmQf3X+vaL8aIvn8kbrp7GSLMBCSnaeLNK9bZCEEOkUJHo7YVF0TVu7mz/MbGQlzYcATDLHHckHIk+5dzQkWvu+HJ2aB1FeHY9j9okbKx75yR5nKIKGu9U6GJhktKbPCSQcVUDtX5yqYeUgb4aR2aEylYnSNjMXsF1sYk/cZqhgtj5E5aakIeeTKmJBK5+ck2XGwhgws1OEfiFo5zwYLqo5Gq4hMgWZMQKP+k6ePhymLS9aRqlaSASVODSzp2Q3vzR07hhFuz0CHXeAmNl1iNkJvJI6/9/XEJu7HdUpQ9IY4WsXoB13DN6Z8k6w+1Wp2FrDmCbHMLX09PGmpAvNacmEnLzfio2woYR/D+lmoEUur88G+sS4Edweu4YxPyI2BDMbU1ILsv5iXFIeUv1wjwa1JZjYnzODcFM8W6O3bqm9C1OcWQB36L1Yvd6xTlqPC1lucDqdY1eMR4B17k8rhP7xMU0nhDfXFr1CnNy00mTExzG4FbX021n2FmxxEHRzKJ4TiiPCZkdY5it1PMSSwVyiATwzE2cNmmUmtKE8S7PM49NeEwp0jsMEotAlWwKU77CiwYdE+ft4IaNzNgRQQMZbQ41h2colKxAusyjL9sRZb+BAL0dUIQ70etTGxgYn1dSEIzJhDFaqKSx4vnyEiYKqctCShOKJGqxa0T9iIteB/rNrSybbPTYBOru1tSMREQg5Fb5tKF4SF/Mdp6BnHIQ30ZusS2FVX0cC3sed/en0DaznIiQlqAQhAkTH6yG8GYnRVbl6Zt6gYD4X5eaxARvSBBAd6KPaAppcHMTWCA9PZi4DiA0r+VH8CPRtG5gUbuohR3r7wmhn9iLm9DkwX73YULVSE66OsgtJ7aDXqEpm/s5DOerZn/BLcLnhqLhDyu86J1x75+j9BRg9g7lL5FP3ziRe3OVG88n9Yl5j0ENzWOD36rFNd4pOmkyMxkufxiNKV+MQV98ArK4KJ7OC6910DjlqE3dUAog2RRv9dw3Lvq2Bq33MLrTjv39FobYlaDEbG2ncXXVpuAiGZ8Z5ti3Yi4wHTL2uxCWa2gFv1+SrQzGFP2seLKvND3qPi6HEgCILxqQ8Ix4SceReIe4FEZ88B1MQUvWqZBgjUKJuoN6hLt9s6C6q3wFl2ITFDMT0SgqwkoWztC620PUBBGSLnqH49AnnxErpYGftA0gofHje8ps/BAzkLu+YqrzJrVa02/pIfBd6c41lw64DCuNkfRcprd/qGkTfVQfxCIHt8eBIODU9gjDyrDnAaQm9h+8HQq0sCZVU9LudPpRO4IZ1L4YZWgLo8zeRfZJqZctx4aZfMP04aPacpYEK4Ks+gHD7WA+cSSUGW19IbW4e5t47XYxuF48ohA21oKHDXChNjYKwP93gkGwg6hGumhJgr4UK2PGF+chP97XCG3YrJzDXpCvzfaJNFzSgsLO0JaDQL+FkoHH+f97BVwjL/1H204MLyJnt2piDSYXRflFmQhfi7179NyAVs/cgnJakzR4digrwMb4eoHmXY2kJbr36lD6iPYoEW3sU3OvpuFOk7W1f21bCPOHnRv+I91I8JoiMEoOZEfPLW/20gg3XLAn1P+zZ446aChNeiTPTmiS+gKDInGYTwRKboXApmAntcqxubEuBEnv+Lgk5qqK4yDnwVMBpZU2AXH0UmR1jRnOTXMvH5rB6gNdxD+e5F9/2g0gNH+PD7D4d2b8gYsaxJXHH/Y80PJuEuU1TZ0WBjyzZexCtTvRJCX/cEGZRk4MAwD7+whbSzJoyuDB9d6McODroiHv5P7IbYdjZwZvEPVemET9b6lQfTt4nYd88IMkFo5VULFJVGXlMofkPorkcTTjfUQohxjrp6MvkEzkHj36DUf47WbmGqxDXLGVF5Ln/WqBRX/0tRxKk8/yLSY36ER/eDYdGWy7G2a6LxGpa4jiJpsgtI1TyTCvD22p+nzj9BgOcvKCvq5UbIxowWRKU0sCICX0Uo0GocJ18YblnpHvkolGx0q4Q9FvLfvlqE0YKzEDOqURF//gKwKIW3tkCS5ASuiwmL7ANvJcUpKeWgyse+IMhyT/777Fl7OLiEBgIIMFAwSUVMH8//q2lIOWbFrLfCGRv6DAZGzgTclCgzByNMPiBXyViHcCCXclBHEBUuS6Sh3OJeKv9Zqfpf71n7+jaYb1moebLEHFE9TZpTnxw7E2359pkRjfoO08wmbFlrIdo3WldDe15aG+RHNuNI10OQ1Eu7xdLTQjxdVl1WPUB2ZDhumF7u5ujOv0dKAJNlYgyha7910B9RDUWmlk4XApEHBsOmSnVx5MrxgpAnnJkFgaRjjUqBMlCMfdNYlZ9ZLAtP4Q4QlMLICGDPuvcCion2xNGs55F/maT4BEuayyrtarStfM2iO+OroJaixXoJKYd+RGPfedGDgYwD5+tf44ywUBZ798dyqM1bMPxKz94nb7G36fqKHvN6dvIotkO+vVRZAOpU1NnaXsE2XHOs0BNBlK5Pnhqn/rINzxGwX+I4jiVvnssQKyRyXMMlmBe/DymsNGpkWYwN6XH0HwBmoBpQo/u/F7N4YzdXHi4eyE5mBnTxKyS4Ur1BEXb5xyUjU2ou8F2oMoWlm3P57JulrkQfahTiEnppOW2N40FJR8zuy/zEe4H5WU+mzvx5sOXOTcEDo/xRd+wt8KGp1jflbYIBrLGHFRX6bjp3M1OphCVANjcNyewSM8QI5bO7v/GpPhE1df6zG6Idw9BzTSEMt7Wxtxe1WLMSvqeuVTgAJxrpEmELSH7I10Wzdv38jhFPcB5Xvp77e5Ra2KOPIMXVnxCg+nZx+b7JsP79ZRacqqmLLa0xptj6zu3IYKc75sdbUS7komgDMvFAvK1I/mDHly6DmwvhLcJhHMpg1tO/PqYRIA1Od/ZyJjCGGCneKSCQioGIPL0W9ae6nKf65FPSF+FvAfQoRXWjE3c23zlxqTU5fHD7MKRfTGB1BPDUu3FPe5vWkV/JUBn4rHEn/QafHcwk4r3AklnUCUGcHgVAyahSX2w3RPW45LxVEWmWi69EXQj/5MnFizuUrShhiUPAGKoquot4uIZg554um+93dUPNhheaKFST9xEpCiPKdAatOfxBzmupBRAGuDLCcyCrq1nM04K365NJo6xOEG5KB70yq05O3H9CC5f0/oCAta2IuHY8xlq34S/Tkz7Im3T57g/MbIJmfRDaitwnkfyz1dXim9HofBd+jm2BDytWWdbz3Px1Rr+0ImkRItYhZlxm+tLoHIa6yxJUEcYRwvKlWewBK5ImXAzQR7CwBZgGcvXdAdlJ1DHtQMougYDr9KcemZ83+jBQecEa3IofDyr2pe6D/5v4bvlR5+SHW+KRKiCTO3EYXdBo2/7ab+q5ppAjHYF6eXjr8moSblukn5lQMY+/VcwB6/oYK8nKrD///BVelhJiLXeARW/Nis8oBnpQMyKc0OSHRr4R9+VTLKKNQyTDp2l0iBhgwGwvjC/kPKFpRPTmZGhN4YP1IAGpCvjPPBQJwyURCie4DyRrmYMgn0rzpRgVdhFjMnvpH7kTzI5YedtfZYxsy1SOouOW+K+FHn9pxCFgCEp2OcWQOzajOFuXN/4WXxZFzV+IjHvrB9Vzr9BBetM5X6MEAaeYcV2w89jZL512IO+na31Q2n8hqYddqp/A2QnQ24B0UxrqH/yjnoB6Kaw9uHYgThZ57OnkHWc6rnnqmnOyCq446YkbdhHNXRxV6/UCWDz4Vl3g1XvqBXaJgzsgWiO+RiPYQnyhUCW8L3HWeNEtFU6kxdyUEGlr6DrzE+MPhC06NJLLcFv7D97yHiStPjPnB/pIXustjoswzOCsiowLU699Exnp+0mz9wVEf8JsrR320uQZl7J5J8SyHCq35wiFbYe8nmmav2AJGbXgwEN0LZjl3/Fk0v1oMbmowm7Ps6R90PTZ4oP13QbAfZvLhqvNEo1/MV8bsNjZQzgZUAPiFfeoUkzcTSwwMkb5nYG7v4LRJnhxiKF2fankDkK2nHv+KGOaQxgdX9EkvIr40341X+ikyEXGqMVao6rblojYOCjlVj6VFFJ7l+g8bciHEew2x5DUpciPIMn+nloNwZqpPMPzjbNkkIxxj+sGXTCBpoRdp1ThFOtHgaD0Ke49OdfrtFDHt7LvEyavq8/s4smi82mwDzoA1RPLHwwg6br2wMQI6RyviztEST0SjBk9E2jKHNDlJ0f+a59IIbX6WOoATy1j/SbYRc2WepfaAbE4m1+7b3A341an3xUFtW5oMq3VUGvbKyR4WqhVpuAKwgGtUzfHM7BBt2YykLRiY+JtQXCTWt0EC0/OKDBODa+axF1f+fWzknxN6hBUA2VC1XGoJ7L2GKyxvqfEP+N9mXxEm6cow60KL2B/lShfom06cCUhdxQVyeKiXdLtGyH9eLRD/VpMj3epXMveBjNzpejetx/c6KB6DYzIRSAXzhvZfw6iOxR3JaOSSgzGXVECTIltanKu9QNYVhOuWh47vkOVolR7HP5YiBFobOiA1XyUnjwdNSLbZxvbqU7NzUDU47+Z+oiVba3vLOQoxiQ9UR/KSQy3Q9kWa3Gw21AjMTSgji5stXu55cQ0G+dG/6amrGSDJhhi7zzh2yI9iCl/FiIAaDWrZhC8YLPu4uvCMMl6TFlAgytbSgGkaBofgdtgergj309fPAJ/po6MMKJHKHhcrAenNAUjjOz7zj3hZKge9xGiMIeTLAXE+LCj1ltB/9HvOhIxSC42ziUX6XYv/ECNnHzpPV4PExZmfdYWqkDqMGnB0Kb/uVwOGO8AJTxm0sSGaHJXdVWhX+BO5qh+oj18rRa8HipyA+xRivLidvFTfFcLdZDXXdNIz+XBLKRPRI3LuzHEG+twJ8PQSNaOEh71S1NjPWigcZfTLyrjPlAWWgHdlDcRKiDe8WeiaGy00jW4PfqipLaoamexEpJIpKU3md6G7WMCEpIhkKDBZt3TKpAiuGzZLhFbDJuGSIai9HdmjNN0P2QqQq7Ho9cA4O8X+FKms4LQwa6fpDTm/ptRZeuPB/aWtOnqlHYxPCk+mtr6C4TVKVQiXbDzlNtfW9jgKqbt0qwJ9muVXS3vSqBmu90f2NnsK2LqAuOmg2JJnLwT+ab0RazB+nEvBS2ZeiUktPhUr7Y3BppCvlhw+00W8Nyt5pF7Sll6/AK3hm5wgi2mupygFFLgZBi/d5EVM5E1rXhggPpK76R900piPlCp2A4rUs+DQHuKGyQd4QUNcU6beRt3z6euuCkEqYTgch2RRQnNEK+XSraLa2fWoOmXc6AvqRLD8UwDrpfIos4p+pWTrcXpoDocDDOtDu/NU49nwzZ/l0l2ddFpa5ndkd/cO4tdD6A+C9PcPXBJ/xGUhEdaHL8sUIuGALla6AKIkPrOkUj3liZ4hpfWf6W9R3Jkjj0rBdVmkrnyl53KhIfIKjzw+UxH8mgfmjlRytY8AimVJ9CFYlWv8fke+80LQlwHl1L0f0x/zOASMTrFbnW//73z6aG44ep2ec9YeAW3sE6+nVV6QPtSA1ca3yfm+3RRTyChkCAn22e4gRku5CsN+V44fnbeamOG3+hKtiHERwjiSyae7fvJDH+wtBz038o/tqOpdeawrNdqBrG1EJHFVGrH/wzdVQV942HDPGnZrmn/dh0V7pTouL/zPa/YGRY9/9qQexO4clrbYyODrQgDJ39G2HXAhVhObqcpAV8jYEzsTYZdCL9jSLOXa/6WFAAM+jlMEpDJPtF8APkEYIuUTSUGT7nckuouUybzQKWpEZkNSE45TOTLyoD4vl2/Kt1obsxjOIXZAfbal0imUNz06VuImrbJmUO3cw0SZs6yfsRm/FJ4cYNOT9ljTb/MCYS6WVEH9lxICjthOD8ctp8mN0EmA87b5tOVGHKjfp9jBDr1E+fzdwNbEEOh3lE94m63Za1t2/24ZLo6s5/Fblw13p/KTgQAiMYhFTFAZp7wlaM9hAh/ZPmPapDizfpHNiVt/BXwuLJyisL6cm+nBk81CZyfwSqpZhH0agovWdKbtF4LoFjnK0vM7xuTGjIQVyKk47nNpqFl4ckIWNFgPhVEj0deOxQcsBYcN5clHLAPaGG60suSMh5E6e3Fp4ppwTuDbGvhbgaGwsBjLtQa5fcRR2Zzcg3mRRiGjTQLWh445vc9JZ31WhV6NPNPMXWeq+vboq9A8zKuxuLXKrxUd7mty33gCZ7yfJ2Jr6O3niGxIaTweQn34FCeZ2D4CSZWaq8UyBIUcuBXbQwCGMJjFWXDQm9qzEv32Fp4pBKVdY5mKUERFt2pnNFjqEEPHPyoj+w2u2ufy2RLuIvrj7vl0OGHBSXk0G0D1nKredIR1/1TQe59N05ZRvTwcbV2lFL98tMZO9J0QcQ2o7RCu5hruqk/kxBzhLCTcbPTznf2QF/wsRWShIuEVvUNCA77ULgZFGOUODUxxwvUxPZBkLCyCZQBMI1E9xjErDCKUQHFwxY9Hsf4/fzNaVXbaVJV433+1e1qtgqKz/8wXjX++7l3yxKOOfaTX3h/iriWJjb0k7X8oqfTA832i8Vg0tVtSBanLIQO33/j5lvYZp+1Kgfbrv7a6PWItR5piYiIvhggUZev2/0CAqYMOrVfW1g1xu3riNG67hzuOfGMbadLQnQFy3TzbUV17Qk/56EBGKGSsI8mHx0BuOWckgZ6riR50OKg67qPKGasB88HGdhLCktLr31zcpS2ZkCcurVRL1RhL/aDIqXOKWXXQ0fH1T92Jkb0eTbGg3j+WEvf8agYc6IaFUw9ZpftDm1urJ/lmnK1scJXwaKkZWl8TAMjjmZQgNMoWhvVQL6gtrZrJq6vSFFXCaR053Rjy4HFUXlQxosYDNXnqHnBnae/Q/U/NNlECGkXDEokFNnL6ZIMVGjvvSDKKNPnwuBDdjdD4nGBtqNUKkFrxRKfqy+Q9rRA/FqgPPMw/MsrjwzMDVm4HwWYhmqoknMDFz+ZfW9eRQAOm0wXNHwAswFPM6i7rOukP4HipC7Azwmx0/davZCLf2dLOVpJGxSTyjqbLk2niP3KPXw8vu9SXqvCi5TCCTYGRJz6pABLF4qdM/do56LemVPfknj88msgKDvmjXUu9E8KLEQTFIhEbrhLVCPFxR0tRNmPI84kRe437NMyFB14nO6ZvmRM4wBOy3pgHB5tDAnin3yGQ3EqemHmsPNGMUdKcbUCk25R0qEY//W6SULz4FN1VCiVlKqZ7GMMVIbbaVws7Jj6RKU0xeC4/Oe/vxUFT+DUjjpRaPx3nII4T0chpCOhdD8wFBbvzr+49XXyzuEAWCI0b19vxcS1J79AKK7CJUWEVXL0ZlZd9zBH/zUvUXU2O/0GnfggkbDmTy0Ta9mtCxlC/3aOBeGX5gFevzmaeUcgwHgjh7wG51ntjoBllzsdGCfmakOlED5t8gTQ7454RqIh/la3GOA2t8NdOSCPGhQIDapB0V2vKBqhfMoMZNelcTWZsTGx6zNgdqY88PXodIljwRGCEuFgbdVz53wPmP7KnJO2FlhVlslavaVks5F4uSFLkHUrg9p4NN2I4wkUCdgcd4xN1asLFjKLkf2f0fhs+ptkAh3v4cBAzjGRuQb/9u2CreVc2fvwnHiaCSJZZIJzduOROQzHyxOaN/4nkMkeb49MfkWEi4s5Gtn0FSMj3POEG1cSfFnAwifuLf1mMAZ37T5ONPjOIQV7HGx1et4bEQCrKb/JzFt9p/v0VJy1AxsxOUQFAbY1Kd90IWIv2B/7Ha7t/zRN4ruYhUS7M0E9bDvEv7kJ1hevfanuJqmsuplmMv14H61JCQDjqacf9hIEbW83BX7Tq71cIdbvooclu6YM0lxkwapX57BZoLpKIHUMtQ4wNvV7MSJ1qzZLilwE20w8xJmAhpP5oBSk5xFqQIQls1FcK3NjqhaXWnJX7i8ro3GE8JbLcHBWPGjDkRSlJG24RBAOwaEBwn9ZFrM9/+5+klCM99myFSzfI53XxFZeLlBFUtDISq6UWzBT8Vo4zXp2w+HZ71ZWFUdb1OzsuMXqMmPjSPG+VySiJR7w17AdGbp2D6nzogtoYXgn7A7v6xTUw3VdYl+Ys4IKQ7j0wciHklGTHQlxz1Th5zTkmOWKZZuQTJGBnGgYK0sUPtum0nCfG+4hucQ7P1CCixCsJLB+fFXqgVZrXglqYEuOyxx5YzUEYn2pyXSc2uwJuPGhJFgDjymvVCXqyx/24UVZ67M5C6c+sStXG+Q4N+AJtUzUUx4KuY9ovM61dEoM/R9GycyjveKGJXMVOFAZvrcyRJa3EGWjTzJHSWNhHiY3uP2yZT3WPTBrIsx4PDvP3iZYTB/kOE4WtHewWA+BHuBOqP3Xyg50orWCdsyrTBsISdnNFcXnpQQYVsS0ZKdD7uHg+2BAIWUJTg182uipxEXwARmwF2o//mtrz8D6zyeMiLewkz0S4TDE3kZaujoEMLWrHCuGMtL43wPullsohORlgBV96KmDZlpqyquVflo37YZDcIK01biFPVH8bfpkAbsnAh/Xb2BvKlgLUjXnTU92i4EIb+HNQdNpd1I4Rj+CfRRiE3fLEMceS8Y/habghtDjJeZOcVrmxQ69GqGYspR75a75fZUUeKi/DSUpyDtDD5ePm95MVAH6lk3xgvyFfsmth1jEWIr6k1Y+T0qTelNpLTHnbZ6qQamRmQiFczqGAugqAi2RjT4fSfLS1MwJMGqSqIg4diwvSRJ1JPxpjoYjSaZnlqVNP/f6hvVBFCVuF1RKjUIZLmCCMFlVYlx5QkjdOyybegha1tfVUHGGodHtVU4HyjLDy0ZugvTlnZx00Mx4IO8HkWYo9H1flRFlV5UTRDJ0xpLlBU5IhdWoJegqeviT3zXPcVglyWn6k2jCd7tbSqgEaK30wDuPmKshUHjmH+d/U1vI6WZjpGd5N5zAvMhSn7jaSfoUcIXUIv3ocQhio7r0XQpe8Yh24u8GujmrMIc2pxIWhWo/wnLTXkY3GdMjN8fNXHes1L5dxLNpz1kqj6AZ1CUT0YMdpmyxHcCyP5ldt4I/rlZR39IPR1EhqvDq8z22SpO1D3e2o2OObnQN9utd2XyXrkwJKhC39m/P0f/+Q70uG9MoITG/bQlX6kYYeZ7CjdszjF7i9G/b0SZ6Uv9Smt1mymcnOCQS6No55BPn0phKMIv5WXH51jN6M/WajWfJSb6hGGfwSyLEC1xGV8DkYrbXNU6+bCrJGn9ecbvDnGw+X0+T8Kto9pGKzTJ+/5yWQtVUGGFbrgofuxqm6h5L80SmNen4HZyqIw4EDAQ+QG1z60TPV2mlMiKXko4vPCF+Na1qVeRLz6Zncrjl07+JL0MEv4aRwufuBL+yhJsFE+n/5K9g7GwXnWErjQUdhPtpoOb8aHdcHvZcMVu+iPorr0rqKHLnAgtlMyCeMFe34xR0lzGi/40zL84oZeRUyPqFLLA1npdTU4SIV42zyO3u6+YIalab6qL+djVxYtgZadKTCN8uk84suEHABF2u1qG4d3Q0G1DhHo6vMxQKz9puMV6ML97E2a1PIhxQeSTZvA7+UoRt/AZgERjQc/Jkmm8KE06h/w/ZzeUZZUoAn+XWgQZfHKRgwS8pW5rnEw1tCz+sRQvgw3LjLPxxkw4sPRPTCU8usKgDSywVEWRtoSOVJjZ3BkNch9TfZyOEGb/7566yrQZv5WVPUEOLdIMni4z2E+WrF7YSZA+o4HyQXaVqg7lsXrOx4azlc03pdBhbMMmnrZV0w2A/yBllBTyXWrOKEngI83g29Nj8eUEBKug36LWYGrmojqMfS7Q8nej3K2XlX59RC/3Jllc4KVPC4ZIajkccDzaEBm66Jf/9uhYpeFYPu1BR74TLDALcXANBp9SaxnOPOGO0wAAjduUXtemACmtVvzWsF4vjyXcvTalqptgssxwnJJA6+At25Skpw17kJTDOBWuqqpf+hX5pCjf1/Xn3S1UUYTvWOg5JOU05LHzToQOU1I389cfE/DNu8p+TsGSj0zu9U1us4pa8HeiVZtSTe13i0MSg92IvX9A0W4cwZhZk/Ux7oOKcVVtEKS/gWQTzzwtBRl/g9d6r48r8AUQ7g3GxKhLwlh9SBQS8gPgv4fFGVSfKu+l3Qj0kisvfmg0sT+rT/6e+0nDOuurwA5iBNMwpJ6O2tn5ZxnyKTqiG4ldD1JmpJz0fEvuG14qCnbz1qIRVsPaWHdeY1aaKnSWHZmraIqfGriTbX2tbQQDWgKi2lDT+SSwmd/pIYmvLbYVAcbsxjO6PxjjfySAgK8SEjESduy6qntS5ojRnuiMre5eoqtgxCpMlndT9thrIxt6rNWmOXeYlHq0UtpLX7RzjfyTYW4mg1byAVtgrzyzq6FC96SFLQtDA45xqEEZMhRrJUCitW2Nbe+P8ON7t7PbqyOnw/vsti5ngRJFJeeIIe1KwzHgc69CG1oCHsO4AnSmf1tp1l5kQr+8K4PjWLCbkC4jZwojhresSu9Tce9VtctHqK99bpdLqyyD8/pXiD6mYaVziKRcZ20qRK5DzBR+PGZePw0RMADrqPxbCPckKYoNRwgOH6YdPlh5+ZZGgJAU4g4JEYKjS61AlJXYn7kJ7HeQk/+mXeI5KYKR1+j0Y5lzDrVgutx6NtIPpam+3VY27F+xbeFudQcsWPHO3g7jzvWGFUkiKk4NukUMmBnNnFMVomoF6C9s18Y9ozw/5C5Eqbp3sZ/FHljfhPMI3N0d4Z4Fd0kqlalGAKHcHpDM7wolCMjspdHkIDYrrYMUpEWrar40rqlZWwXUuvFEO6/z42XUzAmNK2xk6w/yc9jJItjSlMYJ4nQ3R7UMgM5GdjD690bYHIfPB5DaxFRl21g4yLmQyfTwZZRreEGGQGTwqtDDQ/D24kapZFZDEAfeLXAPBo7c1Ka95Da37WfHmCCpwmKHVxhPdT+4OmK34tdwNP3rtuZVF2ckPmd1E1BymZT0xrGrW10TMoScN5ToMAh9E3Jc5/pkU+xz+76OsVwBYV0RdzLZZ08D2NXAol25HU9c+zS7QuHq3+1aBQ4gyVrK+5xfLBUmBvC4Rey6Q4QxAAQdbq7bGW1eV+HgQL1ZhNnB3CV01VouIoHOkZq25altDZLAxhJhS5AhI7u2MpsrbbfC2+NwaQdcYyc0LjUyGyUIg/0tZsngDBs04e0ZHABn1RpydMLjVQPybu5lrPooIIhWYfhDsB1LUovpqs8W4GtwSyuq7ZxX6j69w2cVPSBz7VbPjr4Q9jdP0GoXDf09CFSYGkErNUUcM62r3JFG8fZxp895QBi1LPjuzo5uyKeh/HJgd3HQeb66IGkHbiJ299Yh3ohiDL8zvfuUD0S2/AcrGNjKUGmWF/2l4AqXRZT0HKeE44NTfflktkJQ7dIT/uILurfLhOdH8bf9qBHCVVnbTYVj89sDAnoKX+jjh5Q0KAOXDvl6shHMnVV4uZERuqJ3sicDRg9729l6Y7CD52FDj5/+uo9iKmPXMHPE/lUkHAX2uITC3L1lCGsR0AUxy/F6Nk4MGL084467tsb9q0Rxciw+69TLiR1b4anjHh3FnvWGEJdEHhtkkcNXsU37Kn//Tpd3gLszCEsREa1v6wAeQZlct8zzUIvHAOz/BOMGNgQa0E14bYnYfJrRutTS2E0X+YvlCk5fk4x20aUrugWXIO6mVe38JxggdJ/cmvvHHx+P4xuRAh9xX5sqxmHLI4RJjf4YN11ooJM/n8c2R3QGBprV6rAqq/fNZWUGXJEEne85T/kGvm8EhiOzvMOZVOliNuzxnBM1jbIMJIAhe6/Xbwqfd/sTv9lMvM3Wm+MM+bpeVt8FWX2krl9s4RmEhtUL7XPyPLfGkeap5I5aCDMvXpWQuyBZpzMbZeOWW+8WHmqoCgatSVR9A9Tyd+lsLs1USiJ/R0AVsLEkkvd+mt/2Mm9AyzBUVHPYN+ncfIMmhKgtOzIvJ5oGfCUXMj5sYPYZ23jO4JNU3e893gfrvcnMHbtdY1OrR8npZtfQNaEQp7m2p03OQioHtrYi34cpRFbU7+Ue0hcUqLlhVVccA3hv31Ecd+WZvP9THAi0UsnVs3OVFx2NeErHXse1dwiV6dFbXPXCl6gA9E4K+UGiM3JORn2gLRrvUp3eeOsp7DuV3cJiu4qFCkDB5yZQSSO450IIxJgmSCDSnLu4nd3IBDkyReMYhGDsj9Hb28wcEpqv6MQgJMXbufX8gEU0SM1tUYD0PbppTDarWA5KSJ/FphuTllIEdYtO7cAfWSjd/2yPbes3h//HGaiAVlJ2+5Yb9kZI44VGVzgxJUPYc8JZt0Uk+XoAqz3A2e80zn9UmrVtkR8D70s3P8F0kXg/BriQ7CKF4yt6JZGEIJWNg7O3AqA2JIxGu+xhKxkvxbr5OJziz0+0WsGiAP4r3bU8fWnLBVkLvf97PRMD9n/z5HBCcA41+htA7K2CaEgRBgbno+Vjj+7ZN0UlMgwDVUWkPfS8Uf5uGAJS0QEO2N1Ni4qQKgVsot9Hz/tPp9brkpTfF1JtepO1BKEo7JIybWDUoIVaw8H2DYp3ociEh7rfWA2Uev71Og5z0W5S2FISWGDeVqj/GzEs79Zx9RtpHNu+6XMJM44n/YjWHw4BRRQfNZ2uoOHb/Wd4WQZ0gZ0t9P5eLeCzf0MG1ComXcV1qW5S3s6m9/flTO3d99IXMBi/xOrTWgvqc0gu4d+T4/rK+/T+akKF00I6NM8giXJCCfmMT4+e4dZ2OKEx4+zP6HW1Vg5Rl4G4qxLqI2mX9hpsBSXGxg45iEz9mvXhYuBZ8yH7u7S3p3g9FLsh2+jBFGdO3H6yVl4yywwf9cgAw4bERV5neidVmxhArHnb17QLn4oqpUPAiM2Q4QDmoEFCmGqoepEaM8WpDNPyB6T165ZpI+ExzMEVtIF8fFvqaAquX/CVCOFxY7iB1yQ8Mhc267wU4kpp0Uq1QiTPOs9gb017aeAOEPVtDlhDt76aPHXQly5PzpA1wppy3Usvo5AKIv8lyEA9L9ZXkH27CaFLH2nMv0l2Ra8U9Dzc2CfR+QicZENU3eKHXur7I6mBraOSSLFD1/UWszmH1uRwkFTDyqtzoikO8v8Uv+4j8R1qnYaNhQgdxmWX00XgxLS7YENfRn81ltuu7RyVsbjDR8HaeN47CQSKUyHzHjP5WVKubzltpDdyLJ99xnd99CqeBwrtydLpudGhJUX5mPrhdxiNcol5LGuHBxz99p31QWau3VX79OtaLahm2nMIxGGGJEW5Dn+WvbiJcDveXXRqUgSTDc/MSx7thIS/XLrE1AdV2waqBA1tyL5WNiQsadM39aWe9AWdf7+/IICDi5m0kzWLtnpnPuUj8GDvgT5cyHs3HgCFeNAKV6/qY4B7joKQAS5DajTxeNjRZvemaBKyBHd/49fZUqXx6C4YlztFpGnniZ6IPLN73fH2xBMrs13KpiJhdApEKRs3axiq/8y9rPnsbTPct1a8wtv+M921uUwEyxFh2LbCus14H5XD5XBa+cijpXu5iporVpZku+GETSfsIXB3O1zfG4CFDVVne8SeKwrxv9B0AVsGVZ0N3asP5LT/sECpONHl1KS7hjRqcUYxc+EGIjr9m/JjeIwDrfF58gbID6aeqRgjxxjcMO5luAdY8CgZZBlbcRz8RZEUDtiyPkVafh0ntjKeJffyAVrtmM1MLLEEZjK+1ympdPbgdqxAKMuVd+yhaD1gfvGc7uAMWWR4ifabj5bR8pLGIfRP7gffFTahf3fWVC65XjARSEAXVjr8Yy5iw2nfZaEPdCKwVdNeTztkYxMcgDOS2WK0CRUzId9X2qs+vXfUzu19297Y9wavBMNS6hpBs9VAF5e2SXWKqOnnaqdIWRjYej+ly/E1Bm44L8906yXV7w1mf2uNMJzpLlE2RhvaNOGqYaRQv/V0SWKasalz5fMer6UzdPa6uqcxUA7MfYgkljj/QdIydqNHhV/k/8lhoMWdMt0HB3wu5ZTfiFqsqUKDwps2Zdt3vGQ+q7JnqGNosphjxEk7Ioj9rT3o2NwTJC/Itbw0ZNuTceMOGXG8gQGbYGGXJ/YNuS9BagVP39yGMzpa4chmue0ouiXunwSLFu/5gmZSHq+Nglxt3nCOkdgeB18zKtrWDL3XwJEv47zGlem+WynUR5W18Lz3bOppJ83gmta6clA/bLHkn35oC3x9+8RoTVIA71H/Orp0jDAHj5jcd/JpB3H/N815BQfiCNG58bUo06u2H3I6+JjdkbNefAExtvLcKcyKzOAG+yHUH2rkUmbtBCkko+d0q5qRRUDLYESScBLLIyLTVApaCxif1mOH2KMVCPQo/e9BCkpjWDRQ1Sxf4S6me3RiS2TcTCr8qXnNRbIzculyvstEUDXkaBJ6SOcQXQ4uheZ3ZFojZlqsV4S+gYXzV5BLrHjn+QOKFJgyLcd/11uhV0F95oSKE3R8NoIJZJjG75q+SmP2FETNNyx06mzYoOivGNVDoC1DX6dPX0e4jovVZrOSmP7NOFF8z4jqcc/SJlTnCzgmLVfmTnzJpnb2/NKeAuKIuuKwhWR/kpKgF6GH2vKmpjwV7BBt576Av28JqsRYsahfXrFSyrIbxrTWmRnHTUCGGExzu1DzH2479djwJTCY9NN9TrYknrSP9c108WjN3YKOSx79ztOfzNsYKoEelZUS4d1og0w2t91Kx9qNZJNqZl9/xbkFxL78Gkgv2Toy3w/L2UR9SS12xzl4QDWfXGVvkE7sKy1DCC9RFBdwR2P4WHbJ8A7asp4ejEptVjmhc7FBISDmUKu6kaE19SK0I7l8uEk1j8hQ6Siq/iMtHaCJrBJQUi28mZpd9DBm8Tm2IjPS949rqR1a3NSQf2sG6PLdTI5NHUD81vuSmZWOCV5EWD8feo9/bJdihJVXOxV8BpjHSBbMDXVt7k713qK4I53X54pNl7wTO01e678VOejqgXm8ek1bx4K5NbOnFepjGIWEf0JacA/o3t9JImfEWr7LzeKil1IEDbXJR2+IGSR45qh3YBuDkfozYJVCWkxFuUSvWweeFRa2mjl9EhrfYx2PFL5v24nmuy3w6NSqHLxEK/V2loOGZaap+KuLy6Bt0andfRgAW/M1VgZeZpIiL7NJH8QLFtVIlusej//mWChZHP3Wccwofgqvy5QmEtIKlFWh0/dvAyjZtpTHVuj8guU8WrvwWR1LQyAIPtldyY/SPKBCGg9XZDGtwWpVb62MvG9BAHUSs++k4gzfxtjw1vmxy9TtKwlBKP9MJtOljxCD7HJovI64GErAmyQD9aEJ1T1hZQEZL2IfmROPD6Y1FAI2DbHqAJLOXHenLYkAO424T+d4GqHuJqYVXZtmuHgO2x4LsdwAQ+l0eCkyUTa3hCIcnVKuB4TcnAECq6JJABT79occCkgyKXVgS5pgPR2Pve0e8YxoF2CdcMdURPf5u+F9wYOYyasAtBCU6MVYg6iugvFo4GkA1dM574RsiQpZ73mhJ6yt7YMFjo9NeglkEcfK0V7Rk++k5N1QxHaKrTZ4dpSPb/R8+Rw/JhDyapJlrF2+k6PC83SKYbH32Iy8+duHwZ99CHyHY5sEEy+e8R2jfcOeDg14xnjxrjqdiPQSqlfAf52LPfG9PVlgm+BI/Hf3LDOG81/NMpO6XuSZqt/bKNebF+TspkmmO2tD1gR3ohVyZn640I+PCQ3hHxwdMuEgBf//u3crznao6dtv6UbchN8BYWqo8GHHsuzB535kgBs/Fan/w6KGZKIExkURG9QJo0oozV9r0NsBNx3ysauKycmKb1ZsgpClbg0z8nxdc0uWkLC8yAee/mNJmRYOEDpmhJMEYTkGb8NQNtMJJPanOQezKqweZjaI4E04q9SQusb0WRXWyPC+0nLKCpARvyLfzq5GIBoKkss9GJAIHKmXHS1pi0hJxSPGco/lFEH9akneUoV7xFGyF8TfBcNbzW0HYZNKx9nD4wJeZJ4BMNl3f3moo7xVg5Uoxtpy3+1tZWUiMhVzlShp5Fqr+Z649y6lJRfGcDkcuQ6TT6SblNhTvpC95RS+6Z5CjkzVUrdVsU1nGT7N8AkVzveuL1ZrHY8zu12kIUQVegKa0Saw1pb9OjotTzSPcy5OFb/0X/ZvwK0oate+ZoJAMDm/W8zHwsiBA9Dumwv6E0PbFnbxRzHQmHGTz9xNQBXzkvTTCy0TA7ogsiwN3BBffcg7JtAcLQCjDk6BlX9cHG2Pf3tZtfZfS9OIImLvEAws+qwGDmjBd3rJMXVK068rQaz2s3iro7hb2XYM/oueGLUE/6VGT/t244wld9Mu8KkCvx7VrMaKX81h9g697pLSRsJ35Pe/PA2+RITKmiXejeI8kLdksepp6Wk4piQshGxi+aLZZfJAc7I8rfn2LZqKenZcgFECda99FKXu3Vf6fIi+k9Vp+72l0BMUjcBGjElx2pr13gyusMOBm8CmOTf5qhZjeLjquuaJJy+518Qd/t1i9mLHUU1EHTI1votA/511bU/EzURwNElURV+LyNC5R/NGayBBrmfMYUjFfoE+8Z+RSsWPel6MG7jKQV2+s7VAXAiv5SaX2nAHfHxvMh1aIsDfpaT1THp4G0eM5w/78F5Q66d6nFCuFlvCUOxpnB+WuMMWQbHgnljo4rf2Ty2ahjiRx90xLgTsKXPWXMTVdt2EHeUTFmUOOLTj78GiGAcfRqYGVt5Vncc2GYC3we9pjnVKOnQD+CuPOXG9jFiaba9xjm5J7xPwqFcEB/D4gncuJ6yMdeeeTUW9O71l7D8zrf8TPn5vvBbzdWbm80zdM3DbBTyZ/Mt3FsEebfX9L3UPqLFsKsPv86Kk7BpgSMI1oTQS0Phy23qsYWge/8Sud5lY91HULtDxs6Eb7WyrqJk+8Ngz263igxlNfi9GBEbwQPt5Xy9P8KL4Brugy/SN6RSDRlD/gaVu0STzVRDqSah3If7w0OMBG3JG2P6XWP01P+AgWdL0ZFvyAlve1JlawWS88Kzcu3/xp2mN5Z7w88zEbbdbF+hPzRyk9uzPYTV8yRRPr4P4SjO/DbRemeMmrxilQP97IneIIyqab9k10PnbMwY18cgSVFp3DlzvumEgln1zy75HIPWUeoh5ZltGGMXpYDvGtkp+drzXyjVMeQ2VrwHWJeeGximo319xiPZ6m4r5mBCXjY6d14gL8c+xAvhEPJutctxAjk9khRrLU1FrCKVIcoKkWHt6BeEvgrgr4U6q+Z4p6z0euhYqGfQsw2gwXrC508jkWQCJADoWp4uZO1sLvTbedupPZzZT3CmJj5CNLbwbWtengM+fFXcitujTJ40OcZ3TUjpIZUBvSkddVPufNYxjW12zOAzWvXSOP9xKxM8DQs+PQa9aR/WZ4UgEH0kiDqQ0W+bOF3kFHaV7m2Hf80YS23AN0iOl9pkVMLaYPExfYZBrLn92MA1UXvpKax1AVm0M7R50bSxYWv97NW5AsQ3j50SZgM0NrxdNTMMA85j4FdtOcJQNWNjGR6oi8WroKpx3xR2UcydlNhlKPYbBVM8XWHVK1kRhXJrPVwQ0x+x+8F1yS9E1MxL2drqE/eczQxFZ4yW21MQmAtyfm5Ek6zjZNI3CAK1bf3r/swJaESwhrdR+tQ8XYs0DvUXM6HJKj5w3XBeZbENwCQ6c5YNoNfQMqG/6YquufXP/CO87wHNmkDMG7+TkkuRhDZnmm7wTmbU41cmcGAEsWV0L8ysRo37dbsHEWZcGPVUtWulGfMm8NgUnb+SWt6Rb42zvj7/SDpMEzNfplmK1twvsDqhFL+KJ3qZjaM+JC5co5Ds7j8Ed5vcn0PAPRX0Gk32zeV/z8ToOUKJK+CFnjO8CNqKVvr1eVjXXfR7tUE+axjr0cER4OUoaMQzigCUmytfUPdKKoa/r/rNrqK14tCcvK9d2UHbGD3EInjLdOSQo5Hd9kPsBzyBx8HmhvHzrrgKll4HYmlCqK7g63zXqSve5ZyELqYJOmIB5oXTfOl4RmmlNkmE7at/1onHogkPMrpYqOS6j9uxi/pyebtr7n8kfUCvM0mT9SbPKW+6Wt55rojheP4qijSzEFr6RyNjaWyhORQEaYeTlsbZRXQDSWc35RcRycAbQlSMnZntKacFL3MqSalr6ngAZr1SvaXEZ8ZVNKwyaSJUUo3Jv6Sc7fKYy75mmXT5EHHKI8sLBTjZ/7D3x6/MRFNh85/6leWeJDXe9HScpACsCubCn2cToZrPUf0/Kq8PJW98Svm1PV4qN2NcRYnZwN9UwSxnzhz+/ehtGzoe2C/zsA4640JryQx1OAQMcSpda8wuejjU5Zs=" title="Mekko Graphics Chart">
            <a:extLst>
              <a:ext uri="{FF2B5EF4-FFF2-40B4-BE49-F238E27FC236}">
                <a16:creationId xmlns:a16="http://schemas.microsoft.com/office/drawing/2014/main" id="{AD6E87F6-488C-4C54-A9E7-883422DB212A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323569" y="1460886"/>
            <a:ext cx="10475265" cy="4550053"/>
          </a:xfrm>
          <a:prstGeom prst="rect">
            <a:avLst/>
          </a:prstGeom>
          <a:blipFill>
            <a:blip r:embed="rId12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/>
          <a:lstStyle/>
          <a:p>
            <a:pPr marL="0" indent="0" algn="ctr">
              <a:buNone/>
            </a:pPr>
            <a:endParaRPr lang="en-US" sz="1899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0"/>
            <a:ext cx="11604488" cy="876687"/>
          </a:xfrm>
        </p:spPr>
        <p:txBody>
          <a:bodyPr vert="horz"/>
          <a:lstStyle/>
          <a:p>
            <a:r>
              <a:rPr lang="en-US" b="1"/>
              <a:t>Traffic channels: </a:t>
            </a:r>
            <a:r>
              <a:rPr lang="en-US"/>
              <a:t>Similar mix across industry; Direct and Organic search driving more than 80% of the traffic; Social responsible for 5-10%</a:t>
            </a:r>
          </a:p>
        </p:txBody>
      </p: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870999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1_132334223706527884 columns_1_132334223706527884 6_1_132334225502619957 9_1_132334225898980258 16_1_132390894981357400 </a:t>
            </a:r>
          </a:p>
        </p:txBody>
      </p:sp>
      <p:sp>
        <p:nvSpPr>
          <p:cNvPr id="9" name="btfpNotesBox735198"/>
          <p:cNvSpPr txBox="1"/>
          <p:nvPr>
            <p:custDataLst>
              <p:tags r:id="rId4"/>
            </p:custDataLst>
          </p:nvPr>
        </p:nvSpPr>
        <p:spPr bwMode="gray">
          <a:xfrm>
            <a:off x="330200" y="6464154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Source: SimilarWeb</a:t>
            </a:r>
          </a:p>
        </p:txBody>
      </p:sp>
      <p:grpSp>
        <p:nvGrpSpPr>
          <p:cNvPr id="16" name="btfpStatusSticker443151"/>
          <p:cNvGrpSpPr/>
          <p:nvPr>
            <p:custDataLst>
              <p:tags r:id="rId5"/>
            </p:custDataLst>
          </p:nvPr>
        </p:nvGrpSpPr>
        <p:grpSpPr>
          <a:xfrm>
            <a:off x="10102664" y="955344"/>
            <a:ext cx="1759136" cy="235611"/>
            <a:chOff x="5455942" y="955344"/>
            <a:chExt cx="1759136" cy="235611"/>
          </a:xfrm>
        </p:grpSpPr>
        <p:sp>
          <p:nvSpPr>
            <p:cNvPr id="5" name="btfpStatusStickerText443151"/>
            <p:cNvSpPr txBox="1"/>
            <p:nvPr/>
          </p:nvSpPr>
          <p:spPr bwMode="gray">
            <a:xfrm>
              <a:off x="5455942" y="955344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ct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15" name="btfpStatusStickerLine443151"/>
            <p:cNvCxnSpPr/>
            <p:nvPr/>
          </p:nvCxnSpPr>
          <p:spPr bwMode="gray">
            <a:xfrm rot="720000" flipH="1">
              <a:off x="5455942" y="955344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8F8B977D-BECF-0EBB-FFAB-86CCEA44E771}"/>
              </a:ext>
            </a:extLst>
          </p:cNvPr>
          <p:cNvGrpSpPr/>
          <p:nvPr/>
        </p:nvGrpSpPr>
        <p:grpSpPr>
          <a:xfrm>
            <a:off x="10726224" y="2010535"/>
            <a:ext cx="1061822" cy="672132"/>
            <a:chOff x="8239482" y="2010535"/>
            <a:chExt cx="1061822" cy="672132"/>
          </a:xfrm>
        </p:grpSpPr>
        <p:sp>
          <p:nvSpPr>
            <p:cNvPr id="79" name="Right Brace 78">
              <a:extLst>
                <a:ext uri="{FF2B5EF4-FFF2-40B4-BE49-F238E27FC236}">
                  <a16:creationId xmlns:a16="http://schemas.microsoft.com/office/drawing/2014/main" id="{4C0A421D-8F35-40F1-98FD-4D3DCA1FF46E}"/>
                </a:ext>
              </a:extLst>
            </p:cNvPr>
            <p:cNvSpPr/>
            <p:nvPr/>
          </p:nvSpPr>
          <p:spPr bwMode="gray">
            <a:xfrm>
              <a:off x="8239482" y="2010535"/>
              <a:ext cx="75658" cy="672132"/>
            </a:xfrm>
            <a:prstGeom prst="rightBrac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rtlCol="0" anchor="ctr"/>
            <a:lstStyle/>
            <a:p>
              <a:pPr algn="ctr"/>
              <a:endParaRPr lang="en-US"/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28F87EA2-CBB7-417D-AC4F-A63FF6983CF7}"/>
                </a:ext>
              </a:extLst>
            </p:cNvPr>
            <p:cNvSpPr/>
            <p:nvPr/>
          </p:nvSpPr>
          <p:spPr bwMode="gray">
            <a:xfrm>
              <a:off x="8350129" y="2240116"/>
              <a:ext cx="951175" cy="22659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indent="0">
                <a:buNone/>
              </a:pPr>
              <a:r>
                <a:rPr lang="en-US" sz="1000" b="1">
                  <a:solidFill>
                    <a:srgbClr val="000000"/>
                  </a:solidFill>
                </a:rPr>
                <a:t>Owned Traffic</a:t>
              </a: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BD0B9F4F-DAAD-C047-9F56-FABD44D1CA49}"/>
              </a:ext>
            </a:extLst>
          </p:cNvPr>
          <p:cNvGrpSpPr/>
          <p:nvPr/>
        </p:nvGrpSpPr>
        <p:grpSpPr>
          <a:xfrm>
            <a:off x="10727167" y="3899264"/>
            <a:ext cx="1060879" cy="1140178"/>
            <a:chOff x="8240425" y="3767120"/>
            <a:chExt cx="1060879" cy="1272322"/>
          </a:xfrm>
        </p:grpSpPr>
        <p:sp>
          <p:nvSpPr>
            <p:cNvPr id="82" name="Right Brace 81">
              <a:extLst>
                <a:ext uri="{FF2B5EF4-FFF2-40B4-BE49-F238E27FC236}">
                  <a16:creationId xmlns:a16="http://schemas.microsoft.com/office/drawing/2014/main" id="{35A459E7-BFA7-4982-844B-DD5D475109EF}"/>
                </a:ext>
              </a:extLst>
            </p:cNvPr>
            <p:cNvSpPr/>
            <p:nvPr/>
          </p:nvSpPr>
          <p:spPr bwMode="gray">
            <a:xfrm>
              <a:off x="8240425" y="3767120"/>
              <a:ext cx="75658" cy="1272322"/>
            </a:xfrm>
            <a:prstGeom prst="rightBrac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rtlCol="0" anchor="ctr"/>
            <a:lstStyle/>
            <a:p>
              <a:pPr algn="ctr"/>
              <a:endParaRPr lang="en-US"/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E443538B-6283-4732-961D-14D9AF56C49F}"/>
                </a:ext>
              </a:extLst>
            </p:cNvPr>
            <p:cNvSpPr/>
            <p:nvPr/>
          </p:nvSpPr>
          <p:spPr bwMode="gray">
            <a:xfrm>
              <a:off x="8350129" y="4297141"/>
              <a:ext cx="951175" cy="22659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indent="0">
                <a:buNone/>
              </a:pPr>
              <a:r>
                <a:rPr lang="en-US" sz="1000" b="1">
                  <a:solidFill>
                    <a:srgbClr val="000000"/>
                  </a:solidFill>
                </a:rPr>
                <a:t>Earned Traffic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A418A0F6-B224-5C04-F6DA-AD89B66CB9EA}"/>
              </a:ext>
            </a:extLst>
          </p:cNvPr>
          <p:cNvGrpSpPr/>
          <p:nvPr/>
        </p:nvGrpSpPr>
        <p:grpSpPr>
          <a:xfrm>
            <a:off x="10723176" y="2919740"/>
            <a:ext cx="1064870" cy="742451"/>
            <a:chOff x="8236434" y="2919740"/>
            <a:chExt cx="1064870" cy="742451"/>
          </a:xfrm>
        </p:grpSpPr>
        <p:sp>
          <p:nvSpPr>
            <p:cNvPr id="86" name="Right Brace 85">
              <a:extLst>
                <a:ext uri="{FF2B5EF4-FFF2-40B4-BE49-F238E27FC236}">
                  <a16:creationId xmlns:a16="http://schemas.microsoft.com/office/drawing/2014/main" id="{3CE833A4-24F7-4230-B362-A6E57439FAE3}"/>
                </a:ext>
              </a:extLst>
            </p:cNvPr>
            <p:cNvSpPr/>
            <p:nvPr/>
          </p:nvSpPr>
          <p:spPr bwMode="gray">
            <a:xfrm>
              <a:off x="8236434" y="2919740"/>
              <a:ext cx="75658" cy="742451"/>
            </a:xfrm>
            <a:prstGeom prst="rightBrac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rtlCol="0" anchor="ctr"/>
            <a:lstStyle/>
            <a:p>
              <a:pPr algn="ctr"/>
              <a:endParaRPr lang="en-US"/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87385A0D-E528-73E9-E286-6789C6F473EE}"/>
                </a:ext>
              </a:extLst>
            </p:cNvPr>
            <p:cNvSpPr/>
            <p:nvPr/>
          </p:nvSpPr>
          <p:spPr bwMode="gray">
            <a:xfrm>
              <a:off x="8350129" y="3182514"/>
              <a:ext cx="951175" cy="22659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indent="0">
                <a:buNone/>
              </a:pPr>
              <a:r>
                <a:rPr lang="en-US" sz="1000" b="1">
                  <a:solidFill>
                    <a:srgbClr val="000000"/>
                  </a:solidFill>
                </a:rPr>
                <a:t>Paid Traffic</a:t>
              </a:r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EDB6815B-105B-A9C3-67EC-F56454916E16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 rot="16200000">
            <a:off x="1287491" y="1437564"/>
            <a:ext cx="4275534" cy="4871218"/>
          </a:xfrm>
          <a:prstGeom prst="rect">
            <a:avLst/>
          </a:prstGeom>
          <a:noFill/>
          <a:ln w="1905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grpSp>
        <p:nvGrpSpPr>
          <p:cNvPr id="27" name="btfpRunningAgenda2Level378849">
            <a:extLst>
              <a:ext uri="{FF2B5EF4-FFF2-40B4-BE49-F238E27FC236}">
                <a16:creationId xmlns:a16="http://schemas.microsoft.com/office/drawing/2014/main" id="{FC2BC76F-9B6B-470A-C907-91B4DBDE9873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0" y="944429"/>
            <a:ext cx="4297901" cy="257442"/>
            <a:chOff x="0" y="876300"/>
            <a:chExt cx="4297901" cy="257442"/>
          </a:xfrm>
        </p:grpSpPr>
        <p:sp>
          <p:nvSpPr>
            <p:cNvPr id="28" name="btfpRunningAgenda2LevelBarLeft378849">
              <a:extLst>
                <a:ext uri="{FF2B5EF4-FFF2-40B4-BE49-F238E27FC236}">
                  <a16:creationId xmlns:a16="http://schemas.microsoft.com/office/drawing/2014/main" id="{495AEA55-B3E9-057B-0A7C-FC0677D20EBF}"/>
                </a:ext>
              </a:extLst>
            </p:cNvPr>
            <p:cNvSpPr/>
            <p:nvPr/>
          </p:nvSpPr>
          <p:spPr bwMode="gray">
            <a:xfrm>
              <a:off x="0" y="876300"/>
              <a:ext cx="2486478" cy="257442"/>
            </a:xfrm>
            <a:custGeom>
              <a:avLst/>
              <a:gdLst>
                <a:gd name="connsiteX0" fmla="*/ 93477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34771 w 1816204"/>
                <a:gd name="connsiteY0" fmla="*/ 0 h 257442"/>
                <a:gd name="connsiteX1" fmla="*/ 88005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34771 w 934771"/>
                <a:gd name="connsiteY0" fmla="*/ 0 h 257442"/>
                <a:gd name="connsiteX1" fmla="*/ 880051 w 934771"/>
                <a:gd name="connsiteY1" fmla="*/ 257442 h 257442"/>
                <a:gd name="connsiteX2" fmla="*/ 1 w 934771"/>
                <a:gd name="connsiteY2" fmla="*/ 257442 h 257442"/>
                <a:gd name="connsiteX3" fmla="*/ 0 w 934771"/>
                <a:gd name="connsiteY3" fmla="*/ 257442 h 257442"/>
                <a:gd name="connsiteX0" fmla="*/ 934770 w 934770"/>
                <a:gd name="connsiteY0" fmla="*/ 0 h 257442"/>
                <a:gd name="connsiteX1" fmla="*/ 880050 w 934770"/>
                <a:gd name="connsiteY1" fmla="*/ 257442 h 257442"/>
                <a:gd name="connsiteX2" fmla="*/ 0 w 934770"/>
                <a:gd name="connsiteY2" fmla="*/ 257442 h 257442"/>
                <a:gd name="connsiteX3" fmla="*/ 1 w 934770"/>
                <a:gd name="connsiteY3" fmla="*/ 0 h 257442"/>
                <a:gd name="connsiteX0" fmla="*/ 1103086 w 1103086"/>
                <a:gd name="connsiteY0" fmla="*/ 0 h 257442"/>
                <a:gd name="connsiteX1" fmla="*/ 880050 w 1103086"/>
                <a:gd name="connsiteY1" fmla="*/ 257442 h 257442"/>
                <a:gd name="connsiteX2" fmla="*/ 0 w 1103086"/>
                <a:gd name="connsiteY2" fmla="*/ 257442 h 257442"/>
                <a:gd name="connsiteX3" fmla="*/ 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271402 w 1271402"/>
                <a:gd name="connsiteY0" fmla="*/ 0 h 257442"/>
                <a:gd name="connsiteX1" fmla="*/ 1048365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423687 w 1423687"/>
                <a:gd name="connsiteY0" fmla="*/ 0 h 257442"/>
                <a:gd name="connsiteX1" fmla="*/ 1216681 w 1423687"/>
                <a:gd name="connsiteY1" fmla="*/ 257442 h 257442"/>
                <a:gd name="connsiteX2" fmla="*/ 0 w 1423687"/>
                <a:gd name="connsiteY2" fmla="*/ 257442 h 257442"/>
                <a:gd name="connsiteX3" fmla="*/ 0 w 1423687"/>
                <a:gd name="connsiteY3" fmla="*/ 0 h 257442"/>
                <a:gd name="connsiteX0" fmla="*/ 1423687 w 1423687"/>
                <a:gd name="connsiteY0" fmla="*/ 0 h 257442"/>
                <a:gd name="connsiteX1" fmla="*/ 1368966 w 1423687"/>
                <a:gd name="connsiteY1" fmla="*/ 257442 h 257442"/>
                <a:gd name="connsiteX2" fmla="*/ 0 w 1423687"/>
                <a:gd name="connsiteY2" fmla="*/ 257442 h 257442"/>
                <a:gd name="connsiteX3" fmla="*/ 0 w 1423687"/>
                <a:gd name="connsiteY3" fmla="*/ 0 h 257442"/>
                <a:gd name="connsiteX0" fmla="*/ 1423687 w 1423687"/>
                <a:gd name="connsiteY0" fmla="*/ 0 h 257442"/>
                <a:gd name="connsiteX1" fmla="*/ 1368966 w 1423687"/>
                <a:gd name="connsiteY1" fmla="*/ 257442 h 257442"/>
                <a:gd name="connsiteX2" fmla="*/ 0 w 1423687"/>
                <a:gd name="connsiteY2" fmla="*/ 257442 h 257442"/>
                <a:gd name="connsiteX3" fmla="*/ 0 w 1423687"/>
                <a:gd name="connsiteY3" fmla="*/ 0 h 257442"/>
                <a:gd name="connsiteX0" fmla="*/ 1423687 w 1423687"/>
                <a:gd name="connsiteY0" fmla="*/ 0 h 257442"/>
                <a:gd name="connsiteX1" fmla="*/ 1368966 w 1423687"/>
                <a:gd name="connsiteY1" fmla="*/ 257442 h 257442"/>
                <a:gd name="connsiteX2" fmla="*/ 0 w 1423687"/>
                <a:gd name="connsiteY2" fmla="*/ 257442 h 257442"/>
                <a:gd name="connsiteX3" fmla="*/ 0 w 1423687"/>
                <a:gd name="connsiteY3" fmla="*/ 0 h 257442"/>
                <a:gd name="connsiteX0" fmla="*/ 1575972 w 1575972"/>
                <a:gd name="connsiteY0" fmla="*/ 0 h 257442"/>
                <a:gd name="connsiteX1" fmla="*/ 1368966 w 1575972"/>
                <a:gd name="connsiteY1" fmla="*/ 257442 h 257442"/>
                <a:gd name="connsiteX2" fmla="*/ 0 w 1575972"/>
                <a:gd name="connsiteY2" fmla="*/ 257442 h 257442"/>
                <a:gd name="connsiteX3" fmla="*/ 0 w 1575972"/>
                <a:gd name="connsiteY3" fmla="*/ 0 h 257442"/>
                <a:gd name="connsiteX0" fmla="*/ 1575972 w 1575972"/>
                <a:gd name="connsiteY0" fmla="*/ 0 h 257442"/>
                <a:gd name="connsiteX1" fmla="*/ 1521250 w 1575972"/>
                <a:gd name="connsiteY1" fmla="*/ 257442 h 257442"/>
                <a:gd name="connsiteX2" fmla="*/ 0 w 1575972"/>
                <a:gd name="connsiteY2" fmla="*/ 257442 h 257442"/>
                <a:gd name="connsiteX3" fmla="*/ 0 w 1575972"/>
                <a:gd name="connsiteY3" fmla="*/ 0 h 257442"/>
                <a:gd name="connsiteX0" fmla="*/ 1575973 w 1575973"/>
                <a:gd name="connsiteY0" fmla="*/ 0 h 257442"/>
                <a:gd name="connsiteX1" fmla="*/ 1521251 w 1575973"/>
                <a:gd name="connsiteY1" fmla="*/ 257442 h 257442"/>
                <a:gd name="connsiteX2" fmla="*/ 0 w 1575973"/>
                <a:gd name="connsiteY2" fmla="*/ 257442 h 257442"/>
                <a:gd name="connsiteX3" fmla="*/ 1 w 1575973"/>
                <a:gd name="connsiteY3" fmla="*/ 0 h 257442"/>
                <a:gd name="connsiteX0" fmla="*/ 1575973 w 1575973"/>
                <a:gd name="connsiteY0" fmla="*/ 0 h 257442"/>
                <a:gd name="connsiteX1" fmla="*/ 1521251 w 1575973"/>
                <a:gd name="connsiteY1" fmla="*/ 257442 h 257442"/>
                <a:gd name="connsiteX2" fmla="*/ 0 w 1575973"/>
                <a:gd name="connsiteY2" fmla="*/ 257442 h 257442"/>
                <a:gd name="connsiteX3" fmla="*/ 1 w 1575973"/>
                <a:gd name="connsiteY3" fmla="*/ 0 h 257442"/>
                <a:gd name="connsiteX0" fmla="*/ 1676962 w 1676962"/>
                <a:gd name="connsiteY0" fmla="*/ 0 h 257442"/>
                <a:gd name="connsiteX1" fmla="*/ 1521251 w 1676962"/>
                <a:gd name="connsiteY1" fmla="*/ 257442 h 257442"/>
                <a:gd name="connsiteX2" fmla="*/ 0 w 1676962"/>
                <a:gd name="connsiteY2" fmla="*/ 257442 h 257442"/>
                <a:gd name="connsiteX3" fmla="*/ 1 w 1676962"/>
                <a:gd name="connsiteY3" fmla="*/ 0 h 257442"/>
                <a:gd name="connsiteX0" fmla="*/ 1676962 w 1676962"/>
                <a:gd name="connsiteY0" fmla="*/ 0 h 257442"/>
                <a:gd name="connsiteX1" fmla="*/ 1622240 w 1676962"/>
                <a:gd name="connsiteY1" fmla="*/ 257442 h 257442"/>
                <a:gd name="connsiteX2" fmla="*/ 0 w 1676962"/>
                <a:gd name="connsiteY2" fmla="*/ 257442 h 257442"/>
                <a:gd name="connsiteX3" fmla="*/ 1 w 1676962"/>
                <a:gd name="connsiteY3" fmla="*/ 0 h 257442"/>
                <a:gd name="connsiteX0" fmla="*/ 1676962 w 1676962"/>
                <a:gd name="connsiteY0" fmla="*/ 0 h 257442"/>
                <a:gd name="connsiteX1" fmla="*/ 1622240 w 1676962"/>
                <a:gd name="connsiteY1" fmla="*/ 257442 h 257442"/>
                <a:gd name="connsiteX2" fmla="*/ 0 w 1676962"/>
                <a:gd name="connsiteY2" fmla="*/ 257442 h 257442"/>
                <a:gd name="connsiteX3" fmla="*/ 1 w 1676962"/>
                <a:gd name="connsiteY3" fmla="*/ 0 h 257442"/>
                <a:gd name="connsiteX0" fmla="*/ 1676962 w 1676962"/>
                <a:gd name="connsiteY0" fmla="*/ 0 h 257442"/>
                <a:gd name="connsiteX1" fmla="*/ 1622240 w 1676962"/>
                <a:gd name="connsiteY1" fmla="*/ 257442 h 257442"/>
                <a:gd name="connsiteX2" fmla="*/ 0 w 1676962"/>
                <a:gd name="connsiteY2" fmla="*/ 257442 h 257442"/>
                <a:gd name="connsiteX3" fmla="*/ 0 w 1676962"/>
                <a:gd name="connsiteY3" fmla="*/ 0 h 257442"/>
                <a:gd name="connsiteX0" fmla="*/ 1845277 w 1845277"/>
                <a:gd name="connsiteY0" fmla="*/ 0 h 257442"/>
                <a:gd name="connsiteX1" fmla="*/ 1622240 w 1845277"/>
                <a:gd name="connsiteY1" fmla="*/ 257442 h 257442"/>
                <a:gd name="connsiteX2" fmla="*/ 0 w 1845277"/>
                <a:gd name="connsiteY2" fmla="*/ 257442 h 257442"/>
                <a:gd name="connsiteX3" fmla="*/ 0 w 1845277"/>
                <a:gd name="connsiteY3" fmla="*/ 0 h 257442"/>
                <a:gd name="connsiteX0" fmla="*/ 1845277 w 1845277"/>
                <a:gd name="connsiteY0" fmla="*/ 0 h 257442"/>
                <a:gd name="connsiteX1" fmla="*/ 1790556 w 1845277"/>
                <a:gd name="connsiteY1" fmla="*/ 257442 h 257442"/>
                <a:gd name="connsiteX2" fmla="*/ 0 w 1845277"/>
                <a:gd name="connsiteY2" fmla="*/ 257442 h 257442"/>
                <a:gd name="connsiteX3" fmla="*/ 0 w 1845277"/>
                <a:gd name="connsiteY3" fmla="*/ 0 h 257442"/>
                <a:gd name="connsiteX0" fmla="*/ 1845277 w 1845277"/>
                <a:gd name="connsiteY0" fmla="*/ 0 h 257442"/>
                <a:gd name="connsiteX1" fmla="*/ 1790556 w 1845277"/>
                <a:gd name="connsiteY1" fmla="*/ 257442 h 257442"/>
                <a:gd name="connsiteX2" fmla="*/ 0 w 1845277"/>
                <a:gd name="connsiteY2" fmla="*/ 257442 h 257442"/>
                <a:gd name="connsiteX3" fmla="*/ 0 w 1845277"/>
                <a:gd name="connsiteY3" fmla="*/ 0 h 257442"/>
                <a:gd name="connsiteX0" fmla="*/ 1845277 w 1845277"/>
                <a:gd name="connsiteY0" fmla="*/ 0 h 257442"/>
                <a:gd name="connsiteX1" fmla="*/ 1790556 w 1845277"/>
                <a:gd name="connsiteY1" fmla="*/ 257442 h 257442"/>
                <a:gd name="connsiteX2" fmla="*/ 0 w 1845277"/>
                <a:gd name="connsiteY2" fmla="*/ 257442 h 257442"/>
                <a:gd name="connsiteX3" fmla="*/ 0 w 1845277"/>
                <a:gd name="connsiteY3" fmla="*/ 0 h 257442"/>
                <a:gd name="connsiteX0" fmla="*/ 2048858 w 2048858"/>
                <a:gd name="connsiteY0" fmla="*/ 0 h 257442"/>
                <a:gd name="connsiteX1" fmla="*/ 1790556 w 2048858"/>
                <a:gd name="connsiteY1" fmla="*/ 257442 h 257442"/>
                <a:gd name="connsiteX2" fmla="*/ 0 w 2048858"/>
                <a:gd name="connsiteY2" fmla="*/ 257442 h 257442"/>
                <a:gd name="connsiteX3" fmla="*/ 0 w 2048858"/>
                <a:gd name="connsiteY3" fmla="*/ 0 h 257442"/>
                <a:gd name="connsiteX0" fmla="*/ 2048858 w 2048858"/>
                <a:gd name="connsiteY0" fmla="*/ 0 h 257442"/>
                <a:gd name="connsiteX1" fmla="*/ 1994136 w 2048858"/>
                <a:gd name="connsiteY1" fmla="*/ 257442 h 257442"/>
                <a:gd name="connsiteX2" fmla="*/ 0 w 2048858"/>
                <a:gd name="connsiteY2" fmla="*/ 257442 h 257442"/>
                <a:gd name="connsiteX3" fmla="*/ 0 w 2048858"/>
                <a:gd name="connsiteY3" fmla="*/ 0 h 257442"/>
                <a:gd name="connsiteX0" fmla="*/ 2048859 w 2048859"/>
                <a:gd name="connsiteY0" fmla="*/ 0 h 257442"/>
                <a:gd name="connsiteX1" fmla="*/ 1994137 w 2048859"/>
                <a:gd name="connsiteY1" fmla="*/ 257442 h 257442"/>
                <a:gd name="connsiteX2" fmla="*/ 0 w 2048859"/>
                <a:gd name="connsiteY2" fmla="*/ 257442 h 257442"/>
                <a:gd name="connsiteX3" fmla="*/ 1 w 2048859"/>
                <a:gd name="connsiteY3" fmla="*/ 0 h 257442"/>
                <a:gd name="connsiteX0" fmla="*/ 2048859 w 2048859"/>
                <a:gd name="connsiteY0" fmla="*/ 0 h 257442"/>
                <a:gd name="connsiteX1" fmla="*/ 1994137 w 2048859"/>
                <a:gd name="connsiteY1" fmla="*/ 257442 h 257442"/>
                <a:gd name="connsiteX2" fmla="*/ 0 w 2048859"/>
                <a:gd name="connsiteY2" fmla="*/ 257442 h 257442"/>
                <a:gd name="connsiteX3" fmla="*/ 1 w 2048859"/>
                <a:gd name="connsiteY3" fmla="*/ 0 h 257442"/>
                <a:gd name="connsiteX0" fmla="*/ 2209159 w 2209159"/>
                <a:gd name="connsiteY0" fmla="*/ 0 h 257442"/>
                <a:gd name="connsiteX1" fmla="*/ 1994137 w 2209159"/>
                <a:gd name="connsiteY1" fmla="*/ 257442 h 257442"/>
                <a:gd name="connsiteX2" fmla="*/ 0 w 2209159"/>
                <a:gd name="connsiteY2" fmla="*/ 257442 h 257442"/>
                <a:gd name="connsiteX3" fmla="*/ 1 w 2209159"/>
                <a:gd name="connsiteY3" fmla="*/ 0 h 257442"/>
                <a:gd name="connsiteX0" fmla="*/ 2209159 w 2209159"/>
                <a:gd name="connsiteY0" fmla="*/ 0 h 257442"/>
                <a:gd name="connsiteX1" fmla="*/ 2154438 w 2209159"/>
                <a:gd name="connsiteY1" fmla="*/ 257442 h 257442"/>
                <a:gd name="connsiteX2" fmla="*/ 0 w 2209159"/>
                <a:gd name="connsiteY2" fmla="*/ 257442 h 257442"/>
                <a:gd name="connsiteX3" fmla="*/ 1 w 2209159"/>
                <a:gd name="connsiteY3" fmla="*/ 0 h 257442"/>
                <a:gd name="connsiteX0" fmla="*/ 2209158 w 2209158"/>
                <a:gd name="connsiteY0" fmla="*/ 0 h 257442"/>
                <a:gd name="connsiteX1" fmla="*/ 2154437 w 2209158"/>
                <a:gd name="connsiteY1" fmla="*/ 257442 h 257442"/>
                <a:gd name="connsiteX2" fmla="*/ 0 w 2209158"/>
                <a:gd name="connsiteY2" fmla="*/ 257442 h 257442"/>
                <a:gd name="connsiteX3" fmla="*/ 0 w 2209158"/>
                <a:gd name="connsiteY3" fmla="*/ 0 h 257442"/>
                <a:gd name="connsiteX0" fmla="*/ 2209159 w 2209159"/>
                <a:gd name="connsiteY0" fmla="*/ 0 h 257442"/>
                <a:gd name="connsiteX1" fmla="*/ 2154438 w 2209159"/>
                <a:gd name="connsiteY1" fmla="*/ 257442 h 257442"/>
                <a:gd name="connsiteX2" fmla="*/ 1 w 2209159"/>
                <a:gd name="connsiteY2" fmla="*/ 257442 h 257442"/>
                <a:gd name="connsiteX3" fmla="*/ 0 w 2209159"/>
                <a:gd name="connsiteY3" fmla="*/ 0 h 257442"/>
                <a:gd name="connsiteX0" fmla="*/ 2377475 w 2377475"/>
                <a:gd name="connsiteY0" fmla="*/ 0 h 257442"/>
                <a:gd name="connsiteX1" fmla="*/ 2154438 w 2377475"/>
                <a:gd name="connsiteY1" fmla="*/ 257442 h 257442"/>
                <a:gd name="connsiteX2" fmla="*/ 1 w 2377475"/>
                <a:gd name="connsiteY2" fmla="*/ 257442 h 257442"/>
                <a:gd name="connsiteX3" fmla="*/ 0 w 2377475"/>
                <a:gd name="connsiteY3" fmla="*/ 0 h 257442"/>
                <a:gd name="connsiteX0" fmla="*/ 2377475 w 2377475"/>
                <a:gd name="connsiteY0" fmla="*/ 0 h 257442"/>
                <a:gd name="connsiteX1" fmla="*/ 2322754 w 2377475"/>
                <a:gd name="connsiteY1" fmla="*/ 257442 h 257442"/>
                <a:gd name="connsiteX2" fmla="*/ 1 w 2377475"/>
                <a:gd name="connsiteY2" fmla="*/ 257442 h 257442"/>
                <a:gd name="connsiteX3" fmla="*/ 0 w 2377475"/>
                <a:gd name="connsiteY3" fmla="*/ 0 h 257442"/>
                <a:gd name="connsiteX0" fmla="*/ 2377475 w 2377475"/>
                <a:gd name="connsiteY0" fmla="*/ 0 h 257442"/>
                <a:gd name="connsiteX1" fmla="*/ 2322754 w 2377475"/>
                <a:gd name="connsiteY1" fmla="*/ 257442 h 257442"/>
                <a:gd name="connsiteX2" fmla="*/ 1 w 2377475"/>
                <a:gd name="connsiteY2" fmla="*/ 257442 h 257442"/>
                <a:gd name="connsiteX3" fmla="*/ 0 w 2377475"/>
                <a:gd name="connsiteY3" fmla="*/ 0 h 257442"/>
                <a:gd name="connsiteX0" fmla="*/ 2377474 w 2377474"/>
                <a:gd name="connsiteY0" fmla="*/ 0 h 257442"/>
                <a:gd name="connsiteX1" fmla="*/ 2322753 w 2377474"/>
                <a:gd name="connsiteY1" fmla="*/ 257442 h 257442"/>
                <a:gd name="connsiteX2" fmla="*/ 0 w 2377474"/>
                <a:gd name="connsiteY2" fmla="*/ 257442 h 257442"/>
                <a:gd name="connsiteX3" fmla="*/ 0 w 2377474"/>
                <a:gd name="connsiteY3" fmla="*/ 0 h 257442"/>
                <a:gd name="connsiteX0" fmla="*/ 2486477 w 2486477"/>
                <a:gd name="connsiteY0" fmla="*/ 0 h 257442"/>
                <a:gd name="connsiteX1" fmla="*/ 2322753 w 2486477"/>
                <a:gd name="connsiteY1" fmla="*/ 257442 h 257442"/>
                <a:gd name="connsiteX2" fmla="*/ 0 w 2486477"/>
                <a:gd name="connsiteY2" fmla="*/ 257442 h 257442"/>
                <a:gd name="connsiteX3" fmla="*/ 0 w 2486477"/>
                <a:gd name="connsiteY3" fmla="*/ 0 h 257442"/>
                <a:gd name="connsiteX0" fmla="*/ 2486477 w 2486477"/>
                <a:gd name="connsiteY0" fmla="*/ 0 h 257442"/>
                <a:gd name="connsiteX1" fmla="*/ 2431756 w 2486477"/>
                <a:gd name="connsiteY1" fmla="*/ 257442 h 257442"/>
                <a:gd name="connsiteX2" fmla="*/ 0 w 2486477"/>
                <a:gd name="connsiteY2" fmla="*/ 257442 h 257442"/>
                <a:gd name="connsiteX3" fmla="*/ 0 w 2486477"/>
                <a:gd name="connsiteY3" fmla="*/ 0 h 257442"/>
                <a:gd name="connsiteX0" fmla="*/ 2486478 w 2486478"/>
                <a:gd name="connsiteY0" fmla="*/ 0 h 257442"/>
                <a:gd name="connsiteX1" fmla="*/ 2431757 w 2486478"/>
                <a:gd name="connsiteY1" fmla="*/ 257442 h 257442"/>
                <a:gd name="connsiteX2" fmla="*/ 0 w 2486478"/>
                <a:gd name="connsiteY2" fmla="*/ 257442 h 257442"/>
                <a:gd name="connsiteX3" fmla="*/ 1 w 2486478"/>
                <a:gd name="connsiteY3" fmla="*/ 0 h 257442"/>
                <a:gd name="connsiteX0" fmla="*/ 2486478 w 2486478"/>
                <a:gd name="connsiteY0" fmla="*/ 0 h 257442"/>
                <a:gd name="connsiteX1" fmla="*/ 2431757 w 2486478"/>
                <a:gd name="connsiteY1" fmla="*/ 257442 h 257442"/>
                <a:gd name="connsiteX2" fmla="*/ 0 w 2486478"/>
                <a:gd name="connsiteY2" fmla="*/ 257442 h 257442"/>
                <a:gd name="connsiteX3" fmla="*/ 0 w 2486478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86478" h="257442">
                  <a:moveTo>
                    <a:pt x="2486478" y="0"/>
                  </a:moveTo>
                  <a:lnTo>
                    <a:pt x="2431757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81" name="btfpRunningAgenda2LevelTextLeft378849">
              <a:extLst>
                <a:ext uri="{FF2B5EF4-FFF2-40B4-BE49-F238E27FC236}">
                  <a16:creationId xmlns:a16="http://schemas.microsoft.com/office/drawing/2014/main" id="{3CAEC365-8383-A956-65B5-009CB71B6E9D}"/>
                </a:ext>
              </a:extLst>
            </p:cNvPr>
            <p:cNvSpPr txBox="1"/>
            <p:nvPr/>
          </p:nvSpPr>
          <p:spPr bwMode="gray">
            <a:xfrm>
              <a:off x="0" y="876300"/>
              <a:ext cx="2431757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web-traffic</a:t>
              </a:r>
            </a:p>
          </p:txBody>
        </p:sp>
        <p:sp>
          <p:nvSpPr>
            <p:cNvPr id="84" name="btfpRunningAgenda2LevelBarRight378849">
              <a:extLst>
                <a:ext uri="{FF2B5EF4-FFF2-40B4-BE49-F238E27FC236}">
                  <a16:creationId xmlns:a16="http://schemas.microsoft.com/office/drawing/2014/main" id="{4F012A4C-BA74-4F42-EDC7-DE4FE6805CFD}"/>
                </a:ext>
              </a:extLst>
            </p:cNvPr>
            <p:cNvSpPr/>
            <p:nvPr/>
          </p:nvSpPr>
          <p:spPr bwMode="gray">
            <a:xfrm>
              <a:off x="2351636" y="876300"/>
              <a:ext cx="1946265" cy="257442"/>
            </a:xfrm>
            <a:custGeom>
              <a:avLst/>
              <a:gdLst>
                <a:gd name="connsiteX0" fmla="*/ 942786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42786 w 2313135"/>
                <a:gd name="connsiteY0" fmla="*/ 0 h 257442"/>
                <a:gd name="connsiteX1" fmla="*/ 888065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4 w 942785"/>
                <a:gd name="connsiteY1" fmla="*/ 257442 h 257442"/>
                <a:gd name="connsiteX2" fmla="*/ 0 w 942785"/>
                <a:gd name="connsiteY2" fmla="*/ 257442 h 257442"/>
                <a:gd name="connsiteX3" fmla="*/ 54721 w 942785"/>
                <a:gd name="connsiteY3" fmla="*/ 0 h 257442"/>
                <a:gd name="connsiteX0" fmla="*/ 1120719 w 1120719"/>
                <a:gd name="connsiteY0" fmla="*/ 0 h 257442"/>
                <a:gd name="connsiteX1" fmla="*/ 888064 w 1120719"/>
                <a:gd name="connsiteY1" fmla="*/ 257442 h 257442"/>
                <a:gd name="connsiteX2" fmla="*/ 0 w 1120719"/>
                <a:gd name="connsiteY2" fmla="*/ 257442 h 257442"/>
                <a:gd name="connsiteX3" fmla="*/ 54721 w 1120719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54721 w 1120719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54721 w 1120719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54721 w 1120719"/>
                <a:gd name="connsiteY3" fmla="*/ 0 h 257442"/>
                <a:gd name="connsiteX0" fmla="*/ 1289034 w 1289034"/>
                <a:gd name="connsiteY0" fmla="*/ 0 h 257442"/>
                <a:gd name="connsiteX1" fmla="*/ 1065998 w 1289034"/>
                <a:gd name="connsiteY1" fmla="*/ 257442 h 257442"/>
                <a:gd name="connsiteX2" fmla="*/ 0 w 1289034"/>
                <a:gd name="connsiteY2" fmla="*/ 257442 h 257442"/>
                <a:gd name="connsiteX3" fmla="*/ 54721 w 1289034"/>
                <a:gd name="connsiteY3" fmla="*/ 0 h 257442"/>
                <a:gd name="connsiteX0" fmla="*/ 1289034 w 1289034"/>
                <a:gd name="connsiteY0" fmla="*/ 0 h 257442"/>
                <a:gd name="connsiteX1" fmla="*/ 1234312 w 1289034"/>
                <a:gd name="connsiteY1" fmla="*/ 257442 h 257442"/>
                <a:gd name="connsiteX2" fmla="*/ 0 w 1289034"/>
                <a:gd name="connsiteY2" fmla="*/ 257442 h 257442"/>
                <a:gd name="connsiteX3" fmla="*/ 54721 w 1289034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54722 w 1289035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54722 w 1289035"/>
                <a:gd name="connsiteY3" fmla="*/ 0 h 257442"/>
                <a:gd name="connsiteX0" fmla="*/ 1457351 w 1457351"/>
                <a:gd name="connsiteY0" fmla="*/ 0 h 257442"/>
                <a:gd name="connsiteX1" fmla="*/ 1234313 w 1457351"/>
                <a:gd name="connsiteY1" fmla="*/ 257442 h 257442"/>
                <a:gd name="connsiteX2" fmla="*/ 0 w 1457351"/>
                <a:gd name="connsiteY2" fmla="*/ 257442 h 257442"/>
                <a:gd name="connsiteX3" fmla="*/ 54722 w 1457351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0 w 1457351"/>
                <a:gd name="connsiteY2" fmla="*/ 257442 h 257442"/>
                <a:gd name="connsiteX3" fmla="*/ 54722 w 1457351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0 w 1457350"/>
                <a:gd name="connsiteY3" fmla="*/ 0 h 257442"/>
                <a:gd name="connsiteX0" fmla="*/ 1625664 w 1625664"/>
                <a:gd name="connsiteY0" fmla="*/ 0 h 257442"/>
                <a:gd name="connsiteX1" fmla="*/ 1402629 w 1625664"/>
                <a:gd name="connsiteY1" fmla="*/ 257442 h 257442"/>
                <a:gd name="connsiteX2" fmla="*/ 0 w 1625664"/>
                <a:gd name="connsiteY2" fmla="*/ 257442 h 257442"/>
                <a:gd name="connsiteX3" fmla="*/ 54720 w 1625664"/>
                <a:gd name="connsiteY3" fmla="*/ 0 h 257442"/>
                <a:gd name="connsiteX0" fmla="*/ 1625664 w 1625664"/>
                <a:gd name="connsiteY0" fmla="*/ 0 h 257442"/>
                <a:gd name="connsiteX1" fmla="*/ 1570943 w 1625664"/>
                <a:gd name="connsiteY1" fmla="*/ 257442 h 257442"/>
                <a:gd name="connsiteX2" fmla="*/ 0 w 1625664"/>
                <a:gd name="connsiteY2" fmla="*/ 257442 h 257442"/>
                <a:gd name="connsiteX3" fmla="*/ 54720 w 1625664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54721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54722 w 1625665"/>
                <a:gd name="connsiteY3" fmla="*/ 0 h 257442"/>
                <a:gd name="connsiteX0" fmla="*/ 1785966 w 1785966"/>
                <a:gd name="connsiteY0" fmla="*/ 0 h 257442"/>
                <a:gd name="connsiteX1" fmla="*/ 1570944 w 1785966"/>
                <a:gd name="connsiteY1" fmla="*/ 257442 h 257442"/>
                <a:gd name="connsiteX2" fmla="*/ 0 w 1785966"/>
                <a:gd name="connsiteY2" fmla="*/ 257442 h 257442"/>
                <a:gd name="connsiteX3" fmla="*/ 54722 w 1785966"/>
                <a:gd name="connsiteY3" fmla="*/ 0 h 257442"/>
                <a:gd name="connsiteX0" fmla="*/ 1785966 w 1785966"/>
                <a:gd name="connsiteY0" fmla="*/ 0 h 257442"/>
                <a:gd name="connsiteX1" fmla="*/ 1731244 w 1785966"/>
                <a:gd name="connsiteY1" fmla="*/ 257442 h 257442"/>
                <a:gd name="connsiteX2" fmla="*/ 0 w 1785966"/>
                <a:gd name="connsiteY2" fmla="*/ 257442 h 257442"/>
                <a:gd name="connsiteX3" fmla="*/ 54722 w 1785966"/>
                <a:gd name="connsiteY3" fmla="*/ 0 h 257442"/>
                <a:gd name="connsiteX0" fmla="*/ 1785966 w 1785966"/>
                <a:gd name="connsiteY0" fmla="*/ 0 h 257442"/>
                <a:gd name="connsiteX1" fmla="*/ 1731244 w 1785966"/>
                <a:gd name="connsiteY1" fmla="*/ 257442 h 257442"/>
                <a:gd name="connsiteX2" fmla="*/ 0 w 1785966"/>
                <a:gd name="connsiteY2" fmla="*/ 257442 h 257442"/>
                <a:gd name="connsiteX3" fmla="*/ 54722 w 1785966"/>
                <a:gd name="connsiteY3" fmla="*/ 0 h 257442"/>
                <a:gd name="connsiteX0" fmla="*/ 1785966 w 1785966"/>
                <a:gd name="connsiteY0" fmla="*/ 0 h 257442"/>
                <a:gd name="connsiteX1" fmla="*/ 1731244 w 1785966"/>
                <a:gd name="connsiteY1" fmla="*/ 257442 h 257442"/>
                <a:gd name="connsiteX2" fmla="*/ 0 w 1785966"/>
                <a:gd name="connsiteY2" fmla="*/ 257442 h 257442"/>
                <a:gd name="connsiteX3" fmla="*/ 54721 w 1785966"/>
                <a:gd name="connsiteY3" fmla="*/ 0 h 257442"/>
                <a:gd name="connsiteX0" fmla="*/ 1946265 w 1946265"/>
                <a:gd name="connsiteY0" fmla="*/ 0 h 257442"/>
                <a:gd name="connsiteX1" fmla="*/ 1731244 w 1946265"/>
                <a:gd name="connsiteY1" fmla="*/ 257442 h 257442"/>
                <a:gd name="connsiteX2" fmla="*/ 0 w 1946265"/>
                <a:gd name="connsiteY2" fmla="*/ 257442 h 257442"/>
                <a:gd name="connsiteX3" fmla="*/ 54721 w 1946265"/>
                <a:gd name="connsiteY3" fmla="*/ 0 h 257442"/>
                <a:gd name="connsiteX0" fmla="*/ 1946265 w 1946265"/>
                <a:gd name="connsiteY0" fmla="*/ 0 h 257442"/>
                <a:gd name="connsiteX1" fmla="*/ 1891544 w 1946265"/>
                <a:gd name="connsiteY1" fmla="*/ 257442 h 257442"/>
                <a:gd name="connsiteX2" fmla="*/ 0 w 1946265"/>
                <a:gd name="connsiteY2" fmla="*/ 257442 h 257442"/>
                <a:gd name="connsiteX3" fmla="*/ 54721 w 1946265"/>
                <a:gd name="connsiteY3" fmla="*/ 0 h 257442"/>
                <a:gd name="connsiteX0" fmla="*/ 1946265 w 1946265"/>
                <a:gd name="connsiteY0" fmla="*/ 0 h 257442"/>
                <a:gd name="connsiteX1" fmla="*/ 1891544 w 1946265"/>
                <a:gd name="connsiteY1" fmla="*/ 257442 h 257442"/>
                <a:gd name="connsiteX2" fmla="*/ 0 w 1946265"/>
                <a:gd name="connsiteY2" fmla="*/ 257442 h 257442"/>
                <a:gd name="connsiteX3" fmla="*/ 54721 w 1946265"/>
                <a:gd name="connsiteY3" fmla="*/ 0 h 257442"/>
                <a:gd name="connsiteX0" fmla="*/ 1946265 w 1946265"/>
                <a:gd name="connsiteY0" fmla="*/ 0 h 257442"/>
                <a:gd name="connsiteX1" fmla="*/ 1891544 w 1946265"/>
                <a:gd name="connsiteY1" fmla="*/ 257442 h 257442"/>
                <a:gd name="connsiteX2" fmla="*/ 0 w 1946265"/>
                <a:gd name="connsiteY2" fmla="*/ 257442 h 257442"/>
                <a:gd name="connsiteX3" fmla="*/ 54721 w 194626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46265" h="257442">
                  <a:moveTo>
                    <a:pt x="1946265" y="0"/>
                  </a:moveTo>
                  <a:lnTo>
                    <a:pt x="1891544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87" name="btfpRunningAgenda2LevelTextRight378849">
              <a:extLst>
                <a:ext uri="{FF2B5EF4-FFF2-40B4-BE49-F238E27FC236}">
                  <a16:creationId xmlns:a16="http://schemas.microsoft.com/office/drawing/2014/main" id="{167816DC-2E7E-3243-50EC-979967F7D7B4}"/>
                </a:ext>
              </a:extLst>
            </p:cNvPr>
            <p:cNvSpPr txBox="1"/>
            <p:nvPr/>
          </p:nvSpPr>
          <p:spPr bwMode="gray">
            <a:xfrm>
              <a:off x="2351636" y="876300"/>
              <a:ext cx="1891544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sources</a:t>
              </a:r>
            </a:p>
          </p:txBody>
        </p:sp>
      </p:grpSp>
      <p:sp>
        <p:nvSpPr>
          <p:cNvPr id="68" name="Rectangle 67">
            <a:extLst>
              <a:ext uri="{FF2B5EF4-FFF2-40B4-BE49-F238E27FC236}">
                <a16:creationId xmlns:a16="http://schemas.microsoft.com/office/drawing/2014/main" id="{98AF2067-550A-039A-9EBE-CD5FCE08D1EA}"/>
              </a:ext>
            </a:extLst>
          </p:cNvPr>
          <p:cNvSpPr/>
          <p:nvPr/>
        </p:nvSpPr>
        <p:spPr bwMode="gray">
          <a:xfrm rot="5400000">
            <a:off x="3326580" y="3737718"/>
            <a:ext cx="232435" cy="4841593"/>
          </a:xfrm>
          <a:prstGeom prst="rect">
            <a:avLst/>
          </a:prstGeom>
          <a:solidFill>
            <a:srgbClr val="C00000"/>
          </a:solidFill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CA" sz="800" b="1" i="1" dirty="0">
                <a:solidFill>
                  <a:schemeClr val="bg1"/>
                </a:solidFill>
              </a:rPr>
              <a:t>Target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2AEEBE36-5D7D-49E8-BC94-A86C40441FB5}"/>
              </a:ext>
            </a:extLst>
          </p:cNvPr>
          <p:cNvSpPr/>
          <p:nvPr/>
        </p:nvSpPr>
        <p:spPr bwMode="gray">
          <a:xfrm rot="5400000">
            <a:off x="6477894" y="5460623"/>
            <a:ext cx="232435" cy="1395782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CA" sz="800" b="1" i="1" dirty="0">
                <a:solidFill>
                  <a:schemeClr val="bg1"/>
                </a:solidFill>
              </a:rPr>
              <a:t>Peer 9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1CAFFDE6-2BB1-DD2B-E5CC-CD433846B0C3}"/>
              </a:ext>
            </a:extLst>
          </p:cNvPr>
          <p:cNvSpPr/>
          <p:nvPr/>
        </p:nvSpPr>
        <p:spPr bwMode="gray">
          <a:xfrm rot="5400000">
            <a:off x="7906303" y="5460623"/>
            <a:ext cx="232435" cy="1395782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CA" sz="800" b="1" i="1" dirty="0">
                <a:solidFill>
                  <a:schemeClr val="bg1"/>
                </a:solidFill>
              </a:rPr>
              <a:t>Peer 11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2079F709-A382-C7FF-F5ED-FE41EA11D5EE}"/>
              </a:ext>
            </a:extLst>
          </p:cNvPr>
          <p:cNvSpPr/>
          <p:nvPr/>
        </p:nvSpPr>
        <p:spPr bwMode="gray">
          <a:xfrm rot="5400000">
            <a:off x="8927562" y="5867774"/>
            <a:ext cx="232435" cy="58148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CA" sz="800" b="1" i="1" dirty="0">
                <a:solidFill>
                  <a:schemeClr val="bg1"/>
                </a:solidFill>
              </a:rPr>
              <a:t>Peer 12</a:t>
            </a:r>
          </a:p>
        </p:txBody>
      </p:sp>
      <p:pic>
        <p:nvPicPr>
          <p:cNvPr id="76" name="Picture 75">
            <a:extLst>
              <a:ext uri="{FF2B5EF4-FFF2-40B4-BE49-F238E27FC236}">
                <a16:creationId xmlns:a16="http://schemas.microsoft.com/office/drawing/2014/main" id="{7CD0E422-70E1-33E2-4C1F-D443B23BBE32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38" y="946635"/>
            <a:ext cx="252287" cy="25157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086287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think-cell data - do not delete" hidden="1">
            <a:extLst>
              <a:ext uri="{FF2B5EF4-FFF2-40B4-BE49-F238E27FC236}">
                <a16:creationId xmlns:a16="http://schemas.microsoft.com/office/drawing/2014/main" id="{00FEEA85-108F-A6E8-9FD8-EAAD6FB8871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8586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84" imgH="486" progId="TCLayout.ActiveDocument.1">
                  <p:embed/>
                </p:oleObj>
              </mc:Choice>
              <mc:Fallback>
                <p:oleObj name="think-cell Slide" r:id="rId14" imgW="484" imgH="486" progId="TCLayout.ActiveDocument.1">
                  <p:embed/>
                  <p:pic>
                    <p:nvPicPr>
                      <p:cNvPr id="5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0FEEA85-108F-A6E8-9FD8-EAAD6FB887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8" name="btfpColumnIndicatorGroup2">
            <a:extLst>
              <a:ext uri="{FF2B5EF4-FFF2-40B4-BE49-F238E27FC236}">
                <a16:creationId xmlns:a16="http://schemas.microsoft.com/office/drawing/2014/main" id="{7C631E32-D798-AFF3-3935-0BDAA8CCA276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46" name="btfpColumnGapBlocker756055">
              <a:extLst>
                <a:ext uri="{FF2B5EF4-FFF2-40B4-BE49-F238E27FC236}">
                  <a16:creationId xmlns:a16="http://schemas.microsoft.com/office/drawing/2014/main" id="{E006E22E-CEAF-56FD-C675-6A0F3C083403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44" name="btfpColumnGapBlocker586026">
              <a:extLst>
                <a:ext uri="{FF2B5EF4-FFF2-40B4-BE49-F238E27FC236}">
                  <a16:creationId xmlns:a16="http://schemas.microsoft.com/office/drawing/2014/main" id="{3F4DB019-FBB4-010C-7CF9-0AF16C6D98DB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2" name="btfpColumnIndicator859905">
              <a:extLst>
                <a:ext uri="{FF2B5EF4-FFF2-40B4-BE49-F238E27FC236}">
                  <a16:creationId xmlns:a16="http://schemas.microsoft.com/office/drawing/2014/main" id="{DA606FA2-A16E-C10F-A1E7-4ADC9252FEA5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btfpColumnIndicator498469">
              <a:extLst>
                <a:ext uri="{FF2B5EF4-FFF2-40B4-BE49-F238E27FC236}">
                  <a16:creationId xmlns:a16="http://schemas.microsoft.com/office/drawing/2014/main" id="{050CC9DB-35BA-44C4-8917-DDF2A1190122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btfpColumnGapBlocker543708">
              <a:extLst>
                <a:ext uri="{FF2B5EF4-FFF2-40B4-BE49-F238E27FC236}">
                  <a16:creationId xmlns:a16="http://schemas.microsoft.com/office/drawing/2014/main" id="{6C479752-CC14-5500-A5EE-6A67DE899CBC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6" name="btfpColumnIndicator991286">
              <a:extLst>
                <a:ext uri="{FF2B5EF4-FFF2-40B4-BE49-F238E27FC236}">
                  <a16:creationId xmlns:a16="http://schemas.microsoft.com/office/drawing/2014/main" id="{4C835E82-E489-733F-F917-DC8AF9A53A93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btfpColumnIndicator182040">
              <a:extLst>
                <a:ext uri="{FF2B5EF4-FFF2-40B4-BE49-F238E27FC236}">
                  <a16:creationId xmlns:a16="http://schemas.microsoft.com/office/drawing/2014/main" id="{D3A81267-8177-7470-6C56-9140229B88FF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btfpColumnGapBlocker664504">
              <a:extLst>
                <a:ext uri="{FF2B5EF4-FFF2-40B4-BE49-F238E27FC236}">
                  <a16:creationId xmlns:a16="http://schemas.microsoft.com/office/drawing/2014/main" id="{60164487-FAB3-90AD-E3F2-BC614C0F38FF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0" name="btfpColumnIndicator530649">
              <a:extLst>
                <a:ext uri="{FF2B5EF4-FFF2-40B4-BE49-F238E27FC236}">
                  <a16:creationId xmlns:a16="http://schemas.microsoft.com/office/drawing/2014/main" id="{E22F763A-5DD0-4819-0FF6-6CEF04425854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btfpColumnIndicator878515">
              <a:extLst>
                <a:ext uri="{FF2B5EF4-FFF2-40B4-BE49-F238E27FC236}">
                  <a16:creationId xmlns:a16="http://schemas.microsoft.com/office/drawing/2014/main" id="{6CE2B68E-02DF-28C6-C4E1-AAF2A602A145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7" name="btfpColumnIndicatorGroup1">
            <a:extLst>
              <a:ext uri="{FF2B5EF4-FFF2-40B4-BE49-F238E27FC236}">
                <a16:creationId xmlns:a16="http://schemas.microsoft.com/office/drawing/2014/main" id="{1F83FDA7-1EB6-C414-F069-C3973457B176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45" name="btfpColumnGapBlocker664974">
              <a:extLst>
                <a:ext uri="{FF2B5EF4-FFF2-40B4-BE49-F238E27FC236}">
                  <a16:creationId xmlns:a16="http://schemas.microsoft.com/office/drawing/2014/main" id="{1287A749-0EAB-5278-1CDE-BC7AE90E1868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43" name="btfpColumnGapBlocker883059">
              <a:extLst>
                <a:ext uri="{FF2B5EF4-FFF2-40B4-BE49-F238E27FC236}">
                  <a16:creationId xmlns:a16="http://schemas.microsoft.com/office/drawing/2014/main" id="{9EBC17B3-0F08-452D-6ADC-5BF9C0210775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1" name="btfpColumnIndicator534240">
              <a:extLst>
                <a:ext uri="{FF2B5EF4-FFF2-40B4-BE49-F238E27FC236}">
                  <a16:creationId xmlns:a16="http://schemas.microsoft.com/office/drawing/2014/main" id="{BE717B60-F591-F778-F3C4-DCC296DA24C6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btfpColumnIndicator180876">
              <a:extLst>
                <a:ext uri="{FF2B5EF4-FFF2-40B4-BE49-F238E27FC236}">
                  <a16:creationId xmlns:a16="http://schemas.microsoft.com/office/drawing/2014/main" id="{4BA523AD-D52F-BC47-52AD-2326CF646C03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btfpColumnGapBlocker848497">
              <a:extLst>
                <a:ext uri="{FF2B5EF4-FFF2-40B4-BE49-F238E27FC236}">
                  <a16:creationId xmlns:a16="http://schemas.microsoft.com/office/drawing/2014/main" id="{761B65F7-A22D-0BB8-A57C-4191DF3D4933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5" name="btfpColumnIndicator851294">
              <a:extLst>
                <a:ext uri="{FF2B5EF4-FFF2-40B4-BE49-F238E27FC236}">
                  <a16:creationId xmlns:a16="http://schemas.microsoft.com/office/drawing/2014/main" id="{B0585365-F148-9824-9923-BA5E6E68AD96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btfpColumnIndicator474763">
              <a:extLst>
                <a:ext uri="{FF2B5EF4-FFF2-40B4-BE49-F238E27FC236}">
                  <a16:creationId xmlns:a16="http://schemas.microsoft.com/office/drawing/2014/main" id="{380DD370-2F4C-D50D-D25E-F284160CE42C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btfpColumnGapBlocker594979">
              <a:extLst>
                <a:ext uri="{FF2B5EF4-FFF2-40B4-BE49-F238E27FC236}">
                  <a16:creationId xmlns:a16="http://schemas.microsoft.com/office/drawing/2014/main" id="{F2842114-9943-226D-FB91-ECE22CFAAD60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9" name="btfpColumnIndicator547229">
              <a:extLst>
                <a:ext uri="{FF2B5EF4-FFF2-40B4-BE49-F238E27FC236}">
                  <a16:creationId xmlns:a16="http://schemas.microsoft.com/office/drawing/2014/main" id="{C653F484-BEFB-F48E-0921-0D2ED027FED7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btfpColumnIndicator544869">
              <a:extLst>
                <a:ext uri="{FF2B5EF4-FFF2-40B4-BE49-F238E27FC236}">
                  <a16:creationId xmlns:a16="http://schemas.microsoft.com/office/drawing/2014/main" id="{39D2483E-92DD-FCD9-7964-E9E917D68308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1172363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1_131726425293132837 columns_1_131726425292645634 6_1_131726425286513480 7_1_131726425287321256 16_0_131726425288450120 19_0_131726425289097354 22_0_131726425289906076 </a:t>
            </a:r>
            <a:endParaRPr lang="en-US" sz="100" err="1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4" y="1"/>
            <a:ext cx="11526836" cy="876687"/>
          </a:xfrm>
        </p:spPr>
        <p:txBody>
          <a:bodyPr vert="horz" wrap="square"/>
          <a:lstStyle/>
          <a:p>
            <a:r>
              <a:rPr lang="en-US" b="1" dirty="0"/>
              <a:t>Visitor engagement: </a:t>
            </a:r>
            <a:r>
              <a:rPr lang="en-US" dirty="0"/>
              <a:t>Target brands can enhance user engagement through faster load times, intuitive design, and compelling content strategy</a:t>
            </a:r>
          </a:p>
        </p:txBody>
      </p:sp>
      <p:grpSp>
        <p:nvGrpSpPr>
          <p:cNvPr id="16" name="btfpColumnHeaderBox892297"/>
          <p:cNvGrpSpPr/>
          <p:nvPr>
            <p:custDataLst>
              <p:tags r:id="rId3"/>
            </p:custDataLst>
          </p:nvPr>
        </p:nvGrpSpPr>
        <p:grpSpPr>
          <a:xfrm>
            <a:off x="330200" y="1270000"/>
            <a:ext cx="3483505" cy="285432"/>
            <a:chOff x="1234762" y="1308131"/>
            <a:chExt cx="3309120" cy="170481"/>
          </a:xfrm>
        </p:grpSpPr>
        <p:sp>
          <p:nvSpPr>
            <p:cNvPr id="14" name="btfpColumnHeaderBoxText892297"/>
            <p:cNvSpPr txBox="1"/>
            <p:nvPr/>
          </p:nvSpPr>
          <p:spPr bwMode="gray">
            <a:xfrm>
              <a:off x="1234762" y="1308131"/>
              <a:ext cx="3309120" cy="170481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>
                  <a:solidFill>
                    <a:srgbClr val="000000"/>
                  </a:solidFill>
                </a:rPr>
                <a:t>Bounce rate (lower the better)</a:t>
              </a:r>
              <a:endParaRPr lang="en-US" sz="1400" baseline="30000">
                <a:solidFill>
                  <a:srgbClr val="000000"/>
                </a:solidFill>
              </a:endParaRPr>
            </a:p>
          </p:txBody>
        </p:sp>
        <p:cxnSp>
          <p:nvCxnSpPr>
            <p:cNvPr id="15" name="btfpColumnHeaderBoxLine892297"/>
            <p:cNvCxnSpPr/>
            <p:nvPr/>
          </p:nvCxnSpPr>
          <p:spPr bwMode="gray">
            <a:xfrm>
              <a:off x="1234762" y="1478612"/>
              <a:ext cx="3309120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btfpColumnHeaderBox517112"/>
          <p:cNvGrpSpPr/>
          <p:nvPr>
            <p:custDataLst>
              <p:tags r:id="rId4"/>
            </p:custDataLst>
          </p:nvPr>
        </p:nvGrpSpPr>
        <p:grpSpPr>
          <a:xfrm>
            <a:off x="4356244" y="1267214"/>
            <a:ext cx="3481510" cy="288220"/>
            <a:chOff x="4750147" y="1306833"/>
            <a:chExt cx="3309120" cy="134142"/>
          </a:xfrm>
        </p:grpSpPr>
        <p:sp>
          <p:nvSpPr>
            <p:cNvPr id="17" name="btfpColumnHeaderBoxText517112"/>
            <p:cNvSpPr txBox="1"/>
            <p:nvPr/>
          </p:nvSpPr>
          <p:spPr bwMode="gray">
            <a:xfrm>
              <a:off x="4750147" y="1306833"/>
              <a:ext cx="3309120" cy="13414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>
                  <a:solidFill>
                    <a:srgbClr val="000000"/>
                  </a:solidFill>
                </a:rPr>
                <a:t># of pages visited per visit</a:t>
              </a:r>
            </a:p>
          </p:txBody>
        </p:sp>
        <p:cxnSp>
          <p:nvCxnSpPr>
            <p:cNvPr id="18" name="btfpColumnHeaderBoxLine517112"/>
            <p:cNvCxnSpPr/>
            <p:nvPr/>
          </p:nvCxnSpPr>
          <p:spPr bwMode="gray">
            <a:xfrm>
              <a:off x="4750147" y="1440975"/>
              <a:ext cx="3309120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btfpColumnHeaderBox827492"/>
          <p:cNvGrpSpPr/>
          <p:nvPr>
            <p:custDataLst>
              <p:tags r:id="rId5"/>
            </p:custDataLst>
          </p:nvPr>
        </p:nvGrpSpPr>
        <p:grpSpPr>
          <a:xfrm>
            <a:off x="8378295" y="1269997"/>
            <a:ext cx="3488268" cy="285432"/>
            <a:chOff x="8232648" y="1308131"/>
            <a:chExt cx="3309120" cy="162790"/>
          </a:xfrm>
        </p:grpSpPr>
        <p:sp>
          <p:nvSpPr>
            <p:cNvPr id="20" name="btfpColumnHeaderBoxText827492"/>
            <p:cNvSpPr txBox="1"/>
            <p:nvPr/>
          </p:nvSpPr>
          <p:spPr bwMode="gray">
            <a:xfrm>
              <a:off x="8232648" y="1308131"/>
              <a:ext cx="3309120" cy="162790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>
                  <a:solidFill>
                    <a:srgbClr val="000000"/>
                  </a:solidFill>
                </a:rPr>
                <a:t>Average Visit Duration</a:t>
              </a:r>
              <a:endParaRPr lang="en-US" sz="1400" b="1" err="1">
                <a:solidFill>
                  <a:srgbClr val="000000"/>
                </a:solidFill>
              </a:endParaRPr>
            </a:p>
          </p:txBody>
        </p:sp>
        <p:cxnSp>
          <p:nvCxnSpPr>
            <p:cNvPr id="21" name="btfpColumnHeaderBoxLine827492"/>
            <p:cNvCxnSpPr/>
            <p:nvPr/>
          </p:nvCxnSpPr>
          <p:spPr bwMode="gray">
            <a:xfrm>
              <a:off x="8232648" y="1470921"/>
              <a:ext cx="3309120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KPIDesktopBounceRate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z2dD7pS103gZfJ6l4USC3jqtWOPR/ue0umjYEY9KlLthURXCUyUuZbmGDPUXB2idlVQc+R1c0j6vNnMaKvr/AnBHPFsgePkL0/XTpsFrxRwwYvjcyvyChgSTkA0WrA8dwG0GmwlBBpsIJyB1sZP9d7xAp2ey1gpzW0jRb65HVkmH31wU0CUfz6Wsa3d1WVhhm8nLUzZd35IJort9u7v0aOS6xXWeGseyTUT93qRMlwCGAgJ0MTKWrvhdCAhS33lj/WBjpWoOveYj3wIs0uqpiLwu66QD/FKmmF3KnLAGEUHPCFZNIeZG+VemSHwWaq3ngADKCST4iC1+L7zxKxU0QXupoYlGQMVLrkA0coQiBp3sryfjB4xIDS2DRILd1kpk3Dq361tTU4F963ymJoPS8s2D4CA9fhb9MQDmPO5dL6iNTmATi8lU3Se3hFzQOt6eawOeAQE8mdugGmp0/fg4hrZFnRs0PJMigkrOsArPfMS2DrvAlTROg7WvY/2DJ792iUoqJUFI2yIMPygkOyNksIJEcP9shZ+iqL98L5YB5tNDRaKL9GBa9k6imOIjAcQjsY2FIrA4jbuK35WlCauGOigsxSVG8OCu1Zna8WTrtiqThELwJYqPRKkb/Ema495cYY8q8rk2fiLyTQLMHPWU7UdPoFU9ShfDOlXdbo3vW1BLleCCGjQ3BTC/KHOtF9ZIIws3OTqgmQXSfnFoALLvKjf6VzxeFQQ/ivQvVqb50Cp4PJdL6Y5wF8KOHQtnUy44peIC/hv64kzqrZ8E1ZxP8TJK2Yq29PCrFPAClWKtEK3hsy54bDX3Gi4rqMKEIJI0pomnVPcWYLMsyjOUhKUHWtxWjb8l6dYYOCDdeGoxaUl3OnbxdIJhH4Kutj/yZTA7dGbfAQX9+VF0dCr2Kp0Sa/wQf+fN2rYoK1m/0rWvfuBTYPSmcY2QlQT0QhTd7BGyuY8NYtahwBZHqKpPwmwHkDVjc+qKZESEW4PI10KM94ML821zcNnHL7z4r89E072v4UmaZQ8TKLaj/MJygsP7yI1VScI33jdSQGrLjIjyPqPF1tIDJULv4DJxVUSuM1ArPFEF0TFiM7EWR0Y0tO6YRh2Zemwl4Ks6hzugb0QePiLoBIiAK6YZPiiVootd+xiklERlcXoUTmB9BZfVV3Mb0hcY1oRSGGtyGAdCLm0Dm9gRDDi3saqilVRwIXRtfQ7/l4l4Gi4Fv+dCi9UX5R+/tJaZRcHNkPeNUKMcTOCti2LXugsu2z/0UGoGzIGG2VH3ndmV+du9kh2CFmHFaf6X9yGGT8seM6UNqIyBtsFrDc9W3UvaNGeER3oDsvBdBpXarMhObqVYs6hZAU7QW8emOaFqFLNq73ZQAr3cPhs74RphT8HF2fEJ092P/efXNyHiUK4EKxrSVYMOHOwhmr6SEBgyxC2oXx1i0ftoP7l/AF12RG7xPsXLbC68grh5kglhWfIPM21QoSNvdIrO+9+/sGXY3QM2OL09OztGxp99I4GAGhqzX7FXMO75rbAn/FGfe4opqoHNzHGIteVZuRSk77lowQxfaOAl5MlrXxbVTiCc7LNlRKTItpDD+Dg6J+gtVXju6aSopFfd1t9ZeK1gkoclcf/09iCY9n3lxR/Z4rUIlVW5EccARN4K2e+Nm8xq1r3b8lh84FNrWz8JEVSthL3ecilqqpZA0unYhlpOEtSXEnU5PzemwQdorkC9Bb6ZBwU8kikxAI8ZwIWmIYT+QNDQAWTVHgAj42WrhZU9OQCcGzHMncGR5sACBlHikp9IuFeEOeRnWhR7Hl169e4M63dZpzguFZVPXzTGznqgj1EBihNtKq7DrDPgXrnxKX8W9ecZNva2DPd1OERBVnCe3Mh4VOgXhycH3D5Z542hTPvncctLvDrHL3fzxFluLVMWikUKuZ/IVS/XKtObps46nUNndbme/ZeSW5GvL+Ulwj1McDk47sonFcsbxiDgBGeaNd5nPsjNf/zP7bT1FjjEBs8HQfoClcESs5QM+Tr0+YnG3kIcfZh0vyAEazgG7+dh/+cEoFZCduWq930RHVQe77m6xiZr26akIib4GDpjFm2SqjqMPYryGBxyZnBXFVSIGkcxANSy9MOx1d2I0C0kcKdQC6l10bSxV1a8/94cxWcIu02sDfOBCGv7P51sSVFvH6VPAp53seOm8JDL/ZzihEFNgobnHyI2Qp8gzwJ3/jr+I9io4zc2otqLyo8F88zkcwfVT4/mTNJhkGzdQglZxLmDsKDs0Uzz38Qd+vkDgJMYyGc7tRJAFkzuZ1DCVqPRtlJQEUksp2G9Mgp8YwMSv3djjitFKMbq2A31ngF8fWiAxQCCMK0jeRBBBDdhLDlAbUyemcsPjyv6TMdzvpJ+3bOJkZ/bpzlqQnj+DD7dL/CPogab9WMw7okNCK8j9N8fbFr4QZ/935kXSEJqCT+ROUVeBq9GsE39jilZ/Zbjkb7CExORAyaexSQfzSn2hwKwPAjbfK5G1yoMgakpodFAWk4ysrSy8wAjSlmyi5UpQPlghocKVSxRgsL9evfQDLIx/nuchfjX9QiiypztQq5uyMNJ5jhm0r0WKCOrjgVfvVZrovhDPB6Wu1t3A2MHp9JTpJ/wX8u7W479YC63RbX6OeMX/4IIHES7Pubs896fc8fNe+VGAxzmj4jEYsqVaFEqTq8ficVrPHpYIHViUS+X9DS1jZm34TAndNGdup2Rsm1qAPskZJfM5Au8uRwkduH7yyMTMhFoErOATsfEhl24Ty7RBIiiY4MzBxZaTsxtSe1QIN2Jwed7M86KW5mgT604SIuLIcCSDsDH0y4T7HSZdGE8uDi2r1SlO7nUqZfxv4OeWRp1+/xooBR9k0Nz9q8owgLn5hnX2OPQOaN0MaO3oXYJBEvezHUQxzucHCTmFjGRg9XSByZ2H9G6HO7MrGmZcb5o8ljURfkPdxNADajUBFVdGScLDx3w7aAZP0z2sPV6Md02vl8eYuImedO4sDFZmtCu0lWxWcVX2sDIKwB8goNxbyzGZg3HHx0IIiTF7QAKveZ0gWnRfhfdfiNZCF5HN+i86WwYQHtMXA7Am5US9oLqn70Z7gC9WUN/G1WdCtW7fO34X1hG5T4AHLnclyZSDeA/zdwX0JZ0Pqkw65TpFjJtCxtCEib+ly4r1WwUkpdLweq7tvDH5tYQdcVM38DnmGM5ksiGooILns42ifI3xl8LcZSHL80+mGXiAmoohiAB0WOE50ATp6eAmQkooGlzQY96Wy0a/2XDGy2syYMVhbSpJfyqglKzTYYwuiS4C8J4EiFH6WyjnGuZdrnGRoebT3yXu5ULJ6+moHG1KGBuCQ9/3yXWLJUpY6NHqHELekohntOTz+Ow6X9mXKD+5AvO8VUbXxlxWAKLhzwG7tVwmbBUXKGbCyp1GBy/k2CDqxfBiUXcbqD5pQPtx6BTDxN5ErN3UchYws76h0zoaiM3jD8nZLXIIe41iEXZE/ZgIKqwYmYa481Cle0xA45JwImUXkVEUjvhaIqSbikUPdk0DdBf8MihoCLm6s6Lu8o3jLs4m3ZY9vN6E19QFlKg5FxOYe5uJqCHcZuC0Y3QM6SIQ/kXrQMv019fFRycoywVVjfknnDCUQ0kOlngC8dmV+QjJQnC4Q3vrMIuOeM+djO+23Zb2ydiSDVh5Uu3XIYBBNhCtVBxu2BCrBujDW2jzB2Vh2pyWOhGpBiQfvHk+BYbTZ3LhNmj/E8zaWIXqyKxnABPZjW46xBquocTMgg76RuQodvUiXQ/lksb2TiYBXHmncchxO2FN0MKR77/IuieHm+NoPglfcofLy0guhjTQ92ySNyYbXPXilTCzpEFZuHGqJYnEOuFsqBw7cVYtgzhZ8YxMawaTH1YBYT7BVrqGz4npN9aZ1ZyeDASVRchURs6yBDgFTrMBzL08YTaLjquMK1fc0IXbhklPmZ4leY0qI20E3X/yHllcXXeMOQwv4zLhN7+IvxMlPqg9K03eqryqz8Z6A0QFmB9negYRMu0bx615SxL4LWMXBDRSxDt9EssTrjjelMH5hKzXTjBfsDlnz5tBL+ARP7+7hdOrB7qrTo8FOmqPzz8OTsby6FGU4ZdXdMxLXNMxeUY8ZiKa+4M3WqRw91RF8LVu5656IfI4lqmJLVpHPBYKFz1jZmTp1gfQiMbAEfI084lG27lgyey90QkfjQO9C04E9OAfeRvThcX+VEn/a9NvoXl1snfMUJ7kVVGqRHUur8xsb+/q8/YDN0SnebWOiLUgQNugBidpvVWjlUI89k0eJYN4EIu37kBJ+9REmhBBFKlvxa57tiJmOrs9qT+vYyy/KYx04fR+C9YSPHGWEYVbhQSHDEehOOHQfQKETlIzQF+WsPIFBLDfLaeiGN9pzZ4ef3vFGtxLEQvOKcCFYt/d2QVzzo3cL+9R4zd9Pwf07ByyY34eKIzFLhT6PacOT9RGndqRFxpjAKEsw7/lZ6aD4w39isoAzSskmYb59L+x3mtk9HyntxbgL18FFhP7iy3sm80cfC69mutBkND0OY/EtiXGNjwtsfbJ0t7zu/sHjYJAayq7ywhNsNXZKPpKtIF7D8zTpEHMGFDtHGnZWZv5yQrelpk3jR62C+VnCSUuRhF+G6bD6FbNPeyJZmLeugq4TzOrVz9SRZIxVO+hOosLcbpuB8iUwIHJ+0hAd8spoRKWZ7wbmAy7dkHVqFT1BLnsLKLmcg7pRhQzP8ks3xc73s36gpFmiydhM9Vq62hagmGLYiqSOD9ljpQkwfTvbUcqAPIdWh4Mo2mqiTVRwDdmqa1lH9uUH4G8WrOWgekmmsdmPsvSppMS5ah7IzM/3zqrHu1bWxvy7/KTBH54dygvfMr8duWntF9ZWMYFCoTpzFXkORay4NFTPUB3x33XGFXLa2SPru/PnbSzC2Ip01xBkZkiECpV3cWc+QNs5RNpuYWxXlIOPN4Mi0i01T5IV7fQKIOa0qNyzUXeGYb9wNlazsK26yK+2A7SYOFMSuEIqAQ7Tgtti1sFe6wZtoT064Z71eTtppXhbVmTNxVNRydCcI4S/9VZZOf08W97KRs+nMtZ+TxRhW5BR3buSaK/YyzjuUUzvaINOsJkddVd+Kutzo1O4uQZgR3DOzaryoADFmEw5Libq8DS9XIaDVGj2h/VMfMWsn/wTiAxyl43URV9Gb19lRAWo87MPyK/pUUcklREOpxf8kmA/RfQvOH3RhnWvCe59CeOTHNwXVVSu4nIgoY4DfCOgikJdIHdcDgpE+9hhSunT84ZB+rPFbMPClxbB+khkBkOdFVxQbkvn8Wuv24TyC6Cf6knFAqwmAqDKRzi50nsSlyrAmp9q1Uips9yMu5MdPOLqczs1TfgINiiCrwZCaTl32ZGSuQyLsNyViLQtCHKTXZfeJJlaU2JOZLOL8//6vYBwXHXu4kX2LMjhd4iB8ScFbcuAH46vR5S9o3mXuyQeuM+PaDrz108RQSoivhUHDho0Wn6DiIT7Rfrz9z8C0xA1XA55/h5gYwy2O/TH21eKuxRFADdOzgGSHICMvF81kFtl4Jqj6ubGqL9NcNCmO7L0QOrgL+JQcw0mSddxeAJLnKcVnG7P3zPkd8afRnpqmpxj/8oJY136blBgzNzBukPu/zbwIMO0sWqeWGMXzNBGnFXaPlXeadTJNlMpOCscD2+IJEncA1tywrX8jvrDLg+iN8MYuPcqacqa8cBNzseuoxIElKaCbjHWi2V3/rjnnO1URnFH/FUHwGiXRuH0GODtpYB2YT3E2IWmbEGAd9URtVX/P23JqIFave6pasbiqA13KGsmvR9HzqjwdAlbE3r0icuPcKZUOBe7/1OIPvB4K4yQmCQNjSE6almEvqpETwAbx4WOtj3oHpRpzfgxtFmOqsZl+fVtlkleGUV8MrR58BqZIszgktCXHIgHWsIX2koLDE74sRjU91WSq7U7sqZLOoFglp5X1ModV/UFkivTFNwaHqo0FUExZCrPorMKLIHY6Sw0jk13uNOQ2uGvXvGSCp08n/tiHg1mnfjokAEKp2ijtdxFTyfrHPOZGNepqqxOfxwoPwpnSfaNO5eBs7GNto6PGCJrdB4Sp+ucyp7tmSlgsvGZyMVh+Vvo3PLXG7SLJGCYo0fgyXlJ67xvKfnVvKQj3h6WmDfQCxiOqRZe0Qg7XE0Eg0w7TpXRENRm2krI3oX+E0raZB3vHeRSpU0CDNmt28+O6MGF9X5kOzGdkeI6B3px/X32O7OBj5fnTJPUJKOEjjKdmIEQih7Kz+VplF6Q5p8FhF7J6RQ39YL3jaFvjzsioXXEG4PYGcRZ/OQ7wFeTB3w02nCxUIBirHow/0BoWYEDVZ0knG7ojKn6te0ABG5BbAb6ZrrtGev+AeN1Vbu2mPqcazW+BQsyeVlWcihzbAPTVnfJU5oF0VAHsyrwBMB8/s9SK85M9DlTwqorsHIUhFCVYblz003NbLbVomHloydDTs7JMTybepbFTxNCUFruZDcz0Wa7VpbTplO4xp8tQHhHIfhEAi0WaKOGEENTwESP6hxg4Wvpm/JCtQy2WpyImnrczUh276RfnIi4Hh66y+k4zMUVllvyBILYwIWaGzdfAeKzus7QPgcx8cgKi3hDfhsDQMuIYn0kt/EKpRPk/uHpmHbigxPMVL0ybodiRaRSNUvYvtCDXgCKegK7Q6kqGPpsrMvynmX8uRgv70jl5Mgtmj2/nBbCagsmpNDdAdOV3ekhk8VNMsMP7z2CoiZKdLFBuD/qMWre31JxTEogEw+9TmaqOGyWAB/q+Rlz5aDB+clrvelvlV8KZG7aIR56gXDEtDJvRpO6MWkpZTDg2ufbvp7wfvgXCrFiuaDzC15odZwkAKC4DJ4EQ9njqTwIjKrxAu9sSgmCEfHxrn+ef/f4MHox5H2iXGsReE/HboH2DkhI4gffv3HUF/Ck+MhGb94haOFEtr+EV+96yMAKrTN0Mu1RH7TesJNSKl/wHwOPMixvMHu3OGMdfka0tk5kOubTfj98LDvmmTSpFhyVzsWSpr52c5sakYI9ViCGe4MPvbWT2rC1uH1qydMucaKOLFdIXTdOYhYkhN5YXL8cwB8fCJciENpPtts1uR06Ae7RpaH5wg0StoLs5r4bDq9WfnzzmxEoqBnwr9d8UprfxlcxqWXZTX1ezp7hek7tb2O0T8hlAv3grnWMhiuAjxQSrxY4zCmbpz2tcpk+WdA78tQ6a4kNNUhDAnUag7HWyoajk0/0rNLQ8eMeIWMCwuKj0KDDafQvTpq5lyYoncWuh4BMKc4uoGspu+wWZE2CxwH4RvvxQi94DWFBYyiKzvKcMsug2Hl1UuvuRwa54OOy3N4RSmSqQcGvFTxM+wfmCIOlXIQuz/FRVwXBXr2UKTkxzuHrsMARJxX2J0qfhxr9HxUoJAWlRdejk+/3hMA0fhWLP9/Tzp7Ra+3hXpeN3CtFgDTjJP2LDcexN5HWzyVj7JgZkpOFS63uWrWx97ef3vFtzzBPyCFPKC3xxmZFqPSGpmcHATOvLohNciJf5X4cYs6pFV1L4EroJY+yY8YTbbIzkeg16FgDW4Ga1yqnxxQppJROonGZFTJcoBSjPtfPDiO2LDyz4d/86Yr1d+9E2n+SZ3iZKkhB6NejLL2cLEwRdj1BHXm9IXGSyBHnuhpEnEIkODIW9PBbXeROADQMx1lekT80FY1/iv6FJRMnarsI47rAIrucgRjbqL8iP96iX9wxtLpEoQbJMBbxDzPwTDbfJ0P74vlBXuxrGlRnRzo0VnNBEMpwa4taIN6qUNBRQgrNAzyCCU2O8Lx9PFHsVFSvdRXd3R378Le6Gj11tJd0BOuVowfFSuM4qts76lTES7T1QxAZIcg1XCILhBKC2aRq5txjgbPbIV21qDmjMw28EY93gfmKZ9wxXJ9phI5Rwx9Dlu14k2tjKgF9ksruiDM60e9+I78LUZSVr1DJOiH/FAHG64ukotz8WDdaFdhai2aRgW5Mas+E80k0dy0UO4sIU+tOswLO1We/jRWRqT1PbKqCaDIQWV9pAi82cRMFzYATUkFXULF/qwsHH6t7DJGlhji1zmWXVCnLrWSN23MmBUXFlB+lYVRCbUOWhFzv4E9XyqEGAsbvwoelD1uEALL1lOVFVRGvnfY1/JtLNhwOUngvJK2YjnT5ERhsNi9sx+9dWSMQRR4rLm16915GPmA19uRTDxLmUbF3hcbeq0dFlJ6GY5M64GcijMrOGmIg9Qt5SGH49WUz1RV7POvUx9rXlcZJlZKgMWCdUzLF2d3E+wI4cv7moKmynTu2Ba3qzXLk4isxZw38jPwRNcmBw/bmf09ESZ/VttFVPqLu0lGPN95OKgSPL3bs9ONtzgzNrDlOUH1PyUhqHlZnzC0VBSpVux+x2sNn0D+ckYVcOD6Eb40oJf8EYT4LH7MODTVzTEGLqwXmgUZYXqpHgW+micx2HlFPzk3d6zSeKVHXWMKAvHqtleLJ2wMx62eFxT9c8yUe4JpQzFwCuCnp/Z5cw/ueTQw37FHznhD5aHTnOUNH/wHGdr94xEaCcrsx5FwBacE2ivNdYRnvG+7O5mIKK+NMCslYGDu2T8Yt6C39BoDwH88xCmVWNE+mwSXEw//a+PDSSz+hsrhAPBhEBPba8mB0uNysWJHznfaPcQ4kmGIL6FTgQSJinvQt3wuk/cS0KiFHBrbUK6i6PIYXQ0W4p4US6lqOcjgmnjq/sqU27VuHPiGwx1Lc/AFIefEEyqbGZSw+zCKh1Gk4IR9mlVW3jki4qpHx2Fqdq+96nsIMNEfIKPmnTzAtWUf1hk8getN6RaJXKhldZyKIuqpc7c318f+9st9ITu6mEZyTBJDpEoh2/HCRiMgsOl+Mn8s58Kxzn7jOTRs+hz2y71TISSCu+JmCoa2SBF0pL7ULb1UfVBNML8ZIqTbhUoSFBuGh5TGvjYZY2DAZEchC5RBrBsPxYTiv/ltj2jqm91cdlKdyfggJaeFKRHTL6QnTHEZdG8IeR+TNe6EEAi9PbYA8YwTyAOfQ5WC8NJvMQmoPkiWxchoAMou3uEAu/zMzWx9GI5jLHBubZdOs4ETnXRCCTz5F+hsgNel13Fryx6WeNLFxrExogx2EcRO3QUe4bGwDunEgAZ2mPsrHwHpAhvn8MmEKY1qnHpKHutlAvnPnUzx4vQl4QAV0PtaGfgXkHncvoqqAMEW978o8TqpBYD5N2A2L2KDUMiv7c/eqrYZLg7/X0SVwV8gxjKvZ6bnIciOYS2UcrP+fn3S7RVA6E9s1bBe9BhqOmXf2YC0ONEji51EWswS4G5jlxiO5OIY0IjFtkA2iq0JP7Tk9CB8ovzImQxSRGt1g1vCtt+qF0YYvXoQk89bEj2amieNOesZ05x+rjdX+lFEmMo3pTsYRl+vGX0YQDmpsmo9KWs4gnsbEaPUwHRvCatei5x5xP4X7+Eqb5Df/XpcfkbeAgEKyPvCOtRSYZYLAbyPSRNozSTyFZaiuRcHwD9yVlsFsPRu4BbikrdbdbCPZJpDL0igraXlphlTqpwAdwD5I/sSXqe5P9wAV1CfhMCEopuksmubQptU4cDHv+ACcIfO7hEcr3qoNZveRbmhOQqrDy5XQHgCBCdO3AYLM27BzMrt69guYCNgk+5JTK/x60L+hoRQRK3e8CXhOUL3p4B50bGNwUH7MYju9/F84LoUREW2skilhCwZRo7UXnDkYnR7xSNHd6yePLuvfHZEfyQoU1hUpv4yS3t81vLzDRhRLoMUUIOfE6UMxmiktDJnSKWjz8RKOdorKmaXqt2vOVpJPvOiWjoDYjRd/on4ROpftaUB8Bz3AhIOpSIFif5y12vaE6et804+ckfufcQ2cPTWtvZ1mCCgzfYApAyB+p6kyFd1SpiHcQX8OBNosDJwo7/KXUlqO0IoIycyWzD8rZnCMfaDWDkEju22O14XL6NzGx/S3WAGApVi2W8Qoo/gUyhyvMc6hyuQgQTqGiejFJVNDAEOM8I7zBB4TW6zHzov2YVYS9FbOfe1krQqzYbCCrsyMbae9dAmEQRibB0A7ZZhsHnVJ+ykqGl2CeyVRmaYIrfAnbPEjiQdVyj8U3nXuO4JZu6o6K2aqSnTOyw3ctqFlH7Lk1cc2cmqA0MGuBWgHuVXEVci/+ju1JvySOt11j7AnREX1MAgUMcP3vcxK13DaBMwzmmu3+oTYp9pUO6jufQkNtB/TTqy/i73HXFi1guSs7SVQUXqK88tL2gMfPKBHxwyBRGgDdGDjbYgBW5YTh/dc+rS7KsZIKYdgXIyMHhir4jHz/ScfJkKWfD+60/zjtCs6Z+tu2235hDDhyyPIRknjesLd3cZ6jPdxrQSf9eW2M4Eq+nOR8i7kv1y56rrbZ3H9H4W6QjheYUj7M80KoBdTXqHO5YmpRrQg+MrjYLCEw2wix/7i/OWdxTW0Qfnax5tSQhZE9fugLvLTUYJbpKdvhSKqGMDIkDjf9pFFaC94+fkN88DW5+NRtVK6Xg56yVAyYgPjR/QA2Gh/TEmXfF36xVI7BO1dG/mtIBYE9++tFo7CzXcvdp7m65bcMCu/dVs56+k8kpG3RIK8+Co/6BInbgGdP1E32FerppPzDHgFJ7wyT+E65fQhT8+axIpWZs0V/CGj/tucWDLgYzPGSzqF1AN+QtabXjIKk2ZzeY9ZFH0gcxoiql0gdoJtP2W1Vc8IMiX9Pb9ypkj+CJbZSk12njPg5I4i6c3vQDJzFtBHWctF8TbUZFxU2XnDcj8It9i0ebTJZVYARSJx+sP0Uft8/o5ecQWB3NXPGSMzwVHnuCe4/0Di+iEw2hkog3K+ZK52F9dcd7rTGCdUIHljkkHDb2B4MpgvDrcBvegwr2AVdDxs/8Gu46Z9oXLivQwlMTUt9XyYFHtbsXJnVmHpbKj87pSXGF9QRtc0QUO1d7oHVBXQscsOOhKw1GTTTnBET8w+mg5CYvGnzLo9HxIU/PFD/fVH6aMTBwAlO1iLFaketd57H3Nwg5+2m6d3X0wUg4G2RDPFN2xS4uBJagBaAELiatNub0xPrSp48rKOiD7ANW5LrqpbPjqjR+lNblhUMrPBcBVhPfx5kW2FCHdlfYyknzcRC96EcHdnjNJ26sbj+Q5AjqJmhyvud3ISibF0zhMW888swhc+XQmhxmTl2sRSeHKHo5GO5GBvvu4H7jIKdyCieWm8dXJZKNCQtkEyEs7OP3AV55ROvB+c6scaX1vwje/HqGUqDXjv6g2+F/kJsfS/fMb/AgVLmZlse4jcHfdt+BVXYMmeplw4D+l94DZsZPiuBDO+ikuXTyuaEmJQastIYE31PQwz+FtoNcfVx1mCFCa18KObTqNN3KskaFIV6WwP6fle2UwS0Fng5cTv43fr00hEp33XO9oNHJR2q9utVaLmZqwQ/1jIHwJbpynZS3OzWgqzF46ZnPHMyt0D8RzeUR2ZLcvs1Ga12mEn1zuy+3pdDK58B7kzpqoyRhJeYXro1XwuwIVX/mfFyk5GSpuLva54OgRdICOmX4Kj5FMx6aSdd0RLnhDX3wsyoxajCM5eDlXAkNap8M9DhzMqgq9W667BgwTynoKeH3odbtMfrI8Bbq+32SQCXwAv+AuTij9XS3xTuvTbH6IlSL0Psaab56OXJc21l6lqG+3fJlja+pz0eDRkgnPWELsP7+I/5oEdkbuIBwMHb8mQuzXC2LPEcHsU6qgxBuo2Vuna+JivCoAxMebQ0JPD6DnBvOlBKFyiO4OXeC96ZcaX9AF/D9m7jJZOjTMBlMMKP9J2M+2id6buOJ+H0D2ofdUgbNHjJcvZ1AR0UT1fwD/ydJ2HMTOdt/gOja93jr0DSfYKbRRt2H+3hXKNVuSFv2f2F0qxRROHpJSbX/V74fU/hrluPlYYtTnFzRC7kk7iRqXXPxL/DLKzUSKQ2UYXyX3pHkPDxmpnxgHcek0JtjJWkEagKPeI51+o0B3RZbiwhj3YSLVGMC+MGaRE9vtUTF+3/dlOLALRzKsKhn2uIfA9jq1/ZQ+BafMhCIo+BKeO4V8/e6rsBR6tA/a2XuIFleeF72mTdn5d8odWJqSDn+Ajlr4e1BAgDEb8g3b3bwpmT9/w3VdTv4YRuQgNsxSPFDpdjdogr6W6z9WHuhkNjlcFDfudZFRJxJiPWMBAVaaWs3xM1EyzNoKDGknStuiLQTy6v5DARX0onErO6K9kz+JD+c+lGEP4oinl1IadaScuktfUtXQJ4vXRUbHvTS2xCHWqllRcIn1bybQ/ACxANPM3Z+izTOLSM+Vmf2x++FTI24c0sv1hs/ffk1irKTxsgDt3tWTTAdAsCGiNnmRTBAlOvpUnldcVX9tb6M6X7Wb5C9gU/HzElWXNDrFzBOMghZXpov9mnY58aEFFPJZgLnSnU6FaC9eMmcxrgnl/muBXmU97whANWVvSZC96bhuCsIxof0D5edsKLr4whk6q0nDXGfLNfgpKpqGH2xCB0Qb1geTgeenZ3QHFPktDt/1bd7J9w1iolvmAD0p6LOok356Di2gJrybwn3c6a6E7sELsXNAnaRAbA3q3GGypizkGjN2KzCAq9zYwfWRIz5350dK+suDmyV53+tvLbijFfJjOrLmVqZpiwyP3mnMn8E/wqullG8bd5wFEhRDaTknsXPaqLX4j9bDRvBW9VORxU8GzogzSSJ2T5ABSnfZMkGWQUaStxuh5VxHQ6li0xYaKmNeWBlC5nHv9EAR7qdlvfIggFnPxg+DWF7+w20N4I8GldD0ot9aul16h7KLFCJC7onn+LigHhiZwceEhTFN76kRXR2DaX/ECGhqKVAzWOwT53xDd2b68tOnc9TaTWQ1XHNNIRhJUgP4pkAO3VGYbxe3VgBExgY8iGxeewPWTNnVlzXq3E9qANew2Gy1SXSg6DiXGqpX8uT3ZF1UZMWrjPkGVbbmVCeD5oKmsecZTgEBITw0dKNSt+1UTxmnav0iGkryMLXCEnsgHJ0Kfcegj8yP71B6lSLyXYKYt5DoOFtQJLGg0io+vy2AVg27PRfwIxZoUbPVDEi+mbnq09PWNBluLFq2QWL1yLY4e8bCgvBmFNlWqhan1FICn3KgkC8qa0+JDV+A4Xx2d2R0mEUrsENstGhlEOCFSSJITneusXlrCIYlcP9BXCPMOSZFdoZY0JZy9Ly9LzgZ8XLSYIkbs8GblLudVDXA0g/jfATM8+5u7vT0pq9uuBzRxg3juxuHRb51eKTZKmAPluWPH3Ei+3lDtFVhiZw8VPdY5xtjWy+8a1HY5wdrczfptLuqIjDnC+7/E92Zmxbv2d3QEIFQqNJdWmS9WXT9EoS60I0aRK15WYxEQDAmJx3K7zqPmDVH6ZysrtjRLazx779fS2psibQ0EUxCfWIdgaJddcVQW8CoTVKtaaPt5qZXv5jvDI171+S4GO+EIc87pMEHbww/YUAii72Do33KcKkwgW9Er2KwPH7mRpv22XdLCQ0uSu96solSVvB13W849xkTBL0z6DA6f2m7MOupvQYDO3RFIVYocwqltgb3iY5xmQh//VXmOUJcaegRwh0Xhx+LUIUBPTnEjA+P8ktCtNPB22lYXAxjA/TYYZw5yY13bjdaCr4sAD+kP/AVxX1eHszCp7ZpTrsCOaBJ3i/y5/AEmtAwl/ZAO4drwU4QijbH8iLGFiX2LX3sTN4mInbpQk95C+38leL0QG5RwrpUZTOJgOePjAFYEY7jVotdWwu2L2fikqftf4vvDv7OHHrcZPIaOEbs86pbXckTEi05+NJrzFC6Dj1SdaITJWQll8aW1tzj2NOvci40Gb7cJ6BspoU5cKiNOoAMPBXJL31aTQ47J5KoRJe/iMLd54CCl6A1Pw+TfAic1TXC47qMdzifaEUmmcKvr10zBPnRQ1yJLb1jIBXoZfIYslOI4q+OQjwI+6KpNv/iV6RZ5Sv2cPA+HzKhnde9jqyewym7CS+J8kEcxYvZ8wUR7sWhrRhNZpup5q7sY1+kbUvNuJojlZs55Yx9M2xeZAHQhmf2Gj9dOUHC5PqI6J4FyPscAstfAdXFNMO6iIfAI2PT1Rsx+MhQI45X051KcPNAp5pHLyxQSr9+6riBzqV0vxw2a5nWMHzLGNXcxSQgMte4c2Jilpw7vob5onosfhTjNyz1LUK37+/jzbnLjMwlkT26hyEM/q9ZOe11ghGB6kSwCNYM5tU1hSewkb0Ut1ph+6HmiU5tRfcbsthSa9fEPtIDJU6aoKyX9xfw83N6e/rkVMUqT5ppEyizQcOGBhJ/DCUcvL3po2KDrrcaNgdyuGQI9Tr3uastVnmB1+SrcG/9vYxvJkh/ACS2OfexRzbswv/ssshcflv1kEfYO6AdslnC5K47XUT9tirUwdbCp7cW2zpyElnwy7f16qavfcKVx5wrEZL1hleafzMKFG+vgHY6pDMlXr/43doACNJweudeqaAycAnXaSoEaUUnjixBws7VBFiAOmr7QSjIw6Ozb6iRtGukbnqS8Bjt1816iOlZ8XnZH1hzyBL2x/RisxGgMLFA5xwAhooROmG6ZNyMNlIKf1z9KkR16ge6HUHutyxX7sW2tYINNT60lLN1LUR5xx255f7nmGIvWMLEE2bzcbewJPjMpxZoxN2zEop19z9M6L6GdCwiqofVBisBiCdUV4gj4PYmsYvNR2x7jgYkXtj8Q6SDFxJLNY7o38z5bVgKQF4REItewRTWqY/Y8OYefDbiLxSwLc0c7cjAwO4d/jAfC3OYZcQac9vSSAmtXOWtn2kCX48f30gMCbdxCdMoZaDE8WGuUAy/3FFhQHimd3BhOgJ3CUq2+drqpj7lyQpCy/OT9daNmsQKfdf5URiTmvqnusikuyzbYqRh6m2ZfoCU9ZTVXfhyVVV/VQwZQVYYHtUPIeCTAztUP+ntLWchCb1M3vpj4kwQ0k2IuDTEGJu3sv9XVKYDPG5awb0Hfmg40eob+eNQG19dDgw1zSHzPcrJXods4JWKracozgw+6OaYMjaBvbzc0+qf5Z4R58sQTvbqeULMFsK4WUNgMTcIkZHn5X8YbeFQV+rjzIZDBjBl0UzTMSXeW+PL4VwIio5Lg4aiQPUlA5D/s4/ZWSJtc7SSWzV1YNqkX+RQgAPpOmIiuRcIJiT2M8JqbX5Ww6Az9vfuzNRSzeJ7djOU5ikQFCWYt+Fkhj5faF6nU1qWnS9OK7o/uaAt8qDDtV88fIbDePZRFQklswEx0C/pqoebEv1UllJqH6pkqo9yFBH6yfsrJ+MT4+n/3IMCcIe2ZJW5bP9Z5dv6ydx0g/XIehon3ZOWTgM271kD0XdBQs4YFfdNmFYxe/4qj4aYZ7pruL+x/U6mmOEmt6kqhdDf4wqHsZcc23Fhk9/cP1w2hP04kut5PhA4HbOc2c2wSvTnEscfgtTnTt955Dfv4us85Vkbg5zhOGWKcrAlBZCFeHf5AKk6Rr97AOSWN7MAufN+up9vgQdlmo1Gg2kkxUkZYgc7hPJIA/WAlWE2hQngxyOfyZicQX5lQdDp89ERUq2m6RihpOLSzxbN3dizL+Y5y1/cOqxkHwIlxoxWXlxS2k6Uefp0dQ0wLVjzEb0O+hU3S6eAXdFwDaGJYH7ghbkqVdxoLq5JFSgEtuR3MNpSGy3lgN6oB4P0VbVSNIfj45M5wuRniqqZJ3pENzZg1VxFFu7FEYt7fK3Y2/GDEVBgiZycKkpZVaptiQzt24zv3Um2L77wNOn8ZGqTI+uhJNY+zXA+9R0CzFoq5VtnmPmkUk2YoqG6F/7cZ6RQaaESImDRygEvfuCsw5MlEMo7pajHlqwWLZHKTipkQJnOdYvTTBWG1YMs9JV4homIdtdC0quqvCSJ/nq0anm5n086/6yyptj40wAEV7bJxXRcx5pO1fvnqnGCGMJq5y6jA+oY7mVhVbNja43Os86779pINcYMAZiv/XTqJ7s39INK8ry4eD88DGymJoOTEdfL/PJDBdlhochtuCttvcvUalOGFI0jTL6Re+J7BLK0jf3ORBwGuQuGCxcZw4mK+qMyFBlBVn12mFsjINzFkDLS7Cdp3lyAD+/2FmPzbmlRj4C/icfy2yJUOVE+vRROrr1gisyx38q1hguT8VoaC90rnI/foyS8dPNpWPoDtNThffhFaGiuBJWQ0zbdez6vxOSZS5xz0RFtaPWpUuZ0tla6vGWfmjDhhME6fzOWS5yLatMSkWTAUhCV2wXzGQquvTQH2IUVAZ1R8noTmfpGVq42UZ2sMrV3biwL4TcPqdOlvFcQKwMA8yU8/2MiagKEagHgxf65yAfq3lY0U0kZrTKqI4yua9nCrjHx2n+y9Gd9lHJxU2CsRPp2YFmZXQUnpDIIbMxWi69molYXiVxWYwe8XePQrTPuavac8QBFAg/ePh7uiZ5beKIEGiDG+QxYXXog9yZwWbokF/zmz/ZDuWByEu5UJ7r7NbeKXEg/x/mNXIY40R+lVoS4pklc31ww/OIimyE1S3DpmsYFuP5acgcUGydkrnQNW0kYPBaehNTrfQPchb+VgI1/7NVQ9sCuEy6I05TleX7Q8e7jJLfXCnQdgTMM2PZNF5YPyDJ2MoEGAS/n+sU2BwjBjEBjrjuIGvNBt+Q0fWmSwTCtUYUKSK9QYDyP0ZsEYaADCfqwn85MVjUkcwHTN7H4abJDXd2779afxhJ8CXOHJ99+RYwehRxVlPVO0wOxgyiXIc1l5cN1p29LBOP18VcKREv1jkpM/agmQAizUt5RKYlDjEzrOcudu1y6zNXLlyQVkhG+w/YQeptZdgQ/tQVXhE1fb18sCXEXuBOryaC7rV5wrTrTiGRq3PXqk9Ei3QekNjNjYfh143fNUVmymu9Uaq3alF4uT+zEnVCqnsm4HftRB39uPtEr9kerOOU2vwLDdY/j3+XFqnl+f/6NEmoGEHtIx9sRQzre/n9oU76dVrnyzDu2cz3HBEtr/Yp+th104mXSp1HsaqQ96Ro3Km3IsmzPLVTu6eebESyUKjIqrIN2B/1UC7XucCosHgcJr+gCubUyLtL6Vdf33hnAqra563KuOhUiWNQKxDaMY0/e6AXZKPTFtZD9jRmgNQbi/VmV1kwX3Esr6Ads9jMM9oNDF+QajwQd9KlwCxD+hYnlz6cHrEtkKm9TnVQRr2WYPgtD3HU7vySQFlXObK3xYvlE7EQO2hJYV41t9PFGotXsomqyjQMXXUm4uGb3NeuCsaT7c8+gasulEMf7zTzDoSKrSVtMJmve9Y1Yatc1kJWAIFQenj40rTHIVbqesePFN452uEU/SAdHObn/EFXn5zJBqY7gxgPycI2s4fCq76EmfNGcpnfKwMuTMW1wagaKLhdzkhtM/1nb0Y7jpE7/xrAvuLJVmdzfYOV8gV9ZJRxIPcilbID++bm6N1/ned4DpnEvWe1GZjTlbUiJtMnOrW8m/anYnF5Jm3y6LrJuUlvSj1OgJ2CSBaRotNm/oeYt+3/1mM/ke7rEfgU70UdfAwqyFLhNCr6hAMz7iU33j+Z1HPl1UY2GRPbdSt9pTNfRbYlN7B2DzlY4NaS1Smf/NoxoLaD2h14i7rkYuIm9qeFfX6i5YQTgfyJr+WzR5xJJe+h7UZOkF5JNXN2wOkY/CXYjbRglIDfVxxA1TW4u00qV5lZuT/EaxkewPpgPU24XZahKGHwKuxH1Ez6Om0+AN87a64PVldwr27OJXv4FRVpsj5zp37Kq3KHPbu51JK09VZe7I31wDMFKIThmv/0zErJKyxmwdbjU6n4l3JxkPJri4bR2hXQ0U44YBPxl5jioumOcZJp/sH4FL73P8aiOHVZBSVont4x6c0Lf/TfW0gP+QVKpk0EpTWbykdJTJpiVVOcl/I7LWGjMKlR2IIkwsqmpyh/ReE0bky37mv7Ongs70EkYaMyKD0J+N+UsII38jfWHRhE8vdmINwVq1SGeEEdSuNOTX81lk/1BH4/SsFpKz3pBFPCGH34JfY7Oa0NS/zS8XkDtQtjIjZsWoTG35RhZC7/k4XGBxEqvDVU20denAWWyouRgFiEMTJ34Qa+1NCyKwSJchDG0UL3mDlCfh6/ke5JdD9+58bwbu00ORyE9k3rPAvjyP4gFjegBqDZ1gA5SNFBJ/IR5ZBHX7IN6Gc7Q/QWxTo6IQhVnwH2Q8BWm8NeRPjXdWaZx65rbkJM6TLNpGliiTX7PoaIRN2PhNacZaZJ4TuDogW1bHf/+ssTVUQmmTzVZwAzXX8odimo+E7pIwX2iOgGC5I5aT1URRxjMMG/1mnU5kWi67HQqW2P7YwTU6T0KP749p/mAB9bRGywwckAjU1lDNaxPnpL1dp+byasQgpYb9NLGzEzHXuAGzvaSao4u1rgKV3uE5Y15Y1zyusxbcCT62WtxVzOQcpCGW96AnCdAhFDR1vm2rG7TLHP7h52PfbaDyEevLgFFPcIAbkGnfTyqwmdR12l1n2F2Iqk5jZX1VdWkrnweM/utJ6Dc4lO5Ay7BpkFBsf8gzacM7JrsiiLWkTKA4OuoTH+xajprA6GbGikXBY/2UQq40kRjao7DP66y+cdXOoqThYMyyTA47Z0eg0Uk3wCSaLm+0mEj32pDyXPBsGdJYXaOyO+Dj1hIlVEsB2nkpUIc9sWfhIeujIlaSWGij3BbrPoUUroyHkdiKRX22oQf+LIW6tQ8mAe22QJGLVj3ELYlZ+FfHRRDkOWvMGVHxhmKcP00myWCcSfnpOOUAPKHYceu2oMY+NFwJVoTBgbyfR2OtExXEC9hwSKEGN0Moqhri/sXa08vonQgDwKMvnYqKVLF6N/XDpbT9w219Vn88URLQKFBgrZnySF6t4hDdXY2Ep8UgU70TNL+nhxgMKJM/tqr+0lBFNIvicxwNTy36PG3nv/zDDNE54wXFwFrS3h9cWtGnye0SMxPt/nXhP7Cti7wzyNn2rD1EjNaM3CLDMjYAmE2PMG1cohcu37gcRRj6FHlKuiNZRRR846onv60JCMRnFZ1Md9q/lTGk00uEXs0NR5KbolrZlfng1eQ/IiBCbhwjD3Zz8SIAGHdx0dlo7EUFwFfhWYz24m9dCvXVnYtnoFb/1hRDtE2OWBI1a8LlEPU2aKv+eqYZurk268jNKgbiQevGEE+IG9YTfaWpq892ds679z+DqOrIG6DrGe5DvcU7bgnzbIpl6sTTCbSlZAdN5jXAmzVfiMqco8iSBk9hLM4BFQ7XfRP34ZCm7Rpk6e2cU1d9NoDeV0psR8z+8cW9aZKCO97xJh8uSfESs4HG7k4KCDgt7RUR0qF7Z+s/SqlA+0kPNaA63lfGY7OEvvYsGyyIiT3+fAW+3vUQ6cHWFLg6f2iXbNVCUzUoyzYLPoxFcPPk508MSqwB4SpPCUNe9orU3/2HzCb3AMQc81FVH/UBlQ9KZ5kZgyPYTqc+ffm0GNv2NNiKYH7BC2YhnKbkug6CGHdH7qz12LWwnadWMNMJRrHJdOHkBPf3aahIsBCHK4q0NhX8Db/oPy3MglTnuDaSRjpUfoIdfiLzw8iiU5gZMFHcch+pmdndydU6O9JfalUh4LFW+eJs9QjApYYW8lVSSvl0Q2bdhxn4Um7pGCR/6mujfWSTvtXbMwiy4bL1q/Vr2YZrzvUUicVQZX9FwneuZKHtztxy99RRxF8B0gjaTAj0ZWBB4ytttQiKCn8yaxiK87EZGJ8Oy2ZtkyvsWHW9Ib3x2YNgz0nTt8DD3Mb2WH4P2E3n1ShJFPYJHTeSySB3PKfCROuyVwpoQzeJeyPr2mojeqD68KXGjl7xDd4U59Aas2/l/DkaFzGlIR1HlTg0ZYvEufRsfx7qNQInHA6X3HxCVhAhi5HZIcSIPAhvZEJM3IrRiR+K4pCZGmln03x7/Onjdjx0+svGfRgM6380Z5edvTvtipFpt8crUqPD0oFgc2JI1+Vlc74SpZL7lRPHmjsmckHZ59f+29dZEAhJlWzZLn4fBGEh1K6cH28F0AEft06qHkVhei6IQYkNTdqhXXlTTHW0kFbqP7rxgCP1B5lkcoLD5lCCX2+y8ScW1BQiO9lg3e90xbaJ95E6368CFwQbQkiDUPTRlUO73BDnzoz/habWNhM1o//48Ojc5nV/Eo7o1cnShvlUfILtbhIP+rk+3la3IeOaNVs9K6ef1oAYolx0bITtZsmJ7cR2wYIgGh95BzvbXT8K5ZbUR3kFrEUoAzx8fAnmDOo2eRnoJ2uChlguDFpizcMiuKaDJbAfg4SpVgmf3O0mlB2/Ohcrc49YVZpDmkckixpE0imv65rMXCYorL6ZpmjAhEwDX9fXb6ihoYqAUkS6eLCewHaBbWlOQ9OgG/Jlr9rCTAHOSB0o8xmJlrCAh5NMtOpdJhFvlzkubQTbSxGdC0WJJhNGhIclQKyqhdx/9YbiJZkYv+I5xqI1IFt81aOt6BBB1RwN2GrWqnjtivFUNwtxH3XWxKMNsO+99r8rvP2KLL5dGzZe7D3NhHQmcikezW3PoigEpcERo4u/d2X5Y0I3uObYprGwqKOEaPz9FZ1FISZbKiuHiaHMhxrS1AX8yhs/bq9CmnZZnev3T08P9VCV+GvF5lNW1y+5yULURpSfDRYyIKJz/idyDCk3fu6uTJFC8VlB9uc9daU+YypkbGh7nsnIhRE9V022BfDbImo7lX5ilcBncW/EzDmLvx8gJc9Xio59PnHlSR883DmjPhX54vSHHL9EqMO62sQS9tzbhs9WLIv2a/pPmlqXscyf8nr9FcQAt4SgcE6FxtDgPcMq82GQw0AyY6IwV9NiAOyPyAVQNgY/99o8fsbytKxe5UfHNg2crC1lFdgIV10JUN/HiheTUxtXV+IWUoe5lWkXRoapYtMhPm8HHCibNF4vxCZs9p3wNjCZsUlMlZjcvOG6zYKJ+pbZEDPc6NFClXGi1qpfUhjE5mcoM8K7TJxsVfxJQ38AfNCN7gApa9r7jts6idDknX1+LkQkCf2lbzyptzT6IB82rFgPMj8eBXDP6Thw94jygOEdUrV6fiWqvq13WiCzxcdsQbL6QW9wHTSS7LgnMx75+WLP5eg5eTrecNrYgrhCQ7tXm7uCKBe57pKw0Y0hbu9khoQ5E88udi2cLshcmf22cWowfyMFwlPXCJ/98cvHDtCgiTf3NDch066huLftuYCBnc13utkbBMKA3jhcsbak8CBcx2hSGRDN7us5z1aIrUTYBwm9bAeEI+VPuwzCPbjWue+mX/0LW25+R97W0agzdgJTS1FoEA31fx3EmE4a6g9W8kjcyYDl0fBjyaG5y66PZ5rsPSlvoY8uBntEy8rmFYqJqBRJiQ/547qc8nqHio8Ggt7tbDdvR4lonr+mxEGy98S5y09ilWNy4RJmxtgW9vcRLR1/vJsNemdNDXa1UQAbafcjGFrpfZ7JbUKJOkLGxOq3ccklFExGrYYngnm4y1xMgxMPgWkBkR/3mX+e2fumfhvOEDaeZNeu8bEJbpIJFa0Qok/18JFaSDO0cFe1SBb1t1ZXsVgqBsNhZJMJZ3dV1jVDs+R4R42D/wwFGpHogUky3AiKN1fz9CKVHzUZqis5QhzrA9LmMtGbrpjHU4jvoFtDkWAeNiJTMFDzocrR2fq17BMYqjNqNBOWu6PPV+Mn6xzb+771we1rRYzsSmM95FIEAi8PXWrMYFFx5gKTdC1QYvJ64X37NESvQiKQqU8jkHHP3O7qbOr7Qokw8WpH+5TfEMyA/OpstDA4rglAZyHASInV/rgPB4anb4Y5/5g+KHThqcah//+UgFptgrUCCT/ykGO77Xg4VJesaPC6K+ruKljst9pfM3BfgBb3V+ar3wHfpUH76QaBEnUse9qSfsV4Uf5FY6A8/hxroFv9tQhDxNpQGVt7pnlLJFi3oESvkVHfDP13xlfSrlrlmN3d5Duc0Kogw6oBlqlC4s2hEAadfOqh3nVS0fCnqUcAdRuWYFNqC6Ei0kMzBSWOlN+k/hD4NaetLhzOfXHdzF9N0h1kNsQEDnLnIK/zkU5KqScJDXswX/YGME99C0VHNZblFIjoe/C81LmsBly4mwE2od4QGvPhCRvgPyj6e/2ZSitOiJMed7VwNibKImx2Cvhfr9+ZDJ88N0dJoZ28U/5nIXtB6gTSsrqlUcKaVWzDyXSCx4f+AwEujGPh32+JeEaVL9n1Avp7FkGpITHQ1lg7JRhAiuEf5XyRpGgeaceR1Oy+u/lJ5aLDz5qs1Qy9z8IqG5WN8AyBdHhHJ8s38kXUWcmpxvrJ+Ys/Zd8yrusGTbg13mNa/5U5bKKeHKcWG5F4Ua/sfWHzy6t9hjFVvuEUpi+f/yFR52XGt2WLMZH9YUCU2aXHb0XW26hSWiNYCYhUXIRaHjNon4kBRirg30b3DAKISUUIU4+6vEVPeguOj0hAMHc8eKLdXJE/VsIKYVMveCC5YAiUmAY4YBXjKjUHOXVpvpYXvFFkqRXqdkD97jOzAbyJ/C05ZIDfegdcjnRbbRwT0VV1DLJsdiXEEPEO8J6Vnec9tZP/JOLJR+frK71qavA08dj5Zcff/FSKDiaiGS2uZv2yP8iG1sVpWRuqXcsV/qVFECiKLLK8W2eF+iNMvOQJEvf0M9uVwYVz/QN17SPxdc8DTOZ/BUxwAcPh9zKm2DzH+wzj7GpB8pjJs2nos3rRvcgH3qBtoij7xm+I3DYw5v1YRo1BmhkR+5koVf9KNk661D64HuTeR6IxIM3Kf7YNeF7BbK6XcO7xc+2OYO7V08C5CS4hAC7kaYchwAXdXuRcDBkFGHNMUu7Bms8zY/MWe02raQBWkezz8rak+mccS2iuHta8XI/MYLghTLvLHff8QkvfJZuBvfnUIbNz5KXaySf/d8uE9LdJSwZ789XVOjkj8ITW/rmvXXr/CCH4G/nxw/oiCPC25qur3laCWM13kph7g5A4OLckPpjT2ILs0uXMWnxFyvIYBnpxywAzU1BlkFb3dD2no7ruIDKKk/yzDaeTNXtNcsFOQ9LnyKMKWh6RgeBh6ZT76SHs/CGHQ4+omCpbjNJm7vzG496sdIMvvN23pVL0VLSEO/Sted7x/l5oHmmHXi7OynKycOfe14Ojbc8O9RyabU7mlri0LFFxTctxYXGx/MUxlG+HjRzB+zU1rzP3Pa0tKx8/zeu8mAk4FbYu3HRpfKOZi3oV/JWXQ4/TNCuMmUX7XPqOpS9dQ316/ije62p77gCURUZ88m89ClaYWqf9qwpJx87r94mEafvoL/VtdSeGSIFJuljUTMSD79tqVcESPmHroFG1Znu9SaLKHP8EJRJXXaohxvqAJfXSORU3GMaFbf4pPL+iAVuXsYD/SRcxG16WI78gsIUjBUIR62+SAzy7NLPFvqGVTaS+h+hIZBDQ7lnY9sygsgybIts+i98kid4korrM2jabLF4PIg2EkzgpppSPH9jwL2A8pyEl6KUdhOHKlwIkQ55DTn/k4bALItqxjWOzEcHLKiGiICg8TfxP6iTW4965iT0saTQj7jVKaD0DV6M9TWVJ9z1g2whApfBF3OF+BzJFEkd64PZZ30I/r+u1m6j6Vj3Y3do/O2RURf9tw4FmJ1UgJbEYhAF1OHeEDe4fH+RLWf2am5DOIJN/ef/9lFDB3Vk5/Vw8HuW3pJDrb59ka/5lKZ5rMjydvVaXkoYgmAbU9jzowNoYg7JHoMPJ76TYa8mXb2/pbws+EcFIcdnSK1uRTIx10t6mqIvvBMzzugykfNqqnVOS2oh15NPvF0N1oSqm1e1+pWEsJ6Wl95eLBZRSsTrXfKiJ+oGWIKy/wLiTFHb4cZv8YgApDIwfmnR9SK67SyESpOQiarqO2nPxFl1VFtW4hxd9JpZfpdEfnczqESIOU6LGDwg6aGlyWueUIp2xOaAqv7iZuScoym1aUv1AXLHvFdtY8FwEqXrn3fSfoKAtrQmmd0rlsM/L0f/nl62mh9Y3kmL4uvxmzG8Q5obbKTWJVSwqZs3D6UZIeh8gq62l7FdEuoRVtHRaJlF9SkIuOeyB37THQgJLR3WqY1lJt0KMhk2au6tCEi8LLmDELE7F8tDpxYTUaSUkBfzqCeUoar4U5U/vYEvJmS/JHdbRKPRGxTjkfSlI+lUE55v12TOyzvFDxjSr9kqyya8RD1w4BuTVQF6oXQ0zOh+vtMw2aGiTPJOXKThLFquG3C/qlMr0txNk59VtmxG9J3x9Vj6b35mhBaIArhfJMy9wvXr1x63trEFXeKPiwGBwaYv/e0DcJPgoC/xSIF3Zd+496VWXXDwPu9VZsJKmKwvrDg+I3MrjL7UV2VdYjCB4Gyc2FtYTVhGTjLa90SwXKH0tpmXIPkiUNmbJGxbXybz+hkk+6rCtFkz2jGAuWGaP0rRYLag/UhZwCIq7UMDg6Lgw+JO56molBkjkVKbLQ1X5C9jCVehsI30PT6Zj8XE03w/qWpJ3Rgkr8LG15ALFz/7oBGASz+8F94Epd5yKbZtDzBbhJzYkgkWXfvDxJ/ZC38bRm/I7NPzAzGLjDWAZ5a0ihyWwawMWG4jFNmFo54T5vJMceoP/AUScIcYXT4uY9tcplYBqCeC/xd7HBpIrg67D1enoH6UPqmu5XXGDg+PKZ6fCilVY/e030rBd6/llKbJfTUT7xHRIGBTwbeWkK5cJf6UcsbuioL51qhWBvGHT4yOACkCecJ81V5AveDCP8u2SiuO9DY2/4KAxriysYa8DqfIL/6/6JiN++Wgd1174T3ifiYKCVpZF3HJEBToj90SISdoOKhFh018Txx3TAz3JEqz05PDFJ/V5wGouS4PvXpps5GGLgPPTxEzmGkUvpZH4vIyvqB/XlzrbdczP8zrFriAUiNY+jA/ftUORnMzjtFTamtPBxb7SqcRr2u0bbHNDOVM2t1wKqtfR/IlhZaZM9fv4CC7OJZWJ5QKT27YnqflxrN10svZrqcomC+RTg0BuJxm7CyBTkZWMFOm4JW04CXdsmGXFOSq5FKeI1IxnOWXLjQVmNjc0kUGemwLa23LvdRfDaIW39Nd0l5XqnnCaJ4Lz5PCAOXo8mgveUatjfHPByBm6tor1X2EItD2Kn4CAio6vA19vCoam0oHoO6+X05zA5MCIeuZDn+puwYmWMD7dFADcnzX10H8LZALtDQa/w7lBamYqPffGHzm7KGeWtjlLieXnv6Qqnxq6kBctF7wvpWGM24jtFuzfvUSUxmcxczcxbGW1YWiMUifBXkN/uDom4yhooYgIt/3bZ0U12H718fQkFRESa7tE4PM0Kt9acPzZPM+gjhFHCYZJknW/FOixwPAPLzpdiAybU5FnUqCaPqbejTTt60Ptnc29k1e2NaO/1T7kEgguqPuuZsqGRbcQPmeaHlGwyHZWLS0nrrq53/eIxzmIbtQc42ATp51MEdTEoJYK9sGLhC0FWlMVP/B0QUKsD1vzEopEENcuBg60g2mn6k0Hc1CJdbdESXd0HgLbjYgzL8Iilxo6364v9Xv20p2OOiu0oTUfJxdjQBDFkLiSxVoSj501urC7Nr/hdP5/fKb8Hy4HCleJBZsxHGyhKan8Kf8np+53451KQ9OVf7v1SG2oY+TbsfxBk6iXRXHNfbXNJ1afwGWm1QsaypJIffH7ZhRF3nLENmbnBPSj3g1sjb4ElMRhtcxpiuXJy8RizOu+yjDEVi8Ed2h9ZVEw4JHXOsn8jPcgGG9tiaAP4xs3ws3vgtfWoJPYBdvazAvIcjgaI62Y4Si7yPzJBBr2aQGsg57SzM40BmQ1+ezY3ZbHlxbgiQaTSeiaD3id2LL817FA5O6WPy40qvVPK9z9lRaag4iXNy27ApOhW0plz2ahDCIvIeLjo6zPWuw5u4uXLuTFrASsiABCEFjZmkIM9cpXCtbLZPN4O5nmcOaS7J8kyRvDzLAkqkhyRJeXCv+bgxuXo9X+n/4knaWRj6otNtmpUp+9+hQIL3jM8XcYqLOT/smFlMOaF09dpbe0eYoNy/EKvv1O/jaHOnqoo1m/lZNIIE4KF0Hni3tX0Wm+tbHbo6ofFAqFPNdLRqJ8ANa83biHCn80IZ2wtJMm/x0SyWyernjC349xkZ3FZmZ8A85WTaooblVKMAbZZYDDCOt5NGhpu5w94VctzCrNtFDqiX5dAx9q0GeQgGXCchk60ctLIUU4TV3ZE+vdB3GHrDRggpeJiwUqnbBFtY37umbAcPOnRy+/08x2lzdBhh+Ro7f5nQyLZi79mx3HUmngHxoSCXQsXKyxmNKRVZjUQnrqEEH/5NSTqQwG0wxd1MAewuEpwGoKHrT4lSoLNz4LoAl7DM/q0FQiwDbkQ7TZczQpEYKMzcgHTtc/eO4CSgfuCIWxsmOOlNcDMWQU6vGpB6Q16XE+mvSYX+ZF1ffJrmH9YUhSdyK0yduq7/fQyx5TV9r29wed/XAvbWdO53bezWOb/MScQODQJe97WBPOUZ1U2AmpkER3UBzP9Cd6wei4pU3SJshzRKd1n0tKHrUNAUvZXhRRrcy1DKzedaHGYSQsvVJ/8+EvgGipaTX9YZWNYzelKi0BKVGazOYiLMIHDnYhiWNdThCcZSKmfCU/g9o9ZyEZo0VnRJK1qL+AG0Op434UdJv84SjkSoUlP+WDNc8jQ51azS8R3FNU3mq4ApD3sL4zYIrR1lk36lzrexKF0zgqYPzX4kmMPyymVu10DHpA0TSpxmweUsYcc7HW37s1nqlC6ptxZQ0fnEwiU0Nf15xRkzGSyUY7rcnkpiffxtxeOS+eFhg9z6m1NZnbO8a6ZzL6pR1fSonbITAcblIRE71PRC6Jh3fiy0/QF7nexhblGLSZHxr0XfWLhBmbun+WLW2ApPItVIrW68sSNTcFR0paIrH2lnAs8SEp54egNrthAKlkr8KUcvFy08F1Rd6/TIyyVnp1A7te5mg8aVziZIMcgmmSYMdGDdCB7iiMOUuXOtw7NCdnLRLwBvAv5eFzt/yge0ylEE/k/bCp4dObS4uRYbkoZ1IiQMbI3DvHrCmRqZq5qrw8LH+bCHUS8mXaplbLhGstcMxrTjb594BWS36GZYUk44h2A7ig5B1UqIinQ8FsrK1nMIxbEtO+2HHpNSfL+AfQ5CMybjXu+V4dXU/VpjvMOIiUjh6Jnieyfxq8i+nvzxIW6tXaFdReKPsJLmT0Bsl5OO+hW4IogYpU+xLT/LJkD303QncNkxXF+P/T39dBV2Tha4Kp7EyKTPbGam6oi71SRHDt/6//iqyz1ulvOySXz2FLFuz2nqtTomrlwnffrkFMuZk9DQ93am5MDwatON+rPTimTCX3tFghhxvA09XENT+1k17u8IBI8dqVtNJH21+BqerrOPzgP5m/57h1wRQOvSBoM/esBeiNmP+mJ4BiI68N4E14yS8prxkOO4N40PwaH15jb6E5OzNS9q0e0B0zycFDLasM5zYbigc2qhHUN96q/Hwq0XH1kqcJtcoARM4Gadx/r7eFgKKDXKfufH8ClNDmgKYjjRUEv8BpP3mmwpsELiambAltRJEkuXuNae3PsCmjFYfe4FsPb7yI9t6RJeekO6IZ7v4VYNBW6ul9VWZZQx5GkBD2huY/YILqzNIXXwAcL804PFvjKBCTmwykQKD3vkQs9cHYqrUtLVkl2XzsBVW4FVTROeKx9zhaHNcOxUMv8ZaQnbtKxF9zwCqqDHxsDHy+Yz5TtKkL0GFxl5YRfIkzc6ZFaSA7nzv71zAFM4CV5/QSaIvkfHQtvhffGieZa1WucRNhDZF1xMjGXyWOn9A1lYfIriu7A/Huinttpmk0yacObQrdBHyspASr9pxEkyS1rX2k0fsL+AeOYYAH7AWxRS/00Idcug5Mpa9s/Sj3vBVn1zPs2h0O5m/Lyk2Gha3M3KadwwFrJq4XjVp72gimkg+OvjTmYQbuI7fkmo89n1xf67o5cxUl2Kx43EVk4kwUV9z9vKEBQo8OtKN3FctrUG0+fhrSBMTVpYf4T19ohARsIUt4A6iCmeGCayzcdStg2DPpAN/gPMkuMT8rmwjVR2CZ1O4epIEgmFo6rYSOgwj0f0pQYKPRCRnBHIHHrHHviFe+gVKam7EFsPom13fPMWyyr46l9n766xyKZcFiTdSgv/Axcqp1u1dg27/zPTja9oDIkXdvp1yktz3Anw5YSRvUEXvkZkrItLLoDAu4+RG1yGyySqYQGRh3aYmqk3aVeMddM8mrRNtF2J3ZSLRyZdJUPGrkW9kOtRVh6biWUjjO3wt9ka08GU8pDzD52AIPFtoVPCIH/IhaYRWXRkdJhkRSJkoZ/TUnClB5K5xhp8yuPokgwXBT9psQ/vTaSlF7aEvATlZHFhEfKGxGAPerm8GMCNxyXEKBeINrXvyNUt+bWa1ihkdqIsHi7BoY2+M32EdCY1dHtLRYGH4fkzReO01qTXR3YVEKdtc4Oat9tKlmi+ivN5DPeShjNkGxeYQD0G7qns7DJ+nCWcXTVE3TtVMRs3CFMUEwmq7U2Qw/+vVUXXLqEZmIcEHgXwfSxCckwbqTQahHzBLY1UKBYzUPKWwbq2zYRUxObyE40te8nildXcyTd3qmPmUCmy2ljhzv7zgzAcotCSF3v3Inm3nz9+lhb3U5MaKvfXvQljYtAauvYF1wNC8DMZoQr3QqaHEwgEZ2+pVVbbS80f2rghGnMZwn9dIgi+xnv1Vz/m0bzgefyKbvzAJ8yEUIhSiUmqQmmSTYsM0n12jMa9B7tByqxrdpmODfFupqZO63YsZchWCFH2O/Lq79IeSQZKBRoF9llyTtgtUbrFwRLvfBEplaRFWD49y7j/BAqrAIHCm0JDwzKcfnOfEgpgHcy+h8yvggPcyj2r/S20aIK+1Nb9j0GKrYkyGuKxxdtdUnXmKrGzS0lAPZqRr51cUfzaiW/ZYMPBzgiRL7stZ+JORBPofU7nkLUoRxoNSzBhwwWYLxOKIop949ZUvwCRCeYSi/2i9LB5M3l3suC1ioqBwuW+4XDuam0t8amZMmSNxILeZ4Ff1WieT1DCuRYahMU/TnIw4G1C/bvRH93d31O9uQ3bDDVKX2n3+lGKNNqHeEH/wTGTs1n3hVBVNQ7w+/LNdIeSnxmirWSwsDiH59D8L9r+6h+a0R4DmH2uu8uvSciN05FwoyzgpUmeEzYs/V+FWQrfDiPfX0NQ78c+dzsCHhQI9nS4rDGkj1QwYJPzWNO/XljQuqPOVZnz0moCSr9JJ10qLsRW9h3PqkNv2Sj5nXdlyrgXCkv733hcHVA2VfmBv+/lK0WFZ4Qame49Q6J2vyI4Y85hUT75oMBcGTodTQAWyBT6al4x4upTWqGIQkxqNZ/s57p/jj+8aMoc2Fp4oktDl3BqobiXhQZGXGg3VRr6ayMkP8GdTSRjEfHJIvKGh/u8nmif9V9X0+h7ElehhuSW1Ca5yeRmW1dKBBfug8aVxMl7FceGHbzb8NyOo2K+HTsNfQErtPZD4/TfMwnzIET1wOxIXKfumWZHotoCiLQ+5fvp+bZXdr69+npV3fpBwmNi10Ptt1lf4l+DrXV6HTNsKGNBDxS7yO2yDOEE8XsMfHwJppPxCjhYqKaX+8UarceX9JNZzjIn1OHx93heg6ji2sy/ZL8eFx6NXCyq5xelCxaOOtFZptZ6D793tYv7xjYkSCB42Arsnbet4TuYFyLYcIoVZ1w+rU+8J3wMI0MkZG3e8DiAH2l450q9Rcgq0DYZXnfSVFQCOhm2D52Fe14R4kFntNokWxuHm6ztWb/YUACpZ1aRPuwg+rQqAExeeOFOd75v4wtWqiXUydUe7qBZsDuqtMKSOAfUPFTr01DbbcX+fiyQBQXg/upD44/Jyv42WL4lBBTfAhd/PczoH7IcTlQapWQZxC+VqTpw0pMkLinbWW+ce4TMkVlbHUw6T+iPnshv8tSNHgl6F2XzrFOmPJ6nTBHcOsGfpOmD2gRzbrnkYJYPg88fuQSCYBQv4dksH5Yonmi5R4QsmCr4YDcJ13KrJNAELphl+tfq67YM0KMFyqfJTDxSGwOSSCIFhC2SLr+oL/Hkr7pcgrf9WcS4+6Z2CP+AJwYR1dXxYoLHl3VVhAvBja5dLYgqylqLY5a4KVNyLvE2Xx9v0ShnPNU5eqwXKngGeAoQUCLWpuMUXDFoy5VhznRX1i6BG5B/FI3I7SEKDX8k9DoJ5L6CW8R70nAZhp9evxO2vzz3JWy1U5S949yXzN9wUBRTx8NHQJIsIMegbUnvfpnibWMcsT60ugMzyALQDPapDBf9sTnA3TP5CaIA+AuEFvymsQpUtAhahRjG0nm5+qeuawq/bwlB/YdmgWwxIjv4f4UTEzc14lMHRtZXW4PTuMd9TQxzaJXQ77q2fJPy9eP+34JMTeHLzRnXn4Vof88Imf7SKG/at3xRsMgS0x1/QlP4+LgCKWd2Iu+5UEh6UNMiag1ZSKtw7thc8TmxsHNr7TK83mMvpR2EZ+UW29OVNgv/xhz6l9yU/tghIW8qYGOL7WODHzrlV1zRfhZFYrhmYqZHIt68nRYVhSSFRQKV5u0L1apBsb856ngT3JVoWJTK75FACZmw6CRaTnF0r30JkRQrN8joiNjnT1pzBLvTgTo2Q31zhnZb0iIrHkKqOoAsSAtsiq686kcGyAESChO2WEsE+XqkKgNm3kEpBYS5OuktfJkY5fwficxgW/YS5urbU6uoMTkbYNyknrZ3w8ZM7T+PFmhlHXLbP32AW++unbOcdMCHLolZJp3tbnC1zqX62CaLUZZSjG47xnr+mAE0k77cAf7US6/2bX8wqRY2O9EXyzSIrFPdtpP1ZLDVpUpwW7durAjV2eebk1+oV3NkuhsYZsZFw5eIUGr7r57jVOcw8MeRqqIMVqQz3SVVOdhtkaXO9Pa5tmLZEI+WlWjuc8pCdihfWEYNAh5WJlX8YhgVDdwFh4w8ozlpkwR6RyRmEOD43RySM8dspgfy93tTrlSF5l547oggcVXzhbwk4EUF0kFVbfTvg5gktwUaA6dSZxUVMuWNzB3SYqdIcbPu7nIZp01V8OjCzRa/tZgUOyhzYFWGbPPFOHT5k8FXlwvE8HlUKPiWRcvMdesUg7dd9M+l7Ilx4b4YsX72b6LF1hkuTpsz+X2UuUgmScUw8P4lyaoWceBu25UZ1NT6mVCrjk4spH9Ffx17Gv/tyI/SZRj/hirBJ6ZNqt/VUqNwYokPHfft550Mz+JGzZiilWRmpCtmVhmDH1madZDGZOzFjxb7GxBA9cqYS4OyUglACl/+WJo7kyuHI3/ao+Lh0GnNjK/6SVgscO5cmtDwPd3I7XVgrmO3MpQD4AVFRc2iaVhjDvCZvfrXIZuV/3zsy3ZLLz49r8hsWvVdgbD4Gcgqa4uJa7XbB9A3Lv2VHT6afzq45tfj4wDUU7339lh+fcmxzEdOyOk6QmPacsnxfFGZvgVE1QtuwRfypqiXSpTosuQAAd3XCfdzsgEc3C1PUScgppV+aDMvO/YaVXDNxL4k5D0+LOQfuhf5zvFKoTYixJufiJ4iEtisrHMo3l3s15jyPwxXlZ4DIyUlARvqx6huWbBjh3924ZCrK78BIGeVkdgGUMJcQgWBeCB5zYnokoAodevg1G4Mg26TVmhDSZN9oly1jpPkZmZRV7nZRdwL/YynO7wzWI1s++pHApPj5PLMFp5rTxBW9lc5Yo5obBGsO7xRipzt2mgK/DtOWyZhI4JXTY5fWYcxy3GuSvOOtb/IYw2krfKEWDLpc9wCCmzLvPxUBXa2e27Te5x6mM8FwyNOmQP70UdcEFVStF23e4MO2Ivy0wJ2NXxJMMqBWcEuUKoad4VQ0UHxoCDvS/AymGPwkraOv7O5w/OaxXFCz02TTEhxUQqpHt0T9LmApEFpS4Ynd2mgA1owlL8i3E0muoBEQVlm7/EcRWbxsWgOXhi88t7Ga31j4nh9janDy+o3oGcvItKN4K4FdY65nvl1Da8tp41kr1gD7y02inFIXr3w5yBjCMHpnfxq1cprmrQojmv4LjMf5rtYsUE9w1xSGwTRgn5sA+kcT0uj/HoAu/Fb3yfkeoxIbMuQS7AX0fjGsO7qE0zdgEIBjeTBqNbmKwSlrthYsNbKa1j1pIdyAP/zjUFVlfQAVz2/iUBNN7RbUluk1EdL9KFsz/mL2uThZxy7HF0+GNV/uJ9QiGO9axEReMADoFXBzcHxeMBkJ4+TrYoTwQ27AMbC65C7EmKGOzTO5rTQ8wI38GkkjqvfxtBHpVNQuHFszkaO4kkySc/OROBFf4O6RKfPaYmxqJDJOQCQA6k3W2WJLQIKVWVyxxps0ubLjftUQtP5w4wGjW3+YNKZ6MLVbPnPNh6m+7O2ZxtDE0uftesGjsdTfXt/o7t5SwA71d99bzdoilERCxwoNT8BcR4BTOO5/ZZNkTgUvzyhHdwOReUyp1pX3Tly3KMAxyXM6p3IcCitOeOT3/osahrhY+kEWMPUj2k+L9lkrNctLpAmjequ20ylWqBy5DOzUKasd4PSawY2qS8C3HjDp7O7MszuXQP6tL0DGAzUBG23mhQDNyKfonZv6tkm0aHkHWSKKvw1AHa0+v+ZeRZyXlqf6O7sUxawlF1YBoWU2xCWgB8jqOCH/TgHKRv1e3L2Mtiab4axakcHoYOilksGb0c75huPs2+6swJT7tGOxiodAuxqN18mjZ/X1PiEyycbwSyE9Qhd1ByqpJH/1q9MI8t/7Ab7C6x2VQpVM196jlE4gMbvjdebbs6itvVFQziD6PbQiT93ApxAAzU8IP33uQmAbgr9G3LliPia8kpiXZ2yx45EIJub0Ld8S5NR84dH6lwfLhC6WN9+z7L2z3gcYTFn9Oakkh6g14DHypNHj5sK3WqoWRpLRNV8rn4XMSEyDNffQVlxjn//iNG571IbWpfHJktFhDIbdSmruPZpxDm8OfzzimmFwSTeJ0FQKts2olT+b8s5mG3tvnhR00TrHIXh0ACNhdObPwXDgBr5FzOy99l7HTSJYKc6zG489Csd8vh8oVtaM3y+PXaG6nWi82kmKgBsMcscSWmp+n2KGAByzIg6JKMWnfyqTcwPMKwknmKceq6Ig7S0LMIcUu9BRiBDQCdz2pFiDluWNpkmyT1P6NxZcyFW1SVMA0XkfWnH6Cvx3ORs5Db+2vyQ4pz0jJLsE0JowzA9hJO0iFFiikxe7ojYEGRkhhY6JX84ivf4VnQEqmqc9UsYyyDlGOaM2pD1A8uZNLCq0el2NyG1LixOf8Ydc9NLgczHuh5ZV/9iUNAUAwKQWkNmiB7VkQonH1XuOoZx7LTQNNv1h5qsK2KK5NlGSK+eoTPtzj6ci84TSZsEAiT1I0aJiUPGaFhX9JaZdks4kruIJkvdq6ZzuIFRLH72h1bhRBjwvej059tY2YXWp05oT3dBeVU9xsIJIY/iaH2yS5S5QcAdu6DdhBPTd/ZnokrPuj8q6b5pbQfZDzYO22u/ml66ic43S+cCmJoIQRtwz87xBWGTa/q513GWbCU3ACLKw0l94apaCNm9RkPgrpuKPCqIiEEE+t9J7J/eHUA3o8SRek4C933s9uq17sdzJeI7W5t6px3JuAvEvPrSaewVPviNJT4fI32zQ0YbtOw2S2A8zmNurDGKFUYH1Zaln2+OwYBzi4HcqejS/EzHwHBB6sGFCeQyV8oLvnAfJFiRbQh94i0f+DFRWUo4TtU1vP31VJO5VX1Lq+66oToBE0FV5X5STiU3FPs+ebp+XXVNbUuoQ9tDDicEiYEkeJVgL8pM2dYVdpZxy/n2KR/2MgJvX7zYFpE653IqYx+VxTkqpF9vJ9o4raW3WMl2iKatEYh9pDAm4XuRRsVJwP8IK2TlNV1rBA+cVdWIjxZnp6pISzdp4UTXEL0DXUdwET+G8ShmSn9n5YvkKJLdOx6ibQo9IY9Kj6g7aqnfOPVsBPF6diHYfycRSv3FfSb9sXV/pwlUk7pUd0bOyL32bIl95MNC2JSEM35ZUK1rDWPmE8DsxVylrS3GGXAf7uNdHM2X+vdMLRIAFDu7KNUU5CmcjmHYpR856i3i4r1wNNP4yyGB/74cTPk24tSkpX9o6Dlq8oE9WpTkxaO+r3P4mumYtL92ZfM2cgXV9GpnmEA2Gpu9giiW7olspPL29qXhTvqj9nR/4il/QLGjBm1G8iQoGpkNDGDl2QluL4rle+sS+pNqoFJuaMLT1ZuCIo+BHlZWyYRRHeFMUkBXZglUa0Aa5t6NAQOMOUGr0yX8XbVv4mVhp9lM828fBrrW4oHHwq/2ZMVFJZ8tcX3mJjE+QnIZz17og0Wtre63lvcfomBvbF8OHrH+2HPQs2uRVMwvZBa+LXbNyXE4qn4Rb3mmjxtBzfaXQ5SvO4DIBt0swyXvUrxjCL/fkUiEPffJqrwX7RdKyuHFrRJ6IYZmkFCUBZxhfghdfvDA6ZzY+iRAqbG4Ysfg7TNSGH9uZ7pOc9jB0T3pWgZCW/n5h9+kIYe6tBULpTuh28TBtlZZ7Mo4w8kbZz+SeLl5xQLPmBkGHPvQt3BQ2yly7TuPCwk8ryqkogzVm1jgM0XI6lH5lZiYfXv/0Axq8H4xwbruvIjeq6eUlMvNUGfB3GY5ZJ1nou1K+f6xTrsOiMXH8Ei9z9FtA2P4t67tZ9fEs2imefL/KuAGgsnp3h+IzT9RmuUBdyKp1DIsu08Dr0RT3czCxguH8/SdOhDwB7QbgF8n8pOqfr1bFvCMDpVblgjUOTRT8IdiFTeyXjRS+WnOhGEt6HjPpGS7uCEn8Y5p3az6L8W5rIho2lw6ISsMgFDFgh6eh2bfrI35nmAt1x3EbsLdc/oNNoFubYOcMdHan5XQxlAAWMEFw4CgXq6prgIn7EBgMx7rPDwm0gYebv9fswkhxGwpJaZQiA2Ss0BsCOgCAtiz0XfywWrQU+ogdbKw6j8KqUAEj4xcQfEq/8rIf0elbttA3Bo6+5eYkbwipahSnDiuigL/OsQkNJ5u7YM4nialooPL41cE7l69Upw5AUiOi9R1t+oqZnvgtg29e6nDCetBRawdOUys9tfAvZF7PCPAP4g0WJUPGjuPZaGlcfs+xZ89n3mQYmzQErkubQgbA+WxIaWjml9QRI/DzF2tgTTiB/1YLOIt4mmA5rem6alvVCYTYr5jGiGZ/VrJn+oZzgyitjTZhNkGzYXCpbFJLjpKQNIeiaM+0OBUXMWvpnV4IUSe44qTUoHhfBr6BGOEVkEa5DvbRJyNccFTAnvSFEzgzDXdTJdnWxC6GBgS7Df5idhg8NG6ZdtOvnkUJ2k/0hcxSdZP6H1EdsYfCTPsy+1DaC5RJbyKblBVDflZH5TRY8Td0r7heYLxZ21P/9Hr4EIFW7F8XMafZTA/Uo7kpy0wU52dNzFrMY9xcnzrc3lLUzzAx2pGszWKZHeYRvMNlE5PAC1PSFOafZVQbA5523l9vVWjLYjSL7VlVu+1FOJpJhx3hHDThyByBmlAyR06n1HdTKjMId0hbxOhziVOqLaccb+IxBL4JHE4Pol+vvF+1JApytYFk9sJu52bjgiHgmJcxYG/jp6jKtgOvWYuL5fQ1SMudge9mtA9fxqbazaiB3la1PYF4TAFwUiVhx30xnjX1UwtCdNkP1IUoCxNXovTU0dugENkyTB5gilrK9ZV/czlQWBeC3vZzQ54phLFFApHQhaunQZpW8Xa6l2nh1vBf02evThuitSl2WPWJfScA7CeOuy5hwu0QfoBSm6UwZZaFf1rS38UcEP1m8hN69BBodFlsRtwjqDk/lIQpgytEXoa8gi8leKLXLvydRG8jgY0SckV813GoLRrv0vdMa3urlnNiQnVjY/Lqp46WDVpM5wjCJhjQklZ3gVIV9SBU6vGNBmhFVpU9nJsXiWMCnQz/h1h0tTSKyaicLzNdsQ4O/C055Xgk3lK+CNLsEs7+Tv+l7rGIhyfmnKCOGtRSyS4VITOLt1wDa2VciiEfEvFKhWCoTpAMxLv3r9TuPgGjiTJtIgwXlQbXUjqpIpx5UHa7Dq7wyGj/hnw1AGCl6PaXli8i43R6hQldaTwvsr/r0IGtr8jEV5dH8plN3v5KEl4Gz7vZNaZYSwti7r4DiKtRe91NhrERpPQ5z1qW49yqg1j3wwoVlP/4EPojLx5YzDpkZwfr4SYwGVyXdmK6CwnCG+55nzj5Y1UgNPcY/TFK1YwrRXPnY4uBYRXaEpO1iXCsTVbFUQo0OOxikQW5xMP2+MUtnlu9O9XvXlcCkWBSGkliRN7eOZHpWFHUPzUVufx0bFW41H4/2lAgVVy2Z2hmVYMKFpJHzyb43lV5NSbA0+NXzVsSbMV7y0uqAJuf4nVbYE1faZxF4vJZy2TjKEldEh9MWW5bvlnfTQsqSR0eOjcgOocJWNxR90r8oPY4BD4KHaaH/R+xITQSx0j/SEKrXcNwcXrNEbilY0Y3LiRC2n3tGySLFX3yLrSItEcl/+rR5JTt5BZOX+TqP8Wl4bEpdyosiiAB/ixzOywBmivp4Thv3hsY2daDnaEqrxzcPcBIeo24oXRUjCKSVPYFGekJ8ilOs2TnO6cZUQqlwb8M+wPvdxcU9sX7LjcTDmfsUurymFhklHGe5SspYBAnaMhgHczGEfZ/hNE/g10dJt4MMSM6MUV4Fq9UZg36s08wV0SG45K1A3bHEhHOl+vfm5vamdPw0+guuB05hpyW2m5Dp/k2/0W4iIQ3SnvEJNUDnFr7K6ngIMzQOyJdOn8dr3Ls6nu0g7Nxei3TIuKh3mufOKSdsN0Dx/qe+Yo8ZfIjWd9OnQLaINFED2yABm7hWve0vhGwNNvO/1fHxRPxYC6uL1IjNWEDZzAXZgvD3habsQgIw/sLGo2wz9qOZzUVfoB6y1NkM5br4YgKoR6ey/WqmHiYpFXyBcu1Cbu23ZuxanYUTGLFe+YLIdGHp44KOa53k7/V+TrdEBpucEI3/ltEqWh+ODIooT8W14vPYcwMyBeSsf5GwItLXw8jadcuAbRg/qp8wvtwFsoOp4LMY0uoYT+czxDi7kTA5JabGja+XDkBz7IMTXxXunCzDaLQSOx01zKeTbEyGzKHJxXkNEZNCF1nzjd8zNixmHvpTBD6J14PiIL/Ify/mtQvaNhPWad3Ag0RVjDuiwaGZ9N4aEPHZWomU2tF79EW2Z91eXn+8dU8KSwqvmqD9C4e2Emj2pupRLOcnVdgZ7WSt+jjCxxdJnFVi7fRSSbDMrwOTLULx5IJeSEpeR/JMBy5GcvvTn4B3rdk+modoy4jZAzLgLy8l1P28aYm0Mp9x0Wub45h0B3ghhaumIcCl0YyrG0Mfzz3Qj4HldonMWWtP3bxsC1mT+KRhUq0M+TseLN4eUFiU+hMEVeTvjxxsr1a9g9GN4+lSMavlN8o3ICJr5+zDKKLvow+5oN2wm9ttiTF3ffNgwEN6CVnJihaFauB3fYLHV1B6ojHZJK2XMLTtBrH1rMJUe3a5g07CrySnn7ouF3U7iA2lpE/LIzr9TaiZ8XEzFK2ZFtL7CdlGNjuokGyOZQrEmMPiHks0jJ25ueIkeBeQdcYZedDSvnVbew4H9AlNm+NelJ33yrE0w5GyAeG4h67ER5u3h55ezvfEGUpXTGAThB9GloBKSNFaFHkl8obK0iH8tit5bFhmFeDR2tHJXS3z5yapuELMDQNfz5rOYAnwV0S28drA3PTb6z74NKPRZBM2ShhPlfZQOEn4GgC0YaZJSqcfhXlATgbwUh/9Un/KAD/Q2oU0gOFAeRbsZqTAuOOnV3iILy/Hvvlc2DPL57uUJ6DAT6HPXJLdt3yQNVFBV87ejY+I/09+qBDslonS4E/okXntT3Vivj01Zaxp8/PQoJWAD5exIw5ef2T56ubf/w92A4rj7E5Ex67QW/6vVgXBHHB6uZ0le1p0KC4VaiyY2RLmYJ0DdQuywtuslqkSv5h9mWepHtf4O192j8KMwWQLMw0n0oMWNDzuxHGgc6bCeUIixc5xLNxXcGoigcGMMGsMumeJXRbVnhDZyw7RiUUbW/gKqnUpU2h8OOduljXg1m13ox0shmiy5DvnunKLRpW6y/GO8ahm/Cw2+pzoSot7pZQBzVgbTGusAs08vKDZxv2XqzS8qWjgNsNANvxcskL6GjspQbNYerIcsUJobwquCnBLbmhHWWoF1NQZsOaoxm+f9wzXeY7/4z7Jr+ELG2hhKzLjRWSCqspALFaDFmtIHCAiBwYyzDNdeEs0wm6OaqetUi/jsR4Zo3hPGOw27iPxyLEam0sc6tj29dRrFQ3uB/MkKntJPXi8bgemYElNZPPGEiLR7IXSLxh4Xw6yJjlt9ltU9mdu8FEX/4WFpkR6E4cNS4gOcU33gPq0czEotlcCLJ3o3ZFiSs1suT4ol+G2wVqrJjv1Jkt1D4txB5Qv+CFAwpG/BN2MY04erCFM8cwsl8AFO7exciTwKMHhfenUN/sjUAkjjqk61XeXZo7Nes0eTYUdGHO8B0u/TmV9nX2IWtfV8KZY7PHyetUh9VBR2+FVhPLmXRH1grA7nM/UkUxa2eZ8C3lsGVYZ8o0EJoIYSHZIWFpS50WNplo4Bcvk6dAGtmWQRzAFKzEb5c65H23c9kGMNNxtfL6c7Hm7yfwTvLNt22MyuaNJDOcKgNkajd48QUj6IKvYRKgu1Yj9P89ATZMCR0J7jug4Tb/ZY2eC/S1z0L2YwKHNsldp3s535LpaBwzlBQ3gpg+zuRLJyDXOH97D7jwf4TqEG0eD8X0/2b9XWo8ZG0/Dx+z6jS/QjObKxZv0drrFAC3BgywYzatnCokNzcY0BR5saq7KjXOAjYricqxRgIuo4i4RkpHos9QnLo0hGOsLlmx1r+t5MN+k8RjraHQe0qQkTrSI+kzJeFKVPd3AzTX1A1zpQg5DExxCmJoAC/r+TNjHoUShAOT9OpRqzJIwJfGwrdu9P5olkBXcO7WUSQUV6eZNFNrH0tnZ1KSproInUNfCm5DmmvxRs7wS2bEfgPOVC4bJwWgMF/pRRZSTp4zybdxiDHmt5jj0CKBFjfltnNAr4iiY63CA33XrzY1cWOvWV5qsWXoExagA1JahJ5XggKkFcIpaG3pbA4ug/hLa76JNE6XXaN275nkF82fh5eyhhYvrOFBvAfM33OuOX53DwbuQnQ8jPU1BWl/sxnNuods1+MNiJt+DDmkTtjmWPO8HYM6axRNVtSZ+5pYJ3QlOYH0tDVnnXW8PHyLoUQHgRd+bOn6/oG/JwxMMAg2rpEq5vLRIkehAHvFrjboMFQSf7yHujXGF/oFuzA5ojj8LflGxyc6Jl7pvXrM/UQr/zQJ2xlFTwjHpOl6FP9zjSuY28vpxxcuKhe9/LXNSWSHAQXL6vQxENctvNVmipT3sPe4l0c4IbOydqa961ikdH2v6sQBdFn4HoQ347OIwyYxIRGs8kAGnJaDYq7UlQUwDQH0J/W+Y99USv+0oYaixIJeOBupozrVWq2UagsEN5SVpHiC9JjsDRIMEW+x0gUEeQAFNJccRNsqvn0ce+yoi1PG58YsDXoNF7zudksOL7GhPJvpPjw3eEvjnjL1jsyRdd6oldyK9/h6rMXntoLDvRALT7TbIB4iH8dYD2jaLDI998siIfuXVIYF9fqO3hf0IJaE1/0P9X2oiCWMCO1S/JisCGG+UwRFK2SzJOz6Ye6gUM8/hj5uKtdiFmQfdNcJUGrJeCKQUp53zpSEl7uedM8Vii/E3dbOiyBwHMdVovp2MP+CD+TK1KajaLkSFdr9/jPuWyGZr0xqdBmojgpNBniWEEnl3mjDyZatUaF/F/QKVHnTxrM7wF2M9ROzKUh27U35WGryNKgeg6vdXk3gf2DRW0zNEv3q+SKrPBqC76Q7d+K7IVQB0b2Mc6LENp9qHwSGcEaeoTvBEJ3ziTgouqN+8109ZMokcOBVWD7vbVBNgq9EQmRlfSh4LzkmMv66v0rXimc6zG/LpnThRYFfSwPq0vtU9L1PSJAn8eIfvYAghvNpZ3OjWIBJBHibA+pPpSZZosFXQNRs5JKw1FOUs8jXG2+8nJaXz93jtsq31pBnnll0f3xGzKaMuHPTJXAyfGUu1va4qa90Ho2PFY4cxZ985V1eoktr9EY2IEXQrnC4Q5dZdAmKETR4nB5YfNlsmQeAYAl9UxyaklKMANKS0Iz5OvDZ82PQKTyOy7jekdfOjGI3P7IU7d0tkOO8NNPZGOuX6N9/5MPZ7XtNxPJ5ZQYXn3i4a9QQwhl+Aveq4y2BxTpPJZ+BtzB28f1kr6zLLIJ1ufwZqDx9X5Fqw+98qqdgqV9kGMvOGa8Qgv72YGbzMqc5LZT9HoUdm5/vaslgrtmYIgSNQgSWsw9Wkajr8x3Q3mkJwnBQ4a24zQwZXmH7gwL88gsiAGUZrdEYZlaamXONvRipej7pdMgY1Li/z/ODeVZQ95N3dhIFMqVGu+wgYtm+EGhOINKMKARk5+uKYaNh3geyuu5D76xyet468pPEJlRm1wGec8slfvlp97qUHkYkVciCEiMa7WrQaX+20pO7y6fHqdFwT/wKtTw8s+SeX1m9FApPNEsIJmRJZi85V/BF5CWuBK1phG7wF5RXgz6WtUNM3yR3WxeUVBFkONy3xgzRf9wykiwPQAsQyhvu6WQRknwYKzHYDl2JrQQUb179h8GZErdhMwmcoPwkU20EMZo5lyHW0bKENZFHNgx12WWofpLgaw5Ke1T0UEz9obnj4Rg4xtr7eCBh5KCQ16AcNeCWbBBrGaceogik6gqRqF8nZC0S1mmjU//1yJKjYfKQivzapV12iQi6GXQAVr75JVzLin52zPeGrLXoD50lbGCQCRhfIpgGh0mNzJufkkfnWP1+cXvxwVwBE2jECH8gmik4QGhOMq9fAcSfZb+k25fQMHWUuDFOwphOKLvC0YpvxFeN317kOCXd51DDicrislWWUtqGm8wP+uFnex7O7fvnByGD0V5V72JCEDJBkNjpD4zkUICcuBromQ3G3AmxM71tSyFChQjV+wuu5lyFuLuI6HhYa34IE9CpoqYvCWrfetQVHrq7Y6KIqCB35JmFAckOOoM3ps/48rLIVqoSiaiBhB7DGiW5bLVu/t9Q3fb0sTM86YZJZjIv/sSt6PquQ/lRca1CmajE3MR0vS1g4VDDCt1pwCJruixjlZrDv1RCz5Ey95ZUEKj5aHk7iAcyKxs4PRXstnaBMxBK41YuuJCMmCn0ugW2Sg47W5B98naaxqpa09a2eorSh6w9XB6OoyCsN1N4BEpDTQ6iJ8Wkc53c2Jy4L80zgoavR434fbMz5efXMDEqKck6T1QQ+RchxyPssGlE1hmx5l1vO0U1FPyco8Zjyirk2AGcjFz2FFPef4UMAMf7KV8quOLTJZG7+DX5BmlzqaNiK7KD3ZHJSCWTIIxDj5eL1QH4Z7Xj8hzNTFxlPZWaJ95plUie33FrIytFqLB7RsxHDjSwCzgrLeXovuTrpMIrX/n0TNUPSVVCmkksocXOAUT4w6AbGcpy5tGj0RjMEdFaJJ71tEOkrJy0jGaM5GMkAt+KXRjAD2ITkbe4cRbfn6aV/BQnD8oeczRfY/dg6eo2VxO/k9+sP4oQqeDjl8obW3EBVeBWcf36PCf1uiQ3UFgPQcRMrF2beGvYNwUdQZqbnpHe1KSWvJQVTtysEkPeRYVbZDfRfjfaHnj7+b1sD/a844S3wgm1lf5kg3iKho7ZbkDZMvzkDJ7fJ96VbfQ7fd+YxLC2i0DS/I/Vrr1SXCuLw1JZjnDbkjnrqsJNWXUtKFY2x6ulrqe0Y+b5fc18xjurZvZxhDiSoxYdam5clSwxCxOQlrjfcSySLQvURiufH6JZSXfnmGumT3DDao6jbF4pri9BTKY6/8GHxwlKELh9jiwOneZRt8kRQTE5wTPlibah1HYx6DgyHkUuI0kHI5/mP60kYCj3DTnNG+S/fjU2eW88JWyI+FO6uLqmZYJja5YTTwO3Cy2Vv8DPCInv0jyO98SIkhS3FZ0iWLbrGF9zsU6QNmf65PD9In6OlE9UJ4AQ34hV36TqmUMKiNAcC6/Khymy4RUN0W3Z2Pa4P9efkL4rs8b6eSAtjbvNfgetXOsO967/VW4RpsRFwAMx/KbKueZq5ArFO6IdBI/95NHnfmXA6BCQHPZpWy0pIBZogQm7bdhe4CsdadTk73aMNSKYjMLYFeOow5ZnjHq4X3vbrHjOa8UJ0+OWbcKKPfOY1RLwPU6IdoqWGCwBWqT0SBm6FP3Sgz0p0jNXRUmryfFT378DyhRcaXMi41a/VKQcyiDxi+yhczUOVfSNaZzZA56GcMjwA0Y9EUwflJXHQ0l6rLCc6UQyh1or41pHbSloXy9uaM7BQkDjyZ5E9ze6YMVbND6es/EA6x9VeOoK76J4G5mEyOa30vFVALap1Smec8ILr4nqCqVRT0BOZxnPUoegFs44DwFF0NzPQ03nreOhGDXLikzfsTvamb95PKvaO7ezs4Nt9Mppx13fwpYQW4z5otjZMnm6r9LN2YOa1rWIdcztIEbZMdsQTR39WdrvVmSKHFB+RkL82/69B1WmcoiiuBHT3J2M6dKY6wefgEYSZ4AeroPSPONVNetB7q3/BE63UH85UYBzHPNRJOZaeCTlfe+S2lDbaWjVkrJpGOjB1UfLhGt75i1fcbSrGy8lmj1Qdkh9/jXpV1fL9fllB3FF10Vh2ogHKdFfVPa9xzBf0ncZeGbuzNoGIa8GiHNj5HXK+jpsjmypA0HaYG+xl0qViPYrfBTqVhRzwgk0UsjV339npsHr97Z1XSO7Xt45PFbePRBGrGgifW7qyxWIqAIziQYR7UWgvG3mVr/mDa3gyLV5BeRst/jAILO6fyBdAhlEOHDOf92V+D4m0IAZwqBGxDKIKz2s9n96SOQ6hJlEXVMaX9XRyVjJLjKQz9dSH2PWGcxky68Kdx6jP3MtHdPkk7ctm95ZTHGHvsmzVU3oRbvb9e9+jKMLQbVy3Jj9Y5P3dMthiONNrm4YHlcKc152+wwLDhdjoedM7vbQaAP3xi3nittuW0TSX54vwZyqOO1/bb6jfCwD75NR/XMPaNiLKcDDlI9fcKqkfUyBhscw6BKW81QOvadhyh3uzVyc53Nd161uNr8IbugNFrBcG4mavpWn9w8eqNBQ5ce3DGyShOsNsJaTQ3OQtznz9mUJkmmfmAQ0xEZACOZ633xnBmofNXjatobNLB7FryDCODgvoOCeOOn3o+Y4WoBAQrkJyQ7gweXND8v3vwtCmxayEIJMnl6LAkp2Gh9BYKD08yZvXtFaDkKaoHvwDU9hyBNxVqQt4s7FnbZXDrXbgqOclWO9/cgaWcPILDMWuAHlSe8h4w0qNcfmH3YFUdVoG6+t/YYqGm91j+xuHDM36zCx4+nn7ZMMpsHG6/7/YhXQWbOwViIQ1nUYwPkNeLtDbZRqNRZl9caT1MZT05JYSVBKKPZ5CXFerJqLWehcuJ3DzsBVZpTHMVYq61ClbthWXH2/zVfAQqd3YGt3oY1VTuQZzkXrjuxcbHG5rnU+CdBt61iopzKlAHEI8xJmbVJR4jAZRNBNSOB2i91Yrv2A6+xw25s5WMlcWeUGzCGUpnztsz8D2psFZQWfaqM/LXfspb3UqPVAkvdCKymJby3aegZipT0HmqW3kcXRowr9KPjB2vndNb4BY4SqX1hjCrqkwGfovYQ9D4vPFzbdiJ6YegNTa0L6nD++sXeA/JH17MOThKQ6EmVYFoqgfb/o7V/LqXp3eqnWRV2L3EI/pXyYuwMRcaFC9fVFzYf3NvmFOGvHF3WJ2RREwTttFdLMaOU1HF4bYlUNoHTaKU+2TOxG/99J0Kq9p58CCAVnjW/dKJrMDJyshbmdhXZjL5hpRoh736C1S24QpuHji52lQmmTEbJuiQs9wGpszMXbK7+dEm5AB6i4Dd/TE+mMgr8ienLn4FaDK81CjVtg4ppK7Q0lMQzNrS0DNnPm3q0gUPD+VZCmfLIdp/VHF2yRrmWohtsTl21EGV6rKzQA8W/mVAbY/E0C7qzMokUZAlJwY2srpm+JtLdSkGks9V8wHUqtc4LUcVdxWjFtFGhlfJdo+ttS9vGyt6JSe71U7OqUk5ACuGdraDLPH48wL5b/EPLkNK/vwsRHvkEQFMkxr5gQ04w51RGVdyHrnOBeY02O/eSlMLu2/+zwV0BqQHtWpVd5ZGDvWiIRbc/EJmwTYFxShm8r7OM4imXFzlj4WM+jGEf6Zee88VoTkjxQfZiqmsK8yL0tZMEYKvJUkV2GaEKSwHL/EsGFEZfsTPjkeBXsvF/kOnVr1ZHccNfiU1LlRsXOQ8YpG2AE1Wvq5DEyLsgX98fMU2YmOwSM/q+Y9h+s1NICqZLvtwZfV5aDf8iaOodAzo0nuyPsdAYYqiJu+1E++CcpcgZjv7rBG582Pat1vyDpMeviaFBWjBPu5oMa6GfaGRS7wUWfO0HBqv1RO+6MjyYL7wc1EG9WQN3yd8DL+VjPrqNQ+vSBQbspICcHvs18jUahhmK92RS9ZkMAMg0FkwYs8oKbzm8M8+pC80wG5qX8VApU5szmWUspkJmurXtOQKMKMgOji1aH2TT5e0AubZ6Rn04TAirIU/x8wcZ/yrZ0jIeQh3FJcb2+in8a+DJeYNxYqeWCk/JJ0qPQYcNd37vA1qWPhhtbggFbKB+82hH2YVV2Xf/Y32J7TG0gDgEn5WX9mmAGD5hrLhax9WTNi4GNcrfNs8hDbtlBu1zoPLc4iITM3QAlxzPWhkLNhqyCWmot6H0UZcdyUJdiAz/lRZaHSk3bYreRxxZT5FUOQ3m1PJbEQHmTZ0oo9fFgAd6T9Y0TvOINpoldqluh5VyLVOvMScHjqd1LmfQWI4zQnRlbB4dtK6KthzJ/Avk1qF1iUX7pxpXsJRzX7OkIE+JAQXwPYYJcfxhUIarEPOpqC1tAXxNWGYBAItNYfyT2JBqIPPMzxy4E97HCTT0anJoN2Z58qFA0Z6S/dtRORUn226UMhdpxwnU6+GGdMKUZ9zyhfJ2eWKcsb8Bw2UEghXvHQKVXnKk76vQaK64ekv09uxwNtqWU6jhaKKBQ1G9LSccX1h6PDyOwDEyNzfQlxPqxTSw2TfdFWS/P+un210OuY9uJeyM6R+LEtgFWQlqrNJEYzgkiOkCKkn0md7fPqilvOxdzZm8cMq5LvFYAslzqZh8vkPLv0eJ7NB+mND9jo7IV2jC9CgSROSxPxF8WaQG261Awdd0tgLHaSOKQNB7LscH4qgLt2zvmeJeAZooSne7ReeSXpb4qrBib65GQsfs7kpH9D5fExx0mpjiRD94zuD8ud7nTIJV9e+SS4ERT98eBGgWGqKZXmFb+eh0YOdv60K1nU1iFBbzfEw+sRs6nsW5P0KUAjsJfAoc4+ojf6/HRKmOCUF5Wcl5BfSvqy0PL/0Md6E4JRN78SmHPQofACrJlc8xME9ikqttmDiCKH4XdtQkncakaYMw9SyuBJEOECfkhuOCiaW6+r7T24gYVXC9+kIPICrLjADYte8dyC1cUIx3ZQZnaEO3aJjH3UGyUIwzjzy+TFNe64BowF4U1j/WD3os3bEIaJo2qbix6mLRUQBREGUlnTxhXZjeRo0dQh6qxd63NgF18WNXkBGHu4M/20TFzpNDJ477gtOukujtUu9ZMg5gKzxi93YeLh77ZRDNMEX6N7Bh0ceEPplsUJE3bdOBlgXF1BjlEBKca3D5IOBh1vyaK7m5+JlVid8lsPFSobS7Ig0twbvQNDY1e+WveyO1QSdH1P8Mx2hCKIPQW1yeMbK5uvnNp/FiW7wEM8UtvYfvbEsJAXnlDbh/aRE/E9f2EwjFw9EB0tJHJb7Pq8Dd1uEL0PmLEF2Bmg1toSdbkHtVQ+zCKuqdAdgujKuQu3gInrydLtylKVPRS/w0GAdpUKup6Ks4q3rKdp3l20wDyPMW+v3nZwMv9HsRXA0t9GKn1PzLQA4SWyJ8U0bCBcICLwuo5MSn/H7dA+bXluL8hZBUp0IpVysgtCFhX9NIM3wd4vIzTrCe0zhuCW0PssUVVP9bgLHL0WMHe8RHWJuaR6sM6rSzTjtTz0tIcBETEggv9/hBSBUqU/Kc0C8CqTJddTd2uIJhT72GE0gIEsAm7z9oHPeaAZ3x7Qx5cndeOjMAar0KxI5gRP5alPsgdolQaoF5F/BF2yKs2TnV3Awr7gN8s9a2Hq1DbnWG+YUHXvIloNB3mpVLFUHw13w/GWeB0qec185qh8V3qyQjttLnO9Bx1mMxDIfNRpUfODtbSyj9PNnJwCnAH/FEjZZLPrejYq16xVFQaJ28D4ppUOkdNUE12rXujmYCzDL2KAYybkkEZHt0wZj2fyYp3owC3aa+R+RT/nQAqCjYRRSS99lLAiQpJB/M9tog18IgpXzfiavvSOBRr7E0pHYfx/oJ7ledHTf+iXwb1D/YJqIyhiN6lH5Lgzm/O0teTzHel6RfM5eAvbjHJ463fQEVvncN4ieU8XO79zuU+4ooGeQ/KEXntjUVNykes+4lOBhQdL39JxkqiCLSxuJV5zxSFHPxQCEnQLWIRl6iXUs+eHDO/PHiD4hgIPkG6OrcyEGJDdNa9zyfFV6dcswjxYwN94wkvQ5wQ7H5b9eUeqHfnWXDbmPKCH4U0hquBIQhsVkEmxpXG8c0E3zUM7hWVh7bHSP5Z5Cd3dJwsNkBQkuVlPKjdmuxGcUmBn+Prkms00uO2+itOcQvszD5PZYb/QqX2SWLpimucfM73Iuq4jrDmRR+mKbW4fF0nIYYvsLvvAB5xmG7LuwseNGc2XZqQfWQMTcSJsqEiG6rBV7HctVyHOCQ7jxjuMaIvcIpjQZfW6MEjUggwoxX8QLa/eJdkEwZ/eMIXJ2DmoRwdVD67qfY75dV+ApIQlOEle3A2RTTeI2DKeR+tiYyaeMevQyJr76JzM21Ebpl9YZHEycm8Rj2i2adcfXsiXVyV6zqHJaYrbD8nzVOGi9vFsgEiLchIbErAZnfoLVJj4jZDFjzYJZ4ZawD7fCZh2hYJ/8WVDCdV7cOzQd+1Y8ZbJo9dyOECdQkavXmvTSkVI3nfkI0ZS65w9Cga4wqwVDTFp++9dwk6bFbs62+FkF8qtpZTU4FCUAKxZq67xsSYu6mm17Mt9T3j4X9p05ud39GXVcZUajY6+oQuY3Me8xy7+8H6VACackqiPCU+x1ROUKpRV/HANbFJXAVpfe+/QYPJFsOxuILBNqGeM+QWT9lVx0wLj4Lp3tccx/NPMoTObp/dka8jcZgFviQKfjaAayRFiprP75y9dyUCcD8vXbpeF2CHzQpAzPZyWOis+26aLk0epLgzcf2Ez1Pooy7PLFgwRhkiAnGk84ex4AgffaCmWi+Grtl6wYli9i1ulTQtKQcwH1huxgd0SJiv/30hlX39LsW7cNFjbBPl/hNtBz6Qa8kCPPGf1c/hXTuF5jlJpl43fTNF9xDTwpJ9qtvxSTMLiv2BHGwP8RdbpnCwml4nWLyo80kSwph2vKfHle5drsOomGiKw6d0kSzhCHghFF2nsOuMuFpGzuWqJS4tAdSRD3tPNuJt9jT+FKxgpBdqP2cMpDefWxWvyEL6NHK2K/OcjMbpTGyV+i9sT4L4B0CNFQAjKt8QZGnAZ9EtQW3uVqZG2ujqaV/7n6OCYt3Kjr51HgmbsicQPyzAFMuE74OiAXBBu8H+YXYjI3uLUE7Fw/33RT+tL3/j5TUBzgjUBLHUBzWbgmSFXyd1qL2bD4GdT6Yk/L3MA+HkKmBKOwS+V0qt8hSXH43mjR7taNpwV7hyZSvVIc/sXVKBjbY1yR6ELsFeqWcmsGQuVERVyA1L9/ANcQSVK3Epz6pH2z8PCIWv5kXdD2gsWoimK4a3sUZh3Vx0oKUjV1bDv+nxj+fgrvUmCOYBmYW0AihmAbz7OWBvJYeVS3Y+6Qy1i7Uql6nwdu7CWz8mZJLON7D8Z4bxr8TG6HpxNYXlkRoebTDv51s47vOpHxNps2k6MYmcgPVbp6ARY5N3fRzdYSegwrZsPUezCuz0GCCNfBYJOIIXYTGK7lGQWjmmVm0dHxNIPG060hM5tVT1+qO9EBLYkpatrrOv/0mpQGLPAIDZIqzAVKB4EQUT2Qr8wRq5jPiiTeUvO66mhzKsnGHCiwy8XQaM3WH/LAjTDP7AJ+FSSdb4zdYe3Nc1Jqx0SibEEnMlsBqilO7iDq5NYQFPRINI+H8/3wh4qdcqk+VX5pocU8SYyf76ZizN+gDoFEnORleSKhKvfilqUmP64Xdoo2e5Kee9SZgN4rVSxtU4QAF1KytW7gakb+WzFxbrgWEiSevhD/Lh9+EN+haTdywJhrD/DP6vOjGV9sCUqBhtK3hh4VIoHEs/C6Y0LM7P1WMP9DIFNdlYPlCWX+T34GZ+YJrDozXCd8GTSUGgLYn821LKeOumQy7HPHgCFWkxLBCsMsU/83w+iqgkJTfLSUg9++k0NJk1cNm9kluohAL2Dj0KtnVoT6iOEUNZcxMfvHCwoRF+MyWfuooWgCoMm0PzhkmpQST/5x3o/xT58w4fxektv5c9/uNyteChS56sGypfV4jaoecscPPirLhavmCHJGKBfyZZdqEczwVIV5Ay453AxhFaeFvHTrEan3PCCF7wb/7BQvzhD7yKnKkfllNTxypBh0EbKKXSqi/1l7xey4OWNrfSYdFxZ6gfDsgW5BWz++HraV7sliT1iANXaOx69ZvXsuEJ+UG6/jsJs4dsPkq0t2KMF/G/VtpvsASbxielBnsiwIM2AWjS0n/TNcUnqsfJm82VCdZR8tVNN52D2h3YwmNmcenx1DMcz2fowwL145uQWV7o0L4wIY683NWcjp17i3k9WmBrLUc01P9hqzpu3sVi06htjb9Fx+IIBx4x/7fQ4kiQEU9yXMSfzpSNipHD+NS5v5pYthMNAOhQdNA7vAqWt2RxTapPNiK5hERe13EuKMvIuwQeMh0rti/i08GuQayoA3qNpm7fDWNm4CWGPp8KLULQAAm5G3vtJr1LiIzavfiTXu7JUbvxpYUloED09tSphgXvbn7p8MekmPT3JGSvr8NUOMMqJNCBgJTOD+hws5yzCjHfO/X5QNcNijkQ83SOGZtcKdTiJgW7bBsxSpPixYjKxW9FRXxEN/NeAY4u8Gh9mSCxeCI3fD5ib8TsRjnMmkb8f9V6czGiZASaeVdvleHPQ7mmr1c07g6Wv5nTr1dH9nzJhXeFG/nibWD6al+IfHgerz5TmCK1qa6BVp0vCEYNVzCBRUXw3Trjy0oBeXBE+p95PRNcZLqKYuLD09mpgsLehkB50vaY12sI6yFfDKb/VvgA98Jris/4vDSMVyfSBMi/G9UsguYFzDh43mzU7YNhF0lAwdVQXVH5w2McYCB4UaQ4Y4UkNFT8J92P19MODYMfW0rBXzgjgzUjl5HIAgf+i4ew6rptxMbw/LbZaGRLkzp08PjOYoQxBnBVsAFLMQlgRJUR+rTtq3OKG2g9aYm9L5oGaxuNWMHukNLSrjf/kYklo7i3tyu9B+5HDSvVdvhPueH56XY2Ea7zncZZXX9cuRsXlm6b4McyFF33AMrdZi9usLa3qiEet1KYHSmLJ8gUN9v2/4Ezjb2XxzV344JPp47dgbtfhGORj/hD67bcG6vZhOQL5hrulq9SyL0usfjA5Tca2XfQJPpg+yfB6IISfUB597SKafLGtY5xW8oQUs5T6ois74Mss6NbR3olFTGxEVqLFCyuwWORoPS2e5bENKImJgsC7skbra7+RIKzsEZcMGigFJclFI+wauEuG6U0+QkGWW/t9umSkCKb1CG+Yif8M8C1rrAMSBF8Q+7SwoX570sZ7kF40wgqYym1+9JHyhGkzKyB4oWYGmw1mCkZi8tPfdsDYGyuQSO9hUiUur/k1Wc6KIj//IPek4dDkIxCUM5j8mhrMuJCTdT3qfzein7ucVDO/4dup5CMlSfPot0I2XiI38nN6y1wkewtAGeNy96j+/sQSgXhVOarM0jxGtTBWM/VgZ0az+8RBLD9z7HNy9nmGUmHwzcXCDO5w0ZgoTvG1XUE16e6BmcIXgajyO6ek7QwEhT5qllkUA+DnUhCebU9HIQLGcWUCHYJ2Z33SYF/ZrwfWov83Y0PZVkBxBpa3SbI0Z6ac4wYFx7+JGCGdG138nt5XqIfsDayGmEqjY1KvgYhaHP0X7/JmbnBZnhRr8+EN6Fsshaj0n5MqCQTYk5gTtpBE4bJCLhio8/ucg9SyP6rKLu4zNnk2Pn6Imp50kMIxFQ/CRECnGS4JbhwEp+7PrGDcax08/hedyIIGZRZmxwa+/JXOqYkSy4vgty+df0capsmw11jjqm8la69EhKZ4cFIupOFhe/tTWIUKH3bMcRA3hjfCm0l7o+6KI8fugmsFHEda0OAfWRW0nCf20gpdaRNFPZF34sWDRKBbPHK8qz9tzce3AKO+OHD3Rnmk2hZdYzoKq12IkCq0hoccNWHI9EHymkGh04HDEraR6YabwerPvFteUYGBIMC4anewttZ73B4O0zmsxsiRi101JbU9rMfIarhCX1+vKlPE9bWecl/fWAt1Nyqk8x9yVuUxMbCUP/BHy9/ydH+loGaXcJoQMmuFYjF7TMtFUKUvyltBq+hbEkq78ZxrEabKF/ShSTAOYgnfUx8MVzpbbU9M75sVfYw7io5UCYWR5dzfVEZp5GH3cE/WsNV7YTmCPf1ZFtUEKCF3cvdbUoXaTI4LGKZgY+llI3jQvDeDsvNIEqJu9wUQhU3BvghoZg1a5oIQGGnrbe/DlocIM0WDsNBeW1pkoF4WXIslDt0tYFRxnZFLUdaSROJcZMf/5eCACEs4WPK74sg3Ibhgw96QhdmypLvnw03FL52SDvt+mcTbmBKX32JZokdmZaQN+B+8hVUireJoTdjFq3zzq1AHC+A+UVE/1Y+H582TTQYUE+deYab37wdlalhk9on9U4X1e7lsUG7KeU+hdK/5qfUJrxU1OplSDPX2xMVwZgfLHQHP/hnUOEYm0ycLuisT3za1Hodh3tyAhA4uGk71txFTDCBc7K2fuISwGOzNWIFAZhCOso3yqbsgBFioNQkhvut8XWIvRPTz8Q/m3cG2F1EceBqcn6T8OgLczwpUvkBs9Bo5IhbB/pLBFguCsMS+XMVk1zt/hZwmiIeix32O+7eZzTa2ncW+XzsdTZat5Wf9YfwVDDJBR0oLN0ca6KH8Vdi8KZF4pBwogaiY3A/+3mYqvV/mEosrFQv8kmrIPWLmv9kcuIs6ER+lz41fUFtWPxYu+BSAOjjx22/Tk+6DvJw+/rB3CcjnZDWHZehs/g9Ggqy0s01+QU9JGUbFjFHaMAQ2avd0cposY3ilPngGRiT4gy3McNBq4MX6F2CcLd2i5D7uXcJjKx8FvhFvH8jPJVpojcgKOVFVRDZ2KeZLlcvCMFRVrVt6w+jpnJFpY474SXm2/CLETG5v+oAcKhLAY7GMSww2JCujK/X97E+B/EzDbUkhIVoLp1muHX9AvcmZtuXmnlfBovT77T+jD1gXvEvrN/TunyBoV5fVUUsKhgB747MyKMbYeFqsM0vp9DBSj07kIG7AUnU5wbebz4gcNe38JlsiC2adDzGpmQXp/0VtBTxQ6qtO4ji65N6IA3l63eHNQOyAj9NJtZef0sxnnyMDoUswv9/rQ+r5vq5+/bbNbZg4a5GZHN+98leVzUnDpZoiVFYrOB0x1+vKp3ieFSJgOtqKcosQ4YngJrWwjGpBHyEFXroXpQZHGJhGfJONaquVCdmjD5GxXUTpVo7HrGsSzf5+Gg0B/LLdN7PGyQhffInRzE0XXTiR/UDcXxIiqk6NMZYJ9TN8lq3dt3iyrQ6irwl/soVgJPzm4+EJigeVCV2hmEd/xc80GB28iaTBQ3XxRU1g0SbLZK2TGLkkxuZil3noujtAVEDQJO9lCHvWVoqPrEU+LaoCoHkuzFdBCartYo76rmBW25sNGWZyvnTsGJ9sf77TwRWewZVJTtebNkuO078gEktpFOd41kcWNii9kjmYdIp4tESI8YIjaWRkK/BF4CHZneV/nPgnDl39DKUYXX2/bCwrv2f/3UEMyDNrNxHJ8x8VqVvVRPLev2idY9A7DBGWjJ28jmO8pPlNmsIZ8/DB/zkUL81VV9mMZ+uVa5UdnraLHWYxlouCKJevja9rS6j+tADwZ3AZPRduTPbeA4DwjbTXqzP1+YwhHip3cPynvEKV7HPPpNhmPgNf0JsI9LYWQUUNDc6TcYp4retGc5eYszsYnKpnJkWmNdB8K8RhMgcIq77OS6JuDylspLliM8OcKKfHoNb+qMW5fV55wuWQlLMS3lV+BOZ5M8gUUiq17PPYOXHZCdNBABM7JriGsysdKVPaUtbS02a18+sQTUIk7IwmUYNP/tSEc4FPHfwitjru1KrxEIKSvyPzELshLSgy1rzC7+3Z3aUmWRhO1YormkRvUqrllUOi/FriePrvk7wIX5rA/gLphOPq7iXDXcIV3kz+kWaE89j+TisjTZ4XLCpx1T/WAYOm4oKSQAmikGzGW0aCuo56CGRwQFsCTPqAjEYpeW1rus0X8uOn3tcI6B62DDttWTcURK2X3+kvrSgR4dmXhBjLPwC23IMdUo0fLX8tguvBXsc3heH7F5RDgIaRVzHUufIG/adKYzTn4UcifhRSQQdVQ4PW6yfw5duBblmuHH23/aXW8htPtW/OnUIczqbg+IlAJNsjkk7A1JGJZLJAm6IUG33grbrjR5Ed9uHlLhgcrwqc8vbKc1TwV3DK/jd08gsI9zPjzChHTgyYP9m8Qwtowpn1WhE0JRuO8DSOpvAo9W/OKbDd0A4qGjePRQImqY4zAqBdV/lolhlEqXcwGTEzXCtdfQYwTl8t6guNLN7W4vNWhzwXR5XGCcAS2cf2wBOxgJ305DwJcs6ngRlzaLEsYZOI9oWrCGTZ9x28b8a8xB7omWfHrPU9k9VpsXA2qSjvTRv2h5gzh/w67EhyWeB9ecdmvy/1ejDdx54uevE9Rb5/brrOUfWy/+V7fFavIDhMTJJAmAFF1CKb5Mx0bjEZ/EhkEiZEBAL+hJOtObs3atsSs7byDarAgSqexmKsySu+P/4BzpWcwQdLE5fn8g7pWJuTgEcCp/xNf4dsHFF5GyvlBRtwP64+LXrR5AztYV8LbeZ16aaBf1iMlcZeWNYBz+Rq/27pmrwJIrCLbstrOssYi/bge6sSV3aGI3rUMu4Nk9Cpqzh+Fqtp+YC6kVz7H+AzH4fVe6vZJDZbae8Firybd3S8L8PXvuWfGNa7gE4f0pDV+9qhJepz0riJOxbpubrlvoXbBqB+q39a/+mzAYpbqONKum3UhgLtNDTl8XGZnhnwSiqDKvNvQYnfjzzk6aM9aCkXoxm/pZhQFVJDk8Hfxe62dxSQRsI+B2LWl2/K0eqP/j+YB/JGA8i3m5cjmXJlbsiHI+fxP52jb6CApJemhRqo7AAOMkpIVx+eA1R0OfEag32aQnceOsNAWfowbimEgawmlIDoq6GU2BaitK8+Pzu7FEFa5o/TQQlCSM+dJIYO0cekcaB55revRn+vphpbZfCK5Mbw0gAgyPDkxl6sBYrOd6izObsDk0pIQJFyPFUlgdJp0Ykm57N4ANlRFMoy3riggo81s5mbfb1OfDVBDrM8bHmCC8dIiDuzgNJmIO7bSovgsQT+pvug2gvziaV3/lmmkWIsEjGtfXLEkVNZGraPVSzTqMkin+KS/huHKfh7weCOosO/vrPip45EfcCd8F4PfN69jd0Ia6nn5czFky05gXzZs8XHrWYZJl6a2m7sLYPjPr1WxVtEkyOrqH6hqWHcGZOYOV1mvic/08MFSYwyKj+iubv2GhJI0lV2hpQMYoeOmqPAGlu+Gf8ms5HQjW9ug6XfhlV4aNb18H9dwHi2rKyg+JQ94/xggIcUS7A+T+4k3Vx6E8oY3LeiOcpjzWQ4Mlte1+T9+MrwqtiSbzCR4+0Nf0398qxkLytuaMmoreGO793pOlYp8+4cZPQQWayniFoCi6zbRWnG7zRX1nqXuThCLrAcKJ38LqEqR6+FxMRiRA/zHWRH6CGhicqulPp8Qx//WpUZ+4XTMo2JXv0RiB+9i7311o+s83Zrok/6iGQDhZWjOkB9prmj3NZyoNMC6EXFCbPMrfuIHpN7OD+iBkOUeUoa+TdHUuZJO/XR3zsjR3nrjSz/Fy/l/N603iwSj8dDl5YDJDWaOSECGEOFToxrDSdbkpjrRMDms+TVfzvo2bsz+aBTdxne9o76RlzzmW2fbPaacrMiiMzGNIbHm+4eNDeSe6j5KyWvpdAWTn1/pPwxZf7kTxpQJG83GS7WxDwmEdjM+i7ARwdcWPPoHmFKKabNJgtfM2nm1V/Klb1d9xjq7VDvk5kiPC9jp7qfDK733wKerZuEANdVIms5BCoZFH/J5B2n4ywUOIvo5DsItJI6ESzMk7rI1/Qxg93qdft6G7VrytraC+ltBgzUNCn9sswQGC5c4S2uSJr1KuWOThppH5FkjX4QxsWLMoblPENBUOF6zz5hCBOWI1F5/rBUVlGZDIQgzs07fu2Bthd//K4e1avEItTcjEfpJytPqF9+0EwCHvIb7oOuA0V1b7FsQwSIdmxTisqRdDXuXNq7Qb2ZRdboLXs2JgZqesMlyxySKGR8FvHUE8NsOJBMT5uv54EMYKkXkkV2QJGY0rmREKSrQiP0On80HE+tjXl5nvRQY5iPAbQmGfTy+eiDQyQ4Vw8ntxj+iNpcKcVU2DuFF31lyDarNeXPZrEt/oByb92fdq52yB8PnhiQe1ohr9lottTHnPmMJEm6IgbI3yK5obPocCtl2mXb2yAeiivMV//AaGXDM+xOo0mMIj/Krfcghqo3XVfdOU61cJQw3BX3RXH46Tb8UUX7IH/TRK1qT4bcrcVDSAd3UDn3d22afSrD7DMTX+SupuYUADciQ/9X3N+MkGm6IiddwZfx4Q0oFyD8OdyI4K0sdkaYC4lgaEYiUy5Ocbdoawx6wM9usZYCmV2c61PhiYjoDu9105jKOJ4upcdtsjCo5njUw8HZL49oXomGMKYoXOVkmpksX79XU8aHttSeFBvG9pegtRTYdfYvks9c6+TsO/vo4Wm1BBjS0F3Nay5tP6L5bsifDoRtLeAePw6ld6f2zZF31MyCcuoAXIr3639IZ9c+1a4EejHu7C80BraPd/ev28kUnz5sPZV6XLRiJQ1qmyhFAWrJlzlp+63KxfGkbdDSvJVAmHoc4m/LlIfZg+rYvPLJsTFMAg6OoeUoRQ8o27UTnnE3TvJK9iYWFkdz9psi+WZQAGuJn1Y2Du8erfprxMJ4T0PAIjzL6U47BfioJKKgvBzgSg0tKYiFKPgetCjtCspf3+BExVLSohFHQd1RkmC08AeBciTN9OUheTtNAqRo/trLpL17HjSjcYy/gALHLZiiE4xBXDCSqHlghmkrCMart8FpR8tsIthlFnzEUpcH7gfFFg6Y8zcgVskMtdaqNjLMaKG1ThSjI4QA8WUXTnZBCYX2w9TNc9yAQuWQHaexPvwR6nHJbdokXObds7g4BKlPQJsFotLG5rEPlcib1GdfaSjf7JQ+W5y1VM1O36AM+JJu2fonybIPAlbSdLJkqgSKmWiDGdkgYDKGAOjCo0oAZBIeF9bQBcpr5+nB33+MCrPjjfqNw4flqLYl6q548G94chjP3teS9My879YJHjCkhvOs0N1MfZECkZlDTQcxFhHC5CVrRzKU6fzuEr49+IyY1WTrJfSpw2w+M0e5Sm176jMaUExl6Li21sM0197pTbq7D5g2jvaKUnowFVS7TV6/S41bT5KRc+g6A5Q4Tbt4Vz5oHQkojyYAAg1dqKz0S0ZgQzot+rKU9GJSe+npbEAe9ogm+10BKmwwwHibXsHyAzRM0WksX3LglZWm0xcAAJ5ih2iU1IAPGSTug2lZuHr8DyspPd01bkuWli/giWGQiU4t9VdQWspQm6H7VS5RvVqXmCK9nTgt/T7hIgB+Lyo8szyCe+M8VsY3dxnhknI9H9vNgtD6popUHgjHYXmrZj0pzoCNY1xwLtzcpJluJmbzZ07dUZsMzEs42rRStbqc9meNB9/ck//Pk34vL0sk6htlPec65g5JOBwhc4bfwSZxPPIk5fkyH1orTVQe7LP9jEM3YOSFWQtaal+hAycmmBA3bc0EiRTwFTYP1p76alqj8zECLSZNVS8FN9v6ZxVqum0PK4BfJCM9bxx3ZgYCfyF61T8DWY97Kj80jDdDbjSrBQPDNFYLuZa9TugcnvEtt8fjqGdN2FIUDBVbUQhoTY63snWnSCmsyo1I+Kl+WoVCiG2exVBWclqZ5R5FIzcTC5kyXCXfVdVp9x6iOTzMy+X8k0P3lUqE/AasgUvXjUzhXLxJz+W5ty/TIjzBDHlG+Iy0CQBl2YVWoXkTVhnCcRPOeMBLb0TQrjY9SIfggoRVSpllO81PisUmMdgeR72WglV+tUdaBJ8pCGkpwFfK2BA7MV183/w9d8avNuvx8AdBnuxD8XY4n3+PuTAQ/Wr7VTF13Na+onCUWMQbchvgpwbjNwCSRn1LFTWwoCSoxUK3+2JYCOl4VBzeqOnaA75x8819c0IayPJ9eIU+mEIKy3WklBHD3HLcOXNiKBwygpFHKpAlrFfpcQ4zo49KpnwMQa+usT7b/yK7Hwbzxc4fLjU0DZU5otQgZi23j8ChUXQIjirPFeNOT9GYRBNdui10+mEhzH9No5OQmzlnznYLyb8UFeJP04ybRx0p3C/mKhlH7pK7MKIECqBQV1gPV0CL7vYnXwDQYNfjfUGJBlcrz7GWB3hIYXfNPu6gvxWRru8wFsXiLPTCxq4h30OyYrCLY1qktY3CDBs2LNoqo19qw5+Ntlx2YeUbKeWEArbke9c0N5Y4yfFG9l6NgyX2O52p36Rq+fnnyubOUhPzXbvYeZK9ojJoOnhGDY9w9qmE9+G9LxvK9740Xb7jk9ymlLE/F7vdIFZzi3UEz25FVRFXapKw7LAz+rEFbcDeNwwvZISMmSwvgaNj464+IFNr5VA5BfIXcMLoH0jA/ABNGQqllfR2TROvVZ9o/whti0SWb6M/UMPjXhGfpQ73fmSmrkuBitLqx88IMPCi7p7gz2F1+7vKGWSy4Wm1mLE7QJqWK/yy/UT7t9/aZoGIHg7EjXC/P1NBiPfeN41o1maSmgvqmIl2bcx+M0lpPrjuNqayio7YsSPR+ygxb8CbWbHKmrVXAMyJ+gY12StwKmg7DURgE8nKX88u0SPA/xiMfNW4eHh7uFs0WDtLfZCs4m/KUMoBH4fsXbUNjD1lOn4CnsqLfFPwMrUcA4d+QmkPCu/eufv6HvKd9IKb21JViP4agmLtqdKtkxJpJDVsZn5hU4qLJtDkq9MjrVM7MWPmu3LYHyw8kliQRi9Tik/PDPp4XSV/VDx8ZqPzhm40OYNzJmFxH/pfII8WiWHaq+AiRA6JdJ5JLrOPqC8CZfPfNUcgnNfDU6TV67GC73somZ4QZgkLbBuE13+EiLrIpUtsW1Do9hpsRrzGECnM/ERiygK3ImjgE+/gqiZYXsXjlxpeYdGyP41S81oFHyIqqe3f+igRWhu/jlqqbQHtJ1hPDTlassvhvJsSmy5ANC7Bsj15GnSTOQt7Cyd7S2VkrOqpGyYSZF7R/bam8WgLmEq4zdgnuH4n80T9eaGwjDu7pk7JcnrdoMZKrW4cYmHEdf7TjxTcK/94hdfocMujaveEnLhA9HPT0563mt9y6SA+w0RFj+lyx7h20S63N1fOY8tVliJezwnNqPQJLmA4qgwkKXAUxYTCFB9Y5LvNPwGQYI6UO2r3i+4MHjqj5x9NeFV1foyQTea92boZ89H++mIy02OuwFJKAbHdj35oG/DqHPn4GHoKEaXfVmPOlmTw7SXWiVgSHiWWp/qo4Nd9kjnxFPTuEQxAIKw2UjESpnAwqyNs+ZikyZyA//rU9MhE5dxh947+zpLSvv4NuCzTMnFFOgCXFdm8ef2LhkwbTua0b04RLGWBhiQNXSJIPSGVSbeK+cqfxftf0LfOUx8FJDJ4HPOB4A/YavhU/zIyFAkxL+QNTEpuxS5HrFTL4scslkwZwJuqQGY4hGXn6nhcJC/cA15l+QmX+pWBxY3s2H44WADGz9q6x/EwNlcuIR5XVtmmBNEroR3DOQW6CkJjp2ru2HNPwhxax42mIsfLwmdEHlAgmY2pEKZCCfnrv14pPjdEK6ZNOS8g4ag2gmWYaWlN44CGsGBFixjOvPxfYZqe0=" title="Mekko Graphics Chart"/>
          <p:cNvSpPr>
            <a:spLocks noChangeAspect="1"/>
          </p:cNvSpPr>
          <p:nvPr>
            <p:custDataLst>
              <p:tags r:id="rId6"/>
            </p:custDataLst>
          </p:nvPr>
        </p:nvSpPr>
        <p:spPr>
          <a:xfrm>
            <a:off x="345830" y="1545499"/>
            <a:ext cx="3483501" cy="4615635"/>
          </a:xfrm>
          <a:prstGeom prst="rect">
            <a:avLst/>
          </a:prstGeom>
          <a:blipFill>
            <a:blip r:embed="rId16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indent="0" algn="ctr">
              <a:buNone/>
            </a:pPr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3" name="BainBulletsConfiguration" hidden="1"/>
          <p:cNvSpPr txBox="1"/>
          <p:nvPr/>
        </p:nvSpPr>
        <p:spPr bwMode="gray">
          <a:xfrm>
            <a:off x="12700" y="12700"/>
            <a:ext cx="72768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endParaRPr lang="en-US" sz="100" err="1">
              <a:solidFill>
                <a:srgbClr val="FFFFFF"/>
              </a:solidFill>
            </a:endParaRPr>
          </a:p>
        </p:txBody>
      </p:sp>
      <p:sp>
        <p:nvSpPr>
          <p:cNvPr id="27" name="KPIDesktopBounceRate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z2dD7pS103gZfJ6l4USC3jqtWOPR/ue0umjYEY9KlLthURXCUyUuZbmGDPUXB2idlVQc+R1c0j6vNnMaKvr/AnBHPFsgePkL0/XTpsFrxRwwYvjcyvyChgSTkA0WrA8dwG0GmwlBBpsIJyB1sZP9d7xAp2ey1gpzW0jRb65HVkmH31wU0CUfz6Wsa3d1WVhhm8nLUzZd35IJort9u7v0aOS6xXWeGseyTUT93qRMlwCGAgJ0MTKWrvhdCAhS33lj/WBjpWoOveYj3wIs0uqpiLwu66QD/FKmmF3KnLAGEUHPCFZNIeZG+VemSHwWaq3ngADKCST4iC1+L7zxKxU0QXupoYlGQMVLrkA0coQiBp3sryfjB4xIDS2DRILd1kpkjsVNFuRVbdhAHwXGp8Qafrljq0Grc6HsYuUiIt+fplXh71Hvi+BqSLbprXcNxTlyQ9eRRWt68aoRlXhxWn42eyiKwofBq6WQZCqgM5/Zs/zJwbIEzSFWMUPXaSofxvNQEXkUmvDKJkgLEhjogswmMbt/Be8qUTWuaGvq/mF/8jfOPqdHN5ZXGwzUQFGThxprqme8lnc5vFaAcF+zU5pIPr+6TRexJHtM9G/BWNZHXE5EPGmZR7jqYuYEw97fMyNx+F1bdvnYO+FjCa3fUJRERkLo0mvjhBoskCCsEWPPn3wT1g9fEc+OycFV6acPIZ1Ij1NhXEI8xIVwbYECPatI2PXPOTxjpdy5osvcebSXRyIneXkYyi5pSwwo2730YOtJrBqmwb2ynQVa0NZx8J42lTdhSsLvxoWWwYEFtPGQJeC/ASsvsnDde/U2EBaviQLy4eG7n79YCLMACnYAVHPjBgVcvRhKwuU825OQM9PoUUjjBK3/jlLPSxnbM2BR7nXQDLPG5lGlMbhZVSPlSTeXwRwtvkQwlfB51hiNX6r9uGza1CrkP0xhrQOY90Pqj5x03BQQRWJXCw6n7gLwmZ+zcutw+qG+hiIjdgKtp0VPOO1FQc5gVi6K4gMQUlJjyQxwxhiC634O5deuufzIvwwHhGBrSS1QHLE78bm3suWo2y6i7lHL/3IbP2NpzhaceqOlSyxr2+kTyQT0llVh9CvFzQUqQkwB6UV+MvmUyv2ThfRLrPNx21xnGRn+tUipHdzkmm9vx+ENlxxhVAzRhaMTjXkDtIz7RD1YrxA183zkqLSyvBOZDH9h0JrhL89HjNhJ1l6fCxHlPJ9d1b5D4OYATQ+DMtifgy64sIhIFdi8EbaeLjnwVmqL/O2LBRJR4CjMId9TNfOvJbR+DteiYLwyUlerUXysazV7dlVpp/hRkOmEI9c32f7xlkQAxGFYmzY3MYCHQgd31I267ZJcE+PRXO4DUKMAfyki36j1e9hDQKuGo55OMEGv51KxBuFYHvc2paloo4WcafjbJx1ICItSayStnDPSi/0X+fQQvXG6OC8q+Td8S6YI4ZC7aDVRM1k+3dN/yIpAr9tponKkPbJFSlZWINrq+phvFLndGFMbC2Q1jPrmDuzkLWGpwOZ6fV+W5MnKrzl4DHiteNlfSxFCHsFzNmZlaVmZgTZIfZHiAj6nqYeYMr9stxzaB8Z070xLtclpBlfHTkqUzAA+M8JWRaxjGRSnmoESKgCjnriZnz3Qgh+UBOlLowt+IQZ48f1BwWdlhWpw7c5F1MDcN/rI4NQkAqUqJrL6GD7tx6vy+0mMPwog3qHUDFQOB2hWiIW4yfgTsztwkC2w/z8VGlnVzYqnhnUzk2nTj8gnaRIiznC9def1o4UeQuY3Y+eoKkwXD7P6rBLw2/GC01DGk2sk2qKYDAA9U/MdB976uqd4X+ov2wfhq1NR2lDeBeNxRRRAmu0LUclTkv7afJGAe2Kqkw24mbgQlxEHuZEdfAYgiBbbAqYdWVFTBm8Ekawh1mnaEK/Of0ApYzQiYwiFqWfs37Hilk4JgnpfUE7RnOkLOqGerSAKmkQbsneGX7NSRn7pvoqcLGPv3J7UrRKeFDx9nP5rsw60BgWcLof4R8+LLWI4k/A9DP9VchiWmGCbHyOdSgKv+XqU4tNflCD2PNLBdHHmZOEPGT4xpfpj0EmB8yJQj0bRw5UIEvhMZpQZpHzjzphQs+SoHfD/MqJUIVLMv8CFAdyV2SqyYNs/PEoc0IFij8MvfOlo9fdnPRL9Z1QCweTfPyJ3gEp3FzhWSQqs0K2Jtazys7vC9WjS/jES4f14W9vPZl/93gFBkqB3vxOdgvEYhpCQxURXLQ9qspknIomEKpagzah1GBGG+lZrnxc7rsEtgvpXHQjt9EAwW0+WXKdbL9zTDkiQ/IFWBstBWwroCqpFaa7qRpHfJnzg/OhhKR3/aGrekpBofdLqcd1aHT9eYwiAM/j1zOz5iniXJ+h7BlhYm9X85f7SoTAvoR4xXRdL/7Z8tXYPtjnr2n1m6IM2o7/EypP1UKfEYJWo7uUSOwNglmfYRkH0QsqfpcWcFwSrkHXIBTHqGFP1nqNp04mk33gt28CBJAQ/7o4QrMKrNqOS1E5i1zp14pUr7lNP7NbHiI45dZV02tub2wEQcyQn0dZSRrzCddAPJxdA3POzSCN2+gb5VbNW35r4w10fH3GxF8jJ82em7xlXeA46q4TPacOe4TwZUKGL7UCOuDbLT+tzEOKw2CihQS2PX7NxFOk+LQfv/e4CjP9ZG4qwfTKEbOmAhhxV8MITreUVmT1PIK0d4c3qFs+ViJ38MWNfqirP89OJYloZGutQv31/j9P+Fi5XPwoCd9V1kWB1af6MX1BwtaJVyQaYZu+iikvAgEzGTWTzyaVg0cGhGkRYPtRNr+qCKX530BDW3/lfiTagaSaEzvZF4rg2OYrFv9kvJI6xUZZ0mtqYfKLuSPZN4Ro5LQveEGQwl5QUl5Srs+42MzHcYZY1DC8EXtmSjOAQnuGwvIpJDX3WbDSjnw+EptwNmVoe5TzcWjoh0ndzAMkZzZSIhJK7uvm0hgLKLIkI/DYwYW1wnCx/pR2ZF6Zjd5/S60sWS32EC/euwRrrQFvwRzpDF2XMWbTLn83rjLT0aWu09A+1ZrVmeTf/QoctnBe/otxLIa8EHhtZtyZoBz1HKqN4QAFcyFBeFoOgLsvh6DrtksLhnd9YeoFoCW7KUaHeVhPy4NeySd8D+TPlZyZtnoDKUUWem2OEI3P2ITsWz8zLnb5eOwUYJb/04jngSasDFLlONbDPy1joTV7yBNICoESgQjiMqkaaE7VqKEGV0TyaFEAqiqPz6wEQhJAIriHJPcB8WgrUVIyytP1DAA9b5GVwg+WE67HKVJGaZ+nZZCXJGDBq5YGaRhmAayQlVFRa09zB8BWTA+ccMq5YCaJakFxkHVZU6rmhrzP+vcwQRfIW298DGOagtHKt/+c3joYO4hP3TSP9dw3ydH5K0dx7GaEOlhpDjcEwrHrxTcbOH9TLVrGBl/3wExJEe+Qdozjln/vxKvZ0u8rjK89s61tjIN1QClFSqc+Sglt6lolOdeqhQnYeJZb95nT0gg9OhstbLbzGjJH7DOIiNP8n1PBRGbaCT+G3wS9x2isxnC7nAAIs/adZAWX9W8ymkRA4T3S/+K8/ByUCJrsu/Jg+BUW2Ptm+UP3tvGbAr81A8w8ZG5yaKZ4VKEsIhtE3J/2gA+4dZcv/cz+xBym4kqooX03BI8Im/C8l9ckYlnr9hJ1MWoR3nHT4pxMiAIkJkk3lLTv0A9BWQYTGdHHeL/aslXkvB+wKlZkAm8MrQ0XcJBQKnRuv8NRPng5lg1D3xfWF/guajthO63An2ES4jRxMUo6g7IDlsRG3K0j1VYSCKVXljG/L2AVILOMbkuVFnocJh4eQyDgKV/ZLNL21TRaKiBJiqM6B9EAf/vedB8Y/DS2GeiJ88rifQJjImEp79DiW7c8LUpXwOs+n/AwbjEmCBC2CqcbtEbpGUcTfgW+SKFM9eBj8Xl9QoQXd59Y8H2WlqAZy/zpYxzyptRDXZJhVj7yEVMv2y9kGC8nu6Js2cVjK/QUWiJTYo7BPjmLMdP/9szvUPGXRT8bbCOMNihqe9ugp/8vd9KznNn1zTZc1wlabEGSmPMLFSj4RQ8Hh1BNInPcNypBQrBxr4dgiqt6aPUD8OgPqbN5qZuiNDlhn0BGfMSlt1CBvTjhgEVqdANzdCQ6Ks1kVsCxypeV4GSz2/dqJbj7nWYmOSiH+x690GJnY+QbFpy88ilnoFPNAIBc/5jkxsGQkR7J+F4pBUT7RrLZH8VZpQhbnLu2Y6iIz9+mFrWnTp2eKYqO3+XOghGmuQVjPIv8Tk/N44jXugExioNhBF4GjNCYYqo9ViSFIhAq/fx85YKvJuZyfUDIWBH+P/MTerT2dYTbhmOeKTk56CqHgRYhW4oD7T0GfNtlp4RLnOKCO4Yq4iaDcrFssSSfCmXSbAkVxqWwHR/6/i3XZXhsxUS/8owu3cNclR6RH3bn8ZeGLV+nqnrKfdncnNGBd3rVSWx7f9YvGnx+0pP93HxwBUd33IJ0AvtZHHiv8hJnbFb01LLx036PREi3mRGHImvKw3xGDS08sO/nG+JjzgkwTXZHzP4mriH4/IY1PXfFgxaPrF7LFmRCWCq7Q1fM467/yU1hO73SobVrNxfpwAXoDQWer60MYCMKRpHyqwek98eOaPBRVO3qjgyH41FGxgRUe2aBSIq4yUX2vG3zCh0iyhT31tw4mCUdFHv7kek0JoQsD52LEUEMGdk7qzQiL2VeWlkc+YuTvoI7m3+76I8l4akYNlKlSLAhKwgXGPXyqHJzgrON2PpKO97ypJETIR15fQZ05IgXLTI+6rWu6KtS8Zl/5DP1F1WHipQ9NDTJAzP5vWrKuLG3V5F7s2Mb64yfS+kXz9RSUKoJ/o27UCpSmE1r+Yx/Orm6hAiWSqRQmbyQ/MBH55GOxQM4Ue54Zn604rwyMloGfX9X7lQrBYjU02T0k8Kq4z5/Z1Ipqsu7R/8wAvcq6aLBP836z6Y5d0+9fuvXng8qc8ZUbk2F4ctIrJjSkROhf2m4Z5H2TOi8L/4r58+eCS9/iDCgcwLt2fZD6HOAmGYqjvtrEXhKKcv/TdjXKn+A1oE+R0tDyC5LN2HVkeQX4o9g1VgNy2bPo5RwcHe7Z2IwhxPY3e0ppKCjkhZITBLg4ShEvT0sAIGA9ejm6G24MZstCd9FsmaSXriVHlSL299FMc0FyP00QwP9uk+uP29YJzG6DRPll9kEfV2pGToaytgb1yWqicWPm+TH17w6XCaRuNwHkRnym5pTPxk8Q0+lH0QbJ2EbF1KsZ1eu94t086z3Ish3HiOi9e1plEdhDLrt7NtF7wjxbZinD8StIaUJXKDBzTytXlyu4IDOXtzDO5rimIhHzuO6fHeKW8A8fNI7QfEWBbTKv5TLLA5dII4Oq40O+sxh6+7/QazOLtH1DCnzStOMxeZV3jYdMGHDs1pRJ4RPgnbcaiJxUFi53oVZlWcrIMuDYSWbdbH6egqmaEZ4lrr/zm+CkVI4aiADfEAqrcax1riHa2QR45VA2PfQdVYG0uoiZDUPAYk+27XlBdxxxFchnUG1gkAe4u8fLW5+ceDTsTmobt6yimc5PzJMzrhIaDHgsgx/LHydjKCiseygcq9VhCyd31GXxdA6KRBBfW1LxOeQYsPfHjhlEWosivLcC+1LJmi0MEyJG+3O5ke+MFhpuddSh+12VzeJc1xs9Z4hiXJHyYdrt23a5EpRjB+/SMuVeXHJ1YfWQ9SuoyGhPFW40bOpHAs+G6SPcnOCUEkLU3AOip4j5G4Hbb22By5NkKMqxcGi9wYFUYDu/MJ3iQqGGswxDVHfxLT9K+kn8m0AdtW3ddvBVcXUc8GZg94zvmBBBq+zXKEKGghk8lizXMIDz3E+wLFpWFgo+9cgW2S5g331Q3PPeu6ZiF03cIKcKkxOzHyv4xKczM4jp0Fq/JYV7amLm2aYU8BpW9MFnnUhucoGYX9HxEcrqp7tXitnvYo/+r2St3SDu54mlrcN9M0y6Ddqn/7d6EhAakr1zLYQjbQKa3w333rk4kRERHVc4h8MBlFq9MjPCo/jDl6lmtkoIEmIZ6Cd0wNKqUJVbVMZWMXK5t30P1NZwV3TsOlHQ38+aafNHMEZ8AJcmWRs71BgJn0xHTuRrrYgFGLzUtJ5RI26g3wnMCCNbDuMcn9qGv47w8/n6/YLCj/4KUGtBNi4sb2U7CIGKglLS9r4IfvT4fdChkZSae+9owEMAYHGqX17sHBBKAidLD3jgfHmoAUafAeaCwVQlD89gt9LCa2Bqz1QIhjfbzLF198PrzSVneBF8hIOTrNgIgESgF3ixnsp9w/IOVsgUzb3TgXjgbejLNGyTnhebTk9RAbVzyW8qx6rX/kJUibouioJOM8X1IKBmDdFDFGFbiHUaf/9dV5yH4onFQ9UBsccU6CE9FXxRBvo8E1p61frgnE2gnCFPtMzEV3jjuxYCLZgBF4a9eq6/mYwYyhh0ieD4Kw7jEURHYTLWb51kO/VfP5lc49DL1Z7ol01WnnVy84Z1xBNo0Talzr1HNyxxWEaVuj/fM9vboQCkLff9e1RmDQIyP2Kp5XCOY8O7ZqSHWtdcN8+12lwuKYDUfDlavXsWQ5Ymz0suPgbdSh/Olq9WSog/sc62T/9vehJJxxYjWpDKri5kP1z23Luq/GpTOw3WyaL98krJE277owXG9R6oS7HYwjSBmfgLT8dLFdHj708/VHObAi89uMCA5EPCW5vRSaiXsVuF5fxzIpxwW64EdwFtcq3dwxPmZvsmAaEj4Dbns9tLbyEU4xHiode7x73POqVeDmE6zAJjA6tSIKkJp0KpYGaiiQ2k54zsvJRJxUHe2pfkiXKrKOAvbY5BPipOjFBP0qtsMvyC1TBea/ucOeJ3J4p5wefYdRt3saFBYUa+prn4AUA34B3jmPxklUmykZGkkkrTHmk9Bsv6IjdF09lMBF5XjnMRNO8PpPxgBidcT0mRxDnqRnIjIRkZLh+1lS3v4wJioK2bmKH4+RSGjR0v2yAN1grxTnqoke8QeqhjsNqHZ4OriLtE6QgfFnge7fnUvrk81MJIeHM3mFqRMDP/bN3/u9370G2VLFJnRUDrFBwuMt477hHO1OM42V/YfPSpnSwX/OSnwJZqiTvMhQaoyNjn6LLvnf6QZa65wEhrrEx9mfMqq5hgFQrhk1jt0AWetXeqRyLleAszwFyjjJxLiThecmN/ivSk1StycrkDAnWazxUqUmrQT33Dpnnlf2d8UCChis/Ve7oWsKhX5FqA2PHuQ5Nak1tHSng2KKxWO+kklB/Bf/WoR1Fkpg7WriNLti3cjsXPPSRMVxls5dFVORTKloFRbez55nmZNSJq3aDDK8cE4dVGv/ycRteoMinPpsXlRHo2QBwNIg+gsTg7aEcPW2Ujztbn+yspqVCBlq5ELUGk4da2smwdT48ADB8o26FctvsKAF9hphBbYaZYLpHZBIekxmP/N+oLIM7mJP5gJncqIE7C8OiNWFYsEwSjp4O9PBYQdPz00akNyqDhqJCfbhKs6REIbKxLOtv5XPCk0ekjX1e01Nfy7/qCdFjGv3QzZcG3t9DzmNDfl3pxYqz2vdjfrpvAHukKLbKLj24gLpQFVBJr0/8acFsSmoRYWeYbNARv/89EekIV04oRTPw7iCDUdL0QgBB2yitODToU6vIAw8u0WoN33RtzV2D5G/T9Nvy3uc8Lgw4yYatp5M0RTkOUdf/fQWikJc2lDO/DAo62EOvhf4UIEKxi4mrTM77b/UF906rgvbN7CX0i6e1TFcuI2rwlcwjEl8kfQaZh4hHPu/ko9K26Pp5QYhGOHOI97WukyVES5boAOgbGMcDPxJYPxe8m6QhngOh5g3jM/ZXgOHjtb1WRWCn85gjeK2BwjFoGoShOvYa3aGJ7pt7bMIn34uatCeo674PbmFwpA572JrxzPEz8V4I6HucsggAjp0U2Rnv0ybDYeX9W8MqrYV6YvlwGQeM13gaS16i122HY87+ElT/aF8iS5j5HF9zbqkcyjHxQOWlp+zGcw5GWSE2IjmUYt0wq7KhUOQlWJ7BdESnxQ8QRoVEnzbv2nJV8DvIJQqaqh1F/6bCS+hKsK0VoDCr4njvpRXmFWh62OqeVIwdz65RV610VHC7VN53s0MFa6kXf2yOU82RE1Gfu/vPKatRRCaZilHrLbgIJIQsgGIBjdXSj68mtiEtvvZMtgTeUiK4JO5zapvnEU3kRRfimdeAEZg7A8bM5fwhCDtefIfuAKNGLwBHiX0dd5QiK9SMcSR1Qw/ye2k+xe+1HUiYePJus4Nw023miZazAcg6yvf+hoKeDta3LVYO6fyx1cG9jmesDO6WDxRXvetoXY7wY5tSo1+rcL9mEVq1Ei5+bqYm7me4/7GNgqRX/pRqvNOkIEwby1pxWJ77cESR5Q6n5KotvXm2216JZdm2IQPddusVxiYlcRGGfhrkhc8cet6cmizf7yo8Qr58W7oF2ZlE+SJQ5LplSMERuTmoANu0unP//eoZYmVpSW3NHQGq2ALrcRK0hOJT6rbXypeuFoy63qopMPCWQUU0VECfjTXHvAZFnCYgEegx249JU9I4NTviqIRMzywQBVlqVv2MAa8/UDcec/IUM+jXhEJBhAU1uaKtZCfArguer8z3rxQ1hzYraW+/v2jVZPGzurgO0FGPswqkxyqvH+wXwlXODFfQZBcD/9nXlKigytz4xEZHWnsNJuQ1ULgQLq3wFC0uNG1QN1B03oTKjM57ralmfKZENEZp+SyDRPnqM325Wjx6V2mQnrJHBQfbcj/aKXtWQL8qXxdOXNcM9zNNm+QrOvemzOmHY9epLVsdxpOnTo2/kNLlf+lPbKtvmFweUp5RPqEVUDoFrGohiS+1XX/lZ5UuwmA0xKv5eMKbh2yhNVJKhZoOkqMZAoF/UDdkxCTv9/FGDJI2Zxl1zmuzTuUdG4OmwCUBPNVKd/noQahPo8ebXkSR4FSsJzJWeq50SaK8TOattjH7HgBOQdQNQX3kXjbKqR/cKWnkuRspIMFWoZbJUIgu8aVfHGDpnHEKZ7t3rjHv8OVpnlKkKs478ns1WFQlxZkAi97pJK0mLpRES8htNxZ8vN3cOJ1I9+U8qc/0lq49t+VEqNT5vKO7XZXbAm0c6ODTz5Xf7lZy0VSNVJf4WIQZ4DDwh0U9RmzQGV8eaiF6ooRyxBNpqysISO4N988wP1NIHtJyz4snbXkzZgflkXUfO+MtZUjrENiDzSkuB5ACvmv6CU3GaCSR+1LPnJ3IqdFOFSFDgtI7gWSWnStUctXwgoUnWnvurpVqYdlhhbL1NxhYGwBjS9D7Yt75zt20kBX3IICgKvl+xidOCeduBCDAAMvILxWEhTpg6J3LEtSlRRRjckHHyhR6M+RCQ28BA3HnCkhvfloSJ+KdS+rGKMCqyZ5rmgOAt/5aBMPd+J+GLNX5QBUVEYoBhPHEl5owt2QsIsCuq99ls/bjSLTEoWQpP3Z9iOlpVEwBXAsBANygaoFupTQMzxsGk+GbCQExqGxesZVW2lRlQoi45gn0CIea07ady/XpocgnSva84Dbe2BEurka6GXvA3ZrZRCpkPexUCUUMdYr9J7GbBk7ixQsCsqFBESNwdeKpD9qQvQs2WYIKraZIfRps4Lz6Z9knUt96iIPrYWzP4fk0idpDUwPPUnIqOF4FcKYwj1iUI4XJiq+3A0gNEn9jEu9G66w8QL+4U7VNjFa6Rh/JWnnUCQqsFTpU6Jer83WlUdPJiKq+Gt4rGvbw/yC0upU7W1bruPRL6shzLiZsPGDx8Q0PxsCOqigCVbhcE7An9YoNWdUGLhOuvXevNGl0CTLHKGsZDV9Cwg42rkQzguj0yHHovgNDKgq1na2WLiFDohBYjWjTPX7yZfxblFkhkDOTIT1bRvL922x6zJo4P/oMrQV2/mJzSU3B/tFiw/I1gzvBEqnHbDx/EVsJil4zZd2ky4jhxUT5OFzNtwuwOUGYV55VaO/BizSWymfGZgghLIXpd2I9gGD1B5P6pq0SlUGMx6m8ZDZ+5cAZL74CA2wKDbxwLke7T7VSs41AJ1xkN9Tp6vNO7HF4KlrTGxD/POjdr/VG+TlJcWX5KtLcX0DAnGOtyyGvI4xTNNVxHaPF+W0+WdOn+V/tLKTR/3evdnzjk5L0BrlasewJzUvnt0QdUB8AM497JndII/MchxvNYON0NDfVKBCtKzCfYGg4c9OdwqvxaD/hmmSowLSd3ruytI1vS9MRAoz/NtjdBk/ysNeFXNLXzGhGrk+Bb+pKiNSQTxNaWyw7ZvUkrg1q155fvb6SahTL3GvQqkHTLYMapd3trpEaMCpmQ2bGC1hY3GdAYiUZpFqh/k5rXSMncDtdzvnTvxUSmFv7/n7+1mapPx5TWhdeKqYbDIXbPeudOIYX6X3+B560BsPTr/AoZVb4tZmi8IUU6hpYHf7y3OKt7/14VZZK/UguEpyBrzkYUUtP/3Ja6ibH4Wu5mUFOR9W2ZvOwVfqzgViGFYkdsQBABPvzFdTC55z528xdH2s04QlOjp35vMsQV7cWZ8xGv/V+2mrU63wJwnGtlI2ifbfu9TjYpIcEUVkO5og6f2R4rfOnbvc2G8xMDgL+D+5XSEvGt/tefWK97JkVtE3aGqmOPR54Hm4WCB3k1UP4zOqIJWHmSZP4bmV5oMdazl5fetUqnwsj81Qfv+b4B3PzQcCYtRs/Mft3JhOglCP3H3/D1sg1IuZbOc8NfJswR2lcxgHDf4isFFXZKQaXUfwv0QjFYbimMdXdimuf4dyE5W8OCnuKt0HsMTchtxgZ/1e7/AT/xw8O2RN3nLlkA35mBUjwaikRpnzbK0MSoIYx6XPWBv9feQRrvS6pHHLusAr16fGDjbsx5oAnCHhjBrnZymkNdpzUDQgnokVmYv8+1nQWiVvaj08ohmefhIjDmHHn+nZqY7sFMEAnB83H3tp4RHBfi7mymJnt79XcQ9I7ELmyiDmG9DhgRDRhwlszUebY/UoB8tVk+uc62S6R/g1D977iD5gkmLcabgRV8gK4ZGVMc2kgUFiCItVJ09MiSE0B8QfED+vNz/2ZF0hqUpNSkhVcbljs0RO2A44HZ/eSo69sTknKc3UXAnoNQ+q2s+tqRMWDhJz5JVSCYp3SAj4//jleggSQzfuPe44H1vbiwGBX1pKD42qzoBbLnVOzd0X2tK3t+DwQWQYXqIH5hHEOlyGoS6JyjMO0PfTbJJZYY9pTaZxr25IxAhBF/4S8t3mYS7v/wLtkoxEDsfJvB2mhUVaHqmdP/kuY1kt/yKO9xiGm8hBoHRovEcz32IaeRlun2hz4SHD+PSb2ktiVGug4H9TuW1Wj5R43Dnisj2mv5AXwYdE5yK/2/jTxRBn8KmsCltdjyChiF7EVYAg7RVFAerJJOa+RZ620weKCPES7MR+GQocK+kzTEnsjFqeN4OQ0kCBzSRtl1lDS9E4K6Ec1zOzRZeIdag8DUUfp5/n/j9hMf/ScBqtTMqdRjD55rLyaRuLjkQFD0HyGo6F+OZZic+jPfPfcElBM5npB9AM6EasJ2O1NvJunOWiqgw30BiKcEi9sfxJF6Nplpi56DxEk0PDNSkL/CDqxulexMS5cjGMhByfWFP6m0u+7oOV5YNPK6nUrI0H+Meni3asRQEkX98JG3yFGY4+sxxFC+Iz3kKOXlK1bK2iibfzqlDmZyX343tqx2u4jqbvJlNCrFThTHEdd3k1gkbcfRdo4qh2HGkXidf2/sN+yCKCqhgfHEll0qw36VOvMXRgxKaDxHuYCU3Vt/FvSmckhNZT2RCtQ+7MVQwO5M7vAJ75wPdAXtl2IPgtx8JPtXb+mC6SZF5Bd69c3V4dkzQ2FigGjxFMR719JBO3aReR8MD71R5vKT2W7MwjZ7IZhtERER235hfk9OAtuief1fXL4iaB7u6s9CCg7bazOldKCrlDLjPmqjKLFAPHy3+qEu4zmfhucOUUr60KQ51J4bbNSk7kjdybFiM21tdYXizj+XXbXFeotytuAkXMhbpHbupZgvsT6YcIjsgWuJrCwjKAND3L4UsezAbY7fX/uRU6FHDs3PgIgS9iQ6mQVV9Puf8cktAvwGlFpuz8t90Tqiy18j3W5h8adVzhL6E19affz4oGQmKz6V7Nt4JxmgTLAMEJwi2D72v5k3EpCRlvLeAlj2TSY08deukgXALmKYIOjek13Fr5/F4kwRItbPl154P15h67aFfp2HuptrxW2G/SF3ZXReEaF0ZMUh5/U2QR9eyEJNKLMfUCwYjeEAuZaCM55I4aVoSnaOsa0BtZySzupQs4ErlwPaXtxgik0zCCPyBaTq+0N09JWTKy8JU1cwfhAJEjIXze5YXC31GurFfoH+LXdzgpQKQG0Edf+RBPpHa/G6UcXVNUYDfGgD8eFejsO8XSPCFH9vFXxYfXd0GiFvQIUGtrPNUASdvWqzNG+mdsoH0UXkxl7ZoaylqlLuPH1972FxS/xVXOyI3YP03fxW+oRNoEuDs5oPgv28BUJMpjuQ8PCKNeTaKhCJSBccJ51s5CLAwgoSafQ3LJEssuC+0npMjbZkrbWbpwQKzz99DV8XYpnmlOaD02XaLcX8wYREo0fe8Dc9mRMyxWGWB4tgfa5peU8hQgzf6DA35wUrg91HTDWoZIQOz81oRvqhXhEvXjG+gp221a4FAHwmYrEvd5pWwJpEKsCPVMdqQCz2IMBVt+tLpnYU4jZFasmvNagGe2VkpBzp5ojKLZEvTT6MouIy4gf0vs0GI9MRd9JRq90Bk9NPPU2clWmfU9PvdjO9yh9r4h22MReioPfmPAKjecTd9NOZxoamQHvfTJM614stZaOIH1XOvLXQxwplciYDrd/ZbAO9Siiobo13bfPygw+QemRwJx/F25vEl2VMPM29rHY0hPhTn/qPzuSSJRuPYSoZRPsjRbuRGC+WPgTuugizVy+A3nerGsXnba51jpe4JHjj4U4h5Vgvvxmi94hPMurqKnbmQSisf9MLy0ksZnQt+Bd0pGukobSUot/B3iDwLk8Zn++GTkD4urTSIHp9FlgvYyUUIxgCYthkLld4bdIKMmg0jZ461ImTNAzpMhRWeuvUZC0Rvjpt9cirNXbe6tRY/18QCuLuInmHIwx47RPuXWz0A4/mm0uslDa3eoeBCZ+Mf4ZYJP6k7elTZU4cwnvS7wzhR4Hwrc3uaop+4KwvDRUXH0hy1F1gLbZEulNYNa/egbCyUdtrnWEVMXuzT1oqHqlm4yc8CWYGvylY7ZKCruGoI2YNih+ea8X6WYFnPwIAjuywn5mvQQybX+dhBYsK9eyx6nDEQyN3jTggsj68gs9DdfsC2hyPRHKAFjusWMPFfqclD91yeE0bR3huqjB+zZeX13PzT0vpV880EQWfC6sUNLTn8+0Pzic99mc/aCOafYRTY8pnt1xM3K8cpkghZBqfk5C+txU+jYgfn/lr4/gH4NsD+hfAKs0Z4qCcGLncMsj8VqlG3jYU+4cOYqphNXjrncNyiiG1QbK8biOGqMxnAPkw+0+d2l47aPLCGaShh04Mqib6dwl/wd+fgga3FuzUMUqeI1TzYATvrZ2upVFqIcC5x2yFyV9mNkrORP7dwSCW2z62qIWfczrcPVbX1Wv1TCIq9a7pbozwgb9JzLWpJ7T0uJXM2UUvzkaPFKIQyw7wg7Hwz6x0edfb7Npf2jLhxxRENXvNFi3BG1/Rw37SZMpLvmprox9Rtq55YUbDldmY924cN6Z98N8hmt2zb9vynr6w5YwU4bRXvUbX6/qFV/9jzvDRJobtTEtB3GmeQek3DTXccuthL5+c/mOXyHv6rcggtWEKY+SgQhh2yeFulPOdUOxXRIzdB96YhIyfWtZ3KrU0y2ClBdcLSrpRt5cne2SIv5qje9HRyves1MfuPIMNGq3FXPlOLgjC0LqyGYFrpS1pv/hJ46McEFhTYR5WuWDgpWBv0ac28rOCC26CE8CZkQEvAMAcQYdeM1MMvkKE5KDRkoUBImf6/LcsjJLwb1jxCiQR3IE0sWl/bMV6Xv7kN8xp3gAmd7GTdpWhtF5VT86vLlBGeGfm58nmKzFbwEQG0lXb1gSVBpOCzs0IJGjN5dodKT9kpQOOlLaX+g96kTqwXjx75F4QXvDy6xmeIxQjq7fapcANkYzcCOkjPpEUKnbsnilx/uJYhjHoNWmG2ejBGoTYDWfg1zTWjXKqcxFKhZlaiITtpCQ8lFn9rZ2rG10MbZEzoOw+COkHAaLYhsVtOCDmbjb03UY+kKIhaVxkiQYj88VVBoYSLFJnAdhtS47FIZyKA2Lx8PNwnOtkMOY7k6x4Dv8nLNfM3nyXmJPPpLFRK/FUAOIjsBeZut7ujHC8kh/UkABFjDm815ezjDYyOnVwZUy9D1nM3ebmVaY+0J6FFKFiGs7fngsZg+k6TKQwAUKuQIdVTEyzreou3HoMma+REqxe7i31pQ0hlX+80c4SkoYQnUrBaf5je3yu9fQERE+f32orW4JzqbZFXpEIHDHLlUhEJrXSHaC6N6D60Mp673tnTklZG3jPhrBn8i5lpg5Y9iqAP7sLI5F+2eyOYUX0xSPjOeo6rrAxPlvDthTJJia0DgjzeRgqrKUPp3LgZZ75a23gSuprxDx2WMljnxNBMYvcmt7t9Hz04La/rCDjiYvX/auhUWUKctNryVQg2PRPvwR8KnjTVGHy6Gb5YI7KcufHanOd4sZBPSAB/hTNDmAyTdfnPjc6gvAYHX7b6sJtS0TNfbNFt3HE6ADPX7EoHeaOa4QhfEF2Vpx7Ft6CbS1nfxlmFucylB8j7UlsZOvTqEZvBB9EX/qFi0P1qKxNG787cVsLYrC7Qij0QSRTtwh8AATRgFlVs2Vn3J13PXhNnz0BeyfzcsI3e3SLhoeMmZXdamPfvjICoO9M0FXZlDCsEqZiBhXRSh0SLWlinlm74HYbm5RQwLeFng+ZJeep6KtbkihrbiVYcR3g3EMijpYZFob37o3Ukt+STfn6DSi/noQnC2SDZG2nJzYPdy2T1Q0WVsfbap6AowHlK2bxDcGFNNHcgi7E3skTaUgLHUG1Hn85DSecv5mKRjsoJHDzsOx9BZn7nQSdI0XH+Ng5sVfQM/Mxq3XWtXBguGOt1TQeVA2RNwWY7kdi69qc6UhggKRs+REWm7g/DLTWikLDuR/pkVEb/wdM9xApNVbGn3Mb1VwgU0EEspcVdaBJnTa3QDeWYJvtBZqcyI6GQ9CdV5YjMu726+0zKayQuOqWsXDznC+RTrvEhgXY6i6wPs7fAsbXQp9XcYKbxXVT7BywV6WwRk+eMSgqaFW3xiUDvY4kcLVzsF4sf+UtxRR3wxy19jmGF0gn0j6/a6Ye7dTXF05uv3MwYeDbOB4ledF9i27IGHrNOuSa+IdEhf1bU+w7GRfJBoNyo3PLfyflMVNpR4bT5gEMq+RGd6tQrL01M1PyM8s40UyyB8MDBTTyo3dvHng16L+W1khvO3U0JIfkIeeXucTA0uap2co30pdJfO9Cao7t2QAOCxbZbUqARQwcoutJv0HPtDtECHOWEozVXpabFJU+x7dbgtvgUD4Yl9uI2Pvmn3R/IUVUqmRwkOIlV4CNeRL7ZMhL7j3JJXNaMNhoSk/N9hVqcz69nAqr35/9DhfkaRY8fpZhltiamUPi42Ad4qO+HQMTeBMHJiZcw5FTppqT/a5cuxRaEeqaPO+vyUGO6VkiFMYWiIkJBVMH/V+sS/o6aXPn2hvq5S6CqFI8dEwcSazREZDB4dNjZQp3BP8+scHLtnbtDh0KaL0MJK3/jbwu0yogJV62jab2CW9S0V5MS//XF4pvj70h2pNg54jb0T6/uJh8UtjmLIvG4oL4ab0HVZau8wO6j/96cJCQvagekzvfWP4NZr0XQKXC4dNFVdHNnKr74oHheyvIjply3T56RVxZbH1lzd0zW+0gnpdtcwLfb5jA24kV8SdTPCANVA/krqAU1w9pYEnPWW1ko4DQkIRsulIPy/5/WsFqPXRCY3dXbf1jDGV474qhBMQPC1PFxTjZ1LL0wovSO7O75mi6u3uxwSqWRMCFBWJpWXOlrlyh2y2x1pK8imThir0fw7HiYx9yobR8i9z0UgL/3k+K0/NZl8BVYnegEc8K1Gb2qjI3nzhpv8mw51v7ZDEN5SyRk6ow63KN9yOIiypg4J+/n9o/4AhJbVGTKpv5ksXMciFOHsWJ74KKC8nEUdL+LG2GteC8HSyaqHl663RehXkuocC1DEUpU+0k5g3RRmSVidWbr+m+sFKlLLwQgxqI9w+5nNBt+sw237fBUCNQxflfVTLCRyrJfbC2nJ6SnjHjwrDlCMP7vyQqbl+PGghjflnfLc2RbNy43eNshKEdUNB6j/Qy0b0beBLtKvKM4DbsiTDSgIlmeWjT6Vgu53FFHLKipH5ikIvC2b10bWy1clIu2s3tnIBrjIF+OipsJ7tldZkwBedU2Jgm5K0iHl1UldzGYEfg8MZkLNw6tXPaJE8mz4mjdVga3vFP42i0g3Zy1I/EPv7vvOKcxORCBa6yuaf4NZt+U0FbpAgxhU2nUSEb26lqqsEabapSOjct4Mck6sk4UJtvi1+jBU6khD+HCUsgXiEo5NMNS1rWlCil1aWw3TnqtDvViYuEjNEIG3tpneOErhNRySbRLX5jaSAu622Nf1XhL2/DHFV6FYQIxyVwTvfRZvCMsO1R9FsQSBHwqxTBe/I48lI04SXhuViqupplFgFn7ShZRWVuv33R+TIAmBA7s7azxZmSCjopaB4kuCyC9EOJIILDcaGJjI/9JSMAMjJbFkja1suIBCOCPHcql1OCTMUQSkYMhJfT0Dn/zdkV6XFgEUcSqZBCzutmFqDGGpGXxO1tERLeUaVsg0QpfjD1DPl5n+V7ntr9FkAXpZHKLHfx09yLtE++KMqhZhmiMkKUzYwVOq0lHvp+L3Q1LKAw5yIcWUe/8CHaMErU4UsGZMjd27E6LEceHfrlvXeiEGhqXchH/0rdxBIZQERf2ojeYhEOWWECcuIuRF7zLMZw9eUK0mNHwD/Tg6Ozx1fz1yU1Ha4fqWsYXkLOQ0zlJd9Uob2GFZvk1+ZCQY+QZjWcj0YpYomed5SC3vhnRuFh54HjADtOEFrapMPrMM6VWVFPC95CEWAFQ0SxE7hZw7GVOoIURl8Yfgju3onjPqsF58D4YE6+zbc4AwNa/fQ81akc43+n+3J9FyM1h1lG64o05IvpkJxMML4/EjdSpLrgq7/FLQBSxJFLAmqWqxP9glJi9W4jY09ldp2sMnKSg65vJIO+6E5zQbLXoHE/9lEuYyosthpsZyl0p1U+aVtzMbGK/pUGLCw3jF/lCxkEogzSo39D1gV9b9O5iJfkMkbjMD9M7pz0QlN5YthepQrHIQiaAqkc4z0X8Gg6d5KimTYlomgV1qQDKM3AmizXoZSoYsl//fim3noftrMqk5FDAckdckyXriPFk46HTvM+6eTAo42WzVJ6T9rTjZcBVOEsPYpoM+LUz96aAyq0al0watopxEQhM/M9/YN5xO/68j3IrHuvqO/Hn+aeRYNTKY62trnBPlC+3I4o44qUyU2kj5Pv4V/RdlWGfiRYPxNOct8qo5IdKladzwv5hacpiLx4pLCnsQZnuWzb/5MteAbhW3NZ5vcycU6tZQDLQdBN2bvjaXhqYNFzs6a+irQU8WLBR0zqkeftVlu3zk0rG7enSVf57VcZyAcjlVKGK6I+Y2Fui7wJ/42yrtm7zBt5L8UDbmtvUuY3Pl0TKoQsZFCmwUJWB2o4nUbPmU7+BTy6I45CkH9lUgiU0hlyYrNDwOqcATrQr3l8eQCxoRaWTlj+2iLRnTntQK9phxmJHekbqk3nSnYvwKSM0w+ntI2gDJnV7qFgSkrO9tMicnRazodmkE59GHEVmJryx+s1txdJo9ZD03Xi2xNUdk3/UBW0WPJWQJl4LP396d9sYCtt+46tm0al8FkreBsfii6+9x12LSPl15KHfUawehQwAFeRt7CBuJ/XcwvUIaKjAtD7grSJ4Z+6xrUrl2wBRSIqyjeDnNJTIFSXWKFkSzOmVQDZyUz5aB60nwpNUgnjsnHxIVa0crOqwRt30zyHCtzaPTfsyf5pPM1WT1Ma8ALhyjL7sx7o9Zz1QCdS/wraAUCEuVedlZ/hHP/g0GG4jPTBomgqTe0BFvl7vUcrtrlr4X1s4C5hqMahvIvK9D3I9lyA50vAA+ttD+6ivJeRt9bLHiH++saI0GE1yp71K073ecjrM44LnNWV4yLQpdJJFdzCeD6kjeE0B7lnkLmjocpIR7CCNCNawGdu9htdrZJpnZaaPBnwxGTwraTCk27hwFUFmrNLG3So6MYIDa5k7V1weiECKzWNlUf19WFogGHadkjO4fTHiV9M39wcGoLBoRzSoBoT2jGgD501fJNEtdKc0ilO3LFgfJ66OcIXG/CmOm3WFYy1Nh7EF2jgEbeK0wyBlL6UhXka4vYyRPwSXYJ/6tQnHuuA9kW8J0yKsvVp5ROZ5sFyDUesb+LY0bgkUs5uW0GxLVpv1TEb4Mnkfma9Tji7BGakHrMAldIXqB8g7UX5+fu5og04TTSIYKOSu1C5RMx6yqJ6fsRJYsXhvaBEO4z4Zm2SCLEOYg23Od+qMd18mmu1KXEzr6QU3I2+p+3TgGSs+SG1fTLnGANKT2fydVpmX8/7tnHGPGGJeHRX1Nm5vABIAXgkB9+vXxmCiDYNtCcqbSwBRh+PCnT5ayYY99BSBoCnqFGmz0xWBno+srpvJXB8w2lmawNvTvwbFbUwlUipDgEex9iVE+3m6tV6mywoUEtfxizG61OI+KMby7dcxRBfN7Q8VscaSU8o9Ra4r5TodeGdz2euacqGLIT0AcVesQqjYYT5h1VdZG7F50p3KykxlC0xeq4lev+M2VRgj3Qdyc144fnaYF/6uHWQ04fwHbed3B5dfpsF9vnAyVt6EULipfLv7AdXp+bLNEGmfPUg70j5GI9HNAEOumLfJ3RP/7m0PjO66rPWQCEgr+GwVGHYe4kQ/S3/YMVjdcJ1vbDMj35bwR3lXKhNZi4Ea3mEYlfvvRRfqVKYzkeqDDxEU7CYoBKwtpa/i3TK5OYJTLTFr3DSOyK/lU6PQDciSQ4hHjFO9GuUo1hIg8D4DMESdn95IY+1uO+J1MG6mvqHo2YzsOufZ+9ttFpkMKaoHqdGpbG3G/ZkDcon9uoSRYy5+WzhU6ipiX4IGzIspT8Hqy8XS8dqM/G19lAcbwwFA2gICm1vC5CO4PsU0c59dXjsyXFQTwmBEX6Cz0nS9OV8r6rqUTU9xlXuFQRgYqreH9EjTed+pqZVYT4yR1SKkNMdTkNYXFo65vSKQkClAPPYU/GRDOfvM22pkGOFyK8d+Ysjpwv4JQ5/5kTTZaGjZfAgTLDf7ytyUi+6j+Yux2z55uOrBjaiCia53TKOS+o5REkt4W9G0w4zrUQEqQlAQV/FJWgezl50Xq88lkO/OGUSznzJKkojItg/90SvTfTk0yhrS7dNXH42xz6J/vHNEXXwKek2IpIlpzipHsl4yEQ+Qnhx8iLL3vfCPYjvcRvxkFnvoIAJK30pV6lYIcJhtcJ+qGDclJSTJqFibrVIRRuOssTwi+1u/ikeGOP3ThKpaObm92Gqu+ZCKP+riYDOjaQ6hMiwDYh5deksZu4b9x6MCjLkCld+0xP057bPgKnN/QFV5Wy+b/1hNUWM4aJZ8uIjWo7GOsVN79p+ilZwEpSUz9Dw7SyDxQW67GDQsbk2TkBH3BvcnGexAEWBBtS+TnpXun0XfmYyQmp6ykskajaLC+gzdNWJUAYO4vbc33ECpUKI0zXJlCTvpJ2xe0M2MGcykJGqkbcKVGneopHapsc2lSTc61Bs/yW6b2zvOjn9li6mrVlCvqqUUxzNAypG64kptU32eR0Sccp3Mk8aVcL4wX8StMlPqusWts3EFXfC+L6I0N+vB9g+wMJ3NsGqitMtK1dBfz2ZhiiNr3u5RYSpVAhykp8yitlaUdkMt4EPtsaQVfyfIELMZVa6Yzj0P2tmg8EEu9wevMNZnaUXcEVW+yFh99U6Of81BOvAz9JTxZ7Rlu0zxX3abuNLzIhg5/6fyrTcY1uRysxOJS1mEpbg35bfkNaiR/uiXlfu8PRoA1+YK8CUa+EqOp4cuxtOKgXW6QNQwFy5DCPg5JukEFwFUrbtc/+eXkwazikXnH2vFGKXLp18/p2AbpezuxNgj/GqiUimbtOItyO/0ZpCQGKKHMhMa7GdZiNqyW7tMM9LJgRRohPsAOzRUR5g+Ct9x2aAWe7H/pHkzeBpsK71MUmlAlW9c7dZqwSkM0LfHezFJ4f5vuDgB6+S4MYs58caXcY5ouYYuv1voOYHrY9do4cAmY3mbpC1jvrjBV78GiCNFbW5xJ7d3VcSV/d0Q+oqO50mRzLgWFCcMxPzh2kq5jq7ShYj9o6HUkUnfiSDTL09XinloejzbfxggKzLSQodJB/Bg9851mZQ6uPWnHQFI5Nv0RQZN5f9WrXR0eM7Jp/9aiwnTh3glV8uQwBt+vkSK8tQKWPKY7jye3EOef25Po5SzQlRpuAZWRfg7qsQ7bKAjP1J6FUqLxtsui54Tbgao9DmPpjC4eS361jFuSv/JFFo1i/ZkiIWFdf7DKv4VySD+eskwk3l2F2Bk9mAQGpS8gCFIAyQmrE07nuI1fg8ZDSCD/GHFCT01CWHhuohLFT5O8F28+ShjbTGKpwiNED+qsrOWJTIrBY7ihUUX+5y3/hngqx6E4gnZuaO5TslcPqI5zoqccpW42dXn/NInm4SjHuSWVD4kMoFfkIai7QHE7zbyj3WZk/uFTkcBYZWScJ+oJJpLTxInyZ3a0YyFKZ+kHZTvSduSKdPjNbVMJu1chl0w8YuPOcFX8Yg8fxoZObObEEJ4dmQQELJMd+0oo/WLv+MEbIlggcYWAoWezb7S2/Ag9uWT8e0Kuw8pEqNjGjXZBQgFOikvBs2jrXO4d8nlfHHDbb/U6ljz3FhB5JrkuXrbeVImkw/YEezPseJo5WF4G/7R8SS9I1XbInZ8sUp0FXwxLkKH9OiMyPP1th4GPp8iempCvDsNkmMXps2j4RJKWrK467x/0kfv+9VbkTXx5zXONcVvdXz+OrtwgE+XmJpqDwaUgi4oZTWVfqrGf/rANL4FeI0rXiv2ke9Yizj4Iydp3LSm/m2i7rHb3oJ4ISrDJj4a3J/alDfUnkjVfic8Bj9atyh811eRvccA7SUd0fP7dxFN0gaPw58GAa4rtxuFE5xNtLn1yRrE+PT4ReohRNFDD/fpgna4Wngwf8//xIyrs10S4sL5qmCcDR0dswBJv4t+ez2YEZLh1cVj5rm01iCgp27FF9he9mjYY/x8/44OPvA2ba414lZH8DwoRXzIF+5wteDBubSJTH+rWJfHNKnPQP4nDwd23HTl8npM/g87rv4plXP/V09DurRfkqCpg8KQEABvxjNyMXAzPidD0JZ6ekIVNoDmWNO0/TDDofa4I3zkPMd0YmANCM4X+NTri0n2EaXUq3ZuWMnQVFTtdRoHm97SyNkCQ08iYqY5Fbka2QL9tGCE4CS0+iZ1P2Uoov6rFfScewL34zqXp89WbJGP5K4WDdUfyxBHwiRWcPwxuADhbv/nSjkTCdwUGC8i0bWbjwHWXSx0y/593wjAUxjWN1Nj0prR/POcyAaGM2T5lyfTcYxm9bV++Aw+moyiTitxH6G0+ZGfVdU9DHP3CjsE+XQlfOEjjgxtsWA2h3DCrvd+5OL+TRCx/fzV3fJq7gF1aOA1xKbarFEWre2h+Q7EABdwZ02H7TOOSHNDcI8LDZtzE3ydJIQblrsr7e4S/IlTRVgS6uuA4eMpBnGwDbrm+xSqFyvdcYxYha1zQOfBZPL4w/jMNv+gvRWQ3FYOC59eXx+3JUzTAj2Tn8IbUuEkh8GlE6dS+ORsZIxdRJAyeyvIoKDXnqPNn8vzWhNjiM8mTeB9Lq0uN9KGbXfZ4iDhQ0QD9vZl/hiRlk9uvSjUFnh0hSMI3sxN40n841sEmaPhkB2rdh5KeAYWvR7I+7w0hH0SmCzy2aZL1PpxZdqiaiYsO2UW/Da8OjWDL9wcWQ1GXFbSXOdvKzq6QaUmRoG1LSu8Nev+zCgpENcUvZhGcmapuvCuqF5T93WF9YAnI+Z4+elzQ3+tcwzJAs8+FsZ2bKrXEaIpwT3sK22MgEMLk9UF/6IsI8HUEtp1H3eruufVErXY26AkHd2RrQChmK1qWggje0RFB8rAbEfSPioY+5hQWBbc7cPdkxJ03hHqCJNu03YGgE8D2L37+5ZuAGlN45SCZHmKfD58qgYjQc2nBrb0x9Af6urfT2CweJl1H1t+/NIJIADkx6bwtQj6IL1Ktd2gDxQTjwczV1Z1ZNHXSUGWimN45+kNaprrS6+zRgJepq0a9WjmJiiF3DVks7VtAOiTi22lTBGzpbnh0NBb6GYei7qXq/mLkNOXH2ly97ylcCpnwvpjRTcBSBIZl+mSc/h40dLK5/KwWRcDhKUf8xNfZpSvC5Sm/lr6ThsspV5K+L7/AL4+l78fwMF+fFXfQkKNhY/1x2giQYDdr9aFTuGUwzUZwfEuu3KkjK1xAtMCI3ti5+R44tAcdHusbaA3rv4yv3Mo7GmLNLvVtpbDVL/oEbkDrR1KML1rRMbP9MfEqqJHrou/MArW3T+cUDHwMtKA+Db1/Zr9B7nXF1BgYUu3Aq541aR1WChAMjKGq9phFdq90z9C62MfJSONCR4E51GUB3Rm1/6ctCbzBtgAJKH/FA0LPEvFeXWJuKe5FWXLUOPO45W+CpXI5SYEy+4uFPXxZzkWNiMsQ2Kmq79gQ+3l4OLdrdIQdSFXimz2ZaZj0mQnARgAPXBce1Xp8mkLeqZb0qZWjdqXFUsGW8BIO/X41BJHwAtd6pnxaDKXpq+K0IeEGJ3sqZkDptm/VtmB15INlAyw284cB2EeUskwZgLKsjhpW21VBm83VfpjiPeevFVFLS1PUixiTZtQScnl4LgOIKBYv6lK+whr/zmnLQNVe77IzoDOsl6MuWYd1p41kW9KMdS7a850ZryWAFSQ1dykn5UjVpmg/DiNQ06iXrrHHaWfNLq0jW1aYuAxcZapYRnTYxsLkpA3fLMY/IJ5TTyAsqgmuV+bkBSxZgFHXE0bsffF7Uk3kuh1S0qsoyAV1vLNn/kIKa/ZicbBZ08K3xQ8tww537e6XkT6L54SyRZy8Vel2CU7nPAd1B18zrmX/fXhPK2c2o2O4NhTgTjhDf2iJY5m12TfdGtrbJCoD53MYIchuOUNRQt1zWnCWb2x1oo+wToWefFNExD5aOINlHMwm135vKCj5/jm8aRuRh9f1hO9as1+0VsSd6Jcuap9DSP0oUFSDFBBhPyGdMN7AsEmpT4B/AmFvIycx05M/IBU0mWMJX8A1NNC35G3rL9mT8rWMGpmbmNy8BqkHr9ADG/IixPSPmzMHMuAqit2a1Zb1NZYNWIuX+wdqKnIA91ttoJe97SAQfQsS2SPYmotcEdmwZZ28TBO4WVtRI89DCaeM66Ju3GkYi3ymp1rFUDLNOfP/iSF7jjaurQUN49XaI1ydEaJMNNDDCZMpJ23XfeseK0Oc4Fh5AGtY54UhBjlJsf3feAwLmbhFkkV6W+NLv7WgCDNqUURYQXwAhc0UTnDTvt+ud5WH+SgvTKdvArf7xW4p9k0I+EZewjepoSXeqMk+uWVx0wRlFLLZWR2jtHDK0hYEQxPJ/4Glw5Cd76sbWA9s4DSJDp1D7P5U+piTFLaT+YgMpKpRK6lZIVgHEg28aPElCsGIe+WiRu2LuqI0IAYr9PT1ePn33o0sKDzWdLQJq1PKTonm7IcyaYgbYlvHjK/FVqeNe0WXwPsI/Alwo6nfDqxrpCy6FTJUf4brXhgtPlDw1SUwNzTeTfXPQBf8kJTRgANiEaJ7eHKQExtJHLScS1fXlzz4eBzINr0gURo0D79pdrgMXnPEoWZaoCjqmQZMMGOuZxyVomhW5HzeAX53HG4UfGftEBpxg9fdLK1o/JeYRy828D4ixJqGwvyIYOGUzmuPJdi/8tcfyKdEPgTAGcullm0PRJ+HYEUEEo4SUEN3J/TEcgRwzihybQVGwcgRVBqUrP9cNNmeTFOsavhhyex1Z2/d3s2USmTr1IoF0y6GpWyArHE1oSVwedhE5VT30DLvJIMlz5gsAd7+3Y6JACBcqXopfFdolFwakVfuBrkhLv81NGP1Y0ykTlCcBuguTfWjAsFpLqHZGWOeW9v67XxgEyuFyEcR64Fs076zgYIJvwu7Yj4PtBozuhN5bG+0FuZ26U8NBzRXxaqk9U6GOMqE7p57HPOJ4s7JBGHvrxDiVrrLx0XuKPlavUuez1pASpCz6G0JK8mepEUdaZIV+o58PngQAIeRGIA1jnMyhfTbMGMZ37BQRwNVw+/z6Ln8HIZElFAvApxsym2YWnN3dyqG9sgoKbi5K8pd+FMMFspZ4CjOXxPpcIrv0rlTVz2uQ5HePAtOUsY56twwm6XEnLOt9m5fvpVusj3Q0nlzIppZ1wTq69qWISiMTnKkTvnQNmKfL1m6ZMGSyJ1Ksy9Qz5H+jFwAvfdNv5kxOPoFieTW7F1Krbm83EU0y00vt6x//LLmzo/GisHKosZJlAfG5oBL/qErfxWpYVgnZ5a6YAUvHEiBzh473jCDLzd+zf5TRtuySkf5PbjhgdasbmeJKqLN2RfoMCd3Ky73TFCJ2hLBmlH4djN7BanM+dq+RnkBrOGkUddDu5xbMiWzqt2OXpPlVjEazR8wpRfbDsyxW2wKcdoh4jPXQgjvogp8SVL8rk57mOmLewGusfqM7KcMQ7Csh1hLPXIeohfeerpeDhl1MOZ/HnwzK26YINRXQmHp3Kh9ncAHbO1lIad1S0q9f6i77htKPOKO/TXW7XkQAWrr0F//FIg+qR7NE2sztwVQ8/5ZSLCFdJ+CDKoDQIVzCNauWKPmy30XbQrMX/O1cVv9f6//97tmetriKLQtWBalsXu0+7Xxlne11jpTLIsEGffE/dXf5XA9/T1QZbk+qW/4fbRbNf2BTSkiMqLZLn6rU3WD4R4l7JDFvbBnDvfCPEdf9lMgwPe0IhrnejkGxXctWSURJLPfQzCCmEXjmJ7xE4H29+bAH2xLk5Kj8KBryYLlNRdo3R62S72lB+QeCB8cUQp5uqDANbp9mI2H2Bnzr8L4jgAZNuop7T1uV9wV9dj9hIq5AxZpwNZxNIr1mzQV57DfUWJF9jfm4kpvr7sLAR6u1LtQcF1KZhxFsMywHBK1oNVaGbIPdTyCFzyIyBK5PMm5UC4ixA5Noz3SCHRKzU5jGXdWK7DB+E3Z+MgOMA2RjQAl29ApGT7HexyOchpgj6R9x3Q6PUDzGivU9KnMWUEji3ltrqNfzox0UEQSkDxrWCghVE149jXHSCv1K4wN33wWOt7l55FJK8fpiChQbe4sFZyg2pZAAw67b7ZuEs/MEpfXYJHbL4L+gI1oc3J5VCLoxc/xtx3HS4cX1PqgiELOYpIMTB3UzGYGwjFIuncMrMC00Wup0xBX4wSDu5897HPVLEmSjg3ibVimyLm0YekhDTYZyx+C9BgbK6Jx0TOUcbB6NEqrAymkrQ+gtr+lmiGnToJIp8MLvSWBM8dgyeYudhdXjNGfprszT/vMd95iXe/JmBqHZz5ZgiLZVnrYFRRNeGkIorXhOfyNYjPRMj9UKhW8PRTUWetgQwbc+CvlBHMh3lTgmogMrJK+yaeN8qL0HTmvGEo23OkDHPE7pBfU1SNmuJLphBnC+fs3WqvBsi0YvOUMid5A31FJ5sT8BuBrT46LrSJ6gdfi58LGkeb+qN2uPNUTFdxN8v70+zq4J9pquwukIYibohPvwwHuqIp8a2QjV4ip/5zmEcVM/M6qdEyoRA5z/bxbG8bZ7AVwhLdNG7ZxSmL2ibbMkOR2Ny4+VhucSXq+6O1vvEIJahfi9DULlBHlJ1fv2u2B8729ceUWDYfg2ydqR6OVzNg9suMKjkZ7+n1cvw/66ybJoUBbyGOArl/nEJsqEaiuVFjWUs1zPzgC+7TtarwZg++svc7BY9iywSfqMOEgj5gxdVGEl7HmjXZ4Ctsz692em5kAFsFuEKOOYeRufVgY/uscIgUrEqY3osVfpanmswZszmn3MRjox8g8g3ztgenD30kG66Xy/b9s3Xp8A9PeHzRZlBqS8G72oA/RAQXjBURkZZ9AVPlGcHWsUEY92LojmuHBtAb/kfOqVicxUs3XomAX+YEfsvhRuzDciX2n7xEzbtpAD+SOmbU20liB32nEYVy8ff45eAEOdgkjpH7G+CSnckCQns6po36Di12CgU7FAoQA9hjInF8vAk8CXxcr4nIkXWAmZo74EOVdMWfPtfaMNSLb+0bFLfAHTMoC+lQIgbS0p1TKxwGha3YSrYgvULFZYt7SC1SAx/3PSCzw1JuamhEiRUwHuKZib595V+ly7lyTyO7ZvaAhPtlMKnr+cAYl2XjNNWwurB5a8JRj+x4rrhtDSnEg37svEg805b96yo2064q/sgKNpQGT94JT9cbj8U70iw5g5/7qDb3lLXNQZjtqlGwz8xYIsi1wUxnKu0gUn0ul4iLcJbyXcabmjlEZDccb+LTOQB8OTJ4j7HP4QihUCnAe/EdAMoSQENw3Btrv0MQu0Z6XDPWh12o5YJjd9hUJUOQ5KFHmEofK6PQOcuOCr9F7sqCfg5hVKnz6xMScNcmteVyc21ZuKtxQzb28g/kLBMOj76l4vX8a9Uz3FifxAzumNhCXCWA9RKJIRUNmhyfjPs7lQV5lfT4KLBlZkKdCA7O0/9jGPp/YRV9HjoJWfocVB6ISfa015ZeE7uP4AonuBh7+jiVpeshkKrc5fGwWED/WmhItHd0pkp9ZdNL7wWa3vJWlz9QxdtCNFbYXhPq1uD/o71o9KWN5MOtbqf1Keqq5UgNy/9yOoy15aJeyG9iWrTUNtcVm9y0gAOBeNebWCiwDczhOLwqqwTU3r13CgiPAW3ntGgZLXAoxYYrRK5EdjY7UODJncenuF0dxVQYbEVQdb49kbIBSeoBsaiKfiW0riGA3o40ziUMQdUc5YHTlHNxl60HbYhGrNnPqm1h/c+LWoEcQalTGydW0kygkUx0N/mFpi3ErnrFYNdz3KNm2Y6GkM2hpbXyJrhX04Rw917y7PoBoDEBBDHISRKPNzcuJ0eDXjwUm6GqnKVgivh/CeyC88PN7HROmKV77U0zim0+oKjFkegElYss1lejpj/MGfuGGe2vMMmZgK4XViQbFfvk3O4UDA7ciikFVdAkN9NDmL1Xhdj1hVBuRLwNotGSbCvHy6I2AZiw/EU1de2raAggOCcMhyF+V39SQ0LKIvObb2KlEyCa0ZiW3cl6gVNY2qai55sLxELfy7+J7LylwJYFLOBguNe2B9jdU40qOmKht8up/z2n3nNJ/RF4joijydFG6uqiw0+MIr+TB2VDq82zn169eCaNJaCGh2ecHN/mSwTQ3mHnRoYuhlWv53Xq8YipF5Bo7fGtJda4260DJNtwptVVQ+24jA0TaJndogbPpUSjzm1gg83z6NvBfWGg9lT8W1cSTeJRlHUtJ5iagqSF9HJ6qMcNpdITRhWxEv+zemubsj/evnKMhbTUrSB/y2QkteWkJU3drMRCHI5CpVUmyiJzPo0OFh0ip5lGS2G0KU1psFeP2NhYZjpYdoeiId5Ex8itzDWFNSdllzBiZzsx9aWF3nT4QNeL+skxzfc7Slq8hCfIgtwfxi2ilu2FLXSu+3xGCvso8N2/3B9jelitN3nVMQSiYf4Eji1WlYByHIP/Q2xvQkgOZUBs4d8PniUDQmmdvAYNOHVrCilUsYfZG4IR5l/JXpZaHDT+CAWdNnZC0aaq/jrQEK3gIYkSVh+cGXc5a3338ozuBi3sNqNqpWe7dkgv9wrYTy+7YU69uc1kBMKlMFUb4ctEuETF6vUu4yL8LEJiyrbtdf/uwGISBD6SRfgxV4sV+AyUIMHk+if1p9um4KO3QLZ/gRB3JHNWKK52HXQ6syJwyzjM438mkMAdtyMkdue/1b01AC0d3mNr34FDDRCiXQ5QUQinXE9iUbQ3C3CSwk783MHK9sN7QvpneiWu1FKGkWcHPLIHB8OIuAszzZrdTy/g3lu9Pd59VflN9MpboqO4MuQynTUSwC7B/NTXRJ3O1T4GQ01aoS6TTu4r+kClyOzUyMAQkI37F3BxAbfqwZwkj9YJWCTsDHhZ0XwfURxHbbHguo3YnS6sVduH9IDV6ewcoFUZIZY5IcmuJL3KYICSwHvBbIqdr2tV5kB2N+QfspEiArP/VOG46rIkm+rNzFqawxy1RmYZ9TvRiRHb6K23+c9QBSn3SJvjpdwz3SPqTizZuibhvB9uV/iYMBdRnJKQ+vn2ohaA/NdNo91t9JqChCEfTMW2IUI7V6IqqjtBb/LkLDpZ7FY2xkwJX0RmxP9uStRyJ5gEKaa6F702P9uZPgP/npl8enKqStflhvenTAMusgiwysgl/lAtl7JxtRw+Qn/uqbPgz7egBnM7xe1MDT5TtWDuyZDGuAbjfA37BXoiyeowVEKOJZZsRUHrGOHrQcys4H5gzXG+qBM4wb8rVc/YkxvXutyjS6umfU+R1AwvD8SRgIACaXO26aH6StjEps+Gpcjt8AbyESeT/Q7eX7rs4ZiAqvAEu6nMF/rHzwH/JSUB6Ueajk6ETfndqbC+72zyrpAOLlo1xThB4jCmlPgpyxs2SEpgCZ+HZWfLj7r+j2ShUZJhSa0yzoQ2ytM/P8qHOQUCJ5o2arMasP2h3lCum6DZIGfvSEPOc6uooV6pJ9tfiGpNnqGRnecVC9vMFAI33/piWf9jKKd2wCOL7ZR1N9KvBFOMq78omLg2Urq0yofrYiXzDnB+NBK+k5EU96qUTLWWZOvkMFL1cPALIcCOU+SjazB8O+Y8NTkX5EDdbTfzoATyFWwTsPIqQECXd3OeElZ9KzxD8N0WGB7Dkh4RzoDgmWo0azcrMB4z8jOI/7gsqAI8h5xXOiKbxgLjnWo6//XdbNXBT/4iGkLvYZw+OnpBMSta89ghE/YPf1x9ix449o432jFZ0tL9KCuSu/tl/tOKZH91I03SF07cldq0zqKFqdvzoooCD//D2DxxYTMZfa0Lx1xGAy775ea9/knwGILuATW5BmZfIZ8rRJIEbOMa8FvDVqAvR8TuKBJ/3FijkPPo6cxh0ALjSk4Vu8WrXLmTPDOPABzReS64hjXFi0+zoaFUREvaL7/8qawHNBZ/cTSCFLDg1YDpqVBLlcEl6mVVmDapfQNLjnkpsmIypkyJSh63kixwh9v4jlQX17rotTBAcKvNeJ1wbXb9dMNBOXc6SwCZCIotwCgJ75fLob0lBWftyzf8A06F3bZY+3RiEfxdOfmY6Nqua3r3EtVjHbDZZuF3ClC3sAJcDstYu5pr0dr+vof92zqcqqhmJm4Zn4KKag7oswMoSl4sdV9WJiIxlrXUWX/VSLu/53sYz6AxP4uCaWDM2gkn7vZzEELkCvRlvUzW7BJ3/q+YEiPvY37NV0Qjl/sgx2w0oP8Zli8FCLBIvYf4qpDz+7BJ0HcWgNusgm18w+JBk3Z8A74Pe4Vid1IP14WKa+6L2O76KAhsOlgSBdHSXdZtsuU3cpAoI9EqoMZAcHZZsSKimhB+74c5X3ECXs32ux+MQ+bJSdZ0VzIKgK65StUtOy0QSJU1k02z1ZjJq1yoGFpoDcY7XP22dL9jWxZXjGAlno27mgefla8r3JvIi+4NR3I5pTblOjXTDTmx2b/giedCvbFmroPQx+97hT6dsfVVjX+7FPZhePIrGSsp3XE9eJjIp6W/gJzXVzdq6GpnKanr/Ks7HVnggQNXLVgs+HdF/sqa0Di7q1MLoHElLQL4XfetNQVDiCqm7mwc6LTjLAhb+bJlIFg//Bx3mxz3uycg5b1z7z5G5RH7k3XSLR9zhzekCS1G0XvAZzl6MbHa8Izl9QZcQMAf3kZSY2NQvtiiNxhb025XUMY2lZCzxWHZqinIpMk2qE099FShM07tGCmo7ZTSGGPIOBz61ansYJqR7W1RzuF4Q8+SZkAfDVBbGRDqCNYIKp3XW5fArFgbwkpr07iQP/9j0A4NsTpqjInhJWf/o2PjHGBPB+oxJ1zluhdej5GElCErGv6isAROEgD4SstdFjQy9pWsioG6r0bFqIO5xIX/e+pBtiosP2liJHwXSjgCmrZuaLjWX5chh/oEbA5gDyVbHhSPlpBwMUfcID+4Lohn7E3huTqDN7c1p2UPgUkviiWXgwOsq8CIjQVBzVWtG42guE78DItKba+rPaG+SgsvZPhvT78cIg8/CaAeOyr6ITis4sqdVAeTdOpPG9jar8LfKBYSYjCjU+ji4+/N0dWbz/dxRSI6zUkNgU6pwnLO5oZWdbobe2aTXu51qV/loCmQnZ3dVkpS5VDajzOeBvFPJoB7NCKWtEJt7u4gBEsMZ8FEMyzSFC+iC0pTMEyOVAtrG9OfLAe9YzULsvEU4LbWobkJUKJFwaqC/W54B0p+5y6uYH7t5Zaotc0RbYFxI5BXnTL5nzrh51cFGYjLeeDwhMWgP5WR+inOEPb5ulEEEaMDE1eUKEo3gAb3WKkYoass64kFRhX1g75MEYySr+TG+I8TnLQ9nOF1NfFW5HkB08G9N5SC2BNjMxPtNuknx++ibL7hze4Xa1NZ9JbWevrh1axC95xzHRQK/RXP0rbhka1AA64kP1A4W5U3OUB+ZmHn8Ij7TkoOwk952l/rBqiZIVc8EjK9GqMYvJYKLTet27vv74T8FUaE3VCi8JnQQFu4gtCys0PZphvjhdR7B5+4c7xSWYfKQToa2SFUZE0w0aFKlH2d/FZ1Z+qpCnDu/ee9eJVic3KaGX4hOT2lwJS19Jjcy2ggrmK9oM9Lwy/KcV3+fiuldcFEnijbT5T0OyV0VejUGaC5HjE1NAt9NMM+CtDVXY60rkZpad00I8dXibPDDic/zFrUw8fKi5rGnNiLBRanxy7isoRLGQRDzhtU05bVVmEGs3fvB6ULfLvmNVIkB6jYivFm5dpukB4WLDT3PUSt3/MsfgeLC+aRcUEM2/EtQfMFaaw+FmYNRaPr9acoQgVi9OhPmQkPrwWPJ3maKTfTULaqk5UHnHLL0iH4o6Oufr+ZgdLRc3tXLKaIGjDgkYJzqMyzrOqG51P/eCl7WEv41oiQc8jRn5t7PsAIYXQ7+7lWQsRAmt1r8MYuUqz3l/MYfnSWCz+R9LckM8tXPckSijEeP0SM9mSbJKdc0efQXaobLWzMVuS+UvPEgbyBXRV9lXbO1z2BHV0i7gQEAdR7Gx0GkDRYsQPPOvkuwL43iQ9D8A93MHahxzvYbQddW6dW0YjFaUJTbr33sucd5ESV8grML94LfvDDXOj3FVDGS4L0JgXBtTRvaXFEs6976BcOouf4A0INkuMOXTkW/+Ui+zng1AGCyKFVqGociQuhNAC12EqdFPCUSm5Gn+KotZbzIkhnWpBREzfE6tGYcmMmj+FFV9fi+IRgRGeG0VyJWd3UUGp7naykXKwUXXdewbM9pxwGS8NOSNjPI0mOFBL0rj+Q6cstcwd2x9TN0ktEsm5gJtqM8asztHXR1CmvcBB/QHq5bXctJPTeR36WNxEgCt3TiR8kaKYKm5/yV7TCAZN8nH4D6F3cn3XFRePvx7qDbrhXArTNXsQ3lhfYero7otwbL7lxAF956JP/2fCqaSWofd/Wd+BmzVtV25dBC8VpF72Uy6QK8PWcG+H5Dn0bsN+v5WpmrmqesjvyFAri1W6MmBvFe5Gq2+xw0CGVyOWyMZxUyUaXcCs/Wj0fmshrwFseOZc0XHrHTQdDet2W1O3kCPCYi+uJQ18fnUoMpV9rbiLESS/CM7YEqhpniXgLUwRtcMHUR9s5t45Z4ULD39Tttenv73S6bCO273Q4OHVCN79CJgo4SBcLM8kZzmiNd+jT+icUB8Iy1C9WlZf2TOGDChzE8gBXAeqP5whkNeiiqY5zogVaZksHyKs3kh5u4mNoZqVPnKKrHry1WRLWSww+x2ecIhyZ4XfbpZlZlpdaj5/xZgbPH24tWLHsusyo748KfB3JvM7s8kszu99tEcGvTz9S6HfGXftjms3qHD6daiewrJmxE+Ok5zCUDSBGLWUV7IGsQXqQP/SAguOY9ZGXth3EbTJLGBAtrlKLZtlZvtq128LiSNgfIoFBTe5++9FTcQM96TtkSXtbkMxHkZr737ooaPrB1Oz7JHBTc083SWza5uraMMA1lZY6a0a75nEK7Fd6J2mlp0hvjNsPwUrQHQgn+E0HMbAVONRg4YpYokRKzVPWuNNBfGsF8758SGePXrOEJxZoNIYQ8Qof6HDU4eDpeIZkooeOYdjEPknDaXFFfkUlTBaZ+bC1dTRNXlLgfv+2uQ0G0CAt5TYOXdM6JZFW64BQv7GF11B/fFhwRbQHDfaBuXp6UgxtibGynBHGBQL4Zjqt77KGwuEHNiraeuLAI23Fc9rhYqRa5qDxAfuZ2+A/R3+xECCnCHmuWDBJzBZ52D7JYnDoAbZcvIXMtSTuSjGAfASVa6rRm3sVijl85wH1HRMx1aO5zWHrfJu/IVivTnUd9kfHRvKKWrSIdpwye0DYIabEQrCF13rJtXTfBhBuEtL73wuytSLpZrT8Izrf22LKdxJGORYbUegSCL24/vR1pQR8J/Q3++e6L3PmHewSc5UpgxbNNHegcUNQeyV8+ldBXoitPgspH+OujLQKNaj2TOgh1AEye1VrHyK+8YoYB+HY71p33/khwR98hXEmFNg/rn/GIlCIksWbpDDHWDru4MseW/x/wWOPpFOSYBwmaBFgggUlOcPLED60k5Iiso4d3je5Dt8HntZUJMTOYt/BxzcZXyNNOgBtL8DYA2GDsXCgs9zsWjhGRxE4IHdaqIgXyZktNSB5lXqn2RGEdBjZybFZIRIaO0wbxhqXauP6tP8wkSy2kJ8ANkoJDNF8EpnmPAultMu1SFDNuOm6mt95PEZcghWwGcVaFCtVl16XAscdKA5Ld2GTyFYwMC22K1d2mr6TciK9s+F3zDwDRnQfVDtZT0cVUkimzFG8y/M9lNA3olp0+2yBdk4hMdtWhUlp3U8Ai8BeTaJK/07oxErEWrv1ffxF6y+Y3bUvK44qNLLwLpMGvH0TVCntPtnXpP8jukLdgIU459pP4Tabplasydnqa40MzzZhaeV27goPql+LE37qTgsR0H4aDv3tLixMjxJaCwU34GkVFDP1r044sbS4nf5q0zX2yX8XWduMFJUM/BcYC2FeOXYQJWyI/Iq1QRTXH2oeRR/uuzxI9CHtwz1RuSA6cc3j5c6vKPcOT8l7D4ePS8hFrflDDQiqhZIToBy2PIjioN8m2V1Ky8uEc1edsee82JFQRvbbucpfor/MxH7EGUe3zId4yBHIOI4C7BaVwMRD6dsPIV6ehRWLEVe6ffuwOwr1FfDEf7LOI1P6mM2nqYStqcFJoGKplnhqLCrbfOSPzBZy4LMSX4M4zxbEpJdnNRflR3apC31qYBww9B+LRAsEFp1jOVmQUV7xQZhxRURcol+02z4U4ehuG6UYgeBkdFxKwshCxiT2bqBezkOarcpZlacuqhQvHBD76pP7GsmrsdrLiAmEeA8Jaa2UkOvUCK9hM6gQpQl2PhzafxRalverC3pkwiADO9HzqtVpALrG8iNQXfCSbaQRc6dIlpCtShmY1Eb/VlkkL+m6WJULo8+zLfrNuoWX9ipT+6yc9TuI2ENQRDR0kuTdgZR4x7KV2yiI/qn/E/hPpDjhvuzvmsGqs1E2xsfJgRXQFQBaY69fhxbFhFILJWW6u4212vHxif47v/KY6lWOZU2FsiUxThIzOJyFaN6XyYJVZqyZUmCSr28nUy5g9/qly6va1ANNXwjPGnqb+CPP1eCu7FLGoxbEuOnd2QgcEaB5LI7BGYj8k48/WXOuu9hb4t9w2GWrWwoqUMJwR4cjmaFE7pHkbpy3zEXmk0RKFlzZILvC6ULJUqWO+OPsmXoo/L0En4fR48TomzdhHA3BJDPL+QmuIr2oxNuTDjsCEAqzfMEq8Nspv28kBNawLeMnqFIESQbwqqN1av8O4uCb8RSsmD368GmZkSXbMY28QSuDfcJBNOGcZWKH0dBot+gY6DgG2SvvHqKBXJf1MAl90PfsXRgdhR+dkTpM0iMcjxK/feQOZa5maHGvTicXpA5ymcL9v4RqZ4ehtJHH6LEgWJcRVyCZj/jukY+lZTK2Bj7lnzovm5loErvLnekBSurGXzX/V60xst6QbR5sGREbwXkRPhobcOBWh5lskOvzGthMIzmegZU08MyRoCsUHY7k6t7ymQ9/WCOHrGkfbuYZWh5h/7mFAFKu/Md2+7foxRwZViYXi6r7DGD/YsL+jlyEdMFMffLKT8rKSGOQXHmrBv5dLKY0QEQrbs+11mw0GBfMX+Z/46NRUF9gyRv+rbw3dTpyUbBTLtG6Y0QTj61sk7LldH30Eme6I8dFfOSiMaYCbgh7eDUwYGlYY6ZgGBlaNwbWSY+93PIytdrjQNd1SJ1X7ATdD4F5wK2bH7B+CiepT6dQxqT7Osgj7DxTfJmXbPkWED6VhZSN2xjiTmUeBtkdBBP3a2/ZWqhvwwdtA/LCshvhouu3AQWVAQK13TF9dsi6HulHqFNjblTHv+LizBvtZeWyAVBof6IvvhD8awal7ZWZrIM3QzvBZcoMGaA00HpOW9bzEm674MLGcoPSrFc4+Sc+gk5lWO6rnqbL3YLTWO477geb3rlN/NjYfHg1Sks49pl0QZBHsbL7s1XTGznBQwgp+NgS11iVk5roYZpY+Htz5X+cV2M+2O9hbQiXfaUxAWVhSiDzGThhHszjaDLKb8IJ9pMCqFSQSM5DHMELLvn2CLLWRI1t6zba81eXw1Hc9wcONNd6uAMKK4DIcGqdXJ2pIZNzAxJu+FbjnAmp6WZjpcbYPBTGkN4DwCYBWPO/iOLOPa9gLJUdo2XVxBL6PCKokRl/wxHHXBcRV0phjGJbgv9pLaTlIZFCKp6rya2DuJRLLpFh4ukcuAgfH9WfA9aq5FAW0vCZcCGkCDBUzHyAN50XA2fTYN03Z57UyVasLIBxQ5LscO1ih9CB9F2UWPTP0ysH5WVDdISispeEH5IqV7S5Qx/nBr/j6AGB15+BGWnV4fDeNKoXwJWKpb/U5PQ6lTAmSTfHnBQgIdKBP+IjVPT7VuHhNkpq6FGVPAtP4zfQxjF78d9l5kcrL2Wz55yyifwdlSkd1duWB4A373H4KedPqHZJYXXO0oEbfVqy6fZvlEoiXGvCRj8oOgyM8124eClxALkL55GEew21+6svD+FouJkoGJTkEv7iJRJPBpCTzqqhqFUBIBxBTF47frVzxS4G6PaOSFihahdHOtRYOam8P8Y8PGxW3W3apa5TjD7w8uzJNnupvImexxm4F7fUFt8IMqhFypK9gYgw7Cyb5ticOUS+CNhVGfGdD3BbajXcImegOd3n3h0OOjCmTXaptorWrA4LLZiFaCpc6D2ZjkCna9n8DobJ9C89WXzImpIFjxBbU1sUfksmTbA8Dlu5n9FXRCOGCK+9ZBlmCvrpdmheU1OW0DRggrUy3tc1s806dVX3jWdT4t55ssnOalJ6mrOxKTup0AumWJWUMt5pL0UTnpfxNfDep3OQvJ8nRiiVSWpvhEEHPLtC+PmUOdT1w6REgX6CxPmnD2/60aBgQ51WB/ct8y1o9C7CyWZjBOW9spIKdEIlR6XnBw3tLWeAZiUy9vVkVmOD/iEo9x5fnJsPtOEsiVtI61J/OBxD71VIe67FMUL+LpXLeX6H1cxW7oOZylNbLR9wBmTrUzJnDnNVFAVGfcHgtpYm5Tt+6ABfzPGXZxJlpllFSzWAWz16BSuWMRvjnVxUpmqmAis55PQhhT54I/8goyKAApbgFSdePtosFC1OG5z6nkFcc7Ghw2AgtjydQqe3gBswg4O1deJTerFZjAmFMoU/BnsPJJqOJ4PjrMW3uwZgpQuh1V3He9DOZDLO2Zwa+Lt0vRRLbOBdCwpDv197eOQLfXqtGSKyzdIUo2SbhaXCs1sijQiIc2Q+n50dfrOm0LDOmS+9tjednDctY0IJoAPhI17+mP+euDmEoDmwuHtijVkCS8f4DGbiHesu9D/vd9VuQZyRsCoyX+6jnIaVvAcKz+j5XZtWOiImXoRXphyb8oc0R6OD0A4X7V1/GblZNIWty0WZ5Uq45DxIucvF4PizQJ0uHn0xZR1JAJ7sM+tMnxk2GZBTgX4Hwz/ZO5loVY1hwiZ8RkS0zFcEzdzyFepT09Qtl0s52ezwyxkjHgiLK02ZykMScVEDf4hzz0uzwEe/TiuBy6PmTbkLErLYZe5y0UPO2BYRiKhTCEatBTTBQRWeQHDSE+N54sH4/LoLNOt7Dq6j+7VkIFicRnB0SHTew37zZ5+c7FC+0CE+3zyl2s2Ijxvdf8z9eK4BOlyziZE0gbOWXlV1vUTz77EJLIDiL5iaRc+Xg/NlvgMErH3pzlVsIzJJBlADXH2hekv6iO43LfHv/yJvKXJobEZ/wb04V5Cuv3Ro3IUFrmLfom1Mhr5fcW965HeAb53nZ1syL5aSiaxqy6vl8YN7TedFrTQODPE4V6hvHIcwV1rLBs93oOuZMCzeR5dwulbiKFCthx1Osw7XTkoti7NDmlOTdOYwLpH3uinQqCPIy32rCge3zffeZRJEEqH4RM6mPmivazkU55B06VIPi8O2/CTiFWoiYoGTGxjkS9xHG5bOeG2lwvgVDWyj+yX2K6Fa8TtZWSENX5ADgkZ82DEq5JUtI0W2mWq99cxCKJ1NMOGWWKWABLdJoFHA+9ZR1bXjs2NtM9WtnXX9I4usUFrBCw7Xqu97OxehN4sRdvZspK65h67KZVR47RN9Mr6Uj2oGOw9a01Q44Ud46ASR89mBOI2nlaZBNwlYmnXrTT6NiLa8ycuxyshVpLJsIBRJ+C7nEcrLc3vW0Rui3k3NJ3gCxd0YCGFqkV3b4Jc07WXrSNTBshInlleAZ9myzpCwheU9HLEZlZF0W9a5d4SVgsgP8RrJRRyzrEip5/P6zlZzWpGrJak1E2aD4qOyBHXenu00HtxA1k9qd7AWJzB1rcWR/uXsr2u1gFJbGycBPAmCTvienDlsBZsZMlu51qDE8T1hrdfvaDaSMzbQ1trRJfMjVKMMa/UjdFxLVWZuM3ZNtC/yQwd2jjfMvghBDRqPr7RuVb6I1M6/ngZNvSU+IFGmPISCo0IuTIkQH7tfmBYrqD/+diM8mLs/HAxA55SiO2FvpTUxa9WNE8A8WG7PDIZvVt1FC3VX2+zYWW4oaON9ng+p2Wvjy+jQneNqOKSBStBhR6VGmustf5w4vOUWCYrO4a8sjwjWERc5SpobOSOunHcm5BFFubzwiMkZdKPGO7aoNbXhDthAcKTuCzW2nN8OMjuv516+ABTcdh1rDz6ZC45v4MLc1G3c16JpAJz6sz2qdL5m8v88P/Xo54WrTaP+BQf+swJJS7TMtlvVQTwLhTy7NsvBMWalZ0Ava+BZjLpqIEMYBN7KgmkvP14ci0UUQ+WcjToFZ1qYE0RfFGJm/9mLxQe3wCCriUn7jmwyIIb13pMuXvWV8q2Q3aLGHtjrkaA3GkAHjw/SaUFfMBolm8+ADbW+9eWET4KVHxH6U0ZVao7GE2Y+ouzml5fj9ohr+PQqW7sQBnUxFIumTebb/bcgIVgMb2T4PdTKHbzZQWIcu5davmZhInLyjgY/WJkoeMOaIX/M75XyIdt6JTQouIkaC6P1nxjWjBd/iarjOKsGPWqX9mX0Qix7kdESooTrdvUyJJP77gtf48p2nVvskAEfKketGzBSK5/35pGpKlyTev3cr43dPHrdkbvIY2gGI26BpTh2bC6zOv7NYPlNLS7TYtkqNHj+5qbkbjy/+R8yoTT0xwEh5Vf3vPqLWDTkDwZNVqW2xwFF2rKOe6y7JzwuhEbRPbpmP0NOTAPqgjm5FeBpbGkckUyNIvoAeO4vwLO7611350U2xGq0ljywFtssY7um8sA7ERMBbeH3lMGHS4OSu7ifFNJBCS586xgfSgLlsUGYiMASkAT2uypFjX0Ty1jyTzYFvKOf5snCbMSWGKXnHgLZ3F6oCGcAWSWM3yrY4LTzIFC27PC0d2dPmoiuTOFG6B7+kr0DDm/iJCTrf/dgVxmLiK7OnAvkUTqLZucmPxzN+ApUEqfqo40GCscPVJHtmNzf9qDP8D7uy1tOCYyKuIPx/aVKT/NnKiXSvyU5bOqFnhln33k5UBsp1I3kM9bB4s5kN4bz5UG1f0DZBqLuCrUl5C1mU2NVxP4T2C1sPmEKxKF3CpKXu4L6dsKXFw6LAb5ExCNdal8rrrolpegYStW2/woFAp5rzypuil9n1VWWbMP93Mv/90PwxWjZbxZU11YJNfkFOAM1MdQWwZj01joSuvdjVdcU3SaN1VTihrH+bI0tobUP0rtICZ0KtkDo2++0SLzdxxeTPuQToR+TdJXPVl9aDcPd+vL+/LpuBrj6Kb4CCvUfITv/Nlj4Lf7b01w/Azo5ACYKXagZKBLWKE60IxQdki+6RvYmsNLixRck9ND3g0WVK7rpRKbJNDwVOjExBUe2ssBrzL04OXkVuLYWg/k0hygOXT/GdDA1Cp/nsFSpoVMSrlcR7j+PbtWdjMom76SYpCats1YvhUPneckK6vqtO0Tf8dF+U5Xayf45HOuZs4mWZrSWmrpPKBS9AM8081zA6M0VD3PT4COjfpH0Xjw7Ny2xNRQYjPNnTj9xrBM8jDk8DVuT6sHqSAC9KzU8OW+agGNxe/kkn1sljL2TBoJzfecnsa6VZ208q4bjJXDKSyvr8oy3SZY4cWEt4zTWkNfuICAITVb+eNzP/MOxtYYItNWN5gy7OBTwuk3IR03vOtBmvrx35IDmp8bQgiyXhUbBQfR/9PTKQPbWzHEklya6JSGUSzLOP4pnEwm1D6aiU39Zwjc6bcGc72IfYQOndlfoufAePZnNstZC99iGlMAYUKUqE3d192lsSorY17Gpgd+weWRhdaywToClV7TATYZECvkHO8PqQ19yPrfv5YP20uoA4Z5/vpnI1wtRbtOD4qM2Z4ElshViBuhWxyfMMAhfr0BUngJNNvk8f3k5wpoGC++7yt+tzgeC79kubKPA6tkJ6YkKtcdN2kdHcCvcEPJCULmvT/9JBbbAQOkAKxLcIxYOIbk8mGbVwaoDhr3zsJ3kKZVBwUzskSQwxpCuiSyxTg9gfGDXt6RlPJ35NR77Qpo18Doqnh3jvjLmRdRdHkeb0ZlhRdFvDcJO2xo17YS8dSHI/tAcyb4FBTIzzRwznHsqR/V5fMA0fOSrGV3WvHnQ+rD8Dmjbs8kdG5JnECLvx4ZM0kjUA9510hEXzr0JgmZmT0KMQWQ46EZR8Ju1LZ8VF3OnknsIl5YMXkRTTTmFUYjmZkkGdJ9Q/xGdhiRuUSdacHK9cnBGvpRXURmoSrQsloeyHivlI7J0uSjf6vcGY5uokOzxbAY0IIXD+5NLOnNkLD1kvuvfl7poHOZ85Cv++Npqb/GrD6xrjz99gqjRzD2oeVAj1fRq4nvLvEpWoy9JXTAxoc58W5ONu+4ZKoSS7rzZi3hrH8IqO5GVo+2NjhmaulOaKXTov6eWou5+bw+uVjyfIWOEDy+o68wcauQHiqbrPT4oIkNyS/5s2iMtY2yBPpOuKyaHzBpJDXh52Z48gHbtBETg3W6nfXzpgU6CdhajCxQRza2HlgdrAlxkYgAh1kjWR6afwiwbV3u1nPqIZczPNNVy9EWcU+PPhaO5zqz2OYvnPzjH8o/Hw+/x0vVrOxQRxEDZYTxAp7mfmDqRf659FrbyvKcugFXs0AUdA8i7eHnVU0wUUKW0fCUYM8y7ctTurutASIXt5Lw+3s21MZySAOzdA2dDzo+pGgCGeapfOa61Ue0CnJBc0MYQraUCLnBxaPF+KpYD+zFJRQFVBvA23NspwUvTTCZyWi13B0YJuvEwF0CDTeQ4pbUHq6g6bzQE428Oq3PSEDnrRX2lACik8PcKqJBYf+J6/sYXttRbPGYSRRHE3GpwzHvdgIbA+C5caKdPx9+X7bkpOy9NN53GDtG1pWUx847DPWHmS5jkkyXqUoOiRb7Y2Hr4QZgsWiykFOZy37adN+D15nKoCPCARo96mAv/mxHKkr4AdOhRI52StvZJ717PHoyKjA1/zwOj/85UOBjzSYdVbIZJ85YhXXb9GzN93nzTUxqYWZG/PR2L08N+AzKKNDBIjXNx6Sq5g9a7/1BY5Mm0pGTPpEzyvyCrrbVsXSp0PHAfFDcPskJpnpGsYcn2e1QkrQHqqP/RsfJoLV88T+XmA1J78+qa+6wHUVa43lEfnxy+k7gPhfvP3MlkSbJQuyDN9zx4DdD50bJz06tOzuvgqVtjmxPyi4ZKaNr6YX66N3yJ4+iinQLRcdyLQ+CTTz5WaEXDVKbJN+mp4XpSIPwLY/Owwmx2XRcs1YtYFiE7FHl6Bsm+Ms2F0ky0vil/IbJeG44Er6TcdM7/SK/g6YsFkpsI54sp3S4bhTjRG39F3E2kyoJjVoR+gfKmIxjSFnklWJxTGV7pH/mDnjiFziNeFalWGdEWhNJqqC2Tyj6E++hM2EmPwtlZgRfm0gNnnm5uQNWhpyvmIK8rOJv1Agvdvm+XpIGBTznGmM520CcVwPHZ3awORpMNpU+goQvMsoG41nf/Rco5nHG/cDvV97m0tpDT1xP+AwGVEy/ApYwUeMXYzPVZaXDCoZtHY52++8Ldn3ikZJzbLBwl5zqbuDfMUqrf5ABjAekMHEKKWkM9yeZL4gJfH1Z/+w88UGXqICjnSbRy4B8+ZT4mSa/P0qBxUTnbzZ1+quZ8Nh3iAmzENMEaSZ5iQ2h7Esq0Cghj2j7JqL+KHQG3f43FbQfFRsxvqZSba/JMoc69VWMItSzW0qyvpRz1jmr2MJtJwLxiXVX+JluZcG05EhJm3atXsZKC4bCqJ19f1zVeXzoWYnIIXyWqFLtWix2yRMi/EatQCrCccukqIABuFFMBuu90mVwfS3chL1w0pzQ5riQ+6Fj9eldnDTQhiwiCnnGX3Uq3IXuvYev6vr+mNABo7Lipv0s2l9Dy9sdCOuQNtZY1KmPo+3S8TjKwc5RxG8Bvkf5iSG3BEmbnEMl2AXmq/3TBot44qSftL9Q2+uG78uWiJagMGU9/nudf5VkrUwJRvyLnn9eUvhnaW6paS/3Uxnn4vNQ2Hcj0EFKWfS9jFjvuYK3HStcN5zjc00xQgvg4uY5aF9JCdng4bHJIaOlPCTII68ABbjPD7i9QfobogjVXz6CQr7BEWUKNSTw4KG/zeBoK12R9x2RFLaKMuOzwYc1MWXX5xIYIi2ktx2E0mIKGVrEEdpkKwWzLIfdwfec/8t894cVHsYY4wrjPHjwtdCQQ/ONWXHWVeY/BT/zsFZ3I616I5esY1M6gTFF7sm0vdHvTY6VA+lOAVao3SYSg3PzPMLQNu5NHjFdAT8KvobIPMJ46vpgp/ApJ3Vp2/jXXHolRAGGEKp+dFTD5JripjWqJUIb9wuNt6SRZly1f8VHRACqtfaoDkl2FcuD4iQ6n1+dS6c8PmEapl+Lyse54SRps2mDnvZ1ujZomu5E+sp/8yvGEHOhmVl3SsC4U7iQXJBGIEbgHOSMObCWWFThvEGi4KElPn9N1TtUSo4DfnxqJl/Awx8NiOtWaMANdWixqESVEIxYbCTNGTfb4fmj5vDGnbdo7WpqWdXpeLHhWODPpHf2IoAoiH7LnXwRERy1JBqPW7gbEAOqVNWQmwPKKV0hk4ofChXzuzHD9z7FjmF9MaHW5G4KZa3iDMDqKhECSXBlmR7QWySPTko3nSSn8dlID+SgOVf1SD+FMNdPZVeglR/5qVtaY8aiZ1WNVregLom03rjxSi4QnCqSyAguAGZU0mqYUpQjB3su5wFrpEC3LurGLdqIKIGMCAcPF5trP86A4Pbz6qk0UVG84OTG/8DON9Athg84A7HRF2ve3oZlUmRdgjulvXkS4mZFfIxXN9TSu+f8tHcRiiL3Y6ttCUHyWsJd+Uu4vXrWpMRxwbvILqw+WjkgcAzrUWDHsPC7MFsNsH1DzI0CXhw3PEazUoSdbcKPQ6gKWx9kRg7Zteqyqy56mLLmFrh0UjQZtWR4ESydZpZaptaRALBZjcFoEAguCRDPitbS9stv9abunAjb/9sfW2J8X/c7R8+Z9zWu4swmisFjbLE3KGmr2ioN2nWcOyB/6/+kGm5tkI9nXhMewGB6RUaV3CGgTVtevHli6ikvSDwMqks/Va2kvN2tUyWXwwbuvULPJINjC0t+y7YHi+5Bs5g=" title="Mekko Graphics Chart">
            <a:extLst>
              <a:ext uri="{FF2B5EF4-FFF2-40B4-BE49-F238E27FC236}">
                <a16:creationId xmlns:a16="http://schemas.microsoft.com/office/drawing/2014/main" id="{A14EE606-B7F7-4B33-1EC2-FFC20B6ED6CC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4358133" y="1563971"/>
            <a:ext cx="3479621" cy="4615635"/>
          </a:xfrm>
          <a:prstGeom prst="rect">
            <a:avLst/>
          </a:prstGeom>
          <a:blipFill>
            <a:blip r:embed="rId17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8" name="KPIDesktopBounceRate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z2dD7pS103gZfJ6l4USC3jqtWOPR/ue0umjYEY9KlLthURXCUyUuZbmGDPUXB2idlVQc+R1c0j6vNnMaKvr/AnBHPFsgePkL0/XTpsFrxRwwYvjcyvyChgSTkA0WrA8dwG0GmwlBBpsIJyB1sZP9d7xAp2ey1gpzW0jRb65HVkmH31wU0CUfz6Wsa3d1WVhhm8nLUzZd35IJort9u7v0aOS6xXWeGseyTUT93qRMlwCGAgJ0MTKWrvhdCAhS33lj/WBjpWoOveYj3wIs0uqpiLwu66QD/FKmmF3KnLAGEUHPCFZNIeZG+VemSHwWaq3ngADKCST4iC1+L7zxKxU0QXupoYlGQMVLrkA0coQiBp3sryfjB4xIDS2DRILd1kpkygrGnJ7BrLIiLREL76twEy7ef3Tl3GJjFTy5sS16dryN17sKzoo9F/AS9PmSb/jVB2sazylhI5s2jZ6L1aVgJKKGdF24l6IstZASKS9yL9Mi0ZrNnSOD9jroOGyOmHeCLQwnlvrGKvuNTy0q/McPufdcDzmrJtXHWr9+TdMjzmMKScLevpHA5sCOEYccmeBpkSB7QQ4Jf6nnXNRMxjUA3KYPDVEfxd/ZVr46hNIAcHbumSf4EQchmUYmdxF+jObAxsxKeT0dKfy1qadNfQYS+j81vbc1zFO7MPiJiSqKYd4b2OA7gn+Z0PBLAo9lIdL+vsnyHdk7nI1EneLCvl0kV3oP48PUB+Um+v3OhUhgS9hz6DWn3apwPw6felehKFZSXNz68wfvge4Gck6J7PyOsvpqXE4NStTOTscRefTMhHP0tGSC+Jm/IHulvpLqA2D5B7IF3V+LdhcESowVqVTh3gHeNO875i1QwSU47lL1T/H9jj1WtgWiyxh94GwVaoggO+98U96K9d6PaIGoPxM+qadx6d92rIWrZAMPlhufL9ER2ftKv43Z2VPij6iRP9bH1C34/2J/C1o4sNatfhs1xrgHfS4QWq6WjO6CZBQveQ9P7z4kiPyjdWE1PwccoyGxg+elEJNQo4V/2nDfUGheSqr8LtN15MfayRcM9ZwK2X6lFNhOV4ISJi46zyenrGreys1V4Oy/bbn6zyRE7GcV92Tdj63TzBT6EOVdzhMO3AwjscEkvErV90CYL6pZxWaw19qEUbo9t4/YlhO9iBbtCoVmVTgyhrOJHCOGyq1NVsQ1CbEj54Kkr1R62HUkKJABdiOTwaG/1pR9AiDe62emumrprVVD2mugjUeqRowFixSprrQNnkz3bpCzw675zeIG0qv3Z7nOAfKeuX3uRH274/oA8DTLtvoXdmBfipENrK5L++XbTUkxJXR4ssyl5K+rQQzu5WdfiIGVJT31g3/ClNg0uJmtzU0GXjdqxUak+i1sWsqby2zE22jVNJZ7pKqsbWvJzYxYJRl6JCPy4mx6fWIuBIZIrtNCWLPddWtXILtRYl04G+BIYqhyw+kimbDfIjbGR6q1ReE4hhd4g4YT1ye1oKt1b2wk3af039C4DMhD5ttkhhePZ2Sttsxhhzt4zGYeENrqrTnhY94vZkp1q9d3WEmtLBgnct3rCCa1uIaw8xZOOrGZ++5uAdeQbO9VVYq/aKVxZRc+dAkBq6todCrOB2BabwIZ7CClOYgdiGRz6QoC6RF1txxw3ekuBpAOqgK4C4Ku8aNP1ZGv8kGn3nzrEl/GfG7+E94fFo9E+DGVoW/QvSM85guN2zOHfJ8c9V18xkU/9Eo9PT5Uv7xhVr+1AOP14EFz4GpvCon7fidWNj0bJ6VIHJNNZgQxN+0G12dBPwSNJlN9bV6NQk1Ys9Jc/T5mthbkhKIKOErs3p7g0DdE36Z0VleArQI3gZnofjOj6wdepUcxRy42pPDwZcas4BNZg9slc7OGv4EzLf478DR1dP2fCs7gczHI+chDUjey4X3X6U4rNQa75xttz1tP1GQg32qCOsY+48pEV+bTiHyWuluxx9pxizCllHclryseC0SUadcRpvT9u5HKMMr3qYqqdDavGLcn+PyYG4TfAp7wCpxAemAv8a7uN26pZj/IyRKrIincTpQx0T+hkLaxo6LV2dMLGlWyoGMarQkOSp5huFgeFlHRJLLnSmJUvWQzPfr3/F9xjyLolf9EkJcdnEGbbPrji7HHMWkXWZTGQt5+FWnvZ5+UMYAYGnjSsDvK2vkPKCro3mx0ExIgCmLovAaI7Rym31GPSFqXbSArGouoYzR9CvPGPHPxcssIxQC6whyFRB888tnzMbyLPDgxM0Wafa7drXy/qDbh61JMbAxVBm0L9NYp1FjDGrREamtxoOaSqlatMWsk9aWlRzXnm2QFHYPRJgzWYCnbAYPRfotssVwc4hVYOCGU5Mzk8nhaibpsu9Kb01aSJtQPX41sv/Vr6fjmv49d/E/M20SoO+qgOpG2p4L6+EaSbK/vwu4ROqkfq9OzaLX2FWmdmAsdr9L2bCYdqrYGVHsNgJohUPrqd6lW/E/AGCS7AA9yyjoIgffcgPTklAOVLBOZg9q7T65Ebw0OEVzyRGUEJfIo4ZmhSR6B3STv1TtmNlP/y8qxqghkl+rSdDdbCYhJsRRP5wa0+YvqzOZPVHegKW09WW3YXLwqD+hrFuQ70eMbUpG+n9ONqz38jzUfVSAQSKQYRDa1SVyFpbDfieLzsQzVZKeeVJVmslaOoHAe3C/+i92tFScNOsXUIHInnuvI82hvJ4EFS3ZLO4iSMF1KU2bCqMgSQbO/76oOk4CgiXY3qZ01lA1JVIHTJloc5XlNEjzsgklBPQfbFcuaaErsQNBuApH7XiwxTSJ3S9p/R5Fi4S/7pmrdh51SYcpRhbJLUahxygtYn8wHlqsM833vVgM13JlBIlxqPeqO7M0zqmj11w5S5axxsRio6Gq2+0RE+cQjrO9RFl3Bh9p0/z1jOwg1S6bhBzpLQJHrYYWg8tq19J5i4pURNojJf9OMXjEMgJsWJmMRPKj/gUjReNaPsGUmFxRJZyqhqwUysqlCxxxJEzaViVYJgcjBc13ZwW9MMsTjPWn7Zp0amCVmNRdssK674C2svGUePzKoB4u2S+aJfuxiG4QznjIDuk9zp+kK4dPMSp97IS3t1Y4GkWgRlJTnaQZdUWjObzMzElgQYOqSTtnuekC62OlclNJWFcB6PIGB2J2EZaEIRZxe/phnQDj8KeO5+xRXRXJMyVdTBAEKN00aojT6Af+UPDP8h0/ZT3Ukt0TQ7wOwk4Q+45Y4vaPWHdCQ28IzXP3R0fA0mxEDN2fnso5VRr08lCg6S2toSxIII4ae9cOmTwITOTfBfrxLjFKgG9krE8a1zecpRnFV+unFShIb8vEBYW8oBC/4m8NCXVUxNyB5UH/Bzs1svmznDxG+0cNrJTIAq8SVYoS64ll6d0S+KFeQOZ4awIgM+FaL8JM0PqBuc701pDr0eTdTJu8bHMS84yFU6CGmBGoaVCavLZs7HyYKyyqVyAdtp791c7Hdg1QjFPn4kgCcWc4VZAEDtabfqF2NM+mi7nYCOqGT5Og0P60TT1QnYP41NW74Ht9sTbij9Tq5xqVIJTw7WuHFQqOxRwLMNLxzenGTgQRcJ+Q79FM81RbV/POGBagrWk+PtDBfoJvt+EZ94/nMO/KKph/ySET+RA3oumc9E8UyH+YGblmX/9MoxHcB5AdsFyvKPYOVFB3l8OwKxwh/7Q6+6hSt5mrZaFKkZU1Q5lFuK5TTfLEWJC2IHzx0LCzL8DYsbMwmu/ncc9hc4ICHKHJR9HGJC0k69VXQZWWtZXLtC1qzfX7YfSeqts13r5gf21N1vo575ZStWPhdjoLNowunDtX9TyPjFqgccwKxnOq38fhQw1931g5PNehIR+2/lVRguaVssVM06jq9fjHJY9s0qIBpBA/+SDvKIKsP2iHGmAVbKlYUcV9D3cFCnVd/fMlWcG5aPe2JZr7o3dEqetL1/cX6lo9dnpxXngDhTKYxkHUJzC/mghT/3tzUIao5lxVl8DizUs2bEGNk6IGiB4rhBl1z/t32P3yRhzJoKFEzK0KL+wUjPWkNcXDokp7PP+r58gumdp92dwSzzHcY7gvOTVbbAOhFQwStLMu4GEOu6AVDrP5626vdlow50GD2KUj44KGAfZ2S81yfj4pajkY1vDF5vZgcSz10v+msUUXYd4xTaw4GXzffcWyn31rgkWgIpnk7BQYuQtx2hw1a1NTZXhl87BwzldDHFkE6cf9tCGWZdgFl1CpVZf3WFTyxQpAbV/1tqxuFI0qgnABOfeBzcuS3h78vdmhBJSs//aBSwegfl3rE77fjoadrNsP8StOIOSzrjNvVdrB1tdFOapqMQAw0931VV++0lwEhEr6Tb7kxQ7A0DHl6LwPbx3cPi5pfI+qxvj37DTnMhN0H/VBXdDK40QlyQAoiZhrTpqQXTXxbY0tNRcU2+ZtMSbwA80yht9TR/lMe3fy7IsvZYzQz2F4BYv58Gp+/QeelV/NFuWYB4GGT8sQLW/bugxg3lpSzo4Bsm0nhqnKMQoLBG4IvGPoaP/b7HxE3MFPbMDjQWfB3ANn1ZOc+A4GKCLPHiteryuB8gAPP8IAsWDgPvk3MIKQWK466mIo42nzio2Y6iAEV+VDPF1l0OdcOwasfTtHb6WXhSFaeY2nRraxclMuC60cqtxdAtEFFDSdQo1jug3inxGIdSffF/4dpob0VfQWzjBloFE57uJrSLSULYGKTYdM/+aFYRIXjEFkAqlJV3hP/0iH9RDHmnvniE9q+UrIFdRY6ccfrBWmRerWAWAGFCCgjMhVL7FsOh93SdNx/GTkKXT9kqN+LhWxZIEuSH9fvZj5h1oMAqRdMoJfx5Y8eySNt4oXvCGTQJF7Q8nqI8fqS/Wets9KXNZ4QS75ZeLN/ewHtQzJTwZo0zWZwPKTdpSiro857CLQzw9nG+MQxjeRLpxj9B/SE9qruVpDZDUCRPce9kNMPB9znqSpCW6WCcEXLpFgDGDsXJcZ0YitcT4CeWtb/89SRoZb2Tf+shnlgLrWHbAo65KWXdEHMJa0EKoRrlY7UoBMYFIVJ3WSwwBjZR+dMCG/xTcp+ozhD0m/rQUhZmu5utY078rFwgBCFdU3NsI6qr4aQhJsYl+z4E8PEOmYNb1j1tn2Jqd4W5s9sW7nf36BJ5JSuPzcho+tcpwzoTw1hkYqfZNYp+YVoWiXBQRXEn9PNtoBtfBpKlUm9xaiie39vjbWNMFyOEFhNoZI2QC0vkFES80Hlrr+4bkIErM17gwvv+5yXxbp1dESKGd3RZnV05MLt+Jt1CwCha54Ad40HkGbg96YAFUdz9NRZ2qw6l2IYYSsyiMD77Y/jqljkAqNfrSVgDZju/FrU6/f9EQ/Z2abEucjNKlM5BE0DK7IW2YNxmXO/JSWK0nn1L7AzAhToA+GCpbMOcYIHVKAqFQ6lUiqLfRAoksl6PZgIPGQ0ylSa/FkYaiIwSCJP01u7AQoWNlJOGpO//6pV9W0eS6wZliAQKYSnCd8ZfOXoaEdjhLq4gJ5lhk2oYdunYd8Hl8u3z/b+6U1O7PQ9Ut8uInTBUyxVvXzhbMCiN2KeOupC9Ky1wfDtsvw1TXrtAgYxwnAJm53TbRe84XukDvWhCv5LyLUXJgoO/j7ZHbDkPY0cPqZ1Y5xITA7giyTv3ymynX7JRGlku52q7znE6qILp3oKbJTqZUHWOayvIkvaPowL0iW8bl75zN46h77C36gFlGpXkZlsZUDlVQ68Zc3yx5mf4tP1kP2Y2nHLbt7j75Lou50/Bq70eVbNLY48/58N8ZGMbB8Av147Z28UP0lAhQA90jfiySIime/iQHNYJ7eYLrceaqY+3FvES3pA1oKld5bh1Gr6C7VwpATj+i3+RPSjBV1gfwpmqVv5tjuPfvzrhhM5tMDw4o8pn3Qlbg8WjDIz8cDR9mimm5AMGQA5Lw9QO+j/krFhZfQXP5ILxpxNXLyYzmVhK3PqXSMJY3O1ZzWlxo/SJ8KnrzMRknzIVnQ9E6CPxpr67iWMwDRKYarQWr96YA4J+/OwaTlIdb7vunh29gQ0ZdgyDfrR/UN+SEoSeIpdQ8BYSpKhB3HIbeZWQaA/OyoltS+8pHXnrtSfVIqeB/nO6KPNPvh3+Xoxe4d638h++iXzwfRRSCReF5vPpEjJghoPlZjGbIajvexdqVq9lAnOTJBanjB18+nZ9upr3kyQ7iCVlpNmR0FvRjbb2vN6XCsGEC0hpPONRxV4Bzjr1kSqa67kIP14AaRnX2qPue1WN3cYbgeu9iI5SzmQpo34Ea6kc1BWpaP2R+UuEjv9ryzwcNWXOEuJbiQWk8rK9w+gO6hJ4G9+Aey4Ni9TjWvXKmz8JJ0ShC2EKKP3STRQIPB6CNmrTNUfl/lDOf1cA6mTNb3mi1rEbSyrLxN5Qvwz19JrOwzgGfd0cjmrZ033uUW/NDsfZA+hQnD003GLc8pATTtrTZcAGjdpwrKrnBb0JpzlPkW7k+fl0++/1bWm4z9O2q0jz/pLMG7omfuPGz4tTt4kYbJ/HcZ2ZaQMKRWhSrwlJTwoewHu6oJJdw/NUgAj9J0vvBDmvM/YCzjUsCSQ3dq09+90cCPEcLn143eih7wVKcpwdnf8mHVVOn4i4j1YJzvpvWREvwKMYOgIewyu1Nh7Gs/DNkxw4Sn2UcSXVrmL1QqTJt89UzR4umKsq0WFO8BachvJCWe4AZ7dnLp0yFLdcbNI8EwKcJSgQGFG6VSP61eRL1h+MCvc0usSKNLshWHuQ0xBypC3dRJFNv22E2eOtY/JQEa659svWEBt4yp+1y4N/eKwf0G39MFvXvE4t/WC3x8+fldniPAnS4h2TaeFB/B31o/stPSGui2r+p4YXpk5cN3ZeXy4S1L4/Iv3cuPDD08rXlv4pDsCBoekVhZACOa/O/j1OCK5gjyoWqPdQT+611Ocea4U+Bt3oM64xE+eMQCd15ahM5NB/fGQ84veQEk4hBQnbUJ//Ffhz2fs4E8a+B0Kp459uyMDcOS0fVZlgdlr4uMW1/UFdoxXlopnEDANjRSinbv5Na6yd26w31cgZGOhxsgcRI959Ltj+3611x1+8UWqhvPdBJxlCglxaErHXlr3200kZgHV1Pfaiu2p3wqGm46gTWmAM5z7uARNRr4RRmjC5pPX9IpobuEupKUvrZvrY3VLQgNnyzxN4WSA3+FTkki5mJUGcMaXE4+QhR6QNCEAVimS62QygfO/lYXnmic+899cC/0pkn1FOKxbqQSVcfo3yqMXY1Ka4Am4SZTB0ooopmHyn9Fy2BcZ1YRYgK4T+CYr2OX30IaN/Qrj1ndL+ybFCrdU6LKez+gTxKhePbsIWJW286PBHhn/fiWy1sMvgAZ4Pn4lV6kGirOQainaDFc8p6pz62eYUPDGF6AoFbth+wk2Vm6C5amKXBd/MvlYsA1k7pzXSerqy0GDEjKbctzcmM3Ubyw9sUrbktj2vhm2JjPld+AI6/wjN4DxKEHwtcttCNzm2mcCm1cpGtw1y1ov0o9jdogP4JGtXIGIFJaBZiaHSLR4K5vRpgLVMAqpIMQh4bn4wU+YQGqkNJbl9Ndy4hJDwAJIEVVB6DlNj2lMlRyUMuQMUPWBJsL/Rh0372WofqlNoRAXViL36bUeIXhaTS3i/wE2qZu+BqsIuU6SZ8cGskNDtGpFcSfxljcEeH1GMmiP6+PHcM2/Qcsb+4Rsc+gUhw6QygXfeW7l58Bcyr/uIUdNJeWD2xwdQstE+B0iQsw0Gtr80/S4tJ/ZkL5LEB/bEJrhT7kXSZjaTQ2h3QHUocHDgcj8IheXCxaVtaYTfXvZs6r3XT4VrEIVfdkBPonQveegOr8nm4pYJVqNXwIDvHu8VXXXwyIONJWV/DRNZLHBMgvBBndfLT9CB6EuUXOc4J4ICSfEaSwI1ZA+vrt8FLKLqfeGr6v7pw0D2MkBV0MN1J0B4FFSDf/NQg33AWA9izKcC1IEat2fctiJHfbIKSHJz9pTy9O3Tog08h8KagHyqfm9ZhlU/X84wgNB7iuIqNpSGYs9jwVtN2mT2zqZ9+FdxMljLgrybDWq1x2c7hqrYU7VulyyrRQiGkYmDnMkroMQxRQOocqDjaVwY9LUnPhnuE/Bkw8BxpgYuBoWyzE8G7W9FwxkBr8FMDL2nJxnzwirTiOhONOe4zlZ3FTN1EU7F1BOCbTxc+4moohON+zR7K1l2qciIJ48Aqz77LiqDEg7t2zuoYEu5YOUmjJ+04DOBojiR+56ECjbwA++6/oueiriJfRn0YpcXkbkXQpgab2u3E/y3jPNb2q2GaR6RPj51Y0eQAGnnr3E/mbzEwwpIuIKk728Q8fTclkdFIpX0cXGd0H3znddBrp7YTfnP4p94XCY8dM7Db36OKCFEHIcLC+eWqH3iMDhMQ4xXFeTQKxAuEEhXS+sR0YCn16WVGwAz+/iI6/yqQdR8vB6OluJ/eNTyd7/B5Zk6U6WXsqhlOWaihR5VB95QuaoSKUda2LFfqnoVu0mvO2KPftqM5U5L88Vpgjc2gIpIUBUQN1YbsPVX5aUYhCXOKU5SFHG76xkCsl+h6ArnafAb7/UiKKV6+lZqLKaSseYAZ2ni+mHU0OKeMASgTOjzZo1TlUFK+MIL7/IoUSpiaUoFKtBj8KA6ZxT3l5b9kHX/va8LnGrgtJl/DiOss72/fYwlveY9eQ5Vg3QjExK5el3RyoeQgf3Wc9PWMfg/YzXJNJaM/J2O0O4vuTiakoKE48PbQCkdK1zzlOWz4MsfhKLAI14JMqYhAVH68jNAo5iEB7tOR9yxQNJKNuPQBvQiNgHcwxKG9fEq7TILFiLIJES2EDC4VNn0uZrXz6Igiflb3GIElotpaOHYqwA341UzDYkXVq4IDd2HUsMb9wioB4iQQIxb61RImWrck10Mj0DEOkVg+vPxN196i0Ag+UMUDVLeF50OpjRVQGimjLGR7KEqx4k5UHuY640R/nJj19vLQ1RQYDmb9RIloKvVivVewbSlqYItcBAJax2xytnsCUL0iQuZ7Kd115aJPA1PwirOYRe8ljFNmlysL+7LgOqKiPTFWc0iYSAwwuywyZ8QqEjgJKxjkdbwuqhF1fJeb/DHwydh8AHwc+j4QjygxHB6QQ2LsTNQVRGpx2xHx7mgvAR0I7kUvL2zFG19I2Yfv3FrHsfFwyNp1sjh9moeN6V4UuL1U+StKmvYgG/V2HGu05nnyyEn1kmOMHF+AiZPy+0iVyX8icrLl7N1QE3LPBg0PjaJUEUII0ADxl8rdOy356EzOsz8ubwI/HD9o5tFzBaojdKYs3jsuBQmrxVUNeYWh4IeQyYonyHtMK3odeHkDTqbEwkYApspq95D7aV949LAaAyQSZLyx8TYo+BbdVtk8t0d8NKqQSUZE1vgOLuQWKlYiy7SlJlR90046t1GTRTT/GZOqcODgEXwMvBtpJLW2o7n7EoMqPxAphyL22olW/xPQ0WQK1dNuU4t0D9by+QrTOpmxMpRb7QvUXj0O53tZyPT+trRbav1KP9Mjx6ui9EyvgNsnbUEQAiUi3Iz7XkywW56QcrArIKhlxSSiVlLDEWuI9pxRGbgqVcKRVsNPQ8dY1z5hL+ghuwCb7EMGxhSd3uVvFXQABWEfuYNpq2UoPZGUOnLDFITbC98zwbQZ7o/miADK2R7hh5iFebVEM8THHQwNcqbgJpxzmaLbnKeryFcbzGnhiQkZSQokUUZwOb7S9rWk+/c60ro+CQVH0g3hsMTk/gj/nycbXeUxttCAd9S/XoFuGWB+Bt86trYy9JBMZwTVApXUET+sWdwLQ/L+hJdDHHzsKO/j/ZFPs2ObT8QvMOfxPzI1IiBJFlPiwb3gMDZCmUX8yR4noQzCebNcp0ARTVzKvHs7RaS4zMxVOYLh/zEisRP1nt5MBs3bMfxcBEfnWsSStApqEtqtKaqWR12iafy13vIAfPKZsy0ltmFyI5i1Mce7xh1OwaxEto3bdZdGYXKxIuWqbVvUDBIMtOlCQZYJRJ1wKVQGkvzGlzJrzsoMmGeBcrD/7sMlyx5u8htUlOx1hGRsnSbztmY+KFnoC67wq0aRINsdfXv1JU2dlOFF27Q4RAw+WP1dbnkYLXCHTgy69RNOEzUia91pYlubbAEDROQ8NHzAuQTLarcqCHDgDvuhGYXDVrRSLuHfIpQ7VjorQt0K7AgnL7yHgYs8Kassk/1DoqncxmM+zwG3/ZiJN66uqrsiyd4NEdp1eD1ELKW7qxBBDHTa/2miStQicXbSZx1SiZ2OHELCQgJZoZx/1M9eO6yg+uMOFYYZMCjUh4hPvWD7vmnpp3sGE0Th29snBkBYC01nDxSUuUtSCD2T9WtGe+xWvBewV/Z0vTHBGKZ2X00uv+TvmFCzXlfr9p26KNP0FBmfX3FnCbUnFFhqT2GryhioqW+QWLoLMz6TcBrgq0JS/QkT+eJy0wYS/oweR4l8xLwRnWz9lHGeNktigVqxVGoz6ejchQ+TQdlYd4xjSd3hG4Ir5bDY8vVs5qASEEQFG76a2OFVuObI44KGpKG+MlSmNN0fULsWWLLbUihSfaxRq540QDmuUEOuyv2k7giNnHgYv+xVJUIOBqXUygnh6wtojDPH7h9S/YTAiJxKPaB1schfz5CgyWZf2RtsRjjd1M5HJhxJwL1fnWN81NHsTZQ99t1+fY7aZ3DrhDbEEXeE0JhSTiFh0zGENxt3sXoov63juAHrKDs08JaB6mZSSBRJxsQbRTe4J5dBrW70n06SNBtTIXKdcS74sMrPpFjL6wZaG0OMlCW+fUfXnI/vK84mrAKmKQ4LAhK7gYC+6VZfvsVRPeDeLVSi/qOtcjdNNNaVWxl/xE2OA8wvnSqGbrN6LLodxOksF9BmyYOPhbyoj5TxDJtuLD7f4jR1hwGs/vA702TSTs+GTDka37jh8Mp/V9Yo6ANnUxjVxX45bRsQc3/+QBZufXb73vDeMXhXoZHmlgTx0uUiXYWxHQhbEhEgi/WOVvfPWfPLvRPqotvSb+59Io+eWtRXlKjVvFWAympQw9jpuN1e56Xi25ADo80e6WECPNP2ohlll/trtKSbWR1FZeESOxIBJgDesJBNJvAzqUAPP78LWaPwT0dojTy9E7kVURsU9kt5CmjIy3cTNotTe+I0Iw4uXgfT6jYzQnfnx0Clw8XUZ2GK6yX1XwxJpRaBeNcBHySzeH6b9ix1edSzcKkymSsHbrgLGQM8+UyJncmDKgJaSp93HNPxrpxq21eA3Ez4ldGObInzm4AEV9ndP2OmwqncdGAbVwrVgGeFR+bvpnFPgjnyzRzoYVdpghy07tilJX+CI/9Si5SBgTUP0f+t/C7SnZKHyga3cfPbyib4pRigCoXkGk2SBhowSTUP05A5nnbm6VtjtOv1kElFWR7hajXIcZVwKu+0q1vJVMwkZCOF1Y+A+cBELMQ34vDA9s8cZLOYz/itm/hcd/NhAS56fNP8huDMGe924Co615YFzR5pssJFBKyl1xBk64FfWJkZjsEUhkZEJvjjcK5LPmbmnqw9lxNfM5anaQRJe+w5BGG+5+7/2aVYi08NQ5+mwbZ0oiGY/NwndHq0WCpnohtdFyJM3zdcajmOyYiVS5pN6IJdCTfuVrnwOz7ggzbrxNioRdFkY4Kv8o2QPquTyRCeEvhOk4054FHqJiUXSBNkZf2OImd0AE7V/XeKULR1CdMgvlT27LlpMabjISATmWu/1ULX1XzPdf4j9T+RqdJBhs67eMygwl1SjHYtiTnzzsrRSzgGrdKEhll2IoD4OiG2jNZAzF826qAcZSqpz1h2VypB7QjBZ8Qs2BwE2iv4Z8VLlbea5u2Bwl3zgHRkRyNx68bi81t/I0R48Xbf22gW2a2UFrpCC5Ls+phDEA2UiTqBa3EKnCd4pOxCAj2yv9qbEo3P/a8lHFygNBKayqataUo797nFJLVHuUJWK90WmeZMTfWl7Q5hXk5uYi0FQswCLBytiU2yAX7i+j2+Bo4TAKhBOpq6iu/iXG1anFmoK7hiOuRuDRB7OjxhvKWc/RANCRoh+c37X609AzrE+tjzKvt3+GrK1kj9tDY2+l3GYjWhMjoDxqcysAZypKPpK+2mcKjgH8sLkdzFNHuLZcJsvcDnZXiR1/Q7Ohcp2wWyIgZSSEtVNOWuSfMAIPTDDQLSyb20FGBffx5j8rsb8kAUVa6hMTI9yVmR8/u8QzGyCnQ39W7D9SJD8KwMrB11Sr0E3JPx/qMax5IOFMWvERlFvBREDgEO+dNWYMCFlbzWMsTkp4rmGKdKU42wbX5+qIuqa7F0Xpfy3OYCzaklcWPhgIK1DeowvR1dZ+0BvCtxbHrnOZpwVKFG08tkMudjRGImUjEmZGd5tFSpqc8nojedAzLOjRMIA8jVpWVnDI/rukS9Jo0Qf1vpigEcXl7bPx36nXEVzmNhHvWL4HuU3fpvQqWF/HASXzelt95fW4D/dfehbFaztZS5EZJjWbk7gIQnNxdybMvJro9qY/JgrLVbnHvpj/j71iQUibFOkXrhJp7KV6UWrdKeLIV7BHYN0MRRNXiss/l6PapSjfMHo6zYCkhHReKuRnbTKJWKfsDzWMoDtL6EVh/R9ITOAZcduYNaNhu9TePwTzMjFd5WcF2yHL4AXYRIyPBz8oasm70M5EQFKDWGJgVivM6RhWY5HizUYxYaLIZUfbAWFTz3xOhQ+Q+TDaVLlSgWmHGbmpmpbG08Nqd0dJyeFVWyQH6VkUe+HklyAVt5L18665LGSxU31uxVaGPJr6K/D8kSF/685YfDke17s5yWiQ2L55tBsdUFpg2df3PphQWzwlqtSVxvNWA5RdCk4VH7uHfqm1fCPAF2WnEsBfGC2rsABsI/+0ipVpSaXqi4yzCabfKhMxfQR2fo3x0FsQFc4ReznZcIk+UZL5mTB4Bkn8I+ZFXnIJFbIjFP3tJ/h4vezqq7WRlZDCLL8AUX1IzMfuTmYn+b7AZEvtrenqW/fKX/T3YXCDPAYNJ3Ay9sDp23USaG+Vp922cL0LY8MfutCF0ieoQJfsDuyb6Ot//HcieWJMOlLkymPoCAbL1zs8w1mzvfYP20csKwsJEJ7WX+AaXXb2YusOlOYJwPHTU6f48S0AYox9qSAiRilZpabSg0eo7IbTINrA6sQAEAiKI0tGuE8KHWKL02SEOmgnqKjkm13sFveKRycYaJRL8oxI40ge1nbDCdFktrbSsmOsYyrdIz9lz2L9GGy29OfN/W1qUqYtYugrn9yYIvLLKlqJwDFmGoXdy6tts/f/TH3Yzc2rYXe+R2p4QFUO1JxU1HzilLQlLOi4OKYXt4H+3J2v5qeqRBzWt0Ko/AAYL8d+Z+c2LqZSDjwm8ewXj4+hiqnHWStgSKnRWGcC7JvUaRVqfJWpeVQGcF+h51AhoRFNy0x+voi5JB4YrnKRwYhXeQv/E1mgKNZ6KPPemu7MDMGQOrJNa8RGpTmXRH6/xbBowV+UFz7xTN6m0DDaBe5xlKMGs6tcAKMluYJmDO/eXNZzj1cqjOqJrGCzrFuLdXQ7nXkSWFBKgPa0V6GBaOubDXK2ncaDRan+Cdzf775nputEIRRrLRD74Jy84r8KbDSbQZ1daXj3I86bInmc/Enre5DWT+VTXvOE82oqXNUfw/8Kw0Do80tBQbfZfyzRQGDKClf9qiQQ15qoYEaI4wwklOHaZ/X9fiXLnMIfnFQSm6ZGpKUGusgdP8g9AzylV2fIfq6hprPHKZ1btgLP8U6TkZ9erPogdEOSp4W9GSaRRLDmsoI3bHylw4rQm1G5CvAvVrdblzXZ+ghJg2TckSN7gUn+4WqDWYTtOlCn6BvQmKWISJGjMcn71peNm5q04otUMIRT0J9BTXy1bwdiAx2fCbGklASTCG7kwDdE5qTKOX1arVWZ7AFjPXHd0z+trSUBsxtokK7PPoQ4QQ/nNgTe+soZYZ2tub1joeOmw0st7htqP0layzOETZov5C3dejzppWzx8RirvLhodww3S1ubEF83QoNVa92AR9tQMtsdhC+ht+2E/K3K4NOc2gByvty6eV/d/egm/LZkDdYJ0zqKk55Q+l7L+sf7T3/IITPED1cEOctgQ8R9XrkpyDhtFVggwRxOU6icJJh9n8pNtJR5mKrquOa9m++Lvie8B4OgtI15KHOzS6W4q0Tv4Tln2TjrlfDd/jhZAz6nMcoyzKf/Ad3Ef3NsFKmvDltI4TAdXdzfimfQRsAOXAyoUssJwQmE9zncSL5zvzRevBoFZbjlfdwBNFBlGAr0gI6GrSU1IZ1QfaPf5+cFu3aKCvGS/PgCu0GT3TNowM+5U9tLwIRDd7z2HOx9I7+YUDizNzN6he8a3tp79oBDh6uptGWyoNp9Yk2nUjzD87aPOIyJ46WBgLQ2KoPm9oyAxUma+CkovJa14yC3o7kub5rw0rU66CZLS9PVhag6A+QZ4gHUJiu5SFKMhRaEl0LqQpcgPRO8JqH48zsq43b9wS8xtJIReG0fIVEcSmE1k71FN0G/CAH5MUbSW/VBtpVAVTaaGHYmmde0m14uJzIjDErajL+PEAPFp0urbMeSsmZ3M3ET/FTrc90vKa9YkfrpNZ6P2l9lqWL+/zUrqYE8EKAkk8c9yBXbZLaMnmNDVdHXeK6r6qA+NUzZFTu41R169LbiUbzy3w6lE7vsiin0O1gfCb1NEEFY3w3QgR4FUQeA/afjbUICOTTXyhVg6tHEN19nuFk2msund7b8ceTOuHGQH25TEF9ShhOTRo/FkU2b965fHpwPps3+e/NDfN07YG7MafpHIhCMSjZHy0iNAnHaOKOb0tjUz4do5bjojjNnS17ZJKXUfFSUsqrH4uEfDDGc9/SnEISeVMFjgI/LI54YInSdK74++ETCjp+/4AVZhGtcn2AVwC2BNeq7RcvhYTW6yd3RidvE89wbtfwfgdYuasC2O8filr1eaPYs65RXTbb8SfmLaidfvCJWNLRXbbEXz/U8lnJHQLI6VKoi+OlWsktKS/lBTe9tdaocq+qZPMOOQEMhn42p9/nggqN518936kyMb8aowt0ENRqpJoWLOuBzJus7mUlqBMg2wMuCKWkPUSW/Nk170ruF1bgEbO34GuA7AcnIS6Q7xcF86W2LIpqNt+69QKbuPXL2vS3KHHvGeKnR0Q8gX0drE7a2ngCWHGjsvEoDHC0RvBk2RFCZELLHwP53ZxtrFOP7MG9uvJ7tZ/D0z/EnLgPlmTaa1WYR9JYxrzaHk7Wwd4at0b72dDaSNUhoZAfwI2QMKeJMq5QUi3sgxF0EsNK8kNw6c4MpxKEjTb+WVcVoErOrxsvngqwXNH1394C7m6wj8VfTh+bsyUtzoe2Wd/DeedgHTa+ZmxEpvcuHw4bSXJQFb8DJZ6ZT6am8fRQYB5B/BZ4ZjFc7fSk4l8HUBg8r/iAoC1z1GZFq8th2kzG1vXc47cOBvELl3Uy/nJttWaJrnPuL/l2sz77xwDvsB+ijyVGpiArqAC02qgxuvpq+B8xwWruFNzMTp7LMpCoR8tOL6vEygnpG5Kt3vJ0WLZ1/FEcPOSMzWLyr9FHGmi2DLQ1kSMNCJawo+j5GHyFprtGRU8k+3VNpcGporOFKSd4xKQZUXc4zhOtj0dVBg5XqIJPNUksnly9T3Jhm5uo8BuxzkemjQ883VZjEBXDqIaWtkz5Cenuqu5EeDWFvoyP2pYP2jT41B1ag22th+Fc+SvxDAsT4EsVAMYjolHu3Tfn6omb4+ZYXg3CFvFgW/TCaRZCF+vfX76SbCuAkmBIU6V/DwYBE9WKZDDxMy0lDk0AYV4j7xz7RvJ6dWkh34yDE/z1lEAdyl4HYCkXwFLpXlfWuESjV2+uN/MKUoVRbtPeknoGSEuQBR+P6l+kpEw7RWPKUrBJOKRAlK9P9UjZ2GefH8rix8HkoO24YURufc3R+pBbg+FTuuxRgXtBirkU6rBGTTr36mjb5yCisGXfQh7S0I31cfStOOn+jMtvUa2X8R2sXTbNq/r4YbYq/IIcbjNw8+Pv8yLvYTkv4I/XIAfS3ewMsToYWbsuBS21pDx7QmtW9dKDAs/Go8u3QINshGyIUWARYjQDXbMFbSsjtLn259ng6l6IgRU/9jv8JIdTCwd3EIo/1PHmi4RhKCpMOUSKPtZgYLakzEO1YR94/6QAZQofVVa3Yy7YxHct/3AIaZSL3UoWyAc5NGODdhgifcQ9a3e8AMqtHGRoth5Ct5zBcJ1oFZjEsh3U4oE295Ksovfuh5bXPdjqsdT1wGLNRhmkzYrMWTQtcUeeWbDuv0fx2VrAT27wge8QI7fu4X6ldn2Mgva7Nn7mV6t8TjbJF4cBTHOx3P71JVWUiZWc49OvBYNbgrD+P4pGnYVGHqGTNSv5DeLz1eIac8nXkZajXWUJ2SY6EJUc7TKQ481Cead6UXeCb5ubO2PuSWvyFfam7BOX8xidnvdYkf14Sd8P/SkHkxRwkVUq/EYV3kPWCbel3sTD7197lXVprF7LqjWebn7a9jBZXCQUSy+uSDiwPBs8wkb5MJy2iZlKdEBqctqns5JBf/HOBvgH9wn4hTsnCRXP4itpNr1LjHd+xse+aN65I+dQohu0oRnOgD3HMz7aJEl8W2Jihj0xRHjVPZOMrn0LQ9823ef5izSqP0ANU+j5FzVk9xxEUUftOjVcSM9I97aUhI1nYcM97yPslhTpBc6SudSZsL1drgJM/gYZDjXR6QJwc94wSzu+zTejrwEWYB/GL9CXLV8MyFDo9K+24g12t5ObjEeIGU05r7fLp+LqrqwfO5RaYaPFFPLyq+FMlMLxHv+JU40H9kG5IMVgM+Q1aNljp2TcLeqB7o8sVXdjLcDHYuaLXy1aCJZVDSGuGeL8hN7qF1JpeT4zQ6jJlolaXNojFBtRJLYuNDYUZS83DTgHlHH7F9Vu785tOuh9OIN6822/Cn+u6ssgMVpu6Ti77EvSYa9ocxUOWuzz4h+Yo+DScFahSbIpCjp9yptRmaYgHM6SLyaZCg0AmQ8l4Ermo+pbs+WUns+zAfc0DjjcvU7UMOon8BJWpjNOmf5s9QYKZkz/49Sz93GJ/IefeEA7Sy9pBbTyfAX/eJpKZlqIoEpXssD7YRSj8wZGkNjfC6Q+vRQI+nnfadJu0Iy6hslQknH/asUHxFt795W0KKCvRjseg7JIIppWF2YkwBGPwqxmSOSQuhECr+mbmcajFD2ytBL1u+/jXBqjgCv8vzXef32c1aAo2J2/k+m2V678RlnjOJiYvoEboH5Wam6xYtRuCTAQ85v7KpTpkJL0UDozAhV58Ao8kDHzEngNEmTy+I4yCfJUDjTNE8naVk756ndBG4qfORHqnCay8u8lHyi4zlyze63mApGTpgkBKTmkF0GAOzEola8PQZHUljmMI60OvZgYDS9vrkxi/XwkgSmBekKaEZCK1/87W3djUdiqSv3IDX7nwqJl1QTLgQ43tUxYkXw4YH5u5LJKQ2hg5Gl1NO3HnZH2xYN9SE+Tku4GfjqccBLAE3ugAWL0nDejLVsjO+7Gzv5QN7p+0DqfxZx0du3hyDnA68IvFiv1U44VNREQFGpim47RioVZhAAerDOn6oxbu9qu3jdk+72g184c1xHQpm0IHUDvFnD+cxGMiipZDO9NZpOVa5zRRGqiOEIZXIpRvUiM/LXa3DdJxyCStHqgD1vmlBImgToe5TlV+7D8DEhhj+7Tb3F5d7rALxFxUWIuKJC5F38wkvzqz81ixb3BPUkHmh3lT/xr3zp1CeBhPwTBLeO28U8oiY9WPeD9CsP3KEkOm/T6bT2lwmFn9VAKzd3Bw8/U4cPeCkkEgs8t8cMBDWbZn6ugDwDmlDfurd12a98SCRqCjFkpvG8g6bYH7fmRQORYiIN+muPsXXPIlzuKwSq6WChedXETuOpTh8yzM6jLuBOwKCpEJESlYAgQuqC15uwUC9ZYB/Ra+qUcWmO8bf9GSsiH6VbnLsqZu1YPE638PDplWTrayFP4+6NwOXlwsACQdOaY8Hn7CwJL9WCNG7duhp4IVS6rmxnIpOT/pl4cbWXOcxNcgny3t0fB9N/QP/ECUWGvJtJAbOUI1O1h1V3Rmj0N41RCWZTVFyr04xbjCUIaT7/1jcBzrHAcYRqjGjX1bT4vzIeh+IGUEBI1Y+qd2ZAI8w0tXt/oKK3G7ed3iClK/Bkq6kMZX7vwF/VqQ7Kk41kdckq/nkbhp8kmVgxfp4likKJwU4T4f9quxHSXobKrFIPEbK6W31L/MRRaPFIpjUBH3HdyNIGNO36N7qRRVGtrJEtL8j//01mQZa9arrKVX1WRGTILgoSDw2naQmDYxCjlVFFUpCI7U/cAxkdcgbiPq7RGZ1SaTUEqyypitgnNgYtQ4XO93DfIISfSGlyUm4EijlvjYibpvT43QPahGNdm/SwqPDItVwLxseP6YS3UqIFYj5N3UQ7IeXphcbltpXP4PPMDzp/wFtrzdM19IXatph+xAr5BtVO1jDWa/+ITEPYwl9a3qvgdi2v0S8XOGmP8wrTqrCAm3QUEEGvDXtrmuSXw7I2bz/Jn7qYe3PFqL7wTGxXvXbvi9q2+3EbqQrsYMZPTRxOn+2xmprcmGe1zB/1BNYVRZeBfj+CBTDVzDmZ7L3ZVoOWMhNBASLVzL826eOdHRkTg3Vrjd28r4UNPr6h+xDK1y5CUc7b98+2WRzRqVV0rqxY6eQggufVXRNtu22J6d2dltyLnrCjtPi6mEn2uSGm5yZGaLm/SB36b0wI5b33yGZBwgr2tq0yMwbqWNN+BXmUaCkwEKnL/a+LhE++9Y8bEKvfNLFItbMAGNv3SdTsRCclzhEoIQWDgA9FGzQ2AtBTZFPJkwZFS6TyuQq4ZGMCVf0DdleL2e1kFS7PO+deuB0uroAc/oHOiVTxNNQVJxwMGS1D5AiNBknK7RxX5I6kBvvA5a5mmrpCKNjT5/600s6I3Wbsbvy5cJuKVubT+zECP1O1xUVouNc0zhq5uBYkpML2A5P1YjdxJCzl2Zxi2NKLBvsOzyE9mgB9hUJOnFLClWl4bHjUe/ZMX1+pqy2Yap/4p6/GvImR3iQBkuEbHACwdl9d3GRST7nb8/c5EKr9G7u8VLINhJJoqIMc90TzsjTGAzdglhIA714WoXHDvI8s+KqlFgAmOjGWAOXdViwgZSuAIMRKacgjxRgiOzqHBTPbdVUWRqyl2VpHWXr35rHrod+eW+BOVyNj/xOp9sQSizfHhk6tJA2YvXzSoKRNtRIka3ov+zCWXXAIEgHPS26gIb4fistOQpcPBeFfq6q0maEoYwpme5EkXJm7CH7rDypIfBBc91fFMCBT+gEAdbLOUlmEgRGhSPwuabeNp35cHMnM/1uhP84qIYVoYcp0bsdSiZqk3+l23Tfuu3Jzq7g4ofkS9E7Il9iy65QQiZdmbOLVvUxE1YFGkHhWj9Xfbkt3DgdiLyjPbEap+guVHvvqvSNEDXoZ3YpqiCSE/v+EdprT8GUDqYem1y5F0XufdtaXfcgSpcUNy+lT1ywQf/cVhpMZIooT0eOmFNs33bS8h9pZiP8IibD6Bf8u+mEchH9MNOHxG0H3sYAyMksSa+EYe+nZFZTg9KmYBWB1XtWBW8lbT3UdhCcuq9fAW63NSlDIMbmlohGU82N62yE1+b1Oq0Z/UWs+LDV57V5w6AASZLWwLnRDk9A3eOTeyAPEuFoB3fr8C9X4eWXU2N7CoWZGrETpetXKXUKjGFHXP5/3G07nodrkAAYHcFJXxbE39Jyo2ICVhujt9cvEZ94wyKoU3AC56r5cX2tIn5MTQZ1ZfA9r0alw3ZnIR5sMtJXzZqng8xf/v9byF0YzLqGhu1E9Fq/sRZehe8f51dxX0s1mozEm9/Wzrh2MzZrEIqyvq9GJ1pn2boLfTIjloTM5vgIl9lejeIKDDAJbBpz8G0BOUY1Xxvl57IigoySrBs8VhqdqRrkQYbIG3nhfOewlCbjmCD+hTfl8kYY+VXKErJrxjAibBDWVMJeLL21o3MzlZVBTzscadc+Ii/iyfrso2lTGTcxUf2vwr+dQACSnjZlTh6udeAWQa0rHp054h5ASnFOwbHQ/UQKygs5hFQq7i3suIIFTdNb9e/rMZ529j8nXlMm65TDejboeq0SUkZDhcw+V+fsHjs9/+QnAGAc+j27CFxs8s42FKlJwjmpfgmwURaqtb5iQY/ON0T2BJuOLzD+KeHRoVVhzKO+l4AsboPuMIQuHmYqxEpWMDheWlPkgJEpTqkrRn3F0Q2XX/GL3JIP85SlkqHInkxNy5q7IRoQ1qSw+ZoZVGqEFZShASFs5UKWI5ssHjHXUSFQWS/CWX4XqHfJ1iwHNM72NFTWwJyivbVIAevFHPxYSvdG/rDLb2n9j54UyXEIiJQaCBFb7cLAvMC8eOfugPQ/TR9ZbJAO85ooKCYf9XDVabwGJ1OGMDPAMR4Jh1gTIP8J//gCPpDa6qXLpPP3FQfmYKTKEXmAvjH/WlvP3GUMr2ZOqGKSINjOlXtftgDJKh98STuIOjwlkXSs7FGNUNSJG08/e/Xk3C2WwKXSP5/+ICyQSBPROwlHDV5o9MvmUJdoEIDql/LDzDyzy/P5LzqNMLzwD1AnvPIwW3bAEuxoSzaXUO6jrqQYvMuOv5A2CuOMbSckMf5OC5x7M1+4wKRVnSi8v4F0r1Z5XngfOQRuxLJ4K/6+AmIAsjr6V7fGxTEjeK7lHWRSTStSuvliqXl+xs+rI24pYd86w2DxrTcZ2O3vgDcBIxdrTwZx6xejmFRC4YXNRI/TYUzFYRnjUR8dnTp3wE+KLulXlNcjHmSo2rYTmmH6i7PX7oNwCRqh6oUT1gIRjhGyGE4gnEGba2Am4eak0SMRN8WLAWzHRAbsI5TKkOfSlRtnmt3Xnb/xfgNTrPvOZHYOhr0sv6jtOi5RC+SrStrUGaQRRCtUGOc9ScZMh0SDSngDDNp2kN4qi3W8KGZty4sFqqn5jKsvp83epkgTouSzpzaQyMQzoyP8GEd5HKJgcXpKVJ/2iEsUdwuN/kF6Lb++T82ak2xA0OWz6Gy2ROkr0VrRzG2k3+tXYy1lyAu58OD6YH1nQNM98hHB1H7S99QdmKu11hnDLqFnF/58zi2OXFQGZ+V7nNNvRtS7EMvMwrUbFOsEsXurkKCzVtQTOWe5pfdd7+MO3CFndpuWX8/M+eCeRxCNpgq8MDZfRyNgtOLI/yagCrUF17UbQlmnmsXpROT5Kysc1yGtzoDrU7LguiJg2urj8V7WwRrnfgt/Rk/cYoFT2xpjkdKNKYUoNhmeYnwG1/QvHVtuyCHPNWufs16k6+HiPVDBdurGPHW1iydX4KGQk56sMsykvz+7+ndXhpH9dXXLJg+8EdpQzz3IBJvfEfVcwObWEy5r613+2ubNv4CoMp46vRzuXYfLLo3H283ooTtLqcwRM0bV4vJYYnHRcwio1ng4SJTfkfNVhmaM7zsKXnxXPwm5sK+ZxiQMdEKgfmB5TgoWgY1laaH3tHihSjkzH3cwgLh0mkHnw2KS5p4oGRSOGe8EYQmQ7EUKx4ZiQTjLhN54d3QmTP+dq4JS/xvJ+IbBItPhqVp6TjSTZu6WEOSkhbihwKnzOGySUiDhOGmeNXO7RYzH/7l+ROU45JRpP/Y/SOoiJ/TYo2JkegeQtra5d2EIqhnchsQsYxneyHBlzUS4bcIHmWDAV7/4F+TXYmNgpWgudpu5Pg478a9JIVU7VaVpkrG5fOmCnIPm89ZCPnimWR/0Vr7aD0qW5IjPRm+HH/NnVPvjPH4YZNu+CN1ALAK6eGmrcyCxGhIp90nyajSq0SG0yBP+hrDSF8MNVFSvMBxRdlFXJckrIB0SylYzEMBEU5AqVr8ZldsFxf5o5tPwtq0D3sqlBFzmVFMROYoSDh+9aAhTNSGAKFUhboZsl0Tul71Fgp4sXfejJzG6qymyGbBkAdzcVkIJIDAK+cv4zQzlKrp/Ji/OKKCaiN2G+4hTUBsFOsaf1+cGkYlImeSGFiG+0oobT+t3ZeuH9fHzegN/iu31yYm5e6/CsV3D5mIyVvd7kPuFurtdMMs/9b0VHR9lAeELnSLSJpjE8jmdq+pnuiJCmJHwgqHP8dFDqW2LoIn2AvRrAYDSyIfotmB0rYhKRvOoUNUI3tG7W9YW2wx402SmirexH+twOljb2nUT1FZ70WxId5OX3M2GMDEY1WfjZLDVlQeph9M0gXZhkmxTJSEJQOy0FFvYppOYVMgZHSdQyfE/lh/cTwIR7rQS2IWcB3mYrzH0nVIXNezQ7SZgqnu8X0WdXS01/cSVpkXr2F9YZc6YqY/PmnOUQkMDcWowTBfOgnRL2k1BVRVs8zC0JsgEJXwGDPGNrhAaRaeEJlnslJbkTXxf+Cj/m8Yv04OEA/MwM6kF55iEMOH6WW2CV5ebVjYQ7eScg8ff2TL/jjzlLeGzmFOn1QFvNkql8nXFS7Lpuip2dZLHMaaqtnzIpg8UDhsGxd6BiXe9oInehIqRHcZ1ksVbWY20BP2ojjWR2L5LbiED4OZ8UIuVvznN6uy+kll+gJSSYlPLvAuHYlQmksXfK5OgjBlQNCP+IQOugxWxaXiUrSeF9H8BD+GEA0akv/pg+eyrXo1C0WiQ3HMioSqqivgHtP5wXLYUBPlGV+JujsMzxjleJmDmr8ALB/byoOMZ7EBmxgcNYhmR6ZxrXMTu3SE1h3fYVPNh8uRmSkACdZRgt+yv7X7s2lTTDvvhbRNYyPsiTPzlY3DugV5v470i6HEc4qbnnCwtDYQVlybX3FwXy9w3/u4MkYTuYn82aYmbDcIqb4Am8wFvEnNPVDvgAE0m75GIpSxXJn7G64F/gZC2yzSjW9f/x35/sW4Sh0Wf91KzcxHZMh83MlTmO2+tI8BnjfPQfuEHEpWD5p9Bn4eW7HOtxPCtB1SlDyDhHZNmlW2yHmpfJ2/PV5+QPDmYm6woPgW7bwmkCXYCcZYHsdfuzZHB6fx3tupeFKmFR80xQbJjAVebv4UmTK3MvXw/kFHJhjnZyC7ANzY6YKkotgOUK8pc0XEq6z3xuEH1UekRXxp08jgrUzZDe3D8Hn7/ypouNMGwv3ySpqluLFirFmYi0yDLlWytodznJBmzdkH10nMYUaZD03kLtaeRKGWyfiOloaRnVPuYy+8WD4GmXISSlY8noCyxDMrbNB8lJvFaIrwBpODYiFWM5+Ayt4osZHWon6y/pwOCV7V9iSxM4lNn7S5HWtcrFE30SDJsxKScP9Sz2Fk76g4SPVJutakh1rt9KakUYkmNcJbKp4Fy7r94mFHlPnL3T/EgFAOE8sG0qg3uNEmY8oLczNI1rnrEtle1ijOoe8jrQoOY1uCFEI2asUDD9uKYnVl/38WTriMM/GqMII6jnn/wYGA3ZmJBT9SR8kem/Rq6qyK/8mkg81EiPcW979JLnPcu56UMvVT9L7gQGhFx0iiT76UPVZSoKVz/4w5sVTXkYMwYdFGyBvqepISkzUox1oCwt0WOaLUv/l4nmE+UTbeuKWkCI1sA6X9tnzPyedgJISrUM0CuqUS3TpdTG0SQNfE1zIwixZGFyTfVSs4RkGpPZys9Jl73ZLwV0+deIJnbOCMsXIj3+zfi642h6yKAsj12qO9gLQ5CWJq4DeUlm3m3yI1CrtXK8CP9y1/kGg1KzvpH4maoWHOSrADFDioqG88J7KIViX/eZ5UfnleMo7J+eLlFx05qMcvZvcQi6cLGy7U3XpI9mUGsWzgBdeJrrV6SaDjlpg/WeLzXf1qGKeMccQAfMCZbevmKX6/4ZSjNnVw65plRFc46rDabhHvV/udTrkf2IkkdzXvRg19gbLtGKrGE9/hK2sZr8l9NDUaMTjfphwmAu79889JI7iUrlKcWvvOzF/JIALGmbXAyirH53nYweiGGdNieJkEadCfwJzSAMz03G956tH18s8bfQMrmXZLSpz4Ob6zrK7iEFYjBcBHX1SNPD3qUyKcSaqiORMfi/Z0yndiUSwgke8kxrvTQTyEsTRxSJedlIitV4vfD71B7T5tm90TgW5g2UvxINMdmtyqFiFpiBYhAM7ANnkqxEc+dt6ReU3+49+tATAHrMyM0ewD3K6fUqnLwWEomjLY6VWWXpKA17onT/aVUMbHWFCSXksW8RkldE+0ezEdtOeMjMBi7ovUIc+Zmzba7SLL2rq7Z4h+/JRdrJ9l5X0KAeNKD1xvrhyG88AP+8ySidkhXVkcc6zkga8EEwwkMeko5s+nEUcOwa1XGPbgHEW4FCKL1hkydqrW04k8+tTQY/qIRoSVUB7qePXUrGvNzQuwEhLHyn401e5kOBrP0D1hjB3vfBKRV00Fy4eQEDTXKkpUJN2Q1UDMzJ+SFu+TJKJ41718fV6nLEruMsfYMNCuTkX9a7z2wwuIqKI5NXts81Q/f5EmDgg3OO4c8zL1uGs7CsO9I97ds83F+mg3xWY5HB15K93qAm+HGhIOfL3maSofNapmSDF3ythEQT9dJu+a49rdlyb3KZWADxa55k/e7G8Afs17GpO/Z8GxjOJYA8rFUyUOF5r7KhhwhuM2l/XeiTzGP+Oe2qbMm66fZpJrHAPeJ1A9mOfYyJAvonzrXy0EbwryawCuEqafGuMiuSG7zACauUczS4OQ6kbflbvhogpM8MjE/37RyTo5lIOCCcHxe3bU8JtLmNTI/4Fe/0JOPy1x3Ff6BtGv0MgnMgjbrwpbVm8laukNnjlRXIWdEKXxfnboYucnXf6L3XUaugVJqlRoounGzCmTG+nBCsOCXj01vF4FhZsabfRayEkV+KyTITAR5yHYImxNlpZeDLG9CzMU13ymDzsfu4PiXhGPyTF90yw5i3/FMOp2/s9i37frqcNHCKvXVSavt/3G+DRkVKYVii7TsflM8GdXWDZXOD+nZXOXhknfgokdvBImIYfR2LcPpt2uhS/dsH8MSamgozzr5DmiCOWTq3/HGcZUgvnWUrMsuvFWRsAL74KUJbnSFep0jthW4YylBAZcvTYZu/rB5ReARI2E1gDYDxuGzZkFTssqGShacP4IozH7F1N8GtYU7XL86IsztAmRVOIbr6Gf4BvefrqK6U1MPVdSYa+YoOP1kjzELQPNXUo0mt0FPSGwXbhV+P5C1AOE+XfhEsYrJxCioNJwnX/qtVi2JvTO8fkhzQJMSNrYW07LgQmqC63jo0sAMjwQNXvemkFzw3ufq35srxqgALk8ml7fMgKROYWIUT+KGm4tPvWL96b1wq9BtsqM3l7rxeou0DZYLUhFOtEfUU+mNNutxljOPqTph/tlxhROtkQvDcdyx0hRGuRDgs0yGmLfn1m5ZwrNkxlK4V11P2tnfaLhV28Js9EwA9WkxGNxRyGRhm44R3Iw43ofqJWT6JW8WPO6Ov+rmW7VfXInYWgUxtgUOFKV9T1uT3zd/aI63FCdknN0kGRIOO0leWL9P6kKMBneZsp2dE6Ah6f2BXi7b4Jqpy62k52E9Ce0smbgivfRRJxx9KEBjEB1gNepWhdmZ8tQbm0NNzYcCEy/nkXwwrNHGaei9gg85ursVoazdrZPspQ4S6Jo/mTIC8wvwz0SGS+qTxduSmXR/4uQhWNLLJvDmhWUFVAwzA2pOeI6Jytn+vyX68WezFXUBMQNYr9GjO2dNjIKBEhQSrX5o02Of4fMWiTS0memlBxqLPlbd3jrMKbHIu1fUvEUuwC9auKSQFN3VtFuNE5uClXAQGAN03DK6dcC3h5D/MFyN6/HFme9IcTIp85FMovs84rDhTbkt2O+/nh824Gk18EqKAc1skee5ijCuS5kKIafZKtzCsp1YFqdUdPVPHahLzOpcaP8apeSIhOL7s+V816TsuivPzXuxV2Qa/S7QSOpg6T9BgtyCZ8Y+ck//VJuKcyA8iADAas7rD4Y2Hh6AQOkaMRsiVrxkuxsvBI8H+1gdm7TK4JOxgxM2SW1+5hUSoBsGifZDaLTJa3ai0y6x9hdvXSzrok6vHhP4g6C4NTOmSbLpd//mECduXcDdnMohoXP+AEXGn5JZMHBqJnQUT4OGKy641BeKs3OMWUx9a1lxbjDebFf5w1Fnjz5Y/IudKRdQXXjO2fVU8ZcP9E0HVVT1kM/jEtLL5dir0ON14jarWGgdru42G7OZfgUDH5NMZ8OC7u/kwMJ4pfLrOr8GGerfR0ThBaG3OZTXurIoUlxaBJhHGhW+K9M2npoZ5DaZ2bSdgQxJcOmjL9g1M08dEWi+6jqVKrmbZ6eZ9H8OOZlXA6PLRMVBpVNwTiwYipmQZWQsMCJI2V5OjkjqIQ59/hk+RxvXlrKMtQaHMFhvYJrWbgEFdJ3aW0L6iOA74d9PojSlXIC7dNYj+hGOq/lSBPW/DjcPRB20WaJ5DzCAHTSi+Sv//BXzsTq2lnSu7Qz0gEtohktSmgmx0LGiloJwlL4LeC3oVjsIxg+vLepfRcuVZNb7479LVzAT+fgzDve2SDrYVeUjGBnS/bFwUvAItgyMyeR7u60CrECdEW22j/Br1C95/Ne7JMF/2L/8l/yNnKRLzUQZFXmHIli34iy/RQGl9WxhBP42W1rAXr8dErUMqM5f+R8Mw++HNlthYnyo10PXYPth2dSCtAloXdoiCa/2+qvAP6cyDaFoUJSsuABzJSM3xhcv/tnLtHgEt4a9yaR1NYrJfkqg1xWrrKpyIzROCpy4mplgU8vGGxLswZQHJJHTnFHX8S8vcJOhBo4OjI/Ps+Q3J46KPUfdnQ0JIAaOekc15JNbzcasF6dDxp/oJD8TYp3IgedwLPn9/X4rFWXHopZxT0op0DjzoIYX/2g5b05QYwAdbVSRdSXcfvIMphx/CbeBLHn8j0pPFkDe1kECkY84zS3BosoYniCAPKCM8x0lWWvk6MviIIFGnz4OHA8Hs42l/wEb8xhe3P6uo7Dfk7ZjCb4crzbJ9r4gqqgikjHjRw8CoIen/bgP4STvpS+ixnR/Pg3/5n9n8ztUNHV2+nhUOESCtZ2YL47XYwgeCktRpxTZSfL+MsmLRcmLoFvMbqg26V4RbnxATUbNcyf6mB18vugIuQ5aLAZEvHAw2Q/7GBOe4CX+RaisBBl9BUI5FYtvC+rjojEQIp0VGaa+IjslzpAZiA/GfQxNQ3JiAz8tlEPnqPHGdq3z7ZhrdUlupmCT1V6U1Xa67BbFpvkWv48lzzC3qdDHECyobkFqMZArc34q0pQJ99e0bEIOqnIHoYHQqp+H7Ah80nCgGFnoUReNt7P3iHIdoZtmJFqdPmCPYKGAUMe1wm6AVfAY3eCAndwavZqZmp/s6xj0UTrPB+bZkLbO7PG8lYKmXHmpegOaW4Iddea1/4kMx2yzYDjojfj1Ow3sFIAkzvnRdwz4bliBQE7p6OrG6dizKVYvbojiVzTBMJkRT9wFY8nP1sG8+VvLREWVTOeQXKJdS5UNBYyMgUf26MqnkyoDfjbJuIpgPGCpDMNWKP1jpzUGwi5+NIJALESwYUDNfWkgl0CtO8wDNjwgw3Hfo2wbafKGs4hJkXCTH2CbWnorH4uiO1vpqCnp5VwgwrhSw9wFUyrNmEDxgQwXBHlBqWjl2BsdMh4E6DhdBst1cGCV4sigUxz181AqL1+LkCPfYOhLFA+7M7pj3UFxluMyYghY/n9SRXUpOCADcIGeWbQ5MQHKS4Y540+9Rzaww91TRh28BNG6IgfjiWNR98ubu1PvaPNhD3JUJ6E8nFPUuLEkrGsHh+qhafQrctpD6ll8O9Ih7ImcRkmwdmqsK9KIXSCdfIxrZXKBMCnPVenMp2gy3uO2NvswKNxvH50Bjf+8RGe2k8vUdtMMJCFVdV/YZFJ+Z4as805pVQRCN6iyS34Dfb/L3AcoKonO3PPxDYQpuBf1PWK1ku1mSyHkPc09w9LgUF9VRGaOwx9qMb+cDb4SJHGdX4YxUoEpplYWwu/l2AXD2JyK+sOCbuFZ6oDj8ujrNU865JdOkn0gPq3s7yJo29Ia02bBXxW9Uts6CGMgzMzeRuLzpdtZzI3U+iGNutr4xjPkbYaN99ePeYxU8XQfKgkC+VT8oyY7D+INA0UpB0eI+8rf/TWCfr5NE7Eltz+6b5eVbzlUDyKki+ALjq7woG6gARwk6SoRmTKpHI0BknajciGINxgGaOjrrHqXqL8QF/wimhNyjfuYHPNMkHT4PzzTAwBJwjPwQKWauCzGBBZJOlfMM/YisX4IwfQtocL/sYn4xCECSLbzuEostuApryejZ+8tSdsoOcwsHvIkm/EXMUfe6+5cq0VOCjO4srxskgLYaHvEj1faYYcAR2mufepEkpprV/81n3wuyWxMyYvrMHGLB3dnu9XsjYkj67XHNoZ+MpDWxIdxzp0tZmca1IlQTM8c2yH/CV9c9zMBzNx9YWEIOxJlYwpH/e2yJ45veLa2TQvMfcDRS89/JvnEnfk9T6gxACiyI2OMY68vyOZVhidjeuQZb6htMhDN0+ldjspIy9Lpxg+G2HABdo+iuaKIzcCbUNsSA22PsHMNZjvdmyqiPT/Wus7VzKpsIhIxMeuthjypF8reqXOVImrqZcTwqMPZVqrntxXcaqdZubTnGXLfG6o7fRvyLZsjT0ju5SnmRUmB/UQqCOcdBKCz6FBEPZBi2wG7Gm5JK0iL4RCQbeCA6LueOA9CIfqYGxSSb2CRe5oEKUFvEUTFVzyi1zl9aOpJZWufTd/1vEP+lfRHbsmQexj1lTK+Hi9xPLIJwp7g/cRei8wjht+1S1i5Tq2qZiHlUGXZsp/j4oSYa0k5R0iJnZkMtzGLRkXqNnOEW2ZAyPymsMfTp17hmKAG1rtml1Y/kWgZBYf/CfpoTGrTz5l6+In3B2N4N6jFcSrjMHVioqmI9zR2fH8+mlSUX1G8MzcTx1ZEqOD97FKsAJIctjmTTFZZWpWnrtm5SvCroLcmdQzcet9Cgg/jnn9+kyQWXCCKACblZSneoNPj8Woh/YmnUVIMmccBXdKa8JDArheAqHifPfDKIf8htFUPR466iKVTfDeKdeH0FIAUGDdWDfhlPOq8hvPZ+fOS48bAtGbe1fiyL/dOkNS1BfiadQp2sMBuQFKqinSdNN8CXOzEUwZ4oeAPrKciFbgPbU2xBAPbvGUjxo26iGLw1t+gy6I2LmMNaNpzpcw+9pKz2crrTgW9V7ZiO94RlWx/po3RdfxqUL8juDw4UrUEptFhhIhqHpwiYb7h+vu8RcmJnkWB82r7p7J/CZMuMK1rDnAd+vZLRy+7bwK2UODRl/8Qpn8xKuWd6xB/h5pVzBCXZSIACModilywKXLu9Dz5g50UCHiJx8eKbaFt1t54WlMT35cp+jyLbpZ1POQ2NFUeTnS8na8n8vHdZEBe9ZWMjWpCJdMCI7a/n5nfOZdsGxzj+4qsePmwfHAXaJ3bE6c43wZcRrtcPoP3ZJEB/bnyQGtBsXemXzUFNoH0K/PESHgvb+ADT4Q1D/dLvuHHcC+lUDOFcxwZQwHaoV0PhWLCTHvegScI/mxcZTbUChE/zuVLxqrda+HJMooArXObXVAFYs377cw3cPeRHw0LiBHWw9tsXadpKviOsLdOvrNkQPkCihl4fdyYvcC0FcoYLBkz3ToxWC5a6FZ6IOBgxpQwTOSjlaELHl7ZMLBKCOP0oT9IEQOx+yK53wFnMgR0DZsD5bRDAFwDVriItgnyY0GAfHOOSGg6/NwD8e3msnzxQybXScMrhHGMQRA67XLRmn+576/9FePuhwA2Nm2dFv8ZOFplGfhAQxniXclzyhfwyxdC1rkr5qV7SQ8/K9vnrroD7sl0WAZH5iYckFU9Ss7EAA2CX5HskKMJvRMTk2l4Y+NaFA5hYPRaf02Nzd7e7dYYt78sIQ/FOJwpARSvLkZQyvvO9gdoeAOUr4oLc95wmo0ky9QGAjvHmctJS+RYrBvFCQYl7/LHGY1MyNE9aWEw+QGWx0rXkS3sdYQowJF9j+s1ps6S+czVWRfCvczJvegn7clTMzDU8kb+WSxa6ssFvU0WMgSfvC3wW0HkaTKkRPTZ31UYrlIZ8Nvi7y6hSnVwqk7R7xswBr447vbqNtxAX3a0Vti5R2RlGTLxMlArzHZNFw6pdy0v3BRlgSJytNYn1Drqn2bfaxBFP032vvmQvvkxxNIZgQS8ZFgtmj4F2GUGlogVY2qOpf8WDKf4UnyKAdtOlUIBVl8ER48cCWjsYzRW3NrAEAvZjjb2O0z/9kJgmVWv5/0xXWu3SleKAjcH3vm+uUQkH/wpAmKzMSZno8J2yDHMGngfbJS22aKgmO9Bkm/SzD2yFwD6E19vkVMq1bnozjFbkiPQXWJcHgiF5qyj1GqyhIJ27xH79ILgcwKqHuQ4HaxVzUcmOaNU8FZsg10PHFBlanl0xQUtPF6eMtaiq5SVELrruyh9YdFtOUKiQNTfaPHAV3X3cVubbMGlYmOSfRVOYGJOLGJN00rnaH+JY93fEDiT+rQZva9wwaHRugMSbDYbjKK7v4YmwH790s/IuCIE3LwR/J3UVX3diq2M1oQxVP3J+HLv7ATUQX+20QksbECXTSjM6kQh7r6ZQtcpl7ZNJGOmHG/i2IoXjSjBS4NNZE1D9OlbdbCSeWkDKZvMLZg+Mk6ahV45irUu25bBGWgmkeY8EqDYMGUigLF7McGcGBzXDxfGrRtCyB4/uCXKZnVujJNRScJFVM9CoqKyTAluV+dJPUzZycL8e3JEoruhgwHLHoqD+1c3X+y28uwSo4/fX/4/QNHL1c58U53T9ihCV9rOmEP5cnSCTvWecS0minWWO4wpeoSpWaEsFRfnCki2rMzJRl+bfYfzxByt1BMlmKoyrWOoYiNu8+tNYAhBt1J14w/t96q9GNwy549a2/fyXZBOsArpyK9RnOA6gUXovYv8/aW7vwqSVVp9CMJYHeMkVloo9lEMCg4KluL0LOuF9WSSpFJpy+gnczgXhxY0ikwFB6Z+6b8GXcepDX4+w9krVLsrnlGG9msbXx4pv2Xhx+MfdKMJLz5cw9PSLaLfTa3otZMF1CdYbcfCmMJeNMaq4Mf4gTY4/2AiYsQ+OgkAkNGoNPWUcJQzrtKqe6p4kgK993QiqtsOaZ0Yuwlnlzpbbr3rCteBczzHbuzE0d7qtCiNSR7A2VJYNKQNKTHdwxRviB99P0BXDJaq+9iaVJytPPZswzbH83aDP5vmUCfNs28F3sN/hl1VpKnav23mv5VZre+ipoKkN018I2bbdt6e5U1go72X8q6aBW+sp9WhYSgkiaAqbP4SvCQrOVPWQ0I6uPUOM2yQzCs1odr4BezLZy1k65Lb8pdtaJ7inAy21sdHK4FAj9++xBE6YP8tTak8pMyoBNFPD0JGyzmAZTyz0IIkKC/UJ00c1w9pVCRQwSE4E4T+NVPakn0TDaQhbZlQeNq482UoeP41AvRBG0msGWc2pxBnwbLIRhM19UF5KX6GxybnpgVyeyFJAnIjxPNG+V87W8g6GsWdg5esWyYN6SsOeu8MbRWTbtLd/8lEDRK98U5gnL7E3uJYmBAbHIgNKqjHtPSTL/jPDjyVJhScaG9H5WssoBjQhPBjxy29nxfCuWqdE+SNx3RuiQkqD6e3dma7L/03K9rw11bP+jccE3bJteZrjJBKfE8l1Bs2QaU9a3IHp6Dlf5JrqP+5G2fq99sof+Obibi7Vul+m41vRa1HZBuHSg9z60idNkhfOfwLtrlXk4mlmnZX0wWzYMJFbMcUcU4fPqMhZmFOet3DBe36v5qFtTQ79QNFTH+Wl6zPGA2xq5HK/8ZW9IstlXtE0fVoLm2r++J5kpXUGS70AsiOIXasvWjOw93GvC1eGzIxu7xeJCjnO6Q8ILGbre/6EB8q5ulwNLYUUQQspqeNThhjdf8Fl4NUb5g4rz0QK+dSFHV5jtCcYK5lEU/aLWVfrzCHTbG0PYbMX0DLtxvYbrqbw1SJQ2zvy5nwVCXGqRjIhNN3k6mIUz6SC5v5Fj139ESOL88ewUlkdez2NjYgYLW7MizaM4QmdyGlCecIBJR0McgjoMEp20MYeiWNHeZPAkktlzOXeq5unKIUz4+P/volGxb1PQw1UQBGyGIHKmrftrvgYB/FYFqiX0f76a0SWmMxYalmocW3hXw6rCOOLVKhGGu6bzaTnqGcu9+BT+i1bawRd94UxoFN0oCY58a3GlSUkO6l9+HOojwU1sZlWKl+TGJyTt1WMTlX5rcVtaDnt/t7dlg1Vk2NzGAyVWPcAhKfhJhhK7TfRTUeOCcI/TjYcOZi5EqZajG9E1eWJdPVEtEBF6SGaeR5Nlbpp80B9CWs18zLCv06y2BkYhPzofnXNHJJzcqNbdTZlEma0VXn0mMNWoASBZzoV8bKe+ZfmabW7tk+ZlHFS4JvvmMcl9UjQ1QLAumFODOlAIeVTGNX7TBUQG2eOmZYAmSW6FreonBHIa1cyUOU/ADGSGvbVBjEYQ5fUJEswn49nk5O5ectXACiXzNOlQgIV8XgaTeQu1cXuscMaX+T0YLSGGLhbC5T5BoU0B2FFuuBDNaGHQpBqPh5hcWb8Hjeibv/0WDmFp5Izn8876dTVTZo2nI9OWKDGeuRSEtJCJstnSRCDCicm9cPuBiif+iql4E37cFfUM3hPWqinfcvm5cZ5VQhpuhXD0uheGYrCsNjgsLuE27FU/pIC5nItHV+whnaSDrYX7P4cjmIph00t/nYWk4yj+uQHIECp1wXFE3mOceDEqRjGlBUMxuDCUn3sFdwZQo2JdBwuUfeHQFlW6zXEb8gXZwsswWOFEescKHXgI5+nkC45syhheSQh5K401gq6Q56HhYeW1VFN0FXW8z/tMCCDL8yALNBjA37zvKyq7H5psAk/OA0+0RYe7eU7y+Eb8nZsQ4qrr9yVmxQVNVtkdPcsiwrsLvw+XZ+Y91ekyCFdyWTOWVlQvPwRcswYMHdi32ARxMZwu0vsxV7geqCOomzm7EMeJM3WQqZ/fB0NKc1nsEnnfFYb+r3SnZpIooOCo5kWHoz0pRRB+WJAmFFMHegm6kXhbV30y9IoenIJjCUtv22Ik3Scy2cs19xQboMeL+RpErii+9eBMMQoLsow0KkjXzqQVmKVV29yNiUkx76OjJY5kqVXzkprUdQydmUfHl2ZubS8YeNr9WbgbHkj4IRLY1TyX1mzU24MmOzay6mdYGgzs+4EFUuahVpG90djwTd+JxTVdpyL61fhx4wbPjj2EEXdN16hpDYrjh0JTVBCL/hE6wxL5ApxY0vzWIwfalFYvNuVWLQYSw9bY8Rh/KzScllU5fA4Pk5NuBNKEGz/8pQiydtcrn1//5voxAqSaf32qT/+5lziyMJjMGTa3q7xTp9KGwK3NiyXIU/Aj0BHE6/VbYRaFz7HrxRG5S6ISpk/Kd8tyBc3sreoxBSL/T7u0Fq3xmTKytwzcIptVX1Zj/HpPJC8pRAOyRDFJYN3rps/R5yN7VLqfVLl63VEWKcpYAUIBS6Cr61aIvVGz7c0Te9cJd7S3MbcLnIa1AADgtAh51eq++Lro2qgGc4xrDrIFnj70rdLh5ac1jSrAFNdH3TO1v7UReI8LieuswDxAMVG4c37kiZZH2cl9tKKQQBxb7Cc3wVy/EqkKyGel/sX1a+rGL1qahs5fc24vELXDr9bevWp0XO0p4OsA17Us9s1VNivRajtweL+FVReQz96h9BzCv/O+zbzqQujk8mJBGX8MQLMk2UDAMi9XsGfDJ1JoIa9gomq/fdJBHkpLXVI9x3fcKlkoQa+OgDxHs/gSaBMhck4Nwy6SK2ZitInyHERuS8ypsQOuz/r7Sfs1HrDpJeTt4DFm2EmY7OczDxvzECkVYUfwVEUuwLAQsR0RVXu9m9bgI1HxgsU/U7H9VSF602mg6GlChKI9tjdDABkj96bdoddaZr8OUH4TrW0KG7IpUkiOljo9v82EgONJDDsgMWovdlYAkyPbUHewmRRz5+Td6y3KFf9kbwfK/m8Do6HiDrRy9f3Sp2hm98dxCM8zYGoPcA/NXaP0lARt66fb6CXazyyxAB1tJtfDA9UuNWTMytzX90yuDctIEuEgCs5SJY62fK4leIfUCY1rW/Efp8b5FoHHzd7V3tL+pif6r+FTT0CHwIhL9BjbtPJpLcLDVts997dWSvEFAUetTS+KbpDRyFRKgSQY+fuZW9jN65cIVJlNGTobLWMfpsouTLNx8Xk1sNtoqWH7Cz3+2RxcelMNt255Ci3+MijhaoDsvCGo9WxXCg/Getl5iy+nlTLAKww/mRqlI2hFyAQu5GOLvJ59o9c3hdWVTRBeU2kxldLhh/g2ONbvB5wuW4k5AypxZ/h5hU4jaBpKUo7dBUZaLB9DsgHOqmuCHlsAMUussfDfOJ5PSJNS+0hn+0FHAwSfZ5Uab5reXLM6ijATnroBaFSi33pFKO85hfxLdxFRduD/fZQZwd8xhdhPvEDJYE8mABGiyQpaILfNWJl9XooZE2OUGnwQN7qG80hRF7xknEwx2+WKbWLSOL+EeaMOWjKDrTcX+HkFi0xCMG6+ZCUUN6h0o+8CwN3WRO8cWq/PNfap5lXc37zs0Jmxe5klkeb1a+oJY90dPMKuaQ/C9s0QteDI5ZGZnx62WLaWRwBuLuX2pflFVywjr7IkZrgq1VBvu6InoyqCMnAfInP2GkZHeBwPA1jGNm9ONvgSCDJ1vwng0Ihc2u4CX14v8lTaXyibLVuHipz2B5UHi8n5uQkDBoBYZPfb26WqJEE7EK1N3DBQqXIjxkqM2I38HiGAqG5pQjf2yjVztHJlISwSskmV1sIx/i11G7aOipHf5FDbSAgxYnYoXUGfbGzzW/0dWOFW6IxSxnQwQfeo4sifbMuNcs4Xi+3LLJQKYwz1yBRIjSQtHxOpK3PLXl0UEEf49jGOFA5IgwNOQ4qD3UfRDn3gj4hBcwB27K5ZAG7w2vzroBT/6WrwCLVCH0FM58vJh0V1tY7ZTfVrm/Vn51IOVNGoMRA6rcJaOGa5fGzJR7hclbrW9ks1y1wownZG6cMnECTtwzN94GB/sD0YaEwYIzGJSPL+eQh1kLulKaxwXTHT5qjSmzuxusdssjtcDU+urf17MrEUON1KBvl21uMgLs7mJyOxMf1EIXgFJYiA72ZYulnkZ2xd57bMWWvZILMVOzDveTfGwSRkbLXXA8WXT5j0kBIUV4yMIerTcGDjF18Gs2B3PFFvSQc9NTK1DuCb+aYryYlK7GqWYr/bgq3Voqc2DwnRxTnFS6/O6JxHqDkjlNenH0MVyrfgA995rqiPRVW+/y7nwHda7ASUG93Dl9s2ZvbDHKGZBcy2FFSu/HWqhKJGI6tqEqFIuOWaMKtmhr039nCTCesf9IKxLDBQzQGAWth2d22W+mGJUIh5JyWUXNBZtCHmxNKQzSvVl67hmZNPvVByaBqGpPwl5uPCfqsUvpe6Dd1SHu4ZgLP4jgPDTNvwyGbMfIkGEAOh/ZQmsIRFcN5pYowatqF4I3egduw1i9Xq15gfmhlljcR8vJLuXJW7wekenBNm4zqSmLLfEAUDWG/tmi4RQyJWm4HoSnteTwqSpKWDhHF+mbAceWOWRplVf/YRGgap1e8Px21Vmi5Pm+aU4nX7ECGJKsX/4ELmQR35m8d1LqbFLX3MI5orLNQR2r02CvtKUQerHFsiNo+oKyJjV0rlfTHo3ImplOW2retFthyLtGjFjeo1cOBipLb+yyRbfSnu26sOe3ktwFwFue5dto+dN3fFOnYEsbQTGbN5ugayKg/FvJFP6w65Jx2r7DNz3ZjXtU0RwPgdjvaysBWmQxgUsgP59qrYKRtRYxRJlMUgDxSPmZMRyFz8YUz9+8KwAisTYW5jYBaONfDkgpvxKovkO9mQcxp6YBPihYqWcKSQWaJoypu4xTENXrILLjpCqCKfWHtQK2pbrALMLfOQnyOhYW8D6gCtweD/PYQGgGakg0UP3oPUOFkXbl8IW+v3nxiJIcZVgl+xaOm879ZvZr8psPn0gNpHx182gbQoh8UX9ZNcRwxaMmbRruVIGqRqLejsPake07Q+VsB7Y9c7hV1uLmXdsMwCHCpqnEI8vekPc8aGwemA4O0J4LJcfIJg+BkEnDyMQl4w/yOyy7l0S+/yy+CshrIgPq3djS6Ts89RMEqmT1kv1uqOr3bZFcMN4vzMkQSQz1VxEY3OMARl9Zj8LrMMJ8vYSXNoiwAx6HMZiA6qq0F9rH50RBGitinJOqvqEv2lloyXKnGnFRFCs7YSU5XYHdHlreR7fSu5SVvKhPqrH3pZnm+D7m2vi+562iQ38cRfYIylytIYWwce6emtsITBtqM5BvwNqxxRm5vDYQXAqaOL/YaQCyVUbZwMxlslTLbWRHhn0z1/07FqpFolyy/egQ+AUKYHboib5ZKnDWS9wnp7TvbNd2hxCSPQX9QybXJx3qtFXJtKWA0Y9rsMB7zNUCkOGiBfkq7xW3JnYg5Fh14+0EWhuGsydCC0m9WmNwqXk8JwwFwsxqRt6917O9QbV4cCrYaumdyMZAuHJZ2OI8KEhyljFkg2aYEoXXSI9194/nHrXwDPq73iAdGNaMfEAEYCwEOf8WO/bHQ/Ub/cSeg/YfpDVx6KoeAnUpqSEH4qIY6n5pgzG2iavLLADw3hbiCan+OSk1LyJG37s9AlK1SkcUSj5NtjbPOCF+BcsMDpSzXtEXVkpL0D9GIkBWF7ueK6S+dmLOsbTtIdRTo8BVG8pzRetRJVRskFTkOiC7voUz866qzGgrvHyCES36V1FCR2gtl0FQ4t1SEkoAokvdIOvWfBk3P50R7uPVGox8SQ8Mbs2NFcPjp7XG9btbNV0lzMnRoxsxKTTJgCbiEMYy5Vjt8/hxzZivNdwsBkunv9PFbMf9twQxuRx/9d+SA1HZOQnkvo1ReTx9PI7/+X6TjrMecsLhTUp2s5YhiB6pauv8wuXfayBSd2uA7t9Mu8+KA1wk4RYxkQkfsyrYRtyin5KciBiK3P5OBWJtrNcEpsCPafgnz6evU6OO2NN2B6RqtNIL32a1pNHfP3YUk5QylYeJKSL/xhKrIHjWBviaVQu9cZb1a+UJ9fSQTqBfp004ijWbTAFAI9LsOXHDMvRbs9IKiQA6GP4p3VoawBa/cpbBk409ZGmPYtk8cPPl8LMWBD2hBAhlBSIkKC2YfajMZsKZrQqwOuPUVTFQlzBqzDVhCkhltgqCh20uZxzZ3Nkbrap1hfXBQjvPLpesIFZNEGQrUR+Pf/+d1KqE81KkA4hq3rERixdV1IpUUwdOj5gnSuviz+RPf2BmN3AMSAC9XiXFyCt5hsiMElVqEturC8IfqXUwIss/pn8ZI1gRDrdNUDPXknZoUGIskMn/3pEfyreYBCMESXOYz875nVTN6mA/A5PibJMwhVENNtpU62OSq9+XkP30+N4VN+FLMkNJgGgUygiBewPWIbMybe3/UvF92yLS1GEwKThDB2U6V6SsP7mcdIhbk9g1pYTbh+ZjvUATV9GXU3t3kiaTvrcFdpmFj7bpD+NbqvOY4w0M0RDRMbIb1b4bBYERjq9oVssTNuQrgUe6af+gYePzftdeJBI+HwlV6r60qXcmf64f5zabcH1xVVb1+Ro2ZAFD4QEt+9AylGTvV1aS/87gM+hjfLpf3QN0pud0u64flrprdmFPoPdX3MCNTqF/uaf32Md36BZje+M+e+N6PHxr6tK+5yD2Tk1Lsc0pHeo1uLYVawTL7pnbKpno/OSlTSPpApR4ULo6ZJ0GgX38M/9mUEio405irHUG9I7xqitSl2o7EijsZtSGNI+qUqn/p0w0dzob3fOxynWrV8GUMGWyOLVRVWOQTffcFfCyKtk0+RPteuWOdWdTZ8k4y+qYNd5SEOjrRSI40L5r8fDfCp0wZbJfz5laFK/rqctvkTK2IulGjRx0g96zTt06TXk1AHHfW5ze81OTsSJy/4Q6PbCT/PE1kFa9YMy16Boa5VtQlQTHzfQYN+Y4J7wDG5vYricht+jHoWUJLE9lfGG/fPt1WzaQ2DrzIOmD0dv/Ru+zXX510DXckvXEYZ35rIQfIAEAgj5+vXGISW9BnpBfTj+i9x+bdyB850K8l0iqXswLgUQnyDxCMxhSXspzkDSFFObqOcbwoBG3XlVu2MXFpdXmbOh2k/wdc44FpCkBCPdpjLpndGXDiX0eW6AWVd/WAYrcvVonLD6Wl95nDASXtqxjuOCDTd8wS/YVBZxfCMzfGzrjshXl36g2WEmhQTiCcutbEC0ZNnZ+fZy3weV06RiiE+iMCrSvzgHhD37ZLbH0i3Qv+tPVlcdMUBWmgY2ohttTMepnNzXMynmjsbFj6Efb0PapWQo599ZhllhCBGJ+jVeAd2FWYqgGd9i/UViG0H7+CHwWr+C4Arb37DOx8vaRKztYvhPLCuVK93evduhZ388ZIvpW2q90oisZ3NdQNfeCjm5/OfptqnJ6BzyLkfsnw6a4+rTWxGK5Hyv5pxOByZe86ycgulGqaI/K1MpH6dOlPmI5uXyCy4JbFClygS5Vm66PT8s3+4BFDNLFBX1iyUFZaNtEeRBZhzg9PykyAQFLMR68enwUBZyM+T9MC3TAgRPK1SiSewjsPX3rI8Smtne0+zcbwGHn0eqmahV7YuCBrlB+7/WNg+UrN81iWdmtoGI2Kq5UenEVHa9WFnw2WoiYkOEu2qt4tFoJN1mckZPEHd7T6OVCe/mynjFF2j/U1Xe2T806gsfXaGXUiohP2lrg3UyvrpzdTImXU/hMXjO5yXy/6dYsNCX32Li0douQgb+FW9JcHbzRJw0nsgMG4C13IixXaH3V3D6cIOZZD1vJ3nlIUWpjsXtHs2qfXIlg9bk2kWz4BkyYJn4mUnlwczfuLEQpNFdl0bGS57YEaw113kBNlriNIlb3dZ9D4K8+dhQhKV4F4f3ML8Td2bHZCFUF2XY/kBmb2lztZIfrICRD0O9e672dRaV8cBGeoraoEpeBeyzu2VdKqBIyr2yHMKK/JXVZwYtbmMfecLorORcKxeX79u/bkWTwQVZjQ7EfjkjkUmW4v34Q4pbijwmxeE5zbw3Av8UoFuuO90jqK+R5k4MzYxazFTBDLRIowMnej1R3lxF6jdZEuy6c40aicah6HiDvb5CoRQes6rokUNsckjh+xhXnLxQQN8tQojlVOIEVZXs6/O0fLu1e6dLz6N9phcvWMRmZOj4ZSjq8ZUoMqpzT36hN5oSwcC6tV4b/5vTCWYnZS99KW+TBdP4BdKCZURM5ZX0UHOlm8X9/hgNzS9CtuO8LhSZBJ6eyEtEH69bOfBDKA8Vr1u7yIhH4O3s6BAe7jUXsFRB/DBXcFgeoUDUwqLaa5RUzddCEcy4ZDEHltBWgVDWthameoCr5eYcRXg/tXan4yJZtTpvZKN2IDc+Eif/P4x48/viCzM9H2dlCbdvPn3owE/1rLMGLkJkVQML5MNfGpLlucNkpqvQP0pRpCTchpnUhd89p9OEjLZrTmXqELx4eEn+oWBUt8/whNZyDSv5BIDKlIkOVMQL+qGRdnnwcgFItD+KxFubYWmllqEI6kvY73BDcXmz6KSAWm/0OecCWMTTai40+wqoz1LIm/tPDJs3vxmgRpuqWzoajlkGbnsS+buKYTDqv4TUtzFJMEm9Obg7iIj3pZpkMPL6cUf++BMGuLMaNl7i6mwENHQI/0fEgEBIZDkb8+p+WONJqs4iBlmnvbbQgjVS+GhBIdhGUBAqm6J2SCrMn6hW4h3wqeZ1dODobOgPZ8nG2yM8GEWO9/m0nDP+OTDTtgwsHp7j6673MxEcFZKPhIeqjCqG2BSA48iLpH7JYy+5s5CQiNVaKTkcIXcOsBIjaSoieYkdzvXj7OaBqqS7vrvNqlW1J3qj1a86QrGZjsOZzBhximamdX2qGIt0ZzaGKmRDY7jgkHcQ7Cu0y6e8BFFwlqsi4fan4s+yUAoy3esdPi6yulTduM02O494TEBcDkeDr8FvUGquYi4zRKzXp4VcW0lOvGvTwlahvLbp/Pp58kuN3m9v0fmMU5dCmtUUs6Qz9Hj79r5o//AEQvEpWVTcGXFpMmN09XZLoERo44waVlPBXt50KxFlpS2uXh8YTQ1bzTeCRXX4L6/DMK9qrNrX6act8C8C4rXWGqLDBDakQr1VabYbKP+bA1cWKBCgLWIZ3wElgWZNbnHV7gQ/7xZHPVIhDRNCRKRltE30JFzYUsZQvnDLibNEx78oIDovGiZnIQ8r4DkBxANxAfHQHxDbj/fUbFOGIXwvHyfMeUSXLVJSQOPsAn6N8BYcP8jqS7HJ2cWU5GaA5zEe5VKJZXv2yzqgt71JVgSvzcKxhgqEPGZgp1S11ay3nzSL15UeWfVrPV7kcZLqNQImmg3YnMWQu8XXbylAijgQHpbjHqwseVUj1tmk6MVUoDKsr5gcOJMcrq+zd2hPj5oRQiNzbwqDQWXPxs02KGxFibrYQgGLGxi0etIaPsIDTU82VwHj1HpsUIy17h/pV4H4IDotSeeyFXf4kSHyaj0fiKNjVhSu2/z8i7jxfh6l3jJeEsKhTHXOyytxnChuTAe5B2fhCm7XP8gk1uZV9hNUDCG0SANtD+AiTnTe3diKvxC5+hzUNTs0zKL9pOq90mY3Izou7+H2IdORUldvPvmQJok+/YXJo1gOuYpnJyIf2Yq7B6jWcySJGCaI/eoCEXjPZS7sHedTt1UWC58Rrdmf4iiWlBYL28PysyLng56yxf6N/gA0vFF5I8xuzuw8aYnxfEC7dYu1l4qKGn1xKf/RdljMU4x8ckwb2MV+HdvTmLTG/nKD862BYWebFm21XNTyXKsODJEPO2NcSgIYDPGekBDW0TKHF3/WqssKrWZI7bWzXMTlwxp9yWrSwgn4nV+drgwtJWtUxN80knipz8tNwm2x4W17sH/TRKvShjISKchJqrJZ6P4apBeg11Bc/jX/dOCiYnuiXgoEqPYpiOmr0LVc3/XF2lvGNQp4iSS7PDn6yFFrypOgelc1TcZzvokPcVg4DSXVAaHINSvn2MUjnQA9QvRMEEMS/wVKMnSXz1WWY+513tjKxJgp/JVmVLBJ+0+EUarx84JQpemmEEkMibIBlB/H+Hb1Gpo2xaGwtiJZIQI0dwedfjO9vS+b32zhvdz/CW3bIGmmoJa0ML/fJRN9XnvVfJLuLTwJRyEaF6+xmEKYgmvQO3roGWmOsaIIvuIlu4WNCng/aPQLT3o4XxfAsxBZ0FZQMRCaJOD7zO9uo1sJvqH8OGDckZMBxR6Fxx7MJ7SX2FbBkxeSFJGU4Ff+xSCQ30sCVe4B4efSaTpLwrJ73kUMWfqPrG/Ds/KtK/4oP8Ke/jK1f796b80qStAc0uVeMt+Rp2edtW5+hGJsHt2eSGhF1ys0X/xyNo0uULcdCxUHX8atTwRHKaGScIJnFPp2d9HfXSzQGNjCEfUUSdj493bo+Dru+LcnTVQfc2MnAg6g23ex5TGrecYhbGwTKghBIL8LRP5cQ8TTs4Lg0sCZW3J39ilL67+LTxKWzbS4WbNmnQV04RwGMPlVdQ9tpF0LmawKcA4A1ZjoTDGUOzjmRzCNoUjTlxvaeQuLMagtdu2spQBh7VBHEBGZJLCBWfwdmV047XQNAKVIxyAoHZtAZGWNwn+7aAXB93b2nQwTZ++VAs8knu0gMYTgAT1dwm54cR70DpPDgA7L9nrbIgmuzF1ZWthnX9+LDDSIEM/XTbEuBjEL0Qf2FSEEKeQ+mY9eyd+QFSf4QMYuMLuUya3m6Q7mGqv6e8UbrfPULrRTpBw1QDq6Pgy+nYLYEbDER0c7pV2Jy/1wC200PVW5jurBAv4p9dzy0habBounvIBJhEEW1rZW3F0QsIor0u4arOid18d9AEwBjpDAYQWcUIIwpsVCPn8s9akEhCkO3YbfJRePm8tVQkOJeLjXb74eamMpwFizG50o6xQD8pL/rO/MwJh493BgnSLtM9waNzMR6K5IKY6yCcRLA41oSmotq7qZ6tbqxWSQz+DF32mhyBbV70OVIN8fHpDrn7mHABRv0ePKvN1A6FWNRndsIXxWViNuzteaw809J3uUl0A4goYONSw/CR5Zn2F4jbb+1IpJ3eogUCXmrLHtqrh47EiBv+Ctv7xY2DnokvV83JjTvpHuMUXNkFA8GKbhR6mS0rhyiZCIarsbdJe7tTKqP47a3xcRJ/SPp7TgoaN2XcyRjocipYngYie4LRJN7zhtVOHA8L8d3ukKbG2lx5Otwb2LguGsLl4aH/XyPK7+bucfu0nTEgHAwC2jH0aLd66P78v7cErZDkjlBIl86RZLVCS6FHYcRP3Rid08yxCYgWzQuSIPfQrhsM0ndCGZsARtTnFWMtXwqbjIrety4YTvs4h8nFbuvA+VdPCdBfCAZugcYT/oHvxx7LOqVLAHuIj5Waipx3US7da8jSOlwLofCirqgATar1mAnsd6vwv9Dg8EHfX7D75+ZmzeZ0D5MgPr46IcqBpLWelHVvKkerZD6dsA0kAFd4vTwv9QwGnUVS2tFaalJzsyiyKtOdwdNSYiS3cNldf9vKjGXLE0Udm4NaK7vXGc2uiPXFiuUO6zsDQoZa6xGqPoJZf+tYgaKKmpaFhjRS8Zs22OFvncDxFDwmMB1iMdCxx/+B9nnYwHW72S6Rzzv9xNk4BuCn++MsNYjMVastWKNCyhDBaSyCuyee7djS1471lwdEpOuuMXTaW1mFhVb3zyL2mjYIbykY7pGuQYEWNmXhR+nB2Z2jIjOIHCCkP+B4a8WCl7RA9NyyY1RXBihTB9zHQeoHVk8I8SUk8CZZ3tCAJb5uITJYwe+MDIKfQ/Xni8MaFbBqnQLNFxPBX8gbvTUvOoyAGa1QJttBN2s4lV1iJPsUbL43rqwfZvBsrxKxoLv9095GlIUmJb2Mu2EY3YLMUHDiO7oYVbhyVP6iGxTsqaxiJsZf9pIa5OFqKmUVR+IreRkikpSmesx4Q8KQYYlVqOGfxGnqRqXUTNi/S3HlMGbS8YdS3TWLFJIDzGS84wyNKXAMtty1I7GHhqc4FtCD+/TsgZaDjGlVw4VYy2nTc/C7fXRAHBwQ6Ak3UW7Sj5MY1AKHKaIKpi4JsLaxvjsscASObgk9BxaD2qiLGgnEi/1L8Ljo/nqsf+FEnYaxolS1S3n1qvu6EpVcCKsyCB4CTYdxpFcFHp94B3BJuVAqWcD9Y/vNKxNvarjQEmlAZXJGoc/EIS5wyFfZ6LdGSraHwupc+VMDTV2z+3RB4QV8T37zaMeuez+lMf8QYelfmLS6JpdnMLGh2fbJmklr1w8tGAau4p5/dd+MMrozcWbp52f/0/lw3r87AMMq79LsHVzBX/XKy6764D8oy5OMQ+NdcgrLbvr/I5G8cEhX5dmkPAgw8TXtiZy7SPawJqvUt7xpje88pkOriF3k9IxpMusqdMyuXpw3KCrNA1K4MazeUd7bFGId0gslqX5q9CoBah3fc65L9qhmI+bJ74i7fGdoNhiWKSoaisQ8UR9RkrXyD+7J3NU/9u5/kYhZoIx6naVBYDqC25mHGrKU1df7rZQu1tdlJav313roi82J7rl0mlUa9dN8HzCvCF6Srd9WCm2Aq0ZHeouu3MAtI+3sJS+AY1Ha8Y6G+xDmTlvQU9PEDBquL+OzyI+7T44uMQeUO1spOJKaSZRrLRl0iaxcp5qQUYuMaNFh3QqttoxhUuSMsv+LIyZdbu4l/HclYDIKlb5cxdQZAdk/1re8JcrHiFp91/Vn817f4tyxrc9QAXSEMnG1MoG1GBKujf/JBwaIu3wC2wPsPcS4Ycr4f4+3jyA0hbxeRsr5fpCjeUoyJT/4HpPhsGWYsOywBVxZuukAiuo80CJszsFNzFCiTovD2tqt1cPN9Jo5he5IE7bki3eLFp17e6OUdnJRDdsRxyfR3LDPjXxJtv9qDCLbvxI+I3VzcrquilfZnP48QJ2uozF09OLOdHBEAkB3App6cPy4MsjUboyAMcix2o+bfuhCd+74/VNbm0WL32F3hKmKxpMuUxLf+pOTn6wUXDF5koGhj0VAJF+Dk2LUehGAGLAS0Xh6Z/obOpsH4EZSb32Pj1CZKMQ6lR3OZ+h65pfUmv+DyLwNnNLmhFSKZNgDVsCNNJm89+xtCOlQy5FeLJ6PHrcQlc1FQvUE4haEC+n2ScxFzaH/BAcW862kILvK29bXJxeSPC96b4blfeMFAhTTdHCfgjmZH+nyRn97SDPmUBO/cdauc/gOP8L8p7xaTwwzrn0KWHfJDD+OtYV50HucokWSdz17KqEYxMkdHdlj9abBhDXjF4qzOJDwDJ3NFP3hMWw2jZtV+inwnvxSjSoYDg+PQ4XOB9McPJ//JPdEHCgjThVveR6SYMpUD1zlI+IrJHtHYjxDC/fUKYAtYG8KGdr6Po5aYmNXG1ucQaUxHOQzbLC5mzupMe7UqV5dnRB3Vr3b8vj+z5VsaZQsAKa9HJgt3OiljIddrn01JUkz10INnVuUnv/O8RyJjaViKaIv45EL7X5gwLxOgjC/2ObY26SYOsQD68DifC0l5rmx9dUfxB9o2UFLjet+NZsz70yYKTAvawAAvr8Va8k/ee3ZCtUwONdIlAbaqrp+ysTFWA0lk6fMEBK+G5N2LGJs/HZ5UCtPctW73TBSTi1yXSBtquBJVJqpgJqCSRBxS84Gw2sUkWrTE/0xHcmzH6SKj5sGYEk+YM2CoqNIn/VhLNjdKKk8mhdrc67LWAiGTMt5WQ/I71ULo8utDBL2npt2ZZOVqXRlgPbqJEGO+i/jPc4qsGFMfJra9sjQtjfR1Kyxw9KbF3a3LMGdkCd3cHHwMauQdbITwSIvZ5DeMSng7G3mQLALs+0hQ03kKkQlzNefnmRpZw/Lt6Q+M6ktA2wrJ0ol/2nt24ejRQwSEvyi4zqitSJs0K6H+oijr1ox9VHOpRGjK1eUQFyByMykpn/Lp5MDWkFjztW2T1khGl7Z4qNvgvm8ZjywNq6n2ltjXuY7C1uCpwNUqm33N6H7BYCYh3i4UWKbeX8y0NDou0c5HPW2Uv24juApWmuHyIeU9u3ClzRA3WvGI985zuWO4RNw0DP7e7E3+v5Ec1UXmySkK/Oh+RwYdSwjY1+AqasKq1Ox3Dwesbr6blFne6oBdvRsJUHh2Hqni23I05lHLqXgBiykwVHnJaQT8fLYQL5olaY81r3VhwMUA+zUZThCZ1T21Pa/1ADTvraI5zvDc3DjtSuvVOYt1ypKF4iQpvzye3jCIq4iPdERcP97Axth8Q6znL7SLD2NVkDGiogn7eBPfBNeGAG8zsWfJ1i6jmfyckfw==" title="Mekko Graphics Chart">
            <a:extLst>
              <a:ext uri="{FF2B5EF4-FFF2-40B4-BE49-F238E27FC236}">
                <a16:creationId xmlns:a16="http://schemas.microsoft.com/office/drawing/2014/main" id="{3D32D2AC-C19E-C626-7A5F-71282E7AE3F3}"/>
              </a:ext>
            </a:extLst>
          </p:cNvPr>
          <p:cNvSpPr>
            <a:spLocks noChangeAspect="1"/>
          </p:cNvSpPr>
          <p:nvPr>
            <p:custDataLst>
              <p:tags r:id="rId8"/>
            </p:custDataLst>
          </p:nvPr>
        </p:nvSpPr>
        <p:spPr>
          <a:xfrm>
            <a:off x="8378295" y="1563971"/>
            <a:ext cx="3488268" cy="4615635"/>
          </a:xfrm>
          <a:prstGeom prst="rect">
            <a:avLst/>
          </a:prstGeom>
          <a:blipFill>
            <a:blip r:embed="rId18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grpSp>
        <p:nvGrpSpPr>
          <p:cNvPr id="12" name="btfpRunningAgenda2Level462810">
            <a:extLst>
              <a:ext uri="{FF2B5EF4-FFF2-40B4-BE49-F238E27FC236}">
                <a16:creationId xmlns:a16="http://schemas.microsoft.com/office/drawing/2014/main" id="{CD239FA5-AD22-74C9-FBDD-D964FFCC2485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0" y="944429"/>
            <a:ext cx="4759348" cy="257442"/>
            <a:chOff x="-1" y="876300"/>
            <a:chExt cx="4759348" cy="257442"/>
          </a:xfrm>
        </p:grpSpPr>
        <p:sp>
          <p:nvSpPr>
            <p:cNvPr id="13" name="btfpRunningAgenda2LevelBarLeft462810">
              <a:extLst>
                <a:ext uri="{FF2B5EF4-FFF2-40B4-BE49-F238E27FC236}">
                  <a16:creationId xmlns:a16="http://schemas.microsoft.com/office/drawing/2014/main" id="{17168CC4-8BF2-4EAA-CE3F-D6AE225C4E3F}"/>
                </a:ext>
              </a:extLst>
            </p:cNvPr>
            <p:cNvSpPr/>
            <p:nvPr/>
          </p:nvSpPr>
          <p:spPr bwMode="gray">
            <a:xfrm>
              <a:off x="-1" y="876300"/>
              <a:ext cx="2486479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28734 w 1128734"/>
                <a:gd name="connsiteY0" fmla="*/ 0 h 257442"/>
                <a:gd name="connsiteX1" fmla="*/ 896080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2093550 w 2093550"/>
                <a:gd name="connsiteY0" fmla="*/ 0 h 257442"/>
                <a:gd name="connsiteX1" fmla="*/ 1402629 w 2093550"/>
                <a:gd name="connsiteY1" fmla="*/ 257442 h 257442"/>
                <a:gd name="connsiteX2" fmla="*/ 0 w 2093550"/>
                <a:gd name="connsiteY2" fmla="*/ 257442 h 257442"/>
                <a:gd name="connsiteX3" fmla="*/ 0 w 2093550"/>
                <a:gd name="connsiteY3" fmla="*/ 0 h 257442"/>
                <a:gd name="connsiteX0" fmla="*/ 2093550 w 2093550"/>
                <a:gd name="connsiteY0" fmla="*/ 0 h 257442"/>
                <a:gd name="connsiteX1" fmla="*/ 2038829 w 2093550"/>
                <a:gd name="connsiteY1" fmla="*/ 257442 h 257442"/>
                <a:gd name="connsiteX2" fmla="*/ 0 w 2093550"/>
                <a:gd name="connsiteY2" fmla="*/ 257442 h 257442"/>
                <a:gd name="connsiteX3" fmla="*/ 0 w 2093550"/>
                <a:gd name="connsiteY3" fmla="*/ 0 h 257442"/>
                <a:gd name="connsiteX0" fmla="*/ 2093550 w 2093550"/>
                <a:gd name="connsiteY0" fmla="*/ 0 h 257442"/>
                <a:gd name="connsiteX1" fmla="*/ 2038829 w 2093550"/>
                <a:gd name="connsiteY1" fmla="*/ 257442 h 257442"/>
                <a:gd name="connsiteX2" fmla="*/ 0 w 2093550"/>
                <a:gd name="connsiteY2" fmla="*/ 257442 h 257442"/>
                <a:gd name="connsiteX3" fmla="*/ 0 w 2093550"/>
                <a:gd name="connsiteY3" fmla="*/ 0 h 257442"/>
                <a:gd name="connsiteX0" fmla="*/ 2093550 w 2093550"/>
                <a:gd name="connsiteY0" fmla="*/ 0 h 257442"/>
                <a:gd name="connsiteX1" fmla="*/ 2038829 w 2093550"/>
                <a:gd name="connsiteY1" fmla="*/ 257442 h 257442"/>
                <a:gd name="connsiteX2" fmla="*/ 0 w 2093550"/>
                <a:gd name="connsiteY2" fmla="*/ 257442 h 257442"/>
                <a:gd name="connsiteX3" fmla="*/ 0 w 2093550"/>
                <a:gd name="connsiteY3" fmla="*/ 0 h 257442"/>
                <a:gd name="connsiteX0" fmla="*/ 2233203 w 2233203"/>
                <a:gd name="connsiteY0" fmla="*/ 0 h 257442"/>
                <a:gd name="connsiteX1" fmla="*/ 2038829 w 2233203"/>
                <a:gd name="connsiteY1" fmla="*/ 257442 h 257442"/>
                <a:gd name="connsiteX2" fmla="*/ 0 w 2233203"/>
                <a:gd name="connsiteY2" fmla="*/ 257442 h 257442"/>
                <a:gd name="connsiteX3" fmla="*/ 0 w 2233203"/>
                <a:gd name="connsiteY3" fmla="*/ 0 h 257442"/>
                <a:gd name="connsiteX0" fmla="*/ 2233203 w 2233203"/>
                <a:gd name="connsiteY0" fmla="*/ 0 h 257442"/>
                <a:gd name="connsiteX1" fmla="*/ 2178482 w 2233203"/>
                <a:gd name="connsiteY1" fmla="*/ 257442 h 257442"/>
                <a:gd name="connsiteX2" fmla="*/ 0 w 2233203"/>
                <a:gd name="connsiteY2" fmla="*/ 257442 h 257442"/>
                <a:gd name="connsiteX3" fmla="*/ 0 w 2233203"/>
                <a:gd name="connsiteY3" fmla="*/ 0 h 257442"/>
                <a:gd name="connsiteX0" fmla="*/ 2233203 w 2233203"/>
                <a:gd name="connsiteY0" fmla="*/ 0 h 257442"/>
                <a:gd name="connsiteX1" fmla="*/ 2178482 w 2233203"/>
                <a:gd name="connsiteY1" fmla="*/ 257442 h 257442"/>
                <a:gd name="connsiteX2" fmla="*/ 0 w 2233203"/>
                <a:gd name="connsiteY2" fmla="*/ 257442 h 257442"/>
                <a:gd name="connsiteX3" fmla="*/ 0 w 2233203"/>
                <a:gd name="connsiteY3" fmla="*/ 0 h 257442"/>
                <a:gd name="connsiteX0" fmla="*/ 2233203 w 2233203"/>
                <a:gd name="connsiteY0" fmla="*/ 0 h 257442"/>
                <a:gd name="connsiteX1" fmla="*/ 2178482 w 2233203"/>
                <a:gd name="connsiteY1" fmla="*/ 257442 h 257442"/>
                <a:gd name="connsiteX2" fmla="*/ 0 w 2233203"/>
                <a:gd name="connsiteY2" fmla="*/ 257442 h 257442"/>
                <a:gd name="connsiteX3" fmla="*/ 0 w 2233203"/>
                <a:gd name="connsiteY3" fmla="*/ 0 h 257442"/>
                <a:gd name="connsiteX0" fmla="*/ 3548692 w 3548692"/>
                <a:gd name="connsiteY0" fmla="*/ 0 h 257442"/>
                <a:gd name="connsiteX1" fmla="*/ 2178482 w 3548692"/>
                <a:gd name="connsiteY1" fmla="*/ 257442 h 257442"/>
                <a:gd name="connsiteX2" fmla="*/ 0 w 3548692"/>
                <a:gd name="connsiteY2" fmla="*/ 257442 h 257442"/>
                <a:gd name="connsiteX3" fmla="*/ 0 w 3548692"/>
                <a:gd name="connsiteY3" fmla="*/ 0 h 257442"/>
                <a:gd name="connsiteX0" fmla="*/ 3548692 w 3548692"/>
                <a:gd name="connsiteY0" fmla="*/ 0 h 257442"/>
                <a:gd name="connsiteX1" fmla="*/ 3493970 w 3548692"/>
                <a:gd name="connsiteY1" fmla="*/ 257442 h 257442"/>
                <a:gd name="connsiteX2" fmla="*/ 0 w 3548692"/>
                <a:gd name="connsiteY2" fmla="*/ 257442 h 257442"/>
                <a:gd name="connsiteX3" fmla="*/ 0 w 3548692"/>
                <a:gd name="connsiteY3" fmla="*/ 0 h 257442"/>
                <a:gd name="connsiteX0" fmla="*/ 3548693 w 3548693"/>
                <a:gd name="connsiteY0" fmla="*/ 0 h 257442"/>
                <a:gd name="connsiteX1" fmla="*/ 3493971 w 3548693"/>
                <a:gd name="connsiteY1" fmla="*/ 257442 h 257442"/>
                <a:gd name="connsiteX2" fmla="*/ 0 w 3548693"/>
                <a:gd name="connsiteY2" fmla="*/ 257442 h 257442"/>
                <a:gd name="connsiteX3" fmla="*/ 1 w 3548693"/>
                <a:gd name="connsiteY3" fmla="*/ 0 h 257442"/>
                <a:gd name="connsiteX0" fmla="*/ 3548693 w 3548693"/>
                <a:gd name="connsiteY0" fmla="*/ 0 h 257442"/>
                <a:gd name="connsiteX1" fmla="*/ 3493971 w 3548693"/>
                <a:gd name="connsiteY1" fmla="*/ 257442 h 257442"/>
                <a:gd name="connsiteX2" fmla="*/ 0 w 3548693"/>
                <a:gd name="connsiteY2" fmla="*/ 257442 h 257442"/>
                <a:gd name="connsiteX3" fmla="*/ 1 w 3548693"/>
                <a:gd name="connsiteY3" fmla="*/ 0 h 257442"/>
                <a:gd name="connsiteX0" fmla="*/ 968435 w 3493971"/>
                <a:gd name="connsiteY0" fmla="*/ 0 h 257442"/>
                <a:gd name="connsiteX1" fmla="*/ 3493971 w 3493971"/>
                <a:gd name="connsiteY1" fmla="*/ 257442 h 257442"/>
                <a:gd name="connsiteX2" fmla="*/ 0 w 3493971"/>
                <a:gd name="connsiteY2" fmla="*/ 257442 h 257442"/>
                <a:gd name="connsiteX3" fmla="*/ 1 w 3493971"/>
                <a:gd name="connsiteY3" fmla="*/ 0 h 257442"/>
                <a:gd name="connsiteX0" fmla="*/ 968435 w 968435"/>
                <a:gd name="connsiteY0" fmla="*/ 0 h 257442"/>
                <a:gd name="connsiteX1" fmla="*/ 913714 w 968435"/>
                <a:gd name="connsiteY1" fmla="*/ 257442 h 257442"/>
                <a:gd name="connsiteX2" fmla="*/ 0 w 968435"/>
                <a:gd name="connsiteY2" fmla="*/ 257442 h 257442"/>
                <a:gd name="connsiteX3" fmla="*/ 1 w 968435"/>
                <a:gd name="connsiteY3" fmla="*/ 0 h 257442"/>
                <a:gd name="connsiteX0" fmla="*/ 968434 w 968434"/>
                <a:gd name="connsiteY0" fmla="*/ 0 h 257442"/>
                <a:gd name="connsiteX1" fmla="*/ 913713 w 968434"/>
                <a:gd name="connsiteY1" fmla="*/ 257442 h 257442"/>
                <a:gd name="connsiteX2" fmla="*/ 0 w 968434"/>
                <a:gd name="connsiteY2" fmla="*/ 257442 h 257442"/>
                <a:gd name="connsiteX3" fmla="*/ 0 w 968434"/>
                <a:gd name="connsiteY3" fmla="*/ 0 h 257442"/>
                <a:gd name="connsiteX0" fmla="*/ 968435 w 968435"/>
                <a:gd name="connsiteY0" fmla="*/ 0 h 257442"/>
                <a:gd name="connsiteX1" fmla="*/ 913714 w 968435"/>
                <a:gd name="connsiteY1" fmla="*/ 257442 h 257442"/>
                <a:gd name="connsiteX2" fmla="*/ 1 w 968435"/>
                <a:gd name="connsiteY2" fmla="*/ 257442 h 257442"/>
                <a:gd name="connsiteX3" fmla="*/ 0 w 968435"/>
                <a:gd name="connsiteY3" fmla="*/ 0 h 257442"/>
                <a:gd name="connsiteX0" fmla="*/ 1136750 w 1136750"/>
                <a:gd name="connsiteY0" fmla="*/ 0 h 257442"/>
                <a:gd name="connsiteX1" fmla="*/ 913714 w 1136750"/>
                <a:gd name="connsiteY1" fmla="*/ 257442 h 257442"/>
                <a:gd name="connsiteX2" fmla="*/ 1 w 1136750"/>
                <a:gd name="connsiteY2" fmla="*/ 257442 h 257442"/>
                <a:gd name="connsiteX3" fmla="*/ 0 w 1136750"/>
                <a:gd name="connsiteY3" fmla="*/ 0 h 257442"/>
                <a:gd name="connsiteX0" fmla="*/ 1136750 w 1136750"/>
                <a:gd name="connsiteY0" fmla="*/ 0 h 257442"/>
                <a:gd name="connsiteX1" fmla="*/ 1082028 w 1136750"/>
                <a:gd name="connsiteY1" fmla="*/ 257442 h 257442"/>
                <a:gd name="connsiteX2" fmla="*/ 1 w 1136750"/>
                <a:gd name="connsiteY2" fmla="*/ 257442 h 257442"/>
                <a:gd name="connsiteX3" fmla="*/ 0 w 1136750"/>
                <a:gd name="connsiteY3" fmla="*/ 0 h 257442"/>
                <a:gd name="connsiteX0" fmla="*/ 1136750 w 1136750"/>
                <a:gd name="connsiteY0" fmla="*/ 0 h 257442"/>
                <a:gd name="connsiteX1" fmla="*/ 1082028 w 1136750"/>
                <a:gd name="connsiteY1" fmla="*/ 257442 h 257442"/>
                <a:gd name="connsiteX2" fmla="*/ 0 w 1136750"/>
                <a:gd name="connsiteY2" fmla="*/ 257442 h 257442"/>
                <a:gd name="connsiteX3" fmla="*/ 0 w 1136750"/>
                <a:gd name="connsiteY3" fmla="*/ 0 h 257442"/>
                <a:gd name="connsiteX0" fmla="*/ 1136750 w 1136750"/>
                <a:gd name="connsiteY0" fmla="*/ 0 h 257442"/>
                <a:gd name="connsiteX1" fmla="*/ 1082028 w 1136750"/>
                <a:gd name="connsiteY1" fmla="*/ 257442 h 257442"/>
                <a:gd name="connsiteX2" fmla="*/ 0 w 1136750"/>
                <a:gd name="connsiteY2" fmla="*/ 257442 h 257442"/>
                <a:gd name="connsiteX3" fmla="*/ 0 w 1136750"/>
                <a:gd name="connsiteY3" fmla="*/ 0 h 257442"/>
                <a:gd name="connsiteX0" fmla="*/ 1305064 w 1305064"/>
                <a:gd name="connsiteY0" fmla="*/ 0 h 257442"/>
                <a:gd name="connsiteX1" fmla="*/ 1082028 w 1305064"/>
                <a:gd name="connsiteY1" fmla="*/ 257442 h 257442"/>
                <a:gd name="connsiteX2" fmla="*/ 0 w 1305064"/>
                <a:gd name="connsiteY2" fmla="*/ 257442 h 257442"/>
                <a:gd name="connsiteX3" fmla="*/ 0 w 1305064"/>
                <a:gd name="connsiteY3" fmla="*/ 0 h 257442"/>
                <a:gd name="connsiteX0" fmla="*/ 1305064 w 1305064"/>
                <a:gd name="connsiteY0" fmla="*/ 0 h 257442"/>
                <a:gd name="connsiteX1" fmla="*/ 1250343 w 1305064"/>
                <a:gd name="connsiteY1" fmla="*/ 257442 h 257442"/>
                <a:gd name="connsiteX2" fmla="*/ 0 w 1305064"/>
                <a:gd name="connsiteY2" fmla="*/ 257442 h 257442"/>
                <a:gd name="connsiteX3" fmla="*/ 0 w 1305064"/>
                <a:gd name="connsiteY3" fmla="*/ 0 h 257442"/>
                <a:gd name="connsiteX0" fmla="*/ 1305064 w 1305064"/>
                <a:gd name="connsiteY0" fmla="*/ 0 h 257442"/>
                <a:gd name="connsiteX1" fmla="*/ 1250343 w 1305064"/>
                <a:gd name="connsiteY1" fmla="*/ 257442 h 257442"/>
                <a:gd name="connsiteX2" fmla="*/ 0 w 1305064"/>
                <a:gd name="connsiteY2" fmla="*/ 257442 h 257442"/>
                <a:gd name="connsiteX3" fmla="*/ 0 w 1305064"/>
                <a:gd name="connsiteY3" fmla="*/ 0 h 257442"/>
                <a:gd name="connsiteX0" fmla="*/ 1305064 w 1305064"/>
                <a:gd name="connsiteY0" fmla="*/ 0 h 257442"/>
                <a:gd name="connsiteX1" fmla="*/ 1250343 w 1305064"/>
                <a:gd name="connsiteY1" fmla="*/ 257442 h 257442"/>
                <a:gd name="connsiteX2" fmla="*/ 0 w 1305064"/>
                <a:gd name="connsiteY2" fmla="*/ 257442 h 257442"/>
                <a:gd name="connsiteX3" fmla="*/ 0 w 1305064"/>
                <a:gd name="connsiteY3" fmla="*/ 0 h 257442"/>
                <a:gd name="connsiteX0" fmla="*/ 1473380 w 1473380"/>
                <a:gd name="connsiteY0" fmla="*/ 0 h 257442"/>
                <a:gd name="connsiteX1" fmla="*/ 1250343 w 1473380"/>
                <a:gd name="connsiteY1" fmla="*/ 257442 h 257442"/>
                <a:gd name="connsiteX2" fmla="*/ 0 w 1473380"/>
                <a:gd name="connsiteY2" fmla="*/ 257442 h 257442"/>
                <a:gd name="connsiteX3" fmla="*/ 0 w 1473380"/>
                <a:gd name="connsiteY3" fmla="*/ 0 h 257442"/>
                <a:gd name="connsiteX0" fmla="*/ 1473380 w 1473380"/>
                <a:gd name="connsiteY0" fmla="*/ 0 h 257442"/>
                <a:gd name="connsiteX1" fmla="*/ 1418659 w 1473380"/>
                <a:gd name="connsiteY1" fmla="*/ 257442 h 257442"/>
                <a:gd name="connsiteX2" fmla="*/ 0 w 1473380"/>
                <a:gd name="connsiteY2" fmla="*/ 257442 h 257442"/>
                <a:gd name="connsiteX3" fmla="*/ 0 w 1473380"/>
                <a:gd name="connsiteY3" fmla="*/ 0 h 257442"/>
                <a:gd name="connsiteX0" fmla="*/ 1473380 w 1473380"/>
                <a:gd name="connsiteY0" fmla="*/ 0 h 257442"/>
                <a:gd name="connsiteX1" fmla="*/ 1418659 w 1473380"/>
                <a:gd name="connsiteY1" fmla="*/ 257442 h 257442"/>
                <a:gd name="connsiteX2" fmla="*/ 0 w 1473380"/>
                <a:gd name="connsiteY2" fmla="*/ 257442 h 257442"/>
                <a:gd name="connsiteX3" fmla="*/ 0 w 1473380"/>
                <a:gd name="connsiteY3" fmla="*/ 0 h 257442"/>
                <a:gd name="connsiteX0" fmla="*/ 1473380 w 1473380"/>
                <a:gd name="connsiteY0" fmla="*/ 0 h 257442"/>
                <a:gd name="connsiteX1" fmla="*/ 1418659 w 1473380"/>
                <a:gd name="connsiteY1" fmla="*/ 257442 h 257442"/>
                <a:gd name="connsiteX2" fmla="*/ 0 w 1473380"/>
                <a:gd name="connsiteY2" fmla="*/ 257442 h 257442"/>
                <a:gd name="connsiteX3" fmla="*/ 0 w 1473380"/>
                <a:gd name="connsiteY3" fmla="*/ 0 h 257442"/>
                <a:gd name="connsiteX0" fmla="*/ 1633680 w 1633680"/>
                <a:gd name="connsiteY0" fmla="*/ 0 h 257442"/>
                <a:gd name="connsiteX1" fmla="*/ 1418659 w 1633680"/>
                <a:gd name="connsiteY1" fmla="*/ 257442 h 257442"/>
                <a:gd name="connsiteX2" fmla="*/ 0 w 1633680"/>
                <a:gd name="connsiteY2" fmla="*/ 257442 h 257442"/>
                <a:gd name="connsiteX3" fmla="*/ 0 w 1633680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0 w 1633680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0 w 1633680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0 w 1633680"/>
                <a:gd name="connsiteY3" fmla="*/ 0 h 257442"/>
                <a:gd name="connsiteX0" fmla="*/ 1785965 w 1785965"/>
                <a:gd name="connsiteY0" fmla="*/ 0 h 257442"/>
                <a:gd name="connsiteX1" fmla="*/ 1578959 w 1785965"/>
                <a:gd name="connsiteY1" fmla="*/ 257442 h 257442"/>
                <a:gd name="connsiteX2" fmla="*/ 0 w 1785965"/>
                <a:gd name="connsiteY2" fmla="*/ 257442 h 257442"/>
                <a:gd name="connsiteX3" fmla="*/ 0 w 1785965"/>
                <a:gd name="connsiteY3" fmla="*/ 0 h 257442"/>
                <a:gd name="connsiteX0" fmla="*/ 1785965 w 1785965"/>
                <a:gd name="connsiteY0" fmla="*/ 0 h 257442"/>
                <a:gd name="connsiteX1" fmla="*/ 1731244 w 1785965"/>
                <a:gd name="connsiteY1" fmla="*/ 257442 h 257442"/>
                <a:gd name="connsiteX2" fmla="*/ 0 w 1785965"/>
                <a:gd name="connsiteY2" fmla="*/ 257442 h 257442"/>
                <a:gd name="connsiteX3" fmla="*/ 0 w 1785965"/>
                <a:gd name="connsiteY3" fmla="*/ 0 h 257442"/>
                <a:gd name="connsiteX0" fmla="*/ 1785965 w 1785965"/>
                <a:gd name="connsiteY0" fmla="*/ 0 h 257442"/>
                <a:gd name="connsiteX1" fmla="*/ 1731244 w 1785965"/>
                <a:gd name="connsiteY1" fmla="*/ 257442 h 257442"/>
                <a:gd name="connsiteX2" fmla="*/ 0 w 1785965"/>
                <a:gd name="connsiteY2" fmla="*/ 257442 h 257442"/>
                <a:gd name="connsiteX3" fmla="*/ 0 w 1785965"/>
                <a:gd name="connsiteY3" fmla="*/ 0 h 257442"/>
                <a:gd name="connsiteX0" fmla="*/ 1785965 w 1785965"/>
                <a:gd name="connsiteY0" fmla="*/ 0 h 257442"/>
                <a:gd name="connsiteX1" fmla="*/ 1731244 w 1785965"/>
                <a:gd name="connsiteY1" fmla="*/ 257442 h 257442"/>
                <a:gd name="connsiteX2" fmla="*/ 0 w 1785965"/>
                <a:gd name="connsiteY2" fmla="*/ 257442 h 257442"/>
                <a:gd name="connsiteX3" fmla="*/ 0 w 1785965"/>
                <a:gd name="connsiteY3" fmla="*/ 0 h 257442"/>
                <a:gd name="connsiteX0" fmla="*/ 1886955 w 1886955"/>
                <a:gd name="connsiteY0" fmla="*/ 0 h 257442"/>
                <a:gd name="connsiteX1" fmla="*/ 1731244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2055270 w 2055270"/>
                <a:gd name="connsiteY0" fmla="*/ 0 h 257442"/>
                <a:gd name="connsiteX1" fmla="*/ 1832234 w 2055270"/>
                <a:gd name="connsiteY1" fmla="*/ 257442 h 257442"/>
                <a:gd name="connsiteX2" fmla="*/ 0 w 2055270"/>
                <a:gd name="connsiteY2" fmla="*/ 257442 h 257442"/>
                <a:gd name="connsiteX3" fmla="*/ 0 w 2055270"/>
                <a:gd name="connsiteY3" fmla="*/ 0 h 257442"/>
                <a:gd name="connsiteX0" fmla="*/ 2055270 w 2055270"/>
                <a:gd name="connsiteY0" fmla="*/ 0 h 257442"/>
                <a:gd name="connsiteX1" fmla="*/ 2000548 w 2055270"/>
                <a:gd name="connsiteY1" fmla="*/ 257442 h 257442"/>
                <a:gd name="connsiteX2" fmla="*/ 0 w 2055270"/>
                <a:gd name="connsiteY2" fmla="*/ 257442 h 257442"/>
                <a:gd name="connsiteX3" fmla="*/ 0 w 2055270"/>
                <a:gd name="connsiteY3" fmla="*/ 0 h 257442"/>
                <a:gd name="connsiteX0" fmla="*/ 2055271 w 2055271"/>
                <a:gd name="connsiteY0" fmla="*/ 0 h 257442"/>
                <a:gd name="connsiteX1" fmla="*/ 2000549 w 2055271"/>
                <a:gd name="connsiteY1" fmla="*/ 257442 h 257442"/>
                <a:gd name="connsiteX2" fmla="*/ 0 w 2055271"/>
                <a:gd name="connsiteY2" fmla="*/ 257442 h 257442"/>
                <a:gd name="connsiteX3" fmla="*/ 1 w 2055271"/>
                <a:gd name="connsiteY3" fmla="*/ 0 h 257442"/>
                <a:gd name="connsiteX0" fmla="*/ 2055271 w 2055271"/>
                <a:gd name="connsiteY0" fmla="*/ 0 h 257442"/>
                <a:gd name="connsiteX1" fmla="*/ 2000549 w 2055271"/>
                <a:gd name="connsiteY1" fmla="*/ 257442 h 257442"/>
                <a:gd name="connsiteX2" fmla="*/ 0 w 2055271"/>
                <a:gd name="connsiteY2" fmla="*/ 257442 h 257442"/>
                <a:gd name="connsiteX3" fmla="*/ 1 w 2055271"/>
                <a:gd name="connsiteY3" fmla="*/ 0 h 257442"/>
                <a:gd name="connsiteX0" fmla="*/ 2233204 w 2233204"/>
                <a:gd name="connsiteY0" fmla="*/ 0 h 257442"/>
                <a:gd name="connsiteX1" fmla="*/ 2000549 w 2233204"/>
                <a:gd name="connsiteY1" fmla="*/ 257442 h 257442"/>
                <a:gd name="connsiteX2" fmla="*/ 0 w 2233204"/>
                <a:gd name="connsiteY2" fmla="*/ 257442 h 257442"/>
                <a:gd name="connsiteX3" fmla="*/ 1 w 2233204"/>
                <a:gd name="connsiteY3" fmla="*/ 0 h 257442"/>
                <a:gd name="connsiteX0" fmla="*/ 2233204 w 2233204"/>
                <a:gd name="connsiteY0" fmla="*/ 0 h 257442"/>
                <a:gd name="connsiteX1" fmla="*/ 2178482 w 2233204"/>
                <a:gd name="connsiteY1" fmla="*/ 257442 h 257442"/>
                <a:gd name="connsiteX2" fmla="*/ 0 w 2233204"/>
                <a:gd name="connsiteY2" fmla="*/ 257442 h 257442"/>
                <a:gd name="connsiteX3" fmla="*/ 1 w 2233204"/>
                <a:gd name="connsiteY3" fmla="*/ 0 h 257442"/>
                <a:gd name="connsiteX0" fmla="*/ 2233204 w 2233204"/>
                <a:gd name="connsiteY0" fmla="*/ 0 h 257442"/>
                <a:gd name="connsiteX1" fmla="*/ 2178482 w 2233204"/>
                <a:gd name="connsiteY1" fmla="*/ 257442 h 257442"/>
                <a:gd name="connsiteX2" fmla="*/ 0 w 2233204"/>
                <a:gd name="connsiteY2" fmla="*/ 257442 h 257442"/>
                <a:gd name="connsiteX3" fmla="*/ 1 w 2233204"/>
                <a:gd name="connsiteY3" fmla="*/ 0 h 257442"/>
                <a:gd name="connsiteX0" fmla="*/ 2233204 w 2233204"/>
                <a:gd name="connsiteY0" fmla="*/ 0 h 257442"/>
                <a:gd name="connsiteX1" fmla="*/ 2178482 w 2233204"/>
                <a:gd name="connsiteY1" fmla="*/ 257442 h 257442"/>
                <a:gd name="connsiteX2" fmla="*/ 0 w 2233204"/>
                <a:gd name="connsiteY2" fmla="*/ 257442 h 257442"/>
                <a:gd name="connsiteX3" fmla="*/ 0 w 2233204"/>
                <a:gd name="connsiteY3" fmla="*/ 0 h 257442"/>
                <a:gd name="connsiteX0" fmla="*/ 950801 w 2178482"/>
                <a:gd name="connsiteY0" fmla="*/ 0 h 257442"/>
                <a:gd name="connsiteX1" fmla="*/ 2178482 w 2178482"/>
                <a:gd name="connsiteY1" fmla="*/ 257442 h 257442"/>
                <a:gd name="connsiteX2" fmla="*/ 0 w 2178482"/>
                <a:gd name="connsiteY2" fmla="*/ 257442 h 257442"/>
                <a:gd name="connsiteX3" fmla="*/ 0 w 217848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119115 w 1119115"/>
                <a:gd name="connsiteY0" fmla="*/ 0 h 257442"/>
                <a:gd name="connsiteX1" fmla="*/ 896079 w 1119115"/>
                <a:gd name="connsiteY1" fmla="*/ 257442 h 257442"/>
                <a:gd name="connsiteX2" fmla="*/ 0 w 1119115"/>
                <a:gd name="connsiteY2" fmla="*/ 257442 h 257442"/>
                <a:gd name="connsiteX3" fmla="*/ 0 w 1119115"/>
                <a:gd name="connsiteY3" fmla="*/ 0 h 257442"/>
                <a:gd name="connsiteX0" fmla="*/ 1119115 w 1119115"/>
                <a:gd name="connsiteY0" fmla="*/ 0 h 257442"/>
                <a:gd name="connsiteX1" fmla="*/ 1064394 w 1119115"/>
                <a:gd name="connsiteY1" fmla="*/ 257442 h 257442"/>
                <a:gd name="connsiteX2" fmla="*/ 0 w 1119115"/>
                <a:gd name="connsiteY2" fmla="*/ 257442 h 257442"/>
                <a:gd name="connsiteX3" fmla="*/ 0 w 1119115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287432 w 1287432"/>
                <a:gd name="connsiteY0" fmla="*/ 0 h 257442"/>
                <a:gd name="connsiteX1" fmla="*/ 1064395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455747 w 1455747"/>
                <a:gd name="connsiteY0" fmla="*/ 0 h 257442"/>
                <a:gd name="connsiteX1" fmla="*/ 1232711 w 1455747"/>
                <a:gd name="connsiteY1" fmla="*/ 257442 h 257442"/>
                <a:gd name="connsiteX2" fmla="*/ 0 w 1455747"/>
                <a:gd name="connsiteY2" fmla="*/ 257442 h 257442"/>
                <a:gd name="connsiteX3" fmla="*/ 0 w 1455747"/>
                <a:gd name="connsiteY3" fmla="*/ 0 h 257442"/>
                <a:gd name="connsiteX0" fmla="*/ 1455747 w 1455747"/>
                <a:gd name="connsiteY0" fmla="*/ 0 h 257442"/>
                <a:gd name="connsiteX1" fmla="*/ 1401026 w 1455747"/>
                <a:gd name="connsiteY1" fmla="*/ 257442 h 257442"/>
                <a:gd name="connsiteX2" fmla="*/ 0 w 1455747"/>
                <a:gd name="connsiteY2" fmla="*/ 257442 h 257442"/>
                <a:gd name="connsiteX3" fmla="*/ 0 w 1455747"/>
                <a:gd name="connsiteY3" fmla="*/ 0 h 257442"/>
                <a:gd name="connsiteX0" fmla="*/ 1455747 w 1455747"/>
                <a:gd name="connsiteY0" fmla="*/ 0 h 257442"/>
                <a:gd name="connsiteX1" fmla="*/ 1401026 w 1455747"/>
                <a:gd name="connsiteY1" fmla="*/ 257442 h 257442"/>
                <a:gd name="connsiteX2" fmla="*/ 0 w 1455747"/>
                <a:gd name="connsiteY2" fmla="*/ 257442 h 257442"/>
                <a:gd name="connsiteX3" fmla="*/ 0 w 1455747"/>
                <a:gd name="connsiteY3" fmla="*/ 0 h 257442"/>
                <a:gd name="connsiteX0" fmla="*/ 1455747 w 1455747"/>
                <a:gd name="connsiteY0" fmla="*/ 0 h 257442"/>
                <a:gd name="connsiteX1" fmla="*/ 1401026 w 1455747"/>
                <a:gd name="connsiteY1" fmla="*/ 257442 h 257442"/>
                <a:gd name="connsiteX2" fmla="*/ 0 w 1455747"/>
                <a:gd name="connsiteY2" fmla="*/ 257442 h 257442"/>
                <a:gd name="connsiteX3" fmla="*/ 0 w 1455747"/>
                <a:gd name="connsiteY3" fmla="*/ 0 h 257442"/>
                <a:gd name="connsiteX0" fmla="*/ 1624062 w 1624062"/>
                <a:gd name="connsiteY0" fmla="*/ 0 h 257442"/>
                <a:gd name="connsiteX1" fmla="*/ 1401026 w 1624062"/>
                <a:gd name="connsiteY1" fmla="*/ 257442 h 257442"/>
                <a:gd name="connsiteX2" fmla="*/ 0 w 1624062"/>
                <a:gd name="connsiteY2" fmla="*/ 257442 h 257442"/>
                <a:gd name="connsiteX3" fmla="*/ 0 w 1624062"/>
                <a:gd name="connsiteY3" fmla="*/ 0 h 257442"/>
                <a:gd name="connsiteX0" fmla="*/ 1624062 w 1624062"/>
                <a:gd name="connsiteY0" fmla="*/ 0 h 257442"/>
                <a:gd name="connsiteX1" fmla="*/ 1569340 w 1624062"/>
                <a:gd name="connsiteY1" fmla="*/ 257442 h 257442"/>
                <a:gd name="connsiteX2" fmla="*/ 0 w 1624062"/>
                <a:gd name="connsiteY2" fmla="*/ 257442 h 257442"/>
                <a:gd name="connsiteX3" fmla="*/ 0 w 1624062"/>
                <a:gd name="connsiteY3" fmla="*/ 0 h 257442"/>
                <a:gd name="connsiteX0" fmla="*/ 1624063 w 1624063"/>
                <a:gd name="connsiteY0" fmla="*/ 0 h 257442"/>
                <a:gd name="connsiteX1" fmla="*/ 1569341 w 1624063"/>
                <a:gd name="connsiteY1" fmla="*/ 257442 h 257442"/>
                <a:gd name="connsiteX2" fmla="*/ 0 w 1624063"/>
                <a:gd name="connsiteY2" fmla="*/ 257442 h 257442"/>
                <a:gd name="connsiteX3" fmla="*/ 1 w 1624063"/>
                <a:gd name="connsiteY3" fmla="*/ 0 h 257442"/>
                <a:gd name="connsiteX0" fmla="*/ 1624063 w 1624063"/>
                <a:gd name="connsiteY0" fmla="*/ 0 h 257442"/>
                <a:gd name="connsiteX1" fmla="*/ 1569341 w 1624063"/>
                <a:gd name="connsiteY1" fmla="*/ 257442 h 257442"/>
                <a:gd name="connsiteX2" fmla="*/ 0 w 1624063"/>
                <a:gd name="connsiteY2" fmla="*/ 257442 h 257442"/>
                <a:gd name="connsiteX3" fmla="*/ 1 w 1624063"/>
                <a:gd name="connsiteY3" fmla="*/ 0 h 257442"/>
                <a:gd name="connsiteX0" fmla="*/ 986068 w 1569341"/>
                <a:gd name="connsiteY0" fmla="*/ 0 h 257442"/>
                <a:gd name="connsiteX1" fmla="*/ 1569341 w 1569341"/>
                <a:gd name="connsiteY1" fmla="*/ 257442 h 257442"/>
                <a:gd name="connsiteX2" fmla="*/ 0 w 1569341"/>
                <a:gd name="connsiteY2" fmla="*/ 257442 h 257442"/>
                <a:gd name="connsiteX3" fmla="*/ 1 w 1569341"/>
                <a:gd name="connsiteY3" fmla="*/ 0 h 257442"/>
                <a:gd name="connsiteX0" fmla="*/ 986068 w 986068"/>
                <a:gd name="connsiteY0" fmla="*/ 0 h 257442"/>
                <a:gd name="connsiteX1" fmla="*/ 931347 w 986068"/>
                <a:gd name="connsiteY1" fmla="*/ 257442 h 257442"/>
                <a:gd name="connsiteX2" fmla="*/ 0 w 986068"/>
                <a:gd name="connsiteY2" fmla="*/ 257442 h 257442"/>
                <a:gd name="connsiteX3" fmla="*/ 1 w 986068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1146368 w 1146368"/>
                <a:gd name="connsiteY0" fmla="*/ 0 h 257442"/>
                <a:gd name="connsiteX1" fmla="*/ 931346 w 1146368"/>
                <a:gd name="connsiteY1" fmla="*/ 257442 h 257442"/>
                <a:gd name="connsiteX2" fmla="*/ 0 w 1146368"/>
                <a:gd name="connsiteY2" fmla="*/ 257442 h 257442"/>
                <a:gd name="connsiteX3" fmla="*/ 0 w 1146368"/>
                <a:gd name="connsiteY3" fmla="*/ 0 h 257442"/>
                <a:gd name="connsiteX0" fmla="*/ 1146368 w 1146368"/>
                <a:gd name="connsiteY0" fmla="*/ 0 h 257442"/>
                <a:gd name="connsiteX1" fmla="*/ 1091646 w 1146368"/>
                <a:gd name="connsiteY1" fmla="*/ 257442 h 257442"/>
                <a:gd name="connsiteX2" fmla="*/ 0 w 1146368"/>
                <a:gd name="connsiteY2" fmla="*/ 257442 h 257442"/>
                <a:gd name="connsiteX3" fmla="*/ 0 w 1146368"/>
                <a:gd name="connsiteY3" fmla="*/ 0 h 257442"/>
                <a:gd name="connsiteX0" fmla="*/ 1146369 w 1146369"/>
                <a:gd name="connsiteY0" fmla="*/ 0 h 257442"/>
                <a:gd name="connsiteX1" fmla="*/ 1091647 w 1146369"/>
                <a:gd name="connsiteY1" fmla="*/ 257442 h 257442"/>
                <a:gd name="connsiteX2" fmla="*/ 0 w 1146369"/>
                <a:gd name="connsiteY2" fmla="*/ 257442 h 257442"/>
                <a:gd name="connsiteX3" fmla="*/ 1 w 1146369"/>
                <a:gd name="connsiteY3" fmla="*/ 0 h 257442"/>
                <a:gd name="connsiteX0" fmla="*/ 1146369 w 1146369"/>
                <a:gd name="connsiteY0" fmla="*/ 0 h 257442"/>
                <a:gd name="connsiteX1" fmla="*/ 1091647 w 1146369"/>
                <a:gd name="connsiteY1" fmla="*/ 257442 h 257442"/>
                <a:gd name="connsiteX2" fmla="*/ 0 w 1146369"/>
                <a:gd name="connsiteY2" fmla="*/ 257442 h 257442"/>
                <a:gd name="connsiteX3" fmla="*/ 1 w 1146369"/>
                <a:gd name="connsiteY3" fmla="*/ 0 h 257442"/>
                <a:gd name="connsiteX0" fmla="*/ 1314683 w 1314683"/>
                <a:gd name="connsiteY0" fmla="*/ 0 h 257442"/>
                <a:gd name="connsiteX1" fmla="*/ 1091647 w 1314683"/>
                <a:gd name="connsiteY1" fmla="*/ 257442 h 257442"/>
                <a:gd name="connsiteX2" fmla="*/ 0 w 1314683"/>
                <a:gd name="connsiteY2" fmla="*/ 257442 h 257442"/>
                <a:gd name="connsiteX3" fmla="*/ 1 w 1314683"/>
                <a:gd name="connsiteY3" fmla="*/ 0 h 257442"/>
                <a:gd name="connsiteX0" fmla="*/ 1314683 w 1314683"/>
                <a:gd name="connsiteY0" fmla="*/ 0 h 257442"/>
                <a:gd name="connsiteX1" fmla="*/ 1259962 w 1314683"/>
                <a:gd name="connsiteY1" fmla="*/ 257442 h 257442"/>
                <a:gd name="connsiteX2" fmla="*/ 0 w 1314683"/>
                <a:gd name="connsiteY2" fmla="*/ 257442 h 257442"/>
                <a:gd name="connsiteX3" fmla="*/ 1 w 1314683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3 w 1314683"/>
                <a:gd name="connsiteY0" fmla="*/ 0 h 257442"/>
                <a:gd name="connsiteX1" fmla="*/ 1259962 w 1314683"/>
                <a:gd name="connsiteY1" fmla="*/ 257442 h 257442"/>
                <a:gd name="connsiteX2" fmla="*/ 1 w 1314683"/>
                <a:gd name="connsiteY2" fmla="*/ 257442 h 257442"/>
                <a:gd name="connsiteX3" fmla="*/ 0 w 1314683"/>
                <a:gd name="connsiteY3" fmla="*/ 0 h 257442"/>
                <a:gd name="connsiteX0" fmla="*/ 1474984 w 1474984"/>
                <a:gd name="connsiteY0" fmla="*/ 0 h 257442"/>
                <a:gd name="connsiteX1" fmla="*/ 1259962 w 1474984"/>
                <a:gd name="connsiteY1" fmla="*/ 257442 h 257442"/>
                <a:gd name="connsiteX2" fmla="*/ 1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1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575972 w 1575972"/>
                <a:gd name="connsiteY0" fmla="*/ 0 h 257442"/>
                <a:gd name="connsiteX1" fmla="*/ 1420262 w 1575972"/>
                <a:gd name="connsiteY1" fmla="*/ 257442 h 257442"/>
                <a:gd name="connsiteX2" fmla="*/ 0 w 1575972"/>
                <a:gd name="connsiteY2" fmla="*/ 257442 h 257442"/>
                <a:gd name="connsiteX3" fmla="*/ 0 w 1575972"/>
                <a:gd name="connsiteY3" fmla="*/ 0 h 257442"/>
                <a:gd name="connsiteX0" fmla="*/ 1575972 w 1575972"/>
                <a:gd name="connsiteY0" fmla="*/ 0 h 257442"/>
                <a:gd name="connsiteX1" fmla="*/ 1521251 w 1575972"/>
                <a:gd name="connsiteY1" fmla="*/ 257442 h 257442"/>
                <a:gd name="connsiteX2" fmla="*/ 0 w 1575972"/>
                <a:gd name="connsiteY2" fmla="*/ 257442 h 257442"/>
                <a:gd name="connsiteX3" fmla="*/ 0 w 1575972"/>
                <a:gd name="connsiteY3" fmla="*/ 0 h 257442"/>
                <a:gd name="connsiteX0" fmla="*/ 1575972 w 1575972"/>
                <a:gd name="connsiteY0" fmla="*/ 0 h 257442"/>
                <a:gd name="connsiteX1" fmla="*/ 1521251 w 1575972"/>
                <a:gd name="connsiteY1" fmla="*/ 257442 h 257442"/>
                <a:gd name="connsiteX2" fmla="*/ 0 w 1575972"/>
                <a:gd name="connsiteY2" fmla="*/ 257442 h 257442"/>
                <a:gd name="connsiteX3" fmla="*/ 0 w 1575972"/>
                <a:gd name="connsiteY3" fmla="*/ 0 h 257442"/>
                <a:gd name="connsiteX0" fmla="*/ 1575972 w 1575972"/>
                <a:gd name="connsiteY0" fmla="*/ 0 h 257442"/>
                <a:gd name="connsiteX1" fmla="*/ 1521251 w 1575972"/>
                <a:gd name="connsiteY1" fmla="*/ 257442 h 257442"/>
                <a:gd name="connsiteX2" fmla="*/ 0 w 1575972"/>
                <a:gd name="connsiteY2" fmla="*/ 257442 h 257442"/>
                <a:gd name="connsiteX3" fmla="*/ 0 w 1575972"/>
                <a:gd name="connsiteY3" fmla="*/ 0 h 257442"/>
                <a:gd name="connsiteX0" fmla="*/ 1728257 w 1728257"/>
                <a:gd name="connsiteY0" fmla="*/ 0 h 257442"/>
                <a:gd name="connsiteX1" fmla="*/ 1521251 w 1728257"/>
                <a:gd name="connsiteY1" fmla="*/ 257442 h 257442"/>
                <a:gd name="connsiteX2" fmla="*/ 0 w 1728257"/>
                <a:gd name="connsiteY2" fmla="*/ 257442 h 257442"/>
                <a:gd name="connsiteX3" fmla="*/ 0 w 1728257"/>
                <a:gd name="connsiteY3" fmla="*/ 0 h 257442"/>
                <a:gd name="connsiteX0" fmla="*/ 1728257 w 1728257"/>
                <a:gd name="connsiteY0" fmla="*/ 0 h 257442"/>
                <a:gd name="connsiteX1" fmla="*/ 1673536 w 1728257"/>
                <a:gd name="connsiteY1" fmla="*/ 257442 h 257442"/>
                <a:gd name="connsiteX2" fmla="*/ 0 w 1728257"/>
                <a:gd name="connsiteY2" fmla="*/ 257442 h 257442"/>
                <a:gd name="connsiteX3" fmla="*/ 0 w 1728257"/>
                <a:gd name="connsiteY3" fmla="*/ 0 h 257442"/>
                <a:gd name="connsiteX0" fmla="*/ 1728257 w 1728257"/>
                <a:gd name="connsiteY0" fmla="*/ 0 h 257442"/>
                <a:gd name="connsiteX1" fmla="*/ 1673536 w 1728257"/>
                <a:gd name="connsiteY1" fmla="*/ 257442 h 257442"/>
                <a:gd name="connsiteX2" fmla="*/ 0 w 1728257"/>
                <a:gd name="connsiteY2" fmla="*/ 257442 h 257442"/>
                <a:gd name="connsiteX3" fmla="*/ 0 w 1728257"/>
                <a:gd name="connsiteY3" fmla="*/ 0 h 257442"/>
                <a:gd name="connsiteX0" fmla="*/ 1728257 w 1728257"/>
                <a:gd name="connsiteY0" fmla="*/ 0 h 257442"/>
                <a:gd name="connsiteX1" fmla="*/ 1673536 w 1728257"/>
                <a:gd name="connsiteY1" fmla="*/ 257442 h 257442"/>
                <a:gd name="connsiteX2" fmla="*/ 0 w 1728257"/>
                <a:gd name="connsiteY2" fmla="*/ 257442 h 257442"/>
                <a:gd name="connsiteX3" fmla="*/ 0 w 1728257"/>
                <a:gd name="connsiteY3" fmla="*/ 0 h 257442"/>
                <a:gd name="connsiteX0" fmla="*/ 1888557 w 1888557"/>
                <a:gd name="connsiteY0" fmla="*/ 0 h 257442"/>
                <a:gd name="connsiteX1" fmla="*/ 16735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989547 w 1989547"/>
                <a:gd name="connsiteY0" fmla="*/ 0 h 257442"/>
                <a:gd name="connsiteX1" fmla="*/ 1833836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1989547 w 1989547"/>
                <a:gd name="connsiteY0" fmla="*/ 0 h 257442"/>
                <a:gd name="connsiteX1" fmla="*/ 1934826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1989547 w 1989547"/>
                <a:gd name="connsiteY0" fmla="*/ 0 h 257442"/>
                <a:gd name="connsiteX1" fmla="*/ 1934826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1989547 w 1989547"/>
                <a:gd name="connsiteY0" fmla="*/ 0 h 257442"/>
                <a:gd name="connsiteX1" fmla="*/ 1934826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2141832 w 2141832"/>
                <a:gd name="connsiteY0" fmla="*/ 0 h 257442"/>
                <a:gd name="connsiteX1" fmla="*/ 1934826 w 2141832"/>
                <a:gd name="connsiteY1" fmla="*/ 257442 h 257442"/>
                <a:gd name="connsiteX2" fmla="*/ 0 w 2141832"/>
                <a:gd name="connsiteY2" fmla="*/ 257442 h 257442"/>
                <a:gd name="connsiteX3" fmla="*/ 0 w 2141832"/>
                <a:gd name="connsiteY3" fmla="*/ 0 h 257442"/>
                <a:gd name="connsiteX0" fmla="*/ 2141832 w 2141832"/>
                <a:gd name="connsiteY0" fmla="*/ 0 h 257442"/>
                <a:gd name="connsiteX1" fmla="*/ 2087110 w 2141832"/>
                <a:gd name="connsiteY1" fmla="*/ 257442 h 257442"/>
                <a:gd name="connsiteX2" fmla="*/ 0 w 2141832"/>
                <a:gd name="connsiteY2" fmla="*/ 257442 h 257442"/>
                <a:gd name="connsiteX3" fmla="*/ 0 w 2141832"/>
                <a:gd name="connsiteY3" fmla="*/ 0 h 257442"/>
                <a:gd name="connsiteX0" fmla="*/ 2141833 w 2141833"/>
                <a:gd name="connsiteY0" fmla="*/ 0 h 257442"/>
                <a:gd name="connsiteX1" fmla="*/ 2087111 w 2141833"/>
                <a:gd name="connsiteY1" fmla="*/ 257442 h 257442"/>
                <a:gd name="connsiteX2" fmla="*/ 0 w 2141833"/>
                <a:gd name="connsiteY2" fmla="*/ 257442 h 257442"/>
                <a:gd name="connsiteX3" fmla="*/ 1 w 2141833"/>
                <a:gd name="connsiteY3" fmla="*/ 0 h 257442"/>
                <a:gd name="connsiteX0" fmla="*/ 2141833 w 2141833"/>
                <a:gd name="connsiteY0" fmla="*/ 0 h 257442"/>
                <a:gd name="connsiteX1" fmla="*/ 2087111 w 2141833"/>
                <a:gd name="connsiteY1" fmla="*/ 257442 h 257442"/>
                <a:gd name="connsiteX2" fmla="*/ 0 w 2141833"/>
                <a:gd name="connsiteY2" fmla="*/ 257442 h 257442"/>
                <a:gd name="connsiteX3" fmla="*/ 1 w 2141833"/>
                <a:gd name="connsiteY3" fmla="*/ 0 h 257442"/>
                <a:gd name="connsiteX0" fmla="*/ 2310149 w 2310149"/>
                <a:gd name="connsiteY0" fmla="*/ 0 h 257442"/>
                <a:gd name="connsiteX1" fmla="*/ 2087111 w 2310149"/>
                <a:gd name="connsiteY1" fmla="*/ 257442 h 257442"/>
                <a:gd name="connsiteX2" fmla="*/ 0 w 2310149"/>
                <a:gd name="connsiteY2" fmla="*/ 257442 h 257442"/>
                <a:gd name="connsiteX3" fmla="*/ 1 w 2310149"/>
                <a:gd name="connsiteY3" fmla="*/ 0 h 257442"/>
                <a:gd name="connsiteX0" fmla="*/ 2310149 w 2310149"/>
                <a:gd name="connsiteY0" fmla="*/ 0 h 257442"/>
                <a:gd name="connsiteX1" fmla="*/ 2255428 w 2310149"/>
                <a:gd name="connsiteY1" fmla="*/ 257442 h 257442"/>
                <a:gd name="connsiteX2" fmla="*/ 0 w 2310149"/>
                <a:gd name="connsiteY2" fmla="*/ 257442 h 257442"/>
                <a:gd name="connsiteX3" fmla="*/ 1 w 2310149"/>
                <a:gd name="connsiteY3" fmla="*/ 0 h 257442"/>
                <a:gd name="connsiteX0" fmla="*/ 2310148 w 2310148"/>
                <a:gd name="connsiteY0" fmla="*/ 0 h 257442"/>
                <a:gd name="connsiteX1" fmla="*/ 2255427 w 2310148"/>
                <a:gd name="connsiteY1" fmla="*/ 257442 h 257442"/>
                <a:gd name="connsiteX2" fmla="*/ 0 w 2310148"/>
                <a:gd name="connsiteY2" fmla="*/ 257442 h 257442"/>
                <a:gd name="connsiteX3" fmla="*/ 0 w 2310148"/>
                <a:gd name="connsiteY3" fmla="*/ 0 h 257442"/>
                <a:gd name="connsiteX0" fmla="*/ 2310149 w 2310149"/>
                <a:gd name="connsiteY0" fmla="*/ 0 h 257442"/>
                <a:gd name="connsiteX1" fmla="*/ 2255428 w 2310149"/>
                <a:gd name="connsiteY1" fmla="*/ 257442 h 257442"/>
                <a:gd name="connsiteX2" fmla="*/ 1 w 2310149"/>
                <a:gd name="connsiteY2" fmla="*/ 257442 h 257442"/>
                <a:gd name="connsiteX3" fmla="*/ 0 w 2310149"/>
                <a:gd name="connsiteY3" fmla="*/ 0 h 257442"/>
                <a:gd name="connsiteX0" fmla="*/ 2478463 w 2478463"/>
                <a:gd name="connsiteY0" fmla="*/ 0 h 257442"/>
                <a:gd name="connsiteX1" fmla="*/ 2255428 w 2478463"/>
                <a:gd name="connsiteY1" fmla="*/ 257442 h 257442"/>
                <a:gd name="connsiteX2" fmla="*/ 1 w 2478463"/>
                <a:gd name="connsiteY2" fmla="*/ 257442 h 257442"/>
                <a:gd name="connsiteX3" fmla="*/ 0 w 2478463"/>
                <a:gd name="connsiteY3" fmla="*/ 0 h 257442"/>
                <a:gd name="connsiteX0" fmla="*/ 2478463 w 2478463"/>
                <a:gd name="connsiteY0" fmla="*/ 0 h 257442"/>
                <a:gd name="connsiteX1" fmla="*/ 2423742 w 2478463"/>
                <a:gd name="connsiteY1" fmla="*/ 257442 h 257442"/>
                <a:gd name="connsiteX2" fmla="*/ 1 w 2478463"/>
                <a:gd name="connsiteY2" fmla="*/ 257442 h 257442"/>
                <a:gd name="connsiteX3" fmla="*/ 0 w 2478463"/>
                <a:gd name="connsiteY3" fmla="*/ 0 h 257442"/>
                <a:gd name="connsiteX0" fmla="*/ 2478463 w 2478463"/>
                <a:gd name="connsiteY0" fmla="*/ 0 h 257442"/>
                <a:gd name="connsiteX1" fmla="*/ 2423742 w 2478463"/>
                <a:gd name="connsiteY1" fmla="*/ 257442 h 257442"/>
                <a:gd name="connsiteX2" fmla="*/ 1 w 2478463"/>
                <a:gd name="connsiteY2" fmla="*/ 257442 h 257442"/>
                <a:gd name="connsiteX3" fmla="*/ 0 w 2478463"/>
                <a:gd name="connsiteY3" fmla="*/ 0 h 257442"/>
                <a:gd name="connsiteX0" fmla="*/ 2478462 w 2478462"/>
                <a:gd name="connsiteY0" fmla="*/ 0 h 257442"/>
                <a:gd name="connsiteX1" fmla="*/ 2423741 w 2478462"/>
                <a:gd name="connsiteY1" fmla="*/ 257442 h 257442"/>
                <a:gd name="connsiteX2" fmla="*/ 0 w 2478462"/>
                <a:gd name="connsiteY2" fmla="*/ 257442 h 257442"/>
                <a:gd name="connsiteX3" fmla="*/ 0 w 2478462"/>
                <a:gd name="connsiteY3" fmla="*/ 0 h 257442"/>
                <a:gd name="connsiteX0" fmla="*/ 2630747 w 2630747"/>
                <a:gd name="connsiteY0" fmla="*/ 0 h 257442"/>
                <a:gd name="connsiteX1" fmla="*/ 2423741 w 2630747"/>
                <a:gd name="connsiteY1" fmla="*/ 257442 h 257442"/>
                <a:gd name="connsiteX2" fmla="*/ 0 w 2630747"/>
                <a:gd name="connsiteY2" fmla="*/ 257442 h 257442"/>
                <a:gd name="connsiteX3" fmla="*/ 0 w 2630747"/>
                <a:gd name="connsiteY3" fmla="*/ 0 h 257442"/>
                <a:gd name="connsiteX0" fmla="*/ 2630747 w 2630747"/>
                <a:gd name="connsiteY0" fmla="*/ 0 h 257442"/>
                <a:gd name="connsiteX1" fmla="*/ 2576026 w 2630747"/>
                <a:gd name="connsiteY1" fmla="*/ 257442 h 257442"/>
                <a:gd name="connsiteX2" fmla="*/ 0 w 2630747"/>
                <a:gd name="connsiteY2" fmla="*/ 257442 h 257442"/>
                <a:gd name="connsiteX3" fmla="*/ 0 w 2630747"/>
                <a:gd name="connsiteY3" fmla="*/ 0 h 257442"/>
                <a:gd name="connsiteX0" fmla="*/ 2630748 w 2630748"/>
                <a:gd name="connsiteY0" fmla="*/ 0 h 257442"/>
                <a:gd name="connsiteX1" fmla="*/ 2576027 w 2630748"/>
                <a:gd name="connsiteY1" fmla="*/ 257442 h 257442"/>
                <a:gd name="connsiteX2" fmla="*/ 0 w 2630748"/>
                <a:gd name="connsiteY2" fmla="*/ 257442 h 257442"/>
                <a:gd name="connsiteX3" fmla="*/ 1 w 2630748"/>
                <a:gd name="connsiteY3" fmla="*/ 0 h 257442"/>
                <a:gd name="connsiteX0" fmla="*/ 2630748 w 2630748"/>
                <a:gd name="connsiteY0" fmla="*/ 0 h 257442"/>
                <a:gd name="connsiteX1" fmla="*/ 2576027 w 2630748"/>
                <a:gd name="connsiteY1" fmla="*/ 257442 h 257442"/>
                <a:gd name="connsiteX2" fmla="*/ 0 w 2630748"/>
                <a:gd name="connsiteY2" fmla="*/ 257442 h 257442"/>
                <a:gd name="connsiteX3" fmla="*/ 0 w 2630748"/>
                <a:gd name="connsiteY3" fmla="*/ 0 h 257442"/>
                <a:gd name="connsiteX0" fmla="*/ 2783033 w 2783033"/>
                <a:gd name="connsiteY0" fmla="*/ 0 h 257442"/>
                <a:gd name="connsiteX1" fmla="*/ 2576027 w 2783033"/>
                <a:gd name="connsiteY1" fmla="*/ 257442 h 257442"/>
                <a:gd name="connsiteX2" fmla="*/ 0 w 2783033"/>
                <a:gd name="connsiteY2" fmla="*/ 257442 h 257442"/>
                <a:gd name="connsiteX3" fmla="*/ 0 w 2783033"/>
                <a:gd name="connsiteY3" fmla="*/ 0 h 257442"/>
                <a:gd name="connsiteX0" fmla="*/ 2783033 w 2783033"/>
                <a:gd name="connsiteY0" fmla="*/ 0 h 257442"/>
                <a:gd name="connsiteX1" fmla="*/ 2728312 w 2783033"/>
                <a:gd name="connsiteY1" fmla="*/ 257442 h 257442"/>
                <a:gd name="connsiteX2" fmla="*/ 0 w 2783033"/>
                <a:gd name="connsiteY2" fmla="*/ 257442 h 257442"/>
                <a:gd name="connsiteX3" fmla="*/ 0 w 2783033"/>
                <a:gd name="connsiteY3" fmla="*/ 0 h 257442"/>
                <a:gd name="connsiteX0" fmla="*/ 2783033 w 2783033"/>
                <a:gd name="connsiteY0" fmla="*/ 0 h 257442"/>
                <a:gd name="connsiteX1" fmla="*/ 2728312 w 2783033"/>
                <a:gd name="connsiteY1" fmla="*/ 257442 h 257442"/>
                <a:gd name="connsiteX2" fmla="*/ 0 w 2783033"/>
                <a:gd name="connsiteY2" fmla="*/ 257442 h 257442"/>
                <a:gd name="connsiteX3" fmla="*/ 0 w 2783033"/>
                <a:gd name="connsiteY3" fmla="*/ 0 h 257442"/>
                <a:gd name="connsiteX0" fmla="*/ 2783033 w 2783033"/>
                <a:gd name="connsiteY0" fmla="*/ 0 h 257442"/>
                <a:gd name="connsiteX1" fmla="*/ 2728312 w 2783033"/>
                <a:gd name="connsiteY1" fmla="*/ 257442 h 257442"/>
                <a:gd name="connsiteX2" fmla="*/ 0 w 2783033"/>
                <a:gd name="connsiteY2" fmla="*/ 257442 h 257442"/>
                <a:gd name="connsiteX3" fmla="*/ 0 w 2783033"/>
                <a:gd name="connsiteY3" fmla="*/ 0 h 257442"/>
                <a:gd name="connsiteX0" fmla="*/ 2884023 w 2884023"/>
                <a:gd name="connsiteY0" fmla="*/ 0 h 257442"/>
                <a:gd name="connsiteX1" fmla="*/ 2728312 w 2884023"/>
                <a:gd name="connsiteY1" fmla="*/ 257442 h 257442"/>
                <a:gd name="connsiteX2" fmla="*/ 0 w 2884023"/>
                <a:gd name="connsiteY2" fmla="*/ 257442 h 257442"/>
                <a:gd name="connsiteX3" fmla="*/ 0 w 2884023"/>
                <a:gd name="connsiteY3" fmla="*/ 0 h 257442"/>
                <a:gd name="connsiteX0" fmla="*/ 2884023 w 2884023"/>
                <a:gd name="connsiteY0" fmla="*/ 0 h 257442"/>
                <a:gd name="connsiteX1" fmla="*/ 2829302 w 2884023"/>
                <a:gd name="connsiteY1" fmla="*/ 257442 h 257442"/>
                <a:gd name="connsiteX2" fmla="*/ 0 w 2884023"/>
                <a:gd name="connsiteY2" fmla="*/ 257442 h 257442"/>
                <a:gd name="connsiteX3" fmla="*/ 0 w 2884023"/>
                <a:gd name="connsiteY3" fmla="*/ 0 h 257442"/>
                <a:gd name="connsiteX0" fmla="*/ 2884023 w 2884023"/>
                <a:gd name="connsiteY0" fmla="*/ 0 h 257442"/>
                <a:gd name="connsiteX1" fmla="*/ 2829302 w 2884023"/>
                <a:gd name="connsiteY1" fmla="*/ 257442 h 257442"/>
                <a:gd name="connsiteX2" fmla="*/ 0 w 2884023"/>
                <a:gd name="connsiteY2" fmla="*/ 257442 h 257442"/>
                <a:gd name="connsiteX3" fmla="*/ 0 w 2884023"/>
                <a:gd name="connsiteY3" fmla="*/ 0 h 257442"/>
                <a:gd name="connsiteX0" fmla="*/ 2884023 w 2884023"/>
                <a:gd name="connsiteY0" fmla="*/ 0 h 257442"/>
                <a:gd name="connsiteX1" fmla="*/ 2829302 w 2884023"/>
                <a:gd name="connsiteY1" fmla="*/ 257442 h 257442"/>
                <a:gd name="connsiteX2" fmla="*/ 0 w 2884023"/>
                <a:gd name="connsiteY2" fmla="*/ 257442 h 257442"/>
                <a:gd name="connsiteX3" fmla="*/ 0 w 2884023"/>
                <a:gd name="connsiteY3" fmla="*/ 0 h 257442"/>
                <a:gd name="connsiteX0" fmla="*/ 3052337 w 3052337"/>
                <a:gd name="connsiteY0" fmla="*/ 0 h 257442"/>
                <a:gd name="connsiteX1" fmla="*/ 2829302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1888557 w 2997616"/>
                <a:gd name="connsiteY0" fmla="*/ 0 h 257442"/>
                <a:gd name="connsiteX1" fmla="*/ 2997616 w 2997616"/>
                <a:gd name="connsiteY1" fmla="*/ 257442 h 257442"/>
                <a:gd name="connsiteX2" fmla="*/ 0 w 2997616"/>
                <a:gd name="connsiteY2" fmla="*/ 257442 h 257442"/>
                <a:gd name="connsiteX3" fmla="*/ 0 w 2997616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1 w 1888557"/>
                <a:gd name="connsiteY2" fmla="*/ 257442 h 257442"/>
                <a:gd name="connsiteX3" fmla="*/ 0 w 1888557"/>
                <a:gd name="connsiteY3" fmla="*/ 0 h 257442"/>
                <a:gd name="connsiteX0" fmla="*/ 1888556 w 1888556"/>
                <a:gd name="connsiteY0" fmla="*/ 0 h 257442"/>
                <a:gd name="connsiteX1" fmla="*/ 1833835 w 1888556"/>
                <a:gd name="connsiteY1" fmla="*/ 257442 h 257442"/>
                <a:gd name="connsiteX2" fmla="*/ 0 w 1888556"/>
                <a:gd name="connsiteY2" fmla="*/ 257442 h 257442"/>
                <a:gd name="connsiteX3" fmla="*/ 0 w 1888556"/>
                <a:gd name="connsiteY3" fmla="*/ 0 h 257442"/>
                <a:gd name="connsiteX0" fmla="*/ 934770 w 1833835"/>
                <a:gd name="connsiteY0" fmla="*/ 0 h 257442"/>
                <a:gd name="connsiteX1" fmla="*/ 1833835 w 1833835"/>
                <a:gd name="connsiteY1" fmla="*/ 257442 h 257442"/>
                <a:gd name="connsiteX2" fmla="*/ 0 w 1833835"/>
                <a:gd name="connsiteY2" fmla="*/ 257442 h 257442"/>
                <a:gd name="connsiteX3" fmla="*/ 0 w 1833835"/>
                <a:gd name="connsiteY3" fmla="*/ 0 h 257442"/>
                <a:gd name="connsiteX0" fmla="*/ 934770 w 934770"/>
                <a:gd name="connsiteY0" fmla="*/ 0 h 257442"/>
                <a:gd name="connsiteX1" fmla="*/ 880050 w 934770"/>
                <a:gd name="connsiteY1" fmla="*/ 257442 h 257442"/>
                <a:gd name="connsiteX2" fmla="*/ 0 w 934770"/>
                <a:gd name="connsiteY2" fmla="*/ 257442 h 257442"/>
                <a:gd name="connsiteX3" fmla="*/ 0 w 934770"/>
                <a:gd name="connsiteY3" fmla="*/ 0 h 257442"/>
                <a:gd name="connsiteX0" fmla="*/ 934770 w 934770"/>
                <a:gd name="connsiteY0" fmla="*/ 0 h 257442"/>
                <a:gd name="connsiteX1" fmla="*/ 880050 w 934770"/>
                <a:gd name="connsiteY1" fmla="*/ 257442 h 257442"/>
                <a:gd name="connsiteX2" fmla="*/ 0 w 934770"/>
                <a:gd name="connsiteY2" fmla="*/ 257442 h 257442"/>
                <a:gd name="connsiteX3" fmla="*/ 0 w 934770"/>
                <a:gd name="connsiteY3" fmla="*/ 0 h 257442"/>
                <a:gd name="connsiteX0" fmla="*/ 934770 w 934770"/>
                <a:gd name="connsiteY0" fmla="*/ 0 h 257442"/>
                <a:gd name="connsiteX1" fmla="*/ 880050 w 934770"/>
                <a:gd name="connsiteY1" fmla="*/ 257442 h 257442"/>
                <a:gd name="connsiteX2" fmla="*/ 0 w 934770"/>
                <a:gd name="connsiteY2" fmla="*/ 257442 h 257442"/>
                <a:gd name="connsiteX3" fmla="*/ 0 w 934770"/>
                <a:gd name="connsiteY3" fmla="*/ 0 h 257442"/>
                <a:gd name="connsiteX0" fmla="*/ 1103086 w 1103086"/>
                <a:gd name="connsiteY0" fmla="*/ 0 h 257442"/>
                <a:gd name="connsiteX1" fmla="*/ 880050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271402 w 1271402"/>
                <a:gd name="connsiteY0" fmla="*/ 0 h 257442"/>
                <a:gd name="connsiteX1" fmla="*/ 1048365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423687 w 1423687"/>
                <a:gd name="connsiteY0" fmla="*/ 0 h 257442"/>
                <a:gd name="connsiteX1" fmla="*/ 1216681 w 1423687"/>
                <a:gd name="connsiteY1" fmla="*/ 257442 h 257442"/>
                <a:gd name="connsiteX2" fmla="*/ 0 w 1423687"/>
                <a:gd name="connsiteY2" fmla="*/ 257442 h 257442"/>
                <a:gd name="connsiteX3" fmla="*/ 0 w 1423687"/>
                <a:gd name="connsiteY3" fmla="*/ 0 h 257442"/>
                <a:gd name="connsiteX0" fmla="*/ 1423687 w 1423687"/>
                <a:gd name="connsiteY0" fmla="*/ 0 h 257442"/>
                <a:gd name="connsiteX1" fmla="*/ 1368966 w 1423687"/>
                <a:gd name="connsiteY1" fmla="*/ 257442 h 257442"/>
                <a:gd name="connsiteX2" fmla="*/ 0 w 1423687"/>
                <a:gd name="connsiteY2" fmla="*/ 257442 h 257442"/>
                <a:gd name="connsiteX3" fmla="*/ 0 w 1423687"/>
                <a:gd name="connsiteY3" fmla="*/ 0 h 257442"/>
                <a:gd name="connsiteX0" fmla="*/ 1423687 w 1423687"/>
                <a:gd name="connsiteY0" fmla="*/ 0 h 257442"/>
                <a:gd name="connsiteX1" fmla="*/ 1368966 w 1423687"/>
                <a:gd name="connsiteY1" fmla="*/ 257442 h 257442"/>
                <a:gd name="connsiteX2" fmla="*/ 0 w 1423687"/>
                <a:gd name="connsiteY2" fmla="*/ 257442 h 257442"/>
                <a:gd name="connsiteX3" fmla="*/ 0 w 1423687"/>
                <a:gd name="connsiteY3" fmla="*/ 0 h 257442"/>
                <a:gd name="connsiteX0" fmla="*/ 1423687 w 1423687"/>
                <a:gd name="connsiteY0" fmla="*/ 0 h 257442"/>
                <a:gd name="connsiteX1" fmla="*/ 1368966 w 1423687"/>
                <a:gd name="connsiteY1" fmla="*/ 257442 h 257442"/>
                <a:gd name="connsiteX2" fmla="*/ 0 w 1423687"/>
                <a:gd name="connsiteY2" fmla="*/ 257442 h 257442"/>
                <a:gd name="connsiteX3" fmla="*/ 0 w 1423687"/>
                <a:gd name="connsiteY3" fmla="*/ 0 h 257442"/>
                <a:gd name="connsiteX0" fmla="*/ 1575972 w 1575972"/>
                <a:gd name="connsiteY0" fmla="*/ 0 h 257442"/>
                <a:gd name="connsiteX1" fmla="*/ 1368966 w 1575972"/>
                <a:gd name="connsiteY1" fmla="*/ 257442 h 257442"/>
                <a:gd name="connsiteX2" fmla="*/ 0 w 1575972"/>
                <a:gd name="connsiteY2" fmla="*/ 257442 h 257442"/>
                <a:gd name="connsiteX3" fmla="*/ 0 w 1575972"/>
                <a:gd name="connsiteY3" fmla="*/ 0 h 257442"/>
                <a:gd name="connsiteX0" fmla="*/ 1575972 w 1575972"/>
                <a:gd name="connsiteY0" fmla="*/ 0 h 257442"/>
                <a:gd name="connsiteX1" fmla="*/ 1521250 w 1575972"/>
                <a:gd name="connsiteY1" fmla="*/ 257442 h 257442"/>
                <a:gd name="connsiteX2" fmla="*/ 0 w 1575972"/>
                <a:gd name="connsiteY2" fmla="*/ 257442 h 257442"/>
                <a:gd name="connsiteX3" fmla="*/ 0 w 1575972"/>
                <a:gd name="connsiteY3" fmla="*/ 0 h 257442"/>
                <a:gd name="connsiteX0" fmla="*/ 1575973 w 1575973"/>
                <a:gd name="connsiteY0" fmla="*/ 0 h 257442"/>
                <a:gd name="connsiteX1" fmla="*/ 1521251 w 1575973"/>
                <a:gd name="connsiteY1" fmla="*/ 257442 h 257442"/>
                <a:gd name="connsiteX2" fmla="*/ 0 w 1575973"/>
                <a:gd name="connsiteY2" fmla="*/ 257442 h 257442"/>
                <a:gd name="connsiteX3" fmla="*/ 1 w 1575973"/>
                <a:gd name="connsiteY3" fmla="*/ 0 h 257442"/>
                <a:gd name="connsiteX0" fmla="*/ 1575973 w 1575973"/>
                <a:gd name="connsiteY0" fmla="*/ 0 h 257442"/>
                <a:gd name="connsiteX1" fmla="*/ 1521251 w 1575973"/>
                <a:gd name="connsiteY1" fmla="*/ 257442 h 257442"/>
                <a:gd name="connsiteX2" fmla="*/ 0 w 1575973"/>
                <a:gd name="connsiteY2" fmla="*/ 257442 h 257442"/>
                <a:gd name="connsiteX3" fmla="*/ 1 w 1575973"/>
                <a:gd name="connsiteY3" fmla="*/ 0 h 257442"/>
                <a:gd name="connsiteX0" fmla="*/ 1676962 w 1676962"/>
                <a:gd name="connsiteY0" fmla="*/ 0 h 257442"/>
                <a:gd name="connsiteX1" fmla="*/ 1521251 w 1676962"/>
                <a:gd name="connsiteY1" fmla="*/ 257442 h 257442"/>
                <a:gd name="connsiteX2" fmla="*/ 0 w 1676962"/>
                <a:gd name="connsiteY2" fmla="*/ 257442 h 257442"/>
                <a:gd name="connsiteX3" fmla="*/ 1 w 1676962"/>
                <a:gd name="connsiteY3" fmla="*/ 0 h 257442"/>
                <a:gd name="connsiteX0" fmla="*/ 1676962 w 1676962"/>
                <a:gd name="connsiteY0" fmla="*/ 0 h 257442"/>
                <a:gd name="connsiteX1" fmla="*/ 1622240 w 1676962"/>
                <a:gd name="connsiteY1" fmla="*/ 257442 h 257442"/>
                <a:gd name="connsiteX2" fmla="*/ 0 w 1676962"/>
                <a:gd name="connsiteY2" fmla="*/ 257442 h 257442"/>
                <a:gd name="connsiteX3" fmla="*/ 1 w 1676962"/>
                <a:gd name="connsiteY3" fmla="*/ 0 h 257442"/>
                <a:gd name="connsiteX0" fmla="*/ 1676962 w 1676962"/>
                <a:gd name="connsiteY0" fmla="*/ 0 h 257442"/>
                <a:gd name="connsiteX1" fmla="*/ 1622240 w 1676962"/>
                <a:gd name="connsiteY1" fmla="*/ 257442 h 257442"/>
                <a:gd name="connsiteX2" fmla="*/ 0 w 1676962"/>
                <a:gd name="connsiteY2" fmla="*/ 257442 h 257442"/>
                <a:gd name="connsiteX3" fmla="*/ 1 w 1676962"/>
                <a:gd name="connsiteY3" fmla="*/ 0 h 257442"/>
                <a:gd name="connsiteX0" fmla="*/ 1676962 w 1676962"/>
                <a:gd name="connsiteY0" fmla="*/ 0 h 257442"/>
                <a:gd name="connsiteX1" fmla="*/ 1622240 w 1676962"/>
                <a:gd name="connsiteY1" fmla="*/ 257442 h 257442"/>
                <a:gd name="connsiteX2" fmla="*/ 0 w 1676962"/>
                <a:gd name="connsiteY2" fmla="*/ 257442 h 257442"/>
                <a:gd name="connsiteX3" fmla="*/ 0 w 1676962"/>
                <a:gd name="connsiteY3" fmla="*/ 0 h 257442"/>
                <a:gd name="connsiteX0" fmla="*/ 1845277 w 1845277"/>
                <a:gd name="connsiteY0" fmla="*/ 0 h 257442"/>
                <a:gd name="connsiteX1" fmla="*/ 1622240 w 1845277"/>
                <a:gd name="connsiteY1" fmla="*/ 257442 h 257442"/>
                <a:gd name="connsiteX2" fmla="*/ 0 w 1845277"/>
                <a:gd name="connsiteY2" fmla="*/ 257442 h 257442"/>
                <a:gd name="connsiteX3" fmla="*/ 0 w 1845277"/>
                <a:gd name="connsiteY3" fmla="*/ 0 h 257442"/>
                <a:gd name="connsiteX0" fmla="*/ 1845277 w 1845277"/>
                <a:gd name="connsiteY0" fmla="*/ 0 h 257442"/>
                <a:gd name="connsiteX1" fmla="*/ 1790556 w 1845277"/>
                <a:gd name="connsiteY1" fmla="*/ 257442 h 257442"/>
                <a:gd name="connsiteX2" fmla="*/ 0 w 1845277"/>
                <a:gd name="connsiteY2" fmla="*/ 257442 h 257442"/>
                <a:gd name="connsiteX3" fmla="*/ 0 w 1845277"/>
                <a:gd name="connsiteY3" fmla="*/ 0 h 257442"/>
                <a:gd name="connsiteX0" fmla="*/ 1845277 w 1845277"/>
                <a:gd name="connsiteY0" fmla="*/ 0 h 257442"/>
                <a:gd name="connsiteX1" fmla="*/ 1790556 w 1845277"/>
                <a:gd name="connsiteY1" fmla="*/ 257442 h 257442"/>
                <a:gd name="connsiteX2" fmla="*/ 0 w 1845277"/>
                <a:gd name="connsiteY2" fmla="*/ 257442 h 257442"/>
                <a:gd name="connsiteX3" fmla="*/ 0 w 1845277"/>
                <a:gd name="connsiteY3" fmla="*/ 0 h 257442"/>
                <a:gd name="connsiteX0" fmla="*/ 1845277 w 1845277"/>
                <a:gd name="connsiteY0" fmla="*/ 0 h 257442"/>
                <a:gd name="connsiteX1" fmla="*/ 1790556 w 1845277"/>
                <a:gd name="connsiteY1" fmla="*/ 257442 h 257442"/>
                <a:gd name="connsiteX2" fmla="*/ 0 w 1845277"/>
                <a:gd name="connsiteY2" fmla="*/ 257442 h 257442"/>
                <a:gd name="connsiteX3" fmla="*/ 0 w 1845277"/>
                <a:gd name="connsiteY3" fmla="*/ 0 h 257442"/>
                <a:gd name="connsiteX0" fmla="*/ 2048858 w 2048858"/>
                <a:gd name="connsiteY0" fmla="*/ 0 h 257442"/>
                <a:gd name="connsiteX1" fmla="*/ 1790556 w 2048858"/>
                <a:gd name="connsiteY1" fmla="*/ 257442 h 257442"/>
                <a:gd name="connsiteX2" fmla="*/ 0 w 2048858"/>
                <a:gd name="connsiteY2" fmla="*/ 257442 h 257442"/>
                <a:gd name="connsiteX3" fmla="*/ 0 w 2048858"/>
                <a:gd name="connsiteY3" fmla="*/ 0 h 257442"/>
                <a:gd name="connsiteX0" fmla="*/ 2048858 w 2048858"/>
                <a:gd name="connsiteY0" fmla="*/ 0 h 257442"/>
                <a:gd name="connsiteX1" fmla="*/ 1994136 w 2048858"/>
                <a:gd name="connsiteY1" fmla="*/ 257442 h 257442"/>
                <a:gd name="connsiteX2" fmla="*/ 0 w 2048858"/>
                <a:gd name="connsiteY2" fmla="*/ 257442 h 257442"/>
                <a:gd name="connsiteX3" fmla="*/ 0 w 2048858"/>
                <a:gd name="connsiteY3" fmla="*/ 0 h 257442"/>
                <a:gd name="connsiteX0" fmla="*/ 2048859 w 2048859"/>
                <a:gd name="connsiteY0" fmla="*/ 0 h 257442"/>
                <a:gd name="connsiteX1" fmla="*/ 1994137 w 2048859"/>
                <a:gd name="connsiteY1" fmla="*/ 257442 h 257442"/>
                <a:gd name="connsiteX2" fmla="*/ 0 w 2048859"/>
                <a:gd name="connsiteY2" fmla="*/ 257442 h 257442"/>
                <a:gd name="connsiteX3" fmla="*/ 1 w 2048859"/>
                <a:gd name="connsiteY3" fmla="*/ 0 h 257442"/>
                <a:gd name="connsiteX0" fmla="*/ 2048859 w 2048859"/>
                <a:gd name="connsiteY0" fmla="*/ 0 h 257442"/>
                <a:gd name="connsiteX1" fmla="*/ 1994137 w 2048859"/>
                <a:gd name="connsiteY1" fmla="*/ 257442 h 257442"/>
                <a:gd name="connsiteX2" fmla="*/ 0 w 2048859"/>
                <a:gd name="connsiteY2" fmla="*/ 257442 h 257442"/>
                <a:gd name="connsiteX3" fmla="*/ 1 w 2048859"/>
                <a:gd name="connsiteY3" fmla="*/ 0 h 257442"/>
                <a:gd name="connsiteX0" fmla="*/ 2209159 w 2209159"/>
                <a:gd name="connsiteY0" fmla="*/ 0 h 257442"/>
                <a:gd name="connsiteX1" fmla="*/ 1994137 w 2209159"/>
                <a:gd name="connsiteY1" fmla="*/ 257442 h 257442"/>
                <a:gd name="connsiteX2" fmla="*/ 0 w 2209159"/>
                <a:gd name="connsiteY2" fmla="*/ 257442 h 257442"/>
                <a:gd name="connsiteX3" fmla="*/ 1 w 2209159"/>
                <a:gd name="connsiteY3" fmla="*/ 0 h 257442"/>
                <a:gd name="connsiteX0" fmla="*/ 2209159 w 2209159"/>
                <a:gd name="connsiteY0" fmla="*/ 0 h 257442"/>
                <a:gd name="connsiteX1" fmla="*/ 2154438 w 2209159"/>
                <a:gd name="connsiteY1" fmla="*/ 257442 h 257442"/>
                <a:gd name="connsiteX2" fmla="*/ 0 w 2209159"/>
                <a:gd name="connsiteY2" fmla="*/ 257442 h 257442"/>
                <a:gd name="connsiteX3" fmla="*/ 1 w 2209159"/>
                <a:gd name="connsiteY3" fmla="*/ 0 h 257442"/>
                <a:gd name="connsiteX0" fmla="*/ 2209158 w 2209158"/>
                <a:gd name="connsiteY0" fmla="*/ 0 h 257442"/>
                <a:gd name="connsiteX1" fmla="*/ 2154437 w 2209158"/>
                <a:gd name="connsiteY1" fmla="*/ 257442 h 257442"/>
                <a:gd name="connsiteX2" fmla="*/ 0 w 2209158"/>
                <a:gd name="connsiteY2" fmla="*/ 257442 h 257442"/>
                <a:gd name="connsiteX3" fmla="*/ 0 w 2209158"/>
                <a:gd name="connsiteY3" fmla="*/ 0 h 257442"/>
                <a:gd name="connsiteX0" fmla="*/ 2209159 w 2209159"/>
                <a:gd name="connsiteY0" fmla="*/ 0 h 257442"/>
                <a:gd name="connsiteX1" fmla="*/ 2154438 w 2209159"/>
                <a:gd name="connsiteY1" fmla="*/ 257442 h 257442"/>
                <a:gd name="connsiteX2" fmla="*/ 1 w 2209159"/>
                <a:gd name="connsiteY2" fmla="*/ 257442 h 257442"/>
                <a:gd name="connsiteX3" fmla="*/ 0 w 2209159"/>
                <a:gd name="connsiteY3" fmla="*/ 0 h 257442"/>
                <a:gd name="connsiteX0" fmla="*/ 2377475 w 2377475"/>
                <a:gd name="connsiteY0" fmla="*/ 0 h 257442"/>
                <a:gd name="connsiteX1" fmla="*/ 2154438 w 2377475"/>
                <a:gd name="connsiteY1" fmla="*/ 257442 h 257442"/>
                <a:gd name="connsiteX2" fmla="*/ 1 w 2377475"/>
                <a:gd name="connsiteY2" fmla="*/ 257442 h 257442"/>
                <a:gd name="connsiteX3" fmla="*/ 0 w 2377475"/>
                <a:gd name="connsiteY3" fmla="*/ 0 h 257442"/>
                <a:gd name="connsiteX0" fmla="*/ 2377475 w 2377475"/>
                <a:gd name="connsiteY0" fmla="*/ 0 h 257442"/>
                <a:gd name="connsiteX1" fmla="*/ 2322754 w 2377475"/>
                <a:gd name="connsiteY1" fmla="*/ 257442 h 257442"/>
                <a:gd name="connsiteX2" fmla="*/ 1 w 2377475"/>
                <a:gd name="connsiteY2" fmla="*/ 257442 h 257442"/>
                <a:gd name="connsiteX3" fmla="*/ 0 w 2377475"/>
                <a:gd name="connsiteY3" fmla="*/ 0 h 257442"/>
                <a:gd name="connsiteX0" fmla="*/ 2377475 w 2377475"/>
                <a:gd name="connsiteY0" fmla="*/ 0 h 257442"/>
                <a:gd name="connsiteX1" fmla="*/ 2322754 w 2377475"/>
                <a:gd name="connsiteY1" fmla="*/ 257442 h 257442"/>
                <a:gd name="connsiteX2" fmla="*/ 1 w 2377475"/>
                <a:gd name="connsiteY2" fmla="*/ 257442 h 257442"/>
                <a:gd name="connsiteX3" fmla="*/ 0 w 2377475"/>
                <a:gd name="connsiteY3" fmla="*/ 0 h 257442"/>
                <a:gd name="connsiteX0" fmla="*/ 2377474 w 2377474"/>
                <a:gd name="connsiteY0" fmla="*/ 0 h 257442"/>
                <a:gd name="connsiteX1" fmla="*/ 2322753 w 2377474"/>
                <a:gd name="connsiteY1" fmla="*/ 257442 h 257442"/>
                <a:gd name="connsiteX2" fmla="*/ 0 w 2377474"/>
                <a:gd name="connsiteY2" fmla="*/ 257442 h 257442"/>
                <a:gd name="connsiteX3" fmla="*/ 0 w 2377474"/>
                <a:gd name="connsiteY3" fmla="*/ 0 h 257442"/>
                <a:gd name="connsiteX0" fmla="*/ 2478461 w 2478461"/>
                <a:gd name="connsiteY0" fmla="*/ 0 h 257442"/>
                <a:gd name="connsiteX1" fmla="*/ 2322753 w 2478461"/>
                <a:gd name="connsiteY1" fmla="*/ 257442 h 257442"/>
                <a:gd name="connsiteX2" fmla="*/ 0 w 2478461"/>
                <a:gd name="connsiteY2" fmla="*/ 257442 h 257442"/>
                <a:gd name="connsiteX3" fmla="*/ 0 w 2478461"/>
                <a:gd name="connsiteY3" fmla="*/ 0 h 257442"/>
                <a:gd name="connsiteX0" fmla="*/ 2478461 w 2478461"/>
                <a:gd name="connsiteY0" fmla="*/ 0 h 257442"/>
                <a:gd name="connsiteX1" fmla="*/ 2423740 w 2478461"/>
                <a:gd name="connsiteY1" fmla="*/ 257442 h 257442"/>
                <a:gd name="connsiteX2" fmla="*/ 0 w 2478461"/>
                <a:gd name="connsiteY2" fmla="*/ 257442 h 257442"/>
                <a:gd name="connsiteX3" fmla="*/ 0 w 2478461"/>
                <a:gd name="connsiteY3" fmla="*/ 0 h 257442"/>
                <a:gd name="connsiteX0" fmla="*/ 2478462 w 2478462"/>
                <a:gd name="connsiteY0" fmla="*/ 0 h 257442"/>
                <a:gd name="connsiteX1" fmla="*/ 2423741 w 2478462"/>
                <a:gd name="connsiteY1" fmla="*/ 257442 h 257442"/>
                <a:gd name="connsiteX2" fmla="*/ 0 w 2478462"/>
                <a:gd name="connsiteY2" fmla="*/ 257442 h 257442"/>
                <a:gd name="connsiteX3" fmla="*/ 1 w 2478462"/>
                <a:gd name="connsiteY3" fmla="*/ 0 h 257442"/>
                <a:gd name="connsiteX0" fmla="*/ 2478462 w 2478462"/>
                <a:gd name="connsiteY0" fmla="*/ 0 h 257442"/>
                <a:gd name="connsiteX1" fmla="*/ 2423741 w 2478462"/>
                <a:gd name="connsiteY1" fmla="*/ 257442 h 257442"/>
                <a:gd name="connsiteX2" fmla="*/ 0 w 2478462"/>
                <a:gd name="connsiteY2" fmla="*/ 257442 h 257442"/>
                <a:gd name="connsiteX3" fmla="*/ 0 w 2478462"/>
                <a:gd name="connsiteY3" fmla="*/ 0 h 257442"/>
                <a:gd name="connsiteX0" fmla="*/ 2377474 w 2423741"/>
                <a:gd name="connsiteY0" fmla="*/ 0 h 257442"/>
                <a:gd name="connsiteX1" fmla="*/ 2423741 w 2423741"/>
                <a:gd name="connsiteY1" fmla="*/ 257442 h 257442"/>
                <a:gd name="connsiteX2" fmla="*/ 0 w 2423741"/>
                <a:gd name="connsiteY2" fmla="*/ 257442 h 257442"/>
                <a:gd name="connsiteX3" fmla="*/ 0 w 2423741"/>
                <a:gd name="connsiteY3" fmla="*/ 0 h 257442"/>
                <a:gd name="connsiteX0" fmla="*/ 2377474 w 2377474"/>
                <a:gd name="connsiteY0" fmla="*/ 0 h 257442"/>
                <a:gd name="connsiteX1" fmla="*/ 2322754 w 2377474"/>
                <a:gd name="connsiteY1" fmla="*/ 257442 h 257442"/>
                <a:gd name="connsiteX2" fmla="*/ 0 w 2377474"/>
                <a:gd name="connsiteY2" fmla="*/ 257442 h 257442"/>
                <a:gd name="connsiteX3" fmla="*/ 0 w 2377474"/>
                <a:gd name="connsiteY3" fmla="*/ 0 h 257442"/>
                <a:gd name="connsiteX0" fmla="*/ 2377474 w 2377474"/>
                <a:gd name="connsiteY0" fmla="*/ 0 h 257442"/>
                <a:gd name="connsiteX1" fmla="*/ 2322754 w 2377474"/>
                <a:gd name="connsiteY1" fmla="*/ 257442 h 257442"/>
                <a:gd name="connsiteX2" fmla="*/ 1 w 2377474"/>
                <a:gd name="connsiteY2" fmla="*/ 257442 h 257442"/>
                <a:gd name="connsiteX3" fmla="*/ 0 w 2377474"/>
                <a:gd name="connsiteY3" fmla="*/ 0 h 257442"/>
                <a:gd name="connsiteX0" fmla="*/ 2377473 w 2377473"/>
                <a:gd name="connsiteY0" fmla="*/ 0 h 257442"/>
                <a:gd name="connsiteX1" fmla="*/ 2322753 w 2377473"/>
                <a:gd name="connsiteY1" fmla="*/ 257442 h 257442"/>
                <a:gd name="connsiteX2" fmla="*/ 0 w 2377473"/>
                <a:gd name="connsiteY2" fmla="*/ 257442 h 257442"/>
                <a:gd name="connsiteX3" fmla="*/ 0 w 2377473"/>
                <a:gd name="connsiteY3" fmla="*/ 0 h 257442"/>
                <a:gd name="connsiteX0" fmla="*/ 2486478 w 2486478"/>
                <a:gd name="connsiteY0" fmla="*/ 0 h 257442"/>
                <a:gd name="connsiteX1" fmla="*/ 2322753 w 2486478"/>
                <a:gd name="connsiteY1" fmla="*/ 257442 h 257442"/>
                <a:gd name="connsiteX2" fmla="*/ 0 w 2486478"/>
                <a:gd name="connsiteY2" fmla="*/ 257442 h 257442"/>
                <a:gd name="connsiteX3" fmla="*/ 0 w 2486478"/>
                <a:gd name="connsiteY3" fmla="*/ 0 h 257442"/>
                <a:gd name="connsiteX0" fmla="*/ 2486478 w 2486478"/>
                <a:gd name="connsiteY0" fmla="*/ 0 h 257442"/>
                <a:gd name="connsiteX1" fmla="*/ 2431756 w 2486478"/>
                <a:gd name="connsiteY1" fmla="*/ 257442 h 257442"/>
                <a:gd name="connsiteX2" fmla="*/ 0 w 2486478"/>
                <a:gd name="connsiteY2" fmla="*/ 257442 h 257442"/>
                <a:gd name="connsiteX3" fmla="*/ 0 w 2486478"/>
                <a:gd name="connsiteY3" fmla="*/ 0 h 257442"/>
                <a:gd name="connsiteX0" fmla="*/ 2486479 w 2486479"/>
                <a:gd name="connsiteY0" fmla="*/ 0 h 257442"/>
                <a:gd name="connsiteX1" fmla="*/ 2431757 w 2486479"/>
                <a:gd name="connsiteY1" fmla="*/ 257442 h 257442"/>
                <a:gd name="connsiteX2" fmla="*/ 0 w 2486479"/>
                <a:gd name="connsiteY2" fmla="*/ 257442 h 257442"/>
                <a:gd name="connsiteX3" fmla="*/ 1 w 2486479"/>
                <a:gd name="connsiteY3" fmla="*/ 0 h 257442"/>
                <a:gd name="connsiteX0" fmla="*/ 2486479 w 2486479"/>
                <a:gd name="connsiteY0" fmla="*/ 0 h 257442"/>
                <a:gd name="connsiteX1" fmla="*/ 2431757 w 2486479"/>
                <a:gd name="connsiteY1" fmla="*/ 257442 h 257442"/>
                <a:gd name="connsiteX2" fmla="*/ 0 w 2486479"/>
                <a:gd name="connsiteY2" fmla="*/ 257442 h 257442"/>
                <a:gd name="connsiteX3" fmla="*/ 1 w 2486479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86479" h="257442">
                  <a:moveTo>
                    <a:pt x="2486479" y="0"/>
                  </a:moveTo>
                  <a:lnTo>
                    <a:pt x="2431757" y="257442"/>
                  </a:lnTo>
                  <a:lnTo>
                    <a:pt x="0" y="257442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24" name="btfpRunningAgenda2LevelTextLeft462810">
              <a:extLst>
                <a:ext uri="{FF2B5EF4-FFF2-40B4-BE49-F238E27FC236}">
                  <a16:creationId xmlns:a16="http://schemas.microsoft.com/office/drawing/2014/main" id="{FE45FD8D-7A76-F924-B8EA-B9E9B0F89E03}"/>
                </a:ext>
              </a:extLst>
            </p:cNvPr>
            <p:cNvSpPr txBox="1"/>
            <p:nvPr/>
          </p:nvSpPr>
          <p:spPr bwMode="gray">
            <a:xfrm>
              <a:off x="0" y="876300"/>
              <a:ext cx="2431757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Web-traffic</a:t>
              </a:r>
            </a:p>
          </p:txBody>
        </p:sp>
        <p:sp>
          <p:nvSpPr>
            <p:cNvPr id="25" name="btfpRunningAgenda2LevelBarRight462810">
              <a:extLst>
                <a:ext uri="{FF2B5EF4-FFF2-40B4-BE49-F238E27FC236}">
                  <a16:creationId xmlns:a16="http://schemas.microsoft.com/office/drawing/2014/main" id="{819AFF50-6D4D-6420-E643-F8B2A4907F01}"/>
                </a:ext>
              </a:extLst>
            </p:cNvPr>
            <p:cNvSpPr/>
            <p:nvPr/>
          </p:nvSpPr>
          <p:spPr bwMode="gray">
            <a:xfrm>
              <a:off x="2351636" y="876300"/>
              <a:ext cx="2310148" cy="257442"/>
            </a:xfrm>
            <a:custGeom>
              <a:avLst/>
              <a:gdLst>
                <a:gd name="connsiteX0" fmla="*/ 942786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42786 w 2313135"/>
                <a:gd name="connsiteY0" fmla="*/ 0 h 257442"/>
                <a:gd name="connsiteX1" fmla="*/ 888065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4 w 942785"/>
                <a:gd name="connsiteY1" fmla="*/ 257442 h 257442"/>
                <a:gd name="connsiteX2" fmla="*/ 0 w 942785"/>
                <a:gd name="connsiteY2" fmla="*/ 257442 h 257442"/>
                <a:gd name="connsiteX3" fmla="*/ 54721 w 942785"/>
                <a:gd name="connsiteY3" fmla="*/ 0 h 257442"/>
                <a:gd name="connsiteX0" fmla="*/ 1103086 w 1103086"/>
                <a:gd name="connsiteY0" fmla="*/ 0 h 257442"/>
                <a:gd name="connsiteX1" fmla="*/ 888064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103086 w 1103086"/>
                <a:gd name="connsiteY0" fmla="*/ 0 h 257442"/>
                <a:gd name="connsiteX1" fmla="*/ 1048364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103087 w 1103087"/>
                <a:gd name="connsiteY0" fmla="*/ 0 h 257442"/>
                <a:gd name="connsiteX1" fmla="*/ 1048365 w 1103087"/>
                <a:gd name="connsiteY1" fmla="*/ 257442 h 257442"/>
                <a:gd name="connsiteX2" fmla="*/ 0 w 1103087"/>
                <a:gd name="connsiteY2" fmla="*/ 257442 h 257442"/>
                <a:gd name="connsiteX3" fmla="*/ 54722 w 1103087"/>
                <a:gd name="connsiteY3" fmla="*/ 0 h 257442"/>
                <a:gd name="connsiteX0" fmla="*/ 1103087 w 1103087"/>
                <a:gd name="connsiteY0" fmla="*/ 0 h 257442"/>
                <a:gd name="connsiteX1" fmla="*/ 1048365 w 1103087"/>
                <a:gd name="connsiteY1" fmla="*/ 257442 h 257442"/>
                <a:gd name="connsiteX2" fmla="*/ 0 w 1103087"/>
                <a:gd name="connsiteY2" fmla="*/ 257442 h 257442"/>
                <a:gd name="connsiteX3" fmla="*/ 54722 w 1103087"/>
                <a:gd name="connsiteY3" fmla="*/ 0 h 257442"/>
                <a:gd name="connsiteX0" fmla="*/ 1263387 w 1263387"/>
                <a:gd name="connsiteY0" fmla="*/ 0 h 257442"/>
                <a:gd name="connsiteX1" fmla="*/ 1048365 w 1263387"/>
                <a:gd name="connsiteY1" fmla="*/ 257442 h 257442"/>
                <a:gd name="connsiteX2" fmla="*/ 0 w 1263387"/>
                <a:gd name="connsiteY2" fmla="*/ 257442 h 257442"/>
                <a:gd name="connsiteX3" fmla="*/ 54722 w 1263387"/>
                <a:gd name="connsiteY3" fmla="*/ 0 h 257442"/>
                <a:gd name="connsiteX0" fmla="*/ 1263387 w 1263387"/>
                <a:gd name="connsiteY0" fmla="*/ 0 h 257442"/>
                <a:gd name="connsiteX1" fmla="*/ 1208666 w 1263387"/>
                <a:gd name="connsiteY1" fmla="*/ 257442 h 257442"/>
                <a:gd name="connsiteX2" fmla="*/ 0 w 1263387"/>
                <a:gd name="connsiteY2" fmla="*/ 257442 h 257442"/>
                <a:gd name="connsiteX3" fmla="*/ 54722 w 1263387"/>
                <a:gd name="connsiteY3" fmla="*/ 0 h 257442"/>
                <a:gd name="connsiteX0" fmla="*/ 1263386 w 1263386"/>
                <a:gd name="connsiteY0" fmla="*/ 0 h 257442"/>
                <a:gd name="connsiteX1" fmla="*/ 1208665 w 1263386"/>
                <a:gd name="connsiteY1" fmla="*/ 257442 h 257442"/>
                <a:gd name="connsiteX2" fmla="*/ 0 w 1263386"/>
                <a:gd name="connsiteY2" fmla="*/ 257442 h 257442"/>
                <a:gd name="connsiteX3" fmla="*/ 54721 w 1263386"/>
                <a:gd name="connsiteY3" fmla="*/ 0 h 257442"/>
                <a:gd name="connsiteX0" fmla="*/ 1263386 w 1263386"/>
                <a:gd name="connsiteY0" fmla="*/ 0 h 257442"/>
                <a:gd name="connsiteX1" fmla="*/ 1208665 w 1263386"/>
                <a:gd name="connsiteY1" fmla="*/ 257442 h 257442"/>
                <a:gd name="connsiteX2" fmla="*/ 0 w 1263386"/>
                <a:gd name="connsiteY2" fmla="*/ 257442 h 257442"/>
                <a:gd name="connsiteX3" fmla="*/ 54720 w 1263386"/>
                <a:gd name="connsiteY3" fmla="*/ 0 h 257442"/>
                <a:gd name="connsiteX0" fmla="*/ 1431701 w 1431701"/>
                <a:gd name="connsiteY0" fmla="*/ 0 h 257442"/>
                <a:gd name="connsiteX1" fmla="*/ 1208665 w 1431701"/>
                <a:gd name="connsiteY1" fmla="*/ 257442 h 257442"/>
                <a:gd name="connsiteX2" fmla="*/ 0 w 1431701"/>
                <a:gd name="connsiteY2" fmla="*/ 257442 h 257442"/>
                <a:gd name="connsiteX3" fmla="*/ 54720 w 1431701"/>
                <a:gd name="connsiteY3" fmla="*/ 0 h 257442"/>
                <a:gd name="connsiteX0" fmla="*/ 1431701 w 1431701"/>
                <a:gd name="connsiteY0" fmla="*/ 0 h 257442"/>
                <a:gd name="connsiteX1" fmla="*/ 1376980 w 1431701"/>
                <a:gd name="connsiteY1" fmla="*/ 257442 h 257442"/>
                <a:gd name="connsiteX2" fmla="*/ 0 w 1431701"/>
                <a:gd name="connsiteY2" fmla="*/ 257442 h 257442"/>
                <a:gd name="connsiteX3" fmla="*/ 54720 w 1431701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54721 w 1431702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54721 w 1431702"/>
                <a:gd name="connsiteY3" fmla="*/ 0 h 257442"/>
                <a:gd name="connsiteX0" fmla="*/ 1600017 w 1600017"/>
                <a:gd name="connsiteY0" fmla="*/ 0 h 257442"/>
                <a:gd name="connsiteX1" fmla="*/ 1376981 w 1600017"/>
                <a:gd name="connsiteY1" fmla="*/ 257442 h 257442"/>
                <a:gd name="connsiteX2" fmla="*/ 0 w 1600017"/>
                <a:gd name="connsiteY2" fmla="*/ 257442 h 257442"/>
                <a:gd name="connsiteX3" fmla="*/ 54721 w 1600017"/>
                <a:gd name="connsiteY3" fmla="*/ 0 h 257442"/>
                <a:gd name="connsiteX0" fmla="*/ 1600017 w 1600017"/>
                <a:gd name="connsiteY0" fmla="*/ 0 h 257442"/>
                <a:gd name="connsiteX1" fmla="*/ 1545296 w 1600017"/>
                <a:gd name="connsiteY1" fmla="*/ 257442 h 257442"/>
                <a:gd name="connsiteX2" fmla="*/ 0 w 1600017"/>
                <a:gd name="connsiteY2" fmla="*/ 257442 h 257442"/>
                <a:gd name="connsiteX3" fmla="*/ 54721 w 1600017"/>
                <a:gd name="connsiteY3" fmla="*/ 0 h 257442"/>
                <a:gd name="connsiteX0" fmla="*/ 1600017 w 1600017"/>
                <a:gd name="connsiteY0" fmla="*/ 0 h 257442"/>
                <a:gd name="connsiteX1" fmla="*/ 1545296 w 1600017"/>
                <a:gd name="connsiteY1" fmla="*/ 257442 h 257442"/>
                <a:gd name="connsiteX2" fmla="*/ 0 w 1600017"/>
                <a:gd name="connsiteY2" fmla="*/ 257442 h 257442"/>
                <a:gd name="connsiteX3" fmla="*/ 54721 w 1600017"/>
                <a:gd name="connsiteY3" fmla="*/ 0 h 257442"/>
                <a:gd name="connsiteX0" fmla="*/ 1600017 w 1600017"/>
                <a:gd name="connsiteY0" fmla="*/ 0 h 257442"/>
                <a:gd name="connsiteX1" fmla="*/ 1545296 w 1600017"/>
                <a:gd name="connsiteY1" fmla="*/ 257442 h 257442"/>
                <a:gd name="connsiteX2" fmla="*/ 0 w 1600017"/>
                <a:gd name="connsiteY2" fmla="*/ 257442 h 257442"/>
                <a:gd name="connsiteX3" fmla="*/ 54721 w 1600017"/>
                <a:gd name="connsiteY3" fmla="*/ 0 h 257442"/>
                <a:gd name="connsiteX0" fmla="*/ 1853291 w 1853291"/>
                <a:gd name="connsiteY0" fmla="*/ 0 h 257442"/>
                <a:gd name="connsiteX1" fmla="*/ 1545296 w 1853291"/>
                <a:gd name="connsiteY1" fmla="*/ 257442 h 257442"/>
                <a:gd name="connsiteX2" fmla="*/ 0 w 1853291"/>
                <a:gd name="connsiteY2" fmla="*/ 257442 h 257442"/>
                <a:gd name="connsiteX3" fmla="*/ 54721 w 1853291"/>
                <a:gd name="connsiteY3" fmla="*/ 0 h 257442"/>
                <a:gd name="connsiteX0" fmla="*/ 1853291 w 1853291"/>
                <a:gd name="connsiteY0" fmla="*/ 0 h 257442"/>
                <a:gd name="connsiteX1" fmla="*/ 1798570 w 1853291"/>
                <a:gd name="connsiteY1" fmla="*/ 257442 h 257442"/>
                <a:gd name="connsiteX2" fmla="*/ 0 w 1853291"/>
                <a:gd name="connsiteY2" fmla="*/ 257442 h 257442"/>
                <a:gd name="connsiteX3" fmla="*/ 54721 w 1853291"/>
                <a:gd name="connsiteY3" fmla="*/ 0 h 257442"/>
                <a:gd name="connsiteX0" fmla="*/ 1853291 w 1853291"/>
                <a:gd name="connsiteY0" fmla="*/ 0 h 257442"/>
                <a:gd name="connsiteX1" fmla="*/ 1798570 w 1853291"/>
                <a:gd name="connsiteY1" fmla="*/ 257442 h 257442"/>
                <a:gd name="connsiteX2" fmla="*/ 0 w 1853291"/>
                <a:gd name="connsiteY2" fmla="*/ 257442 h 257442"/>
                <a:gd name="connsiteX3" fmla="*/ 54721 w 1853291"/>
                <a:gd name="connsiteY3" fmla="*/ 0 h 257442"/>
                <a:gd name="connsiteX0" fmla="*/ 1853291 w 1853291"/>
                <a:gd name="connsiteY0" fmla="*/ 0 h 257442"/>
                <a:gd name="connsiteX1" fmla="*/ 1798570 w 1853291"/>
                <a:gd name="connsiteY1" fmla="*/ 257442 h 257442"/>
                <a:gd name="connsiteX2" fmla="*/ 0 w 1853291"/>
                <a:gd name="connsiteY2" fmla="*/ 257442 h 257442"/>
                <a:gd name="connsiteX3" fmla="*/ 54721 w 1853291"/>
                <a:gd name="connsiteY3" fmla="*/ 0 h 257442"/>
                <a:gd name="connsiteX0" fmla="*/ 2013592 w 2013592"/>
                <a:gd name="connsiteY0" fmla="*/ 0 h 257442"/>
                <a:gd name="connsiteX1" fmla="*/ 1798570 w 2013592"/>
                <a:gd name="connsiteY1" fmla="*/ 257442 h 257442"/>
                <a:gd name="connsiteX2" fmla="*/ 0 w 2013592"/>
                <a:gd name="connsiteY2" fmla="*/ 257442 h 257442"/>
                <a:gd name="connsiteX3" fmla="*/ 54721 w 2013592"/>
                <a:gd name="connsiteY3" fmla="*/ 0 h 257442"/>
                <a:gd name="connsiteX0" fmla="*/ 2013592 w 2013592"/>
                <a:gd name="connsiteY0" fmla="*/ 0 h 257442"/>
                <a:gd name="connsiteX1" fmla="*/ 1958870 w 2013592"/>
                <a:gd name="connsiteY1" fmla="*/ 257442 h 257442"/>
                <a:gd name="connsiteX2" fmla="*/ 0 w 2013592"/>
                <a:gd name="connsiteY2" fmla="*/ 257442 h 257442"/>
                <a:gd name="connsiteX3" fmla="*/ 54721 w 2013592"/>
                <a:gd name="connsiteY3" fmla="*/ 0 h 257442"/>
                <a:gd name="connsiteX0" fmla="*/ 2013593 w 2013593"/>
                <a:gd name="connsiteY0" fmla="*/ 0 h 257442"/>
                <a:gd name="connsiteX1" fmla="*/ 1958871 w 2013593"/>
                <a:gd name="connsiteY1" fmla="*/ 257442 h 257442"/>
                <a:gd name="connsiteX2" fmla="*/ 0 w 2013593"/>
                <a:gd name="connsiteY2" fmla="*/ 257442 h 257442"/>
                <a:gd name="connsiteX3" fmla="*/ 54722 w 2013593"/>
                <a:gd name="connsiteY3" fmla="*/ 0 h 257442"/>
                <a:gd name="connsiteX0" fmla="*/ 2013593 w 2013593"/>
                <a:gd name="connsiteY0" fmla="*/ 0 h 257442"/>
                <a:gd name="connsiteX1" fmla="*/ 1958871 w 2013593"/>
                <a:gd name="connsiteY1" fmla="*/ 257442 h 257442"/>
                <a:gd name="connsiteX2" fmla="*/ 0 w 2013593"/>
                <a:gd name="connsiteY2" fmla="*/ 257442 h 257442"/>
                <a:gd name="connsiteX3" fmla="*/ 54722 w 2013593"/>
                <a:gd name="connsiteY3" fmla="*/ 0 h 257442"/>
                <a:gd name="connsiteX0" fmla="*/ 2173893 w 2173893"/>
                <a:gd name="connsiteY0" fmla="*/ 0 h 257442"/>
                <a:gd name="connsiteX1" fmla="*/ 1958871 w 2173893"/>
                <a:gd name="connsiteY1" fmla="*/ 257442 h 257442"/>
                <a:gd name="connsiteX2" fmla="*/ 0 w 2173893"/>
                <a:gd name="connsiteY2" fmla="*/ 257442 h 257442"/>
                <a:gd name="connsiteX3" fmla="*/ 54722 w 2173893"/>
                <a:gd name="connsiteY3" fmla="*/ 0 h 257442"/>
                <a:gd name="connsiteX0" fmla="*/ 2173893 w 2173893"/>
                <a:gd name="connsiteY0" fmla="*/ 0 h 257442"/>
                <a:gd name="connsiteX1" fmla="*/ 2119172 w 2173893"/>
                <a:gd name="connsiteY1" fmla="*/ 257442 h 257442"/>
                <a:gd name="connsiteX2" fmla="*/ 0 w 2173893"/>
                <a:gd name="connsiteY2" fmla="*/ 257442 h 257442"/>
                <a:gd name="connsiteX3" fmla="*/ 54722 w 2173893"/>
                <a:gd name="connsiteY3" fmla="*/ 0 h 257442"/>
                <a:gd name="connsiteX0" fmla="*/ 2173892 w 2173892"/>
                <a:gd name="connsiteY0" fmla="*/ 0 h 257442"/>
                <a:gd name="connsiteX1" fmla="*/ 2119171 w 2173892"/>
                <a:gd name="connsiteY1" fmla="*/ 257442 h 257442"/>
                <a:gd name="connsiteX2" fmla="*/ 0 w 2173892"/>
                <a:gd name="connsiteY2" fmla="*/ 257442 h 257442"/>
                <a:gd name="connsiteX3" fmla="*/ 54721 w 2173892"/>
                <a:gd name="connsiteY3" fmla="*/ 0 h 257442"/>
                <a:gd name="connsiteX0" fmla="*/ 2173892 w 2173892"/>
                <a:gd name="connsiteY0" fmla="*/ 0 h 257442"/>
                <a:gd name="connsiteX1" fmla="*/ 2119171 w 2173892"/>
                <a:gd name="connsiteY1" fmla="*/ 257442 h 257442"/>
                <a:gd name="connsiteX2" fmla="*/ 0 w 2173892"/>
                <a:gd name="connsiteY2" fmla="*/ 257442 h 257442"/>
                <a:gd name="connsiteX3" fmla="*/ 54720 w 2173892"/>
                <a:gd name="connsiteY3" fmla="*/ 0 h 257442"/>
                <a:gd name="connsiteX0" fmla="*/ 2435181 w 2435181"/>
                <a:gd name="connsiteY0" fmla="*/ 0 h 257442"/>
                <a:gd name="connsiteX1" fmla="*/ 2119171 w 2435181"/>
                <a:gd name="connsiteY1" fmla="*/ 257442 h 257442"/>
                <a:gd name="connsiteX2" fmla="*/ 0 w 2435181"/>
                <a:gd name="connsiteY2" fmla="*/ 257442 h 257442"/>
                <a:gd name="connsiteX3" fmla="*/ 54720 w 2435181"/>
                <a:gd name="connsiteY3" fmla="*/ 0 h 257442"/>
                <a:gd name="connsiteX0" fmla="*/ 2435181 w 2435181"/>
                <a:gd name="connsiteY0" fmla="*/ 0 h 257442"/>
                <a:gd name="connsiteX1" fmla="*/ 2380460 w 2435181"/>
                <a:gd name="connsiteY1" fmla="*/ 257442 h 257442"/>
                <a:gd name="connsiteX2" fmla="*/ 0 w 2435181"/>
                <a:gd name="connsiteY2" fmla="*/ 257442 h 257442"/>
                <a:gd name="connsiteX3" fmla="*/ 54720 w 2435181"/>
                <a:gd name="connsiteY3" fmla="*/ 0 h 257442"/>
                <a:gd name="connsiteX0" fmla="*/ 2435182 w 2435182"/>
                <a:gd name="connsiteY0" fmla="*/ 0 h 257442"/>
                <a:gd name="connsiteX1" fmla="*/ 2380461 w 2435182"/>
                <a:gd name="connsiteY1" fmla="*/ 257442 h 257442"/>
                <a:gd name="connsiteX2" fmla="*/ 0 w 2435182"/>
                <a:gd name="connsiteY2" fmla="*/ 257442 h 257442"/>
                <a:gd name="connsiteX3" fmla="*/ 54721 w 2435182"/>
                <a:gd name="connsiteY3" fmla="*/ 0 h 257442"/>
                <a:gd name="connsiteX0" fmla="*/ 2435182 w 2435182"/>
                <a:gd name="connsiteY0" fmla="*/ 0 h 257442"/>
                <a:gd name="connsiteX1" fmla="*/ 2380461 w 2435182"/>
                <a:gd name="connsiteY1" fmla="*/ 257442 h 257442"/>
                <a:gd name="connsiteX2" fmla="*/ 0 w 2435182"/>
                <a:gd name="connsiteY2" fmla="*/ 257442 h 257442"/>
                <a:gd name="connsiteX3" fmla="*/ 54721 w 2435182"/>
                <a:gd name="connsiteY3" fmla="*/ 0 h 257442"/>
                <a:gd name="connsiteX0" fmla="*/ 2603497 w 2603497"/>
                <a:gd name="connsiteY0" fmla="*/ 0 h 257442"/>
                <a:gd name="connsiteX1" fmla="*/ 2380461 w 2603497"/>
                <a:gd name="connsiteY1" fmla="*/ 257442 h 257442"/>
                <a:gd name="connsiteX2" fmla="*/ 0 w 2603497"/>
                <a:gd name="connsiteY2" fmla="*/ 257442 h 257442"/>
                <a:gd name="connsiteX3" fmla="*/ 54721 w 2603497"/>
                <a:gd name="connsiteY3" fmla="*/ 0 h 257442"/>
                <a:gd name="connsiteX0" fmla="*/ 2603497 w 2603497"/>
                <a:gd name="connsiteY0" fmla="*/ 0 h 257442"/>
                <a:gd name="connsiteX1" fmla="*/ 2548776 w 2603497"/>
                <a:gd name="connsiteY1" fmla="*/ 257442 h 257442"/>
                <a:gd name="connsiteX2" fmla="*/ 0 w 2603497"/>
                <a:gd name="connsiteY2" fmla="*/ 257442 h 257442"/>
                <a:gd name="connsiteX3" fmla="*/ 54721 w 2603497"/>
                <a:gd name="connsiteY3" fmla="*/ 0 h 257442"/>
                <a:gd name="connsiteX0" fmla="*/ 2603497 w 2603497"/>
                <a:gd name="connsiteY0" fmla="*/ 0 h 257442"/>
                <a:gd name="connsiteX1" fmla="*/ 2548776 w 2603497"/>
                <a:gd name="connsiteY1" fmla="*/ 257442 h 257442"/>
                <a:gd name="connsiteX2" fmla="*/ 0 w 2603497"/>
                <a:gd name="connsiteY2" fmla="*/ 257442 h 257442"/>
                <a:gd name="connsiteX3" fmla="*/ 54721 w 2603497"/>
                <a:gd name="connsiteY3" fmla="*/ 0 h 257442"/>
                <a:gd name="connsiteX0" fmla="*/ 2603497 w 2603497"/>
                <a:gd name="connsiteY0" fmla="*/ 0 h 257442"/>
                <a:gd name="connsiteX1" fmla="*/ 2548776 w 2603497"/>
                <a:gd name="connsiteY1" fmla="*/ 257442 h 257442"/>
                <a:gd name="connsiteX2" fmla="*/ 0 w 2603497"/>
                <a:gd name="connsiteY2" fmla="*/ 257442 h 257442"/>
                <a:gd name="connsiteX3" fmla="*/ 54721 w 2603497"/>
                <a:gd name="connsiteY3" fmla="*/ 0 h 257442"/>
                <a:gd name="connsiteX0" fmla="*/ 2789445 w 2789445"/>
                <a:gd name="connsiteY0" fmla="*/ 0 h 257442"/>
                <a:gd name="connsiteX1" fmla="*/ 2548776 w 2789445"/>
                <a:gd name="connsiteY1" fmla="*/ 257442 h 257442"/>
                <a:gd name="connsiteX2" fmla="*/ 0 w 2789445"/>
                <a:gd name="connsiteY2" fmla="*/ 257442 h 257442"/>
                <a:gd name="connsiteX3" fmla="*/ 54721 w 2789445"/>
                <a:gd name="connsiteY3" fmla="*/ 0 h 257442"/>
                <a:gd name="connsiteX0" fmla="*/ 2789445 w 2789445"/>
                <a:gd name="connsiteY0" fmla="*/ 0 h 257442"/>
                <a:gd name="connsiteX1" fmla="*/ 2734724 w 2789445"/>
                <a:gd name="connsiteY1" fmla="*/ 257442 h 257442"/>
                <a:gd name="connsiteX2" fmla="*/ 0 w 2789445"/>
                <a:gd name="connsiteY2" fmla="*/ 257442 h 257442"/>
                <a:gd name="connsiteX3" fmla="*/ 54721 w 2789445"/>
                <a:gd name="connsiteY3" fmla="*/ 0 h 257442"/>
                <a:gd name="connsiteX0" fmla="*/ 2789445 w 2789445"/>
                <a:gd name="connsiteY0" fmla="*/ 0 h 257442"/>
                <a:gd name="connsiteX1" fmla="*/ 2734724 w 2789445"/>
                <a:gd name="connsiteY1" fmla="*/ 257442 h 257442"/>
                <a:gd name="connsiteX2" fmla="*/ 0 w 2789445"/>
                <a:gd name="connsiteY2" fmla="*/ 257442 h 257442"/>
                <a:gd name="connsiteX3" fmla="*/ 54721 w 2789445"/>
                <a:gd name="connsiteY3" fmla="*/ 0 h 257442"/>
                <a:gd name="connsiteX0" fmla="*/ 2789445 w 2789445"/>
                <a:gd name="connsiteY0" fmla="*/ 0 h 257442"/>
                <a:gd name="connsiteX1" fmla="*/ 2734724 w 2789445"/>
                <a:gd name="connsiteY1" fmla="*/ 257442 h 257442"/>
                <a:gd name="connsiteX2" fmla="*/ 0 w 2789445"/>
                <a:gd name="connsiteY2" fmla="*/ 257442 h 257442"/>
                <a:gd name="connsiteX3" fmla="*/ 54721 w 2789445"/>
                <a:gd name="connsiteY3" fmla="*/ 0 h 257442"/>
                <a:gd name="connsiteX0" fmla="*/ 2975393 w 2975393"/>
                <a:gd name="connsiteY0" fmla="*/ 0 h 257442"/>
                <a:gd name="connsiteX1" fmla="*/ 2734724 w 2975393"/>
                <a:gd name="connsiteY1" fmla="*/ 257442 h 257442"/>
                <a:gd name="connsiteX2" fmla="*/ 0 w 2975393"/>
                <a:gd name="connsiteY2" fmla="*/ 257442 h 257442"/>
                <a:gd name="connsiteX3" fmla="*/ 54721 w 2975393"/>
                <a:gd name="connsiteY3" fmla="*/ 0 h 257442"/>
                <a:gd name="connsiteX0" fmla="*/ 2975393 w 2975393"/>
                <a:gd name="connsiteY0" fmla="*/ 0 h 257442"/>
                <a:gd name="connsiteX1" fmla="*/ 2920672 w 2975393"/>
                <a:gd name="connsiteY1" fmla="*/ 257442 h 257442"/>
                <a:gd name="connsiteX2" fmla="*/ 0 w 2975393"/>
                <a:gd name="connsiteY2" fmla="*/ 257442 h 257442"/>
                <a:gd name="connsiteX3" fmla="*/ 54721 w 2975393"/>
                <a:gd name="connsiteY3" fmla="*/ 0 h 257442"/>
                <a:gd name="connsiteX0" fmla="*/ 2975393 w 2975393"/>
                <a:gd name="connsiteY0" fmla="*/ 0 h 257442"/>
                <a:gd name="connsiteX1" fmla="*/ 2920672 w 2975393"/>
                <a:gd name="connsiteY1" fmla="*/ 257442 h 257442"/>
                <a:gd name="connsiteX2" fmla="*/ 0 w 2975393"/>
                <a:gd name="connsiteY2" fmla="*/ 257442 h 257442"/>
                <a:gd name="connsiteX3" fmla="*/ 54721 w 2975393"/>
                <a:gd name="connsiteY3" fmla="*/ 0 h 257442"/>
                <a:gd name="connsiteX0" fmla="*/ 2975393 w 2975393"/>
                <a:gd name="connsiteY0" fmla="*/ 0 h 257442"/>
                <a:gd name="connsiteX1" fmla="*/ 2920672 w 2975393"/>
                <a:gd name="connsiteY1" fmla="*/ 257442 h 257442"/>
                <a:gd name="connsiteX2" fmla="*/ 0 w 2975393"/>
                <a:gd name="connsiteY2" fmla="*/ 257442 h 257442"/>
                <a:gd name="connsiteX3" fmla="*/ 54721 w 2975393"/>
                <a:gd name="connsiteY3" fmla="*/ 0 h 257442"/>
                <a:gd name="connsiteX0" fmla="*/ 3143709 w 3143709"/>
                <a:gd name="connsiteY0" fmla="*/ 0 h 257442"/>
                <a:gd name="connsiteX1" fmla="*/ 2920672 w 3143709"/>
                <a:gd name="connsiteY1" fmla="*/ 257442 h 257442"/>
                <a:gd name="connsiteX2" fmla="*/ 0 w 3143709"/>
                <a:gd name="connsiteY2" fmla="*/ 257442 h 257442"/>
                <a:gd name="connsiteX3" fmla="*/ 54721 w 3143709"/>
                <a:gd name="connsiteY3" fmla="*/ 0 h 257442"/>
                <a:gd name="connsiteX0" fmla="*/ 3143709 w 3143709"/>
                <a:gd name="connsiteY0" fmla="*/ 0 h 257442"/>
                <a:gd name="connsiteX1" fmla="*/ 3088988 w 3143709"/>
                <a:gd name="connsiteY1" fmla="*/ 257442 h 257442"/>
                <a:gd name="connsiteX2" fmla="*/ 0 w 3143709"/>
                <a:gd name="connsiteY2" fmla="*/ 257442 h 257442"/>
                <a:gd name="connsiteX3" fmla="*/ 54721 w 3143709"/>
                <a:gd name="connsiteY3" fmla="*/ 0 h 257442"/>
                <a:gd name="connsiteX0" fmla="*/ 3143709 w 3143709"/>
                <a:gd name="connsiteY0" fmla="*/ 0 h 257442"/>
                <a:gd name="connsiteX1" fmla="*/ 3088988 w 3143709"/>
                <a:gd name="connsiteY1" fmla="*/ 257442 h 257442"/>
                <a:gd name="connsiteX2" fmla="*/ 0 w 3143709"/>
                <a:gd name="connsiteY2" fmla="*/ 257442 h 257442"/>
                <a:gd name="connsiteX3" fmla="*/ 54721 w 3143709"/>
                <a:gd name="connsiteY3" fmla="*/ 0 h 257442"/>
                <a:gd name="connsiteX0" fmla="*/ 3143709 w 3143709"/>
                <a:gd name="connsiteY0" fmla="*/ 0 h 257442"/>
                <a:gd name="connsiteX1" fmla="*/ 3088988 w 3143709"/>
                <a:gd name="connsiteY1" fmla="*/ 257442 h 257442"/>
                <a:gd name="connsiteX2" fmla="*/ 0 w 3143709"/>
                <a:gd name="connsiteY2" fmla="*/ 257442 h 257442"/>
                <a:gd name="connsiteX3" fmla="*/ 54721 w 3143709"/>
                <a:gd name="connsiteY3" fmla="*/ 0 h 257442"/>
                <a:gd name="connsiteX0" fmla="*/ 3312024 w 3312024"/>
                <a:gd name="connsiteY0" fmla="*/ 0 h 257442"/>
                <a:gd name="connsiteX1" fmla="*/ 3088988 w 3312024"/>
                <a:gd name="connsiteY1" fmla="*/ 257442 h 257442"/>
                <a:gd name="connsiteX2" fmla="*/ 0 w 3312024"/>
                <a:gd name="connsiteY2" fmla="*/ 257442 h 257442"/>
                <a:gd name="connsiteX3" fmla="*/ 54721 w 3312024"/>
                <a:gd name="connsiteY3" fmla="*/ 0 h 257442"/>
                <a:gd name="connsiteX0" fmla="*/ 3312024 w 3312024"/>
                <a:gd name="connsiteY0" fmla="*/ 0 h 257442"/>
                <a:gd name="connsiteX1" fmla="*/ 3257302 w 3312024"/>
                <a:gd name="connsiteY1" fmla="*/ 257442 h 257442"/>
                <a:gd name="connsiteX2" fmla="*/ 0 w 3312024"/>
                <a:gd name="connsiteY2" fmla="*/ 257442 h 257442"/>
                <a:gd name="connsiteX3" fmla="*/ 54721 w 3312024"/>
                <a:gd name="connsiteY3" fmla="*/ 0 h 257442"/>
                <a:gd name="connsiteX0" fmla="*/ 3312025 w 3312025"/>
                <a:gd name="connsiteY0" fmla="*/ 0 h 257442"/>
                <a:gd name="connsiteX1" fmla="*/ 3257303 w 3312025"/>
                <a:gd name="connsiteY1" fmla="*/ 257442 h 257442"/>
                <a:gd name="connsiteX2" fmla="*/ 0 w 3312025"/>
                <a:gd name="connsiteY2" fmla="*/ 257442 h 257442"/>
                <a:gd name="connsiteX3" fmla="*/ 54722 w 3312025"/>
                <a:gd name="connsiteY3" fmla="*/ 0 h 257442"/>
                <a:gd name="connsiteX0" fmla="*/ 3312025 w 3312025"/>
                <a:gd name="connsiteY0" fmla="*/ 0 h 257442"/>
                <a:gd name="connsiteX1" fmla="*/ 3257303 w 3312025"/>
                <a:gd name="connsiteY1" fmla="*/ 257442 h 257442"/>
                <a:gd name="connsiteX2" fmla="*/ 0 w 3312025"/>
                <a:gd name="connsiteY2" fmla="*/ 257442 h 257442"/>
                <a:gd name="connsiteX3" fmla="*/ 54722 w 3312025"/>
                <a:gd name="connsiteY3" fmla="*/ 0 h 257442"/>
                <a:gd name="connsiteX0" fmla="*/ 950802 w 3257303"/>
                <a:gd name="connsiteY0" fmla="*/ 0 h 257442"/>
                <a:gd name="connsiteX1" fmla="*/ 3257303 w 3257303"/>
                <a:gd name="connsiteY1" fmla="*/ 257442 h 257442"/>
                <a:gd name="connsiteX2" fmla="*/ 0 w 3257303"/>
                <a:gd name="connsiteY2" fmla="*/ 257442 h 257442"/>
                <a:gd name="connsiteX3" fmla="*/ 54722 w 3257303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0 w 950802"/>
                <a:gd name="connsiteY2" fmla="*/ 257442 h 257442"/>
                <a:gd name="connsiteX3" fmla="*/ 54722 w 95080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1119116 w 1119116"/>
                <a:gd name="connsiteY0" fmla="*/ 0 h 257442"/>
                <a:gd name="connsiteX1" fmla="*/ 896080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119116 w 1119116"/>
                <a:gd name="connsiteY0" fmla="*/ 0 h 257442"/>
                <a:gd name="connsiteX1" fmla="*/ 1064394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119117 w 1119117"/>
                <a:gd name="connsiteY0" fmla="*/ 0 h 257442"/>
                <a:gd name="connsiteX1" fmla="*/ 1064395 w 1119117"/>
                <a:gd name="connsiteY1" fmla="*/ 257442 h 257442"/>
                <a:gd name="connsiteX2" fmla="*/ 0 w 1119117"/>
                <a:gd name="connsiteY2" fmla="*/ 257442 h 257442"/>
                <a:gd name="connsiteX3" fmla="*/ 54722 w 1119117"/>
                <a:gd name="connsiteY3" fmla="*/ 0 h 257442"/>
                <a:gd name="connsiteX0" fmla="*/ 1119117 w 1119117"/>
                <a:gd name="connsiteY0" fmla="*/ 0 h 257442"/>
                <a:gd name="connsiteX1" fmla="*/ 1064395 w 1119117"/>
                <a:gd name="connsiteY1" fmla="*/ 257442 h 257442"/>
                <a:gd name="connsiteX2" fmla="*/ 0 w 1119117"/>
                <a:gd name="connsiteY2" fmla="*/ 257442 h 257442"/>
                <a:gd name="connsiteX3" fmla="*/ 54722 w 1119117"/>
                <a:gd name="connsiteY3" fmla="*/ 0 h 257442"/>
                <a:gd name="connsiteX0" fmla="*/ 1287433 w 1287433"/>
                <a:gd name="connsiteY0" fmla="*/ 0 h 257442"/>
                <a:gd name="connsiteX1" fmla="*/ 1064395 w 1287433"/>
                <a:gd name="connsiteY1" fmla="*/ 257442 h 257442"/>
                <a:gd name="connsiteX2" fmla="*/ 0 w 1287433"/>
                <a:gd name="connsiteY2" fmla="*/ 257442 h 257442"/>
                <a:gd name="connsiteX3" fmla="*/ 54722 w 1287433"/>
                <a:gd name="connsiteY3" fmla="*/ 0 h 257442"/>
                <a:gd name="connsiteX0" fmla="*/ 1287433 w 1287433"/>
                <a:gd name="connsiteY0" fmla="*/ 0 h 257442"/>
                <a:gd name="connsiteX1" fmla="*/ 1232712 w 1287433"/>
                <a:gd name="connsiteY1" fmla="*/ 257442 h 257442"/>
                <a:gd name="connsiteX2" fmla="*/ 0 w 1287433"/>
                <a:gd name="connsiteY2" fmla="*/ 257442 h 257442"/>
                <a:gd name="connsiteX3" fmla="*/ 54722 w 1287433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54721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54720 w 1287432"/>
                <a:gd name="connsiteY3" fmla="*/ 0 h 257442"/>
                <a:gd name="connsiteX0" fmla="*/ 1455746 w 1455746"/>
                <a:gd name="connsiteY0" fmla="*/ 0 h 257442"/>
                <a:gd name="connsiteX1" fmla="*/ 1232711 w 1455746"/>
                <a:gd name="connsiteY1" fmla="*/ 257442 h 257442"/>
                <a:gd name="connsiteX2" fmla="*/ 0 w 1455746"/>
                <a:gd name="connsiteY2" fmla="*/ 257442 h 257442"/>
                <a:gd name="connsiteX3" fmla="*/ 54720 w 1455746"/>
                <a:gd name="connsiteY3" fmla="*/ 0 h 257442"/>
                <a:gd name="connsiteX0" fmla="*/ 1455746 w 1455746"/>
                <a:gd name="connsiteY0" fmla="*/ 0 h 257442"/>
                <a:gd name="connsiteX1" fmla="*/ 1401025 w 1455746"/>
                <a:gd name="connsiteY1" fmla="*/ 257442 h 257442"/>
                <a:gd name="connsiteX2" fmla="*/ 0 w 1455746"/>
                <a:gd name="connsiteY2" fmla="*/ 257442 h 257442"/>
                <a:gd name="connsiteX3" fmla="*/ 54720 w 1455746"/>
                <a:gd name="connsiteY3" fmla="*/ 0 h 257442"/>
                <a:gd name="connsiteX0" fmla="*/ 1455747 w 1455747"/>
                <a:gd name="connsiteY0" fmla="*/ 0 h 257442"/>
                <a:gd name="connsiteX1" fmla="*/ 1401026 w 1455747"/>
                <a:gd name="connsiteY1" fmla="*/ 257442 h 257442"/>
                <a:gd name="connsiteX2" fmla="*/ 0 w 1455747"/>
                <a:gd name="connsiteY2" fmla="*/ 257442 h 257442"/>
                <a:gd name="connsiteX3" fmla="*/ 54721 w 1455747"/>
                <a:gd name="connsiteY3" fmla="*/ 0 h 257442"/>
                <a:gd name="connsiteX0" fmla="*/ 1455747 w 1455747"/>
                <a:gd name="connsiteY0" fmla="*/ 0 h 257442"/>
                <a:gd name="connsiteX1" fmla="*/ 1401026 w 1455747"/>
                <a:gd name="connsiteY1" fmla="*/ 257442 h 257442"/>
                <a:gd name="connsiteX2" fmla="*/ 0 w 1455747"/>
                <a:gd name="connsiteY2" fmla="*/ 257442 h 257442"/>
                <a:gd name="connsiteX3" fmla="*/ 54722 w 1455747"/>
                <a:gd name="connsiteY3" fmla="*/ 0 h 257442"/>
                <a:gd name="connsiteX0" fmla="*/ 1624063 w 1624063"/>
                <a:gd name="connsiteY0" fmla="*/ 0 h 257442"/>
                <a:gd name="connsiteX1" fmla="*/ 1401026 w 1624063"/>
                <a:gd name="connsiteY1" fmla="*/ 257442 h 257442"/>
                <a:gd name="connsiteX2" fmla="*/ 0 w 1624063"/>
                <a:gd name="connsiteY2" fmla="*/ 257442 h 257442"/>
                <a:gd name="connsiteX3" fmla="*/ 54722 w 1624063"/>
                <a:gd name="connsiteY3" fmla="*/ 0 h 257442"/>
                <a:gd name="connsiteX0" fmla="*/ 1624063 w 1624063"/>
                <a:gd name="connsiteY0" fmla="*/ 0 h 257442"/>
                <a:gd name="connsiteX1" fmla="*/ 1569342 w 1624063"/>
                <a:gd name="connsiteY1" fmla="*/ 257442 h 257442"/>
                <a:gd name="connsiteX2" fmla="*/ 0 w 1624063"/>
                <a:gd name="connsiteY2" fmla="*/ 257442 h 257442"/>
                <a:gd name="connsiteX3" fmla="*/ 54722 w 1624063"/>
                <a:gd name="connsiteY3" fmla="*/ 0 h 257442"/>
                <a:gd name="connsiteX0" fmla="*/ 1624062 w 1624062"/>
                <a:gd name="connsiteY0" fmla="*/ 0 h 257442"/>
                <a:gd name="connsiteX1" fmla="*/ 1569341 w 1624062"/>
                <a:gd name="connsiteY1" fmla="*/ 257442 h 257442"/>
                <a:gd name="connsiteX2" fmla="*/ 0 w 1624062"/>
                <a:gd name="connsiteY2" fmla="*/ 257442 h 257442"/>
                <a:gd name="connsiteX3" fmla="*/ 54721 w 1624062"/>
                <a:gd name="connsiteY3" fmla="*/ 0 h 257442"/>
                <a:gd name="connsiteX0" fmla="*/ 1624062 w 1624062"/>
                <a:gd name="connsiteY0" fmla="*/ 0 h 257442"/>
                <a:gd name="connsiteX1" fmla="*/ 1569341 w 1624062"/>
                <a:gd name="connsiteY1" fmla="*/ 257442 h 257442"/>
                <a:gd name="connsiteX2" fmla="*/ 0 w 1624062"/>
                <a:gd name="connsiteY2" fmla="*/ 257442 h 257442"/>
                <a:gd name="connsiteX3" fmla="*/ 54720 w 1624062"/>
                <a:gd name="connsiteY3" fmla="*/ 0 h 257442"/>
                <a:gd name="connsiteX0" fmla="*/ 1885350 w 1885350"/>
                <a:gd name="connsiteY0" fmla="*/ 0 h 257442"/>
                <a:gd name="connsiteX1" fmla="*/ 1569341 w 1885350"/>
                <a:gd name="connsiteY1" fmla="*/ 257442 h 257442"/>
                <a:gd name="connsiteX2" fmla="*/ 0 w 1885350"/>
                <a:gd name="connsiteY2" fmla="*/ 257442 h 257442"/>
                <a:gd name="connsiteX3" fmla="*/ 54720 w 1885350"/>
                <a:gd name="connsiteY3" fmla="*/ 0 h 257442"/>
                <a:gd name="connsiteX0" fmla="*/ 1885350 w 1885350"/>
                <a:gd name="connsiteY0" fmla="*/ 0 h 257442"/>
                <a:gd name="connsiteX1" fmla="*/ 1830629 w 1885350"/>
                <a:gd name="connsiteY1" fmla="*/ 257442 h 257442"/>
                <a:gd name="connsiteX2" fmla="*/ 0 w 1885350"/>
                <a:gd name="connsiteY2" fmla="*/ 257442 h 257442"/>
                <a:gd name="connsiteX3" fmla="*/ 54720 w 1885350"/>
                <a:gd name="connsiteY3" fmla="*/ 0 h 257442"/>
                <a:gd name="connsiteX0" fmla="*/ 1885351 w 1885351"/>
                <a:gd name="connsiteY0" fmla="*/ 0 h 257442"/>
                <a:gd name="connsiteX1" fmla="*/ 1830630 w 1885351"/>
                <a:gd name="connsiteY1" fmla="*/ 257442 h 257442"/>
                <a:gd name="connsiteX2" fmla="*/ 0 w 1885351"/>
                <a:gd name="connsiteY2" fmla="*/ 257442 h 257442"/>
                <a:gd name="connsiteX3" fmla="*/ 54721 w 1885351"/>
                <a:gd name="connsiteY3" fmla="*/ 0 h 257442"/>
                <a:gd name="connsiteX0" fmla="*/ 1885351 w 1885351"/>
                <a:gd name="connsiteY0" fmla="*/ 0 h 257442"/>
                <a:gd name="connsiteX1" fmla="*/ 1830630 w 1885351"/>
                <a:gd name="connsiteY1" fmla="*/ 257442 h 257442"/>
                <a:gd name="connsiteX2" fmla="*/ 0 w 1885351"/>
                <a:gd name="connsiteY2" fmla="*/ 257442 h 257442"/>
                <a:gd name="connsiteX3" fmla="*/ 54722 w 1885351"/>
                <a:gd name="connsiteY3" fmla="*/ 0 h 257442"/>
                <a:gd name="connsiteX0" fmla="*/ 2045653 w 2045653"/>
                <a:gd name="connsiteY0" fmla="*/ 0 h 257442"/>
                <a:gd name="connsiteX1" fmla="*/ 1830630 w 2045653"/>
                <a:gd name="connsiteY1" fmla="*/ 257442 h 257442"/>
                <a:gd name="connsiteX2" fmla="*/ 0 w 2045653"/>
                <a:gd name="connsiteY2" fmla="*/ 257442 h 257442"/>
                <a:gd name="connsiteX3" fmla="*/ 54722 w 2045653"/>
                <a:gd name="connsiteY3" fmla="*/ 0 h 257442"/>
                <a:gd name="connsiteX0" fmla="*/ 2045653 w 2045653"/>
                <a:gd name="connsiteY0" fmla="*/ 0 h 257442"/>
                <a:gd name="connsiteX1" fmla="*/ 1990932 w 2045653"/>
                <a:gd name="connsiteY1" fmla="*/ 257442 h 257442"/>
                <a:gd name="connsiteX2" fmla="*/ 0 w 2045653"/>
                <a:gd name="connsiteY2" fmla="*/ 257442 h 257442"/>
                <a:gd name="connsiteX3" fmla="*/ 54722 w 2045653"/>
                <a:gd name="connsiteY3" fmla="*/ 0 h 257442"/>
                <a:gd name="connsiteX0" fmla="*/ 2045652 w 2045652"/>
                <a:gd name="connsiteY0" fmla="*/ 0 h 257442"/>
                <a:gd name="connsiteX1" fmla="*/ 1990931 w 2045652"/>
                <a:gd name="connsiteY1" fmla="*/ 257442 h 257442"/>
                <a:gd name="connsiteX2" fmla="*/ 0 w 2045652"/>
                <a:gd name="connsiteY2" fmla="*/ 257442 h 257442"/>
                <a:gd name="connsiteX3" fmla="*/ 54721 w 2045652"/>
                <a:gd name="connsiteY3" fmla="*/ 0 h 257442"/>
                <a:gd name="connsiteX0" fmla="*/ 2045652 w 2045652"/>
                <a:gd name="connsiteY0" fmla="*/ 0 h 257442"/>
                <a:gd name="connsiteX1" fmla="*/ 1990931 w 2045652"/>
                <a:gd name="connsiteY1" fmla="*/ 257442 h 257442"/>
                <a:gd name="connsiteX2" fmla="*/ 0 w 2045652"/>
                <a:gd name="connsiteY2" fmla="*/ 257442 h 257442"/>
                <a:gd name="connsiteX3" fmla="*/ 54720 w 2045652"/>
                <a:gd name="connsiteY3" fmla="*/ 0 h 257442"/>
                <a:gd name="connsiteX0" fmla="*/ 1885350 w 1990931"/>
                <a:gd name="connsiteY0" fmla="*/ 0 h 257442"/>
                <a:gd name="connsiteX1" fmla="*/ 1990931 w 1990931"/>
                <a:gd name="connsiteY1" fmla="*/ 257442 h 257442"/>
                <a:gd name="connsiteX2" fmla="*/ 0 w 1990931"/>
                <a:gd name="connsiteY2" fmla="*/ 257442 h 257442"/>
                <a:gd name="connsiteX3" fmla="*/ 54720 w 1990931"/>
                <a:gd name="connsiteY3" fmla="*/ 0 h 257442"/>
                <a:gd name="connsiteX0" fmla="*/ 1885350 w 1885350"/>
                <a:gd name="connsiteY0" fmla="*/ 0 h 257442"/>
                <a:gd name="connsiteX1" fmla="*/ 1830630 w 1885350"/>
                <a:gd name="connsiteY1" fmla="*/ 257442 h 257442"/>
                <a:gd name="connsiteX2" fmla="*/ 0 w 1885350"/>
                <a:gd name="connsiteY2" fmla="*/ 257442 h 257442"/>
                <a:gd name="connsiteX3" fmla="*/ 54720 w 1885350"/>
                <a:gd name="connsiteY3" fmla="*/ 0 h 257442"/>
                <a:gd name="connsiteX0" fmla="*/ 1885350 w 1885350"/>
                <a:gd name="connsiteY0" fmla="*/ 0 h 257442"/>
                <a:gd name="connsiteX1" fmla="*/ 1830630 w 1885350"/>
                <a:gd name="connsiteY1" fmla="*/ 257442 h 257442"/>
                <a:gd name="connsiteX2" fmla="*/ 0 w 1885350"/>
                <a:gd name="connsiteY2" fmla="*/ 257442 h 257442"/>
                <a:gd name="connsiteX3" fmla="*/ 54720 w 1885350"/>
                <a:gd name="connsiteY3" fmla="*/ 0 h 257442"/>
                <a:gd name="connsiteX0" fmla="*/ 1885350 w 1885350"/>
                <a:gd name="connsiteY0" fmla="*/ 0 h 257442"/>
                <a:gd name="connsiteX1" fmla="*/ 1830630 w 1885350"/>
                <a:gd name="connsiteY1" fmla="*/ 257442 h 257442"/>
                <a:gd name="connsiteX2" fmla="*/ 0 w 1885350"/>
                <a:gd name="connsiteY2" fmla="*/ 257442 h 257442"/>
                <a:gd name="connsiteX3" fmla="*/ 54721 w 1885350"/>
                <a:gd name="connsiteY3" fmla="*/ 0 h 257442"/>
                <a:gd name="connsiteX0" fmla="*/ 1725051 w 1830630"/>
                <a:gd name="connsiteY0" fmla="*/ 0 h 257442"/>
                <a:gd name="connsiteX1" fmla="*/ 1830630 w 1830630"/>
                <a:gd name="connsiteY1" fmla="*/ 257442 h 257442"/>
                <a:gd name="connsiteX2" fmla="*/ 0 w 1830630"/>
                <a:gd name="connsiteY2" fmla="*/ 257442 h 257442"/>
                <a:gd name="connsiteX3" fmla="*/ 54721 w 1830630"/>
                <a:gd name="connsiteY3" fmla="*/ 0 h 257442"/>
                <a:gd name="connsiteX0" fmla="*/ 1725051 w 1725051"/>
                <a:gd name="connsiteY0" fmla="*/ 0 h 257442"/>
                <a:gd name="connsiteX1" fmla="*/ 1670330 w 1725051"/>
                <a:gd name="connsiteY1" fmla="*/ 257442 h 257442"/>
                <a:gd name="connsiteX2" fmla="*/ 0 w 1725051"/>
                <a:gd name="connsiteY2" fmla="*/ 257442 h 257442"/>
                <a:gd name="connsiteX3" fmla="*/ 54721 w 1725051"/>
                <a:gd name="connsiteY3" fmla="*/ 0 h 257442"/>
                <a:gd name="connsiteX0" fmla="*/ 1725050 w 1725050"/>
                <a:gd name="connsiteY0" fmla="*/ 0 h 257442"/>
                <a:gd name="connsiteX1" fmla="*/ 1670329 w 1725050"/>
                <a:gd name="connsiteY1" fmla="*/ 257442 h 257442"/>
                <a:gd name="connsiteX2" fmla="*/ 0 w 1725050"/>
                <a:gd name="connsiteY2" fmla="*/ 257442 h 257442"/>
                <a:gd name="connsiteX3" fmla="*/ 54720 w 1725050"/>
                <a:gd name="connsiteY3" fmla="*/ 0 h 257442"/>
                <a:gd name="connsiteX0" fmla="*/ 1725050 w 1725050"/>
                <a:gd name="connsiteY0" fmla="*/ 0 h 257442"/>
                <a:gd name="connsiteX1" fmla="*/ 1670329 w 1725050"/>
                <a:gd name="connsiteY1" fmla="*/ 257442 h 257442"/>
                <a:gd name="connsiteX2" fmla="*/ 0 w 1725050"/>
                <a:gd name="connsiteY2" fmla="*/ 257442 h 257442"/>
                <a:gd name="connsiteX3" fmla="*/ 54720 w 1725050"/>
                <a:gd name="connsiteY3" fmla="*/ 0 h 257442"/>
                <a:gd name="connsiteX0" fmla="*/ 1885350 w 1885350"/>
                <a:gd name="connsiteY0" fmla="*/ 0 h 257442"/>
                <a:gd name="connsiteX1" fmla="*/ 1670329 w 1885350"/>
                <a:gd name="connsiteY1" fmla="*/ 257442 h 257442"/>
                <a:gd name="connsiteX2" fmla="*/ 0 w 1885350"/>
                <a:gd name="connsiteY2" fmla="*/ 257442 h 257442"/>
                <a:gd name="connsiteX3" fmla="*/ 54720 w 1885350"/>
                <a:gd name="connsiteY3" fmla="*/ 0 h 257442"/>
                <a:gd name="connsiteX0" fmla="*/ 1885350 w 1885350"/>
                <a:gd name="connsiteY0" fmla="*/ 0 h 257442"/>
                <a:gd name="connsiteX1" fmla="*/ 1830629 w 1885350"/>
                <a:gd name="connsiteY1" fmla="*/ 257442 h 257442"/>
                <a:gd name="connsiteX2" fmla="*/ 0 w 1885350"/>
                <a:gd name="connsiteY2" fmla="*/ 257442 h 257442"/>
                <a:gd name="connsiteX3" fmla="*/ 54720 w 1885350"/>
                <a:gd name="connsiteY3" fmla="*/ 0 h 257442"/>
                <a:gd name="connsiteX0" fmla="*/ 1885351 w 1885351"/>
                <a:gd name="connsiteY0" fmla="*/ 0 h 257442"/>
                <a:gd name="connsiteX1" fmla="*/ 1830630 w 1885351"/>
                <a:gd name="connsiteY1" fmla="*/ 257442 h 257442"/>
                <a:gd name="connsiteX2" fmla="*/ 0 w 1885351"/>
                <a:gd name="connsiteY2" fmla="*/ 257442 h 257442"/>
                <a:gd name="connsiteX3" fmla="*/ 54721 w 1885351"/>
                <a:gd name="connsiteY3" fmla="*/ 0 h 257442"/>
                <a:gd name="connsiteX0" fmla="*/ 1885351 w 1885351"/>
                <a:gd name="connsiteY0" fmla="*/ 0 h 257442"/>
                <a:gd name="connsiteX1" fmla="*/ 1830630 w 1885351"/>
                <a:gd name="connsiteY1" fmla="*/ 257442 h 257442"/>
                <a:gd name="connsiteX2" fmla="*/ 0 w 1885351"/>
                <a:gd name="connsiteY2" fmla="*/ 257442 h 257442"/>
                <a:gd name="connsiteX3" fmla="*/ 54722 w 1885351"/>
                <a:gd name="connsiteY3" fmla="*/ 0 h 257442"/>
                <a:gd name="connsiteX0" fmla="*/ 2205953 w 2205953"/>
                <a:gd name="connsiteY0" fmla="*/ 0 h 257442"/>
                <a:gd name="connsiteX1" fmla="*/ 1830630 w 2205953"/>
                <a:gd name="connsiteY1" fmla="*/ 257442 h 257442"/>
                <a:gd name="connsiteX2" fmla="*/ 0 w 2205953"/>
                <a:gd name="connsiteY2" fmla="*/ 257442 h 257442"/>
                <a:gd name="connsiteX3" fmla="*/ 54722 w 2205953"/>
                <a:gd name="connsiteY3" fmla="*/ 0 h 257442"/>
                <a:gd name="connsiteX0" fmla="*/ 2205953 w 2205953"/>
                <a:gd name="connsiteY0" fmla="*/ 0 h 257442"/>
                <a:gd name="connsiteX1" fmla="*/ 2151232 w 2205953"/>
                <a:gd name="connsiteY1" fmla="*/ 257442 h 257442"/>
                <a:gd name="connsiteX2" fmla="*/ 0 w 2205953"/>
                <a:gd name="connsiteY2" fmla="*/ 257442 h 257442"/>
                <a:gd name="connsiteX3" fmla="*/ 54722 w 2205953"/>
                <a:gd name="connsiteY3" fmla="*/ 0 h 257442"/>
                <a:gd name="connsiteX0" fmla="*/ 2205952 w 2205952"/>
                <a:gd name="connsiteY0" fmla="*/ 0 h 257442"/>
                <a:gd name="connsiteX1" fmla="*/ 2151231 w 2205952"/>
                <a:gd name="connsiteY1" fmla="*/ 257442 h 257442"/>
                <a:gd name="connsiteX2" fmla="*/ 0 w 2205952"/>
                <a:gd name="connsiteY2" fmla="*/ 257442 h 257442"/>
                <a:gd name="connsiteX3" fmla="*/ 54721 w 2205952"/>
                <a:gd name="connsiteY3" fmla="*/ 0 h 257442"/>
                <a:gd name="connsiteX0" fmla="*/ 2205952 w 2205952"/>
                <a:gd name="connsiteY0" fmla="*/ 0 h 257442"/>
                <a:gd name="connsiteX1" fmla="*/ 2151231 w 2205952"/>
                <a:gd name="connsiteY1" fmla="*/ 257442 h 257442"/>
                <a:gd name="connsiteX2" fmla="*/ 0 w 2205952"/>
                <a:gd name="connsiteY2" fmla="*/ 257442 h 257442"/>
                <a:gd name="connsiteX3" fmla="*/ 54720 w 2205952"/>
                <a:gd name="connsiteY3" fmla="*/ 0 h 257442"/>
                <a:gd name="connsiteX0" fmla="*/ 2366251 w 2366251"/>
                <a:gd name="connsiteY0" fmla="*/ 0 h 257442"/>
                <a:gd name="connsiteX1" fmla="*/ 2151231 w 2366251"/>
                <a:gd name="connsiteY1" fmla="*/ 257442 h 257442"/>
                <a:gd name="connsiteX2" fmla="*/ 0 w 2366251"/>
                <a:gd name="connsiteY2" fmla="*/ 257442 h 257442"/>
                <a:gd name="connsiteX3" fmla="*/ 54720 w 2366251"/>
                <a:gd name="connsiteY3" fmla="*/ 0 h 257442"/>
                <a:gd name="connsiteX0" fmla="*/ 2366251 w 2366251"/>
                <a:gd name="connsiteY0" fmla="*/ 0 h 257442"/>
                <a:gd name="connsiteX1" fmla="*/ 2311530 w 2366251"/>
                <a:gd name="connsiteY1" fmla="*/ 257442 h 257442"/>
                <a:gd name="connsiteX2" fmla="*/ 0 w 2366251"/>
                <a:gd name="connsiteY2" fmla="*/ 257442 h 257442"/>
                <a:gd name="connsiteX3" fmla="*/ 54720 w 2366251"/>
                <a:gd name="connsiteY3" fmla="*/ 0 h 257442"/>
                <a:gd name="connsiteX0" fmla="*/ 2366252 w 2366252"/>
                <a:gd name="connsiteY0" fmla="*/ 0 h 257442"/>
                <a:gd name="connsiteX1" fmla="*/ 2311531 w 2366252"/>
                <a:gd name="connsiteY1" fmla="*/ 257442 h 257442"/>
                <a:gd name="connsiteX2" fmla="*/ 0 w 2366252"/>
                <a:gd name="connsiteY2" fmla="*/ 257442 h 257442"/>
                <a:gd name="connsiteX3" fmla="*/ 54721 w 2366252"/>
                <a:gd name="connsiteY3" fmla="*/ 0 h 257442"/>
                <a:gd name="connsiteX0" fmla="*/ 2366252 w 2366252"/>
                <a:gd name="connsiteY0" fmla="*/ 0 h 257442"/>
                <a:gd name="connsiteX1" fmla="*/ 2311531 w 2366252"/>
                <a:gd name="connsiteY1" fmla="*/ 257442 h 257442"/>
                <a:gd name="connsiteX2" fmla="*/ 0 w 2366252"/>
                <a:gd name="connsiteY2" fmla="*/ 257442 h 257442"/>
                <a:gd name="connsiteX3" fmla="*/ 54721 w 2366252"/>
                <a:gd name="connsiteY3" fmla="*/ 0 h 257442"/>
                <a:gd name="connsiteX0" fmla="*/ 2534568 w 2534568"/>
                <a:gd name="connsiteY0" fmla="*/ 0 h 257442"/>
                <a:gd name="connsiteX1" fmla="*/ 2311531 w 2534568"/>
                <a:gd name="connsiteY1" fmla="*/ 257442 h 257442"/>
                <a:gd name="connsiteX2" fmla="*/ 0 w 2534568"/>
                <a:gd name="connsiteY2" fmla="*/ 257442 h 257442"/>
                <a:gd name="connsiteX3" fmla="*/ 54721 w 2534568"/>
                <a:gd name="connsiteY3" fmla="*/ 0 h 257442"/>
                <a:gd name="connsiteX0" fmla="*/ 2534568 w 2534568"/>
                <a:gd name="connsiteY0" fmla="*/ 0 h 257442"/>
                <a:gd name="connsiteX1" fmla="*/ 2479847 w 2534568"/>
                <a:gd name="connsiteY1" fmla="*/ 257442 h 257442"/>
                <a:gd name="connsiteX2" fmla="*/ 0 w 2534568"/>
                <a:gd name="connsiteY2" fmla="*/ 257442 h 257442"/>
                <a:gd name="connsiteX3" fmla="*/ 54721 w 2534568"/>
                <a:gd name="connsiteY3" fmla="*/ 0 h 257442"/>
                <a:gd name="connsiteX0" fmla="*/ 2534568 w 2534568"/>
                <a:gd name="connsiteY0" fmla="*/ 0 h 257442"/>
                <a:gd name="connsiteX1" fmla="*/ 2479847 w 2534568"/>
                <a:gd name="connsiteY1" fmla="*/ 257442 h 257442"/>
                <a:gd name="connsiteX2" fmla="*/ 0 w 2534568"/>
                <a:gd name="connsiteY2" fmla="*/ 257442 h 257442"/>
                <a:gd name="connsiteX3" fmla="*/ 54721 w 2534568"/>
                <a:gd name="connsiteY3" fmla="*/ 0 h 257442"/>
                <a:gd name="connsiteX0" fmla="*/ 2534568 w 2534568"/>
                <a:gd name="connsiteY0" fmla="*/ 0 h 257442"/>
                <a:gd name="connsiteX1" fmla="*/ 2479847 w 2534568"/>
                <a:gd name="connsiteY1" fmla="*/ 257442 h 257442"/>
                <a:gd name="connsiteX2" fmla="*/ 0 w 2534568"/>
                <a:gd name="connsiteY2" fmla="*/ 257442 h 257442"/>
                <a:gd name="connsiteX3" fmla="*/ 54721 w 2534568"/>
                <a:gd name="connsiteY3" fmla="*/ 0 h 257442"/>
                <a:gd name="connsiteX0" fmla="*/ 2712501 w 2712501"/>
                <a:gd name="connsiteY0" fmla="*/ 0 h 257442"/>
                <a:gd name="connsiteX1" fmla="*/ 2479847 w 2712501"/>
                <a:gd name="connsiteY1" fmla="*/ 257442 h 257442"/>
                <a:gd name="connsiteX2" fmla="*/ 0 w 2712501"/>
                <a:gd name="connsiteY2" fmla="*/ 257442 h 257442"/>
                <a:gd name="connsiteX3" fmla="*/ 54721 w 2712501"/>
                <a:gd name="connsiteY3" fmla="*/ 0 h 257442"/>
                <a:gd name="connsiteX0" fmla="*/ 2712501 w 2712501"/>
                <a:gd name="connsiteY0" fmla="*/ 0 h 257442"/>
                <a:gd name="connsiteX1" fmla="*/ 2657780 w 2712501"/>
                <a:gd name="connsiteY1" fmla="*/ 257442 h 257442"/>
                <a:gd name="connsiteX2" fmla="*/ 0 w 2712501"/>
                <a:gd name="connsiteY2" fmla="*/ 257442 h 257442"/>
                <a:gd name="connsiteX3" fmla="*/ 54721 w 2712501"/>
                <a:gd name="connsiteY3" fmla="*/ 0 h 257442"/>
                <a:gd name="connsiteX0" fmla="*/ 2712501 w 2712501"/>
                <a:gd name="connsiteY0" fmla="*/ 0 h 257442"/>
                <a:gd name="connsiteX1" fmla="*/ 2657780 w 2712501"/>
                <a:gd name="connsiteY1" fmla="*/ 257442 h 257442"/>
                <a:gd name="connsiteX2" fmla="*/ 0 w 2712501"/>
                <a:gd name="connsiteY2" fmla="*/ 257442 h 257442"/>
                <a:gd name="connsiteX3" fmla="*/ 54721 w 2712501"/>
                <a:gd name="connsiteY3" fmla="*/ 0 h 257442"/>
                <a:gd name="connsiteX0" fmla="*/ 2712501 w 2712501"/>
                <a:gd name="connsiteY0" fmla="*/ 0 h 257442"/>
                <a:gd name="connsiteX1" fmla="*/ 2657780 w 2712501"/>
                <a:gd name="connsiteY1" fmla="*/ 257442 h 257442"/>
                <a:gd name="connsiteX2" fmla="*/ 0 w 2712501"/>
                <a:gd name="connsiteY2" fmla="*/ 257442 h 257442"/>
                <a:gd name="connsiteX3" fmla="*/ 54721 w 2712501"/>
                <a:gd name="connsiteY3" fmla="*/ 0 h 257442"/>
                <a:gd name="connsiteX0" fmla="*/ 3033101 w 3033101"/>
                <a:gd name="connsiteY0" fmla="*/ 0 h 257442"/>
                <a:gd name="connsiteX1" fmla="*/ 2657780 w 3033101"/>
                <a:gd name="connsiteY1" fmla="*/ 257442 h 257442"/>
                <a:gd name="connsiteX2" fmla="*/ 0 w 3033101"/>
                <a:gd name="connsiteY2" fmla="*/ 257442 h 257442"/>
                <a:gd name="connsiteX3" fmla="*/ 54721 w 3033101"/>
                <a:gd name="connsiteY3" fmla="*/ 0 h 257442"/>
                <a:gd name="connsiteX0" fmla="*/ 3033101 w 3033101"/>
                <a:gd name="connsiteY0" fmla="*/ 0 h 257442"/>
                <a:gd name="connsiteX1" fmla="*/ 2978380 w 3033101"/>
                <a:gd name="connsiteY1" fmla="*/ 257442 h 257442"/>
                <a:gd name="connsiteX2" fmla="*/ 0 w 3033101"/>
                <a:gd name="connsiteY2" fmla="*/ 257442 h 257442"/>
                <a:gd name="connsiteX3" fmla="*/ 54721 w 3033101"/>
                <a:gd name="connsiteY3" fmla="*/ 0 h 257442"/>
                <a:gd name="connsiteX0" fmla="*/ 3033101 w 3033101"/>
                <a:gd name="connsiteY0" fmla="*/ 0 h 257442"/>
                <a:gd name="connsiteX1" fmla="*/ 2978380 w 3033101"/>
                <a:gd name="connsiteY1" fmla="*/ 257442 h 257442"/>
                <a:gd name="connsiteX2" fmla="*/ 0 w 3033101"/>
                <a:gd name="connsiteY2" fmla="*/ 257442 h 257442"/>
                <a:gd name="connsiteX3" fmla="*/ 54721 w 3033101"/>
                <a:gd name="connsiteY3" fmla="*/ 0 h 257442"/>
                <a:gd name="connsiteX0" fmla="*/ 3033101 w 3033101"/>
                <a:gd name="connsiteY0" fmla="*/ 0 h 257442"/>
                <a:gd name="connsiteX1" fmla="*/ 2978380 w 3033101"/>
                <a:gd name="connsiteY1" fmla="*/ 257442 h 257442"/>
                <a:gd name="connsiteX2" fmla="*/ 0 w 3033101"/>
                <a:gd name="connsiteY2" fmla="*/ 257442 h 257442"/>
                <a:gd name="connsiteX3" fmla="*/ 54721 w 3033101"/>
                <a:gd name="connsiteY3" fmla="*/ 0 h 257442"/>
                <a:gd name="connsiteX0" fmla="*/ 950801 w 2978380"/>
                <a:gd name="connsiteY0" fmla="*/ 0 h 257442"/>
                <a:gd name="connsiteX1" fmla="*/ 2978380 w 2978380"/>
                <a:gd name="connsiteY1" fmla="*/ 257442 h 257442"/>
                <a:gd name="connsiteX2" fmla="*/ 0 w 2978380"/>
                <a:gd name="connsiteY2" fmla="*/ 257442 h 257442"/>
                <a:gd name="connsiteX3" fmla="*/ 54721 w 2978380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1128733 w 1128733"/>
                <a:gd name="connsiteY0" fmla="*/ 0 h 257442"/>
                <a:gd name="connsiteX1" fmla="*/ 896079 w 1128733"/>
                <a:gd name="connsiteY1" fmla="*/ 257442 h 257442"/>
                <a:gd name="connsiteX2" fmla="*/ 0 w 1128733"/>
                <a:gd name="connsiteY2" fmla="*/ 257442 h 257442"/>
                <a:gd name="connsiteX3" fmla="*/ 54720 w 1128733"/>
                <a:gd name="connsiteY3" fmla="*/ 0 h 257442"/>
                <a:gd name="connsiteX0" fmla="*/ 1128733 w 1128733"/>
                <a:gd name="connsiteY0" fmla="*/ 0 h 257442"/>
                <a:gd name="connsiteX1" fmla="*/ 1074012 w 1128733"/>
                <a:gd name="connsiteY1" fmla="*/ 257442 h 257442"/>
                <a:gd name="connsiteX2" fmla="*/ 0 w 1128733"/>
                <a:gd name="connsiteY2" fmla="*/ 257442 h 257442"/>
                <a:gd name="connsiteX3" fmla="*/ 54720 w 1128733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625665 w 1625665"/>
                <a:gd name="connsiteY0" fmla="*/ 0 h 257442"/>
                <a:gd name="connsiteX1" fmla="*/ 1402629 w 1625665"/>
                <a:gd name="connsiteY1" fmla="*/ 257442 h 257442"/>
                <a:gd name="connsiteX2" fmla="*/ 0 w 1625665"/>
                <a:gd name="connsiteY2" fmla="*/ 257442 h 257442"/>
                <a:gd name="connsiteX3" fmla="*/ 54721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54721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54721 w 1625665"/>
                <a:gd name="connsiteY3" fmla="*/ 0 h 257442"/>
                <a:gd name="connsiteX0" fmla="*/ 1625665 w 1625665"/>
                <a:gd name="connsiteY0" fmla="*/ 0 h 257442"/>
                <a:gd name="connsiteX1" fmla="*/ 1570944 w 1625665"/>
                <a:gd name="connsiteY1" fmla="*/ 257442 h 257442"/>
                <a:gd name="connsiteX2" fmla="*/ 0 w 1625665"/>
                <a:gd name="connsiteY2" fmla="*/ 257442 h 257442"/>
                <a:gd name="connsiteX3" fmla="*/ 54721 w 1625665"/>
                <a:gd name="connsiteY3" fmla="*/ 0 h 257442"/>
                <a:gd name="connsiteX0" fmla="*/ 1811613 w 1811613"/>
                <a:gd name="connsiteY0" fmla="*/ 0 h 257442"/>
                <a:gd name="connsiteX1" fmla="*/ 1570944 w 1811613"/>
                <a:gd name="connsiteY1" fmla="*/ 257442 h 257442"/>
                <a:gd name="connsiteX2" fmla="*/ 0 w 1811613"/>
                <a:gd name="connsiteY2" fmla="*/ 257442 h 257442"/>
                <a:gd name="connsiteX3" fmla="*/ 54721 w 1811613"/>
                <a:gd name="connsiteY3" fmla="*/ 0 h 257442"/>
                <a:gd name="connsiteX0" fmla="*/ 1811613 w 1811613"/>
                <a:gd name="connsiteY0" fmla="*/ 0 h 257442"/>
                <a:gd name="connsiteX1" fmla="*/ 1756892 w 1811613"/>
                <a:gd name="connsiteY1" fmla="*/ 257442 h 257442"/>
                <a:gd name="connsiteX2" fmla="*/ 0 w 1811613"/>
                <a:gd name="connsiteY2" fmla="*/ 257442 h 257442"/>
                <a:gd name="connsiteX3" fmla="*/ 54721 w 1811613"/>
                <a:gd name="connsiteY3" fmla="*/ 0 h 257442"/>
                <a:gd name="connsiteX0" fmla="*/ 1811613 w 1811613"/>
                <a:gd name="connsiteY0" fmla="*/ 0 h 257442"/>
                <a:gd name="connsiteX1" fmla="*/ 1756892 w 1811613"/>
                <a:gd name="connsiteY1" fmla="*/ 257442 h 257442"/>
                <a:gd name="connsiteX2" fmla="*/ 0 w 1811613"/>
                <a:gd name="connsiteY2" fmla="*/ 257442 h 257442"/>
                <a:gd name="connsiteX3" fmla="*/ 54721 w 1811613"/>
                <a:gd name="connsiteY3" fmla="*/ 0 h 257442"/>
                <a:gd name="connsiteX0" fmla="*/ 1811613 w 1811613"/>
                <a:gd name="connsiteY0" fmla="*/ 0 h 257442"/>
                <a:gd name="connsiteX1" fmla="*/ 1756892 w 1811613"/>
                <a:gd name="connsiteY1" fmla="*/ 257442 h 257442"/>
                <a:gd name="connsiteX2" fmla="*/ 0 w 1811613"/>
                <a:gd name="connsiteY2" fmla="*/ 257442 h 257442"/>
                <a:gd name="connsiteX3" fmla="*/ 54721 w 1811613"/>
                <a:gd name="connsiteY3" fmla="*/ 0 h 257442"/>
                <a:gd name="connsiteX0" fmla="*/ 1971914 w 1971914"/>
                <a:gd name="connsiteY0" fmla="*/ 0 h 257442"/>
                <a:gd name="connsiteX1" fmla="*/ 1756892 w 1971914"/>
                <a:gd name="connsiteY1" fmla="*/ 257442 h 257442"/>
                <a:gd name="connsiteX2" fmla="*/ 0 w 1971914"/>
                <a:gd name="connsiteY2" fmla="*/ 257442 h 257442"/>
                <a:gd name="connsiteX3" fmla="*/ 54721 w 1971914"/>
                <a:gd name="connsiteY3" fmla="*/ 0 h 257442"/>
                <a:gd name="connsiteX0" fmla="*/ 1971914 w 1971914"/>
                <a:gd name="connsiteY0" fmla="*/ 0 h 257442"/>
                <a:gd name="connsiteX1" fmla="*/ 1917192 w 1971914"/>
                <a:gd name="connsiteY1" fmla="*/ 257442 h 257442"/>
                <a:gd name="connsiteX2" fmla="*/ 0 w 1971914"/>
                <a:gd name="connsiteY2" fmla="*/ 257442 h 257442"/>
                <a:gd name="connsiteX3" fmla="*/ 54721 w 1971914"/>
                <a:gd name="connsiteY3" fmla="*/ 0 h 257442"/>
                <a:gd name="connsiteX0" fmla="*/ 1971915 w 1971915"/>
                <a:gd name="connsiteY0" fmla="*/ 0 h 257442"/>
                <a:gd name="connsiteX1" fmla="*/ 1917193 w 1971915"/>
                <a:gd name="connsiteY1" fmla="*/ 257442 h 257442"/>
                <a:gd name="connsiteX2" fmla="*/ 0 w 1971915"/>
                <a:gd name="connsiteY2" fmla="*/ 257442 h 257442"/>
                <a:gd name="connsiteX3" fmla="*/ 54722 w 1971915"/>
                <a:gd name="connsiteY3" fmla="*/ 0 h 257442"/>
                <a:gd name="connsiteX0" fmla="*/ 1971915 w 1971915"/>
                <a:gd name="connsiteY0" fmla="*/ 0 h 257442"/>
                <a:gd name="connsiteX1" fmla="*/ 1917193 w 1971915"/>
                <a:gd name="connsiteY1" fmla="*/ 257442 h 257442"/>
                <a:gd name="connsiteX2" fmla="*/ 0 w 1971915"/>
                <a:gd name="connsiteY2" fmla="*/ 257442 h 257442"/>
                <a:gd name="connsiteX3" fmla="*/ 54722 w 1971915"/>
                <a:gd name="connsiteY3" fmla="*/ 0 h 257442"/>
                <a:gd name="connsiteX0" fmla="*/ 2140230 w 2140230"/>
                <a:gd name="connsiteY0" fmla="*/ 0 h 257442"/>
                <a:gd name="connsiteX1" fmla="*/ 1917193 w 2140230"/>
                <a:gd name="connsiteY1" fmla="*/ 257442 h 257442"/>
                <a:gd name="connsiteX2" fmla="*/ 0 w 2140230"/>
                <a:gd name="connsiteY2" fmla="*/ 257442 h 257442"/>
                <a:gd name="connsiteX3" fmla="*/ 54722 w 2140230"/>
                <a:gd name="connsiteY3" fmla="*/ 0 h 257442"/>
                <a:gd name="connsiteX0" fmla="*/ 2140230 w 2140230"/>
                <a:gd name="connsiteY0" fmla="*/ 0 h 257442"/>
                <a:gd name="connsiteX1" fmla="*/ 2085508 w 2140230"/>
                <a:gd name="connsiteY1" fmla="*/ 257442 h 257442"/>
                <a:gd name="connsiteX2" fmla="*/ 0 w 2140230"/>
                <a:gd name="connsiteY2" fmla="*/ 257442 h 257442"/>
                <a:gd name="connsiteX3" fmla="*/ 54722 w 2140230"/>
                <a:gd name="connsiteY3" fmla="*/ 0 h 257442"/>
                <a:gd name="connsiteX0" fmla="*/ 2140230 w 2140230"/>
                <a:gd name="connsiteY0" fmla="*/ 0 h 257442"/>
                <a:gd name="connsiteX1" fmla="*/ 2085508 w 2140230"/>
                <a:gd name="connsiteY1" fmla="*/ 257442 h 257442"/>
                <a:gd name="connsiteX2" fmla="*/ 0 w 2140230"/>
                <a:gd name="connsiteY2" fmla="*/ 257442 h 257442"/>
                <a:gd name="connsiteX3" fmla="*/ 54722 w 2140230"/>
                <a:gd name="connsiteY3" fmla="*/ 0 h 257442"/>
                <a:gd name="connsiteX0" fmla="*/ 2140230 w 2140230"/>
                <a:gd name="connsiteY0" fmla="*/ 0 h 257442"/>
                <a:gd name="connsiteX1" fmla="*/ 2085508 w 2140230"/>
                <a:gd name="connsiteY1" fmla="*/ 257442 h 257442"/>
                <a:gd name="connsiteX2" fmla="*/ 0 w 2140230"/>
                <a:gd name="connsiteY2" fmla="*/ 257442 h 257442"/>
                <a:gd name="connsiteX3" fmla="*/ 54721 w 2140230"/>
                <a:gd name="connsiteY3" fmla="*/ 0 h 257442"/>
                <a:gd name="connsiteX0" fmla="*/ 2383886 w 2383886"/>
                <a:gd name="connsiteY0" fmla="*/ 0 h 257442"/>
                <a:gd name="connsiteX1" fmla="*/ 2085508 w 2383886"/>
                <a:gd name="connsiteY1" fmla="*/ 257442 h 257442"/>
                <a:gd name="connsiteX2" fmla="*/ 0 w 2383886"/>
                <a:gd name="connsiteY2" fmla="*/ 257442 h 257442"/>
                <a:gd name="connsiteX3" fmla="*/ 54721 w 2383886"/>
                <a:gd name="connsiteY3" fmla="*/ 0 h 257442"/>
                <a:gd name="connsiteX0" fmla="*/ 2383886 w 2383886"/>
                <a:gd name="connsiteY0" fmla="*/ 0 h 257442"/>
                <a:gd name="connsiteX1" fmla="*/ 2329165 w 2383886"/>
                <a:gd name="connsiteY1" fmla="*/ 257442 h 257442"/>
                <a:gd name="connsiteX2" fmla="*/ 0 w 2383886"/>
                <a:gd name="connsiteY2" fmla="*/ 257442 h 257442"/>
                <a:gd name="connsiteX3" fmla="*/ 54721 w 2383886"/>
                <a:gd name="connsiteY3" fmla="*/ 0 h 257442"/>
                <a:gd name="connsiteX0" fmla="*/ 2383886 w 2383886"/>
                <a:gd name="connsiteY0" fmla="*/ 0 h 257442"/>
                <a:gd name="connsiteX1" fmla="*/ 2329165 w 2383886"/>
                <a:gd name="connsiteY1" fmla="*/ 257442 h 257442"/>
                <a:gd name="connsiteX2" fmla="*/ 0 w 2383886"/>
                <a:gd name="connsiteY2" fmla="*/ 257442 h 257442"/>
                <a:gd name="connsiteX3" fmla="*/ 54721 w 2383886"/>
                <a:gd name="connsiteY3" fmla="*/ 0 h 257442"/>
                <a:gd name="connsiteX0" fmla="*/ 2383886 w 2383886"/>
                <a:gd name="connsiteY0" fmla="*/ 0 h 257442"/>
                <a:gd name="connsiteX1" fmla="*/ 2329165 w 2383886"/>
                <a:gd name="connsiteY1" fmla="*/ 257442 h 257442"/>
                <a:gd name="connsiteX2" fmla="*/ 0 w 2383886"/>
                <a:gd name="connsiteY2" fmla="*/ 257442 h 257442"/>
                <a:gd name="connsiteX3" fmla="*/ 54721 w 2383886"/>
                <a:gd name="connsiteY3" fmla="*/ 0 h 257442"/>
                <a:gd name="connsiteX0" fmla="*/ 2561819 w 2561819"/>
                <a:gd name="connsiteY0" fmla="*/ 0 h 257442"/>
                <a:gd name="connsiteX1" fmla="*/ 2329165 w 2561819"/>
                <a:gd name="connsiteY1" fmla="*/ 257442 h 257442"/>
                <a:gd name="connsiteX2" fmla="*/ 0 w 2561819"/>
                <a:gd name="connsiteY2" fmla="*/ 257442 h 257442"/>
                <a:gd name="connsiteX3" fmla="*/ 54721 w 2561819"/>
                <a:gd name="connsiteY3" fmla="*/ 0 h 257442"/>
                <a:gd name="connsiteX0" fmla="*/ 2561819 w 2561819"/>
                <a:gd name="connsiteY0" fmla="*/ 0 h 257442"/>
                <a:gd name="connsiteX1" fmla="*/ 2507098 w 2561819"/>
                <a:gd name="connsiteY1" fmla="*/ 257442 h 257442"/>
                <a:gd name="connsiteX2" fmla="*/ 0 w 2561819"/>
                <a:gd name="connsiteY2" fmla="*/ 257442 h 257442"/>
                <a:gd name="connsiteX3" fmla="*/ 54721 w 2561819"/>
                <a:gd name="connsiteY3" fmla="*/ 0 h 257442"/>
                <a:gd name="connsiteX0" fmla="*/ 2561819 w 2561819"/>
                <a:gd name="connsiteY0" fmla="*/ 0 h 257442"/>
                <a:gd name="connsiteX1" fmla="*/ 2507098 w 2561819"/>
                <a:gd name="connsiteY1" fmla="*/ 257442 h 257442"/>
                <a:gd name="connsiteX2" fmla="*/ 0 w 2561819"/>
                <a:gd name="connsiteY2" fmla="*/ 257442 h 257442"/>
                <a:gd name="connsiteX3" fmla="*/ 54721 w 2561819"/>
                <a:gd name="connsiteY3" fmla="*/ 0 h 257442"/>
                <a:gd name="connsiteX0" fmla="*/ 2561819 w 2561819"/>
                <a:gd name="connsiteY0" fmla="*/ 0 h 257442"/>
                <a:gd name="connsiteX1" fmla="*/ 2507098 w 2561819"/>
                <a:gd name="connsiteY1" fmla="*/ 257442 h 257442"/>
                <a:gd name="connsiteX2" fmla="*/ 0 w 2561819"/>
                <a:gd name="connsiteY2" fmla="*/ 257442 h 257442"/>
                <a:gd name="connsiteX3" fmla="*/ 54721 w 2561819"/>
                <a:gd name="connsiteY3" fmla="*/ 0 h 257442"/>
                <a:gd name="connsiteX0" fmla="*/ 2730134 w 2730134"/>
                <a:gd name="connsiteY0" fmla="*/ 0 h 257442"/>
                <a:gd name="connsiteX1" fmla="*/ 2507098 w 2730134"/>
                <a:gd name="connsiteY1" fmla="*/ 257442 h 257442"/>
                <a:gd name="connsiteX2" fmla="*/ 0 w 2730134"/>
                <a:gd name="connsiteY2" fmla="*/ 257442 h 257442"/>
                <a:gd name="connsiteX3" fmla="*/ 54721 w 2730134"/>
                <a:gd name="connsiteY3" fmla="*/ 0 h 257442"/>
                <a:gd name="connsiteX0" fmla="*/ 2730134 w 2730134"/>
                <a:gd name="connsiteY0" fmla="*/ 0 h 257442"/>
                <a:gd name="connsiteX1" fmla="*/ 2675412 w 2730134"/>
                <a:gd name="connsiteY1" fmla="*/ 257442 h 257442"/>
                <a:gd name="connsiteX2" fmla="*/ 0 w 2730134"/>
                <a:gd name="connsiteY2" fmla="*/ 257442 h 257442"/>
                <a:gd name="connsiteX3" fmla="*/ 54721 w 2730134"/>
                <a:gd name="connsiteY3" fmla="*/ 0 h 257442"/>
                <a:gd name="connsiteX0" fmla="*/ 2730135 w 2730135"/>
                <a:gd name="connsiteY0" fmla="*/ 0 h 257442"/>
                <a:gd name="connsiteX1" fmla="*/ 2675413 w 2730135"/>
                <a:gd name="connsiteY1" fmla="*/ 257442 h 257442"/>
                <a:gd name="connsiteX2" fmla="*/ 0 w 2730135"/>
                <a:gd name="connsiteY2" fmla="*/ 257442 h 257442"/>
                <a:gd name="connsiteX3" fmla="*/ 54722 w 2730135"/>
                <a:gd name="connsiteY3" fmla="*/ 0 h 257442"/>
                <a:gd name="connsiteX0" fmla="*/ 2730135 w 2730135"/>
                <a:gd name="connsiteY0" fmla="*/ 0 h 257442"/>
                <a:gd name="connsiteX1" fmla="*/ 2675413 w 2730135"/>
                <a:gd name="connsiteY1" fmla="*/ 257442 h 257442"/>
                <a:gd name="connsiteX2" fmla="*/ 0 w 2730135"/>
                <a:gd name="connsiteY2" fmla="*/ 257442 h 257442"/>
                <a:gd name="connsiteX3" fmla="*/ 54722 w 2730135"/>
                <a:gd name="connsiteY3" fmla="*/ 0 h 257442"/>
                <a:gd name="connsiteX0" fmla="*/ 2898450 w 2898450"/>
                <a:gd name="connsiteY0" fmla="*/ 0 h 257442"/>
                <a:gd name="connsiteX1" fmla="*/ 2675413 w 2898450"/>
                <a:gd name="connsiteY1" fmla="*/ 257442 h 257442"/>
                <a:gd name="connsiteX2" fmla="*/ 0 w 2898450"/>
                <a:gd name="connsiteY2" fmla="*/ 257442 h 257442"/>
                <a:gd name="connsiteX3" fmla="*/ 54722 w 2898450"/>
                <a:gd name="connsiteY3" fmla="*/ 0 h 257442"/>
                <a:gd name="connsiteX0" fmla="*/ 2898450 w 2898450"/>
                <a:gd name="connsiteY0" fmla="*/ 0 h 257442"/>
                <a:gd name="connsiteX1" fmla="*/ 2843728 w 2898450"/>
                <a:gd name="connsiteY1" fmla="*/ 257442 h 257442"/>
                <a:gd name="connsiteX2" fmla="*/ 0 w 2898450"/>
                <a:gd name="connsiteY2" fmla="*/ 257442 h 257442"/>
                <a:gd name="connsiteX3" fmla="*/ 54722 w 2898450"/>
                <a:gd name="connsiteY3" fmla="*/ 0 h 257442"/>
                <a:gd name="connsiteX0" fmla="*/ 2898450 w 2898450"/>
                <a:gd name="connsiteY0" fmla="*/ 0 h 257442"/>
                <a:gd name="connsiteX1" fmla="*/ 2843728 w 2898450"/>
                <a:gd name="connsiteY1" fmla="*/ 257442 h 257442"/>
                <a:gd name="connsiteX2" fmla="*/ 0 w 2898450"/>
                <a:gd name="connsiteY2" fmla="*/ 257442 h 257442"/>
                <a:gd name="connsiteX3" fmla="*/ 54722 w 2898450"/>
                <a:gd name="connsiteY3" fmla="*/ 0 h 257442"/>
                <a:gd name="connsiteX0" fmla="*/ 2898450 w 2898450"/>
                <a:gd name="connsiteY0" fmla="*/ 0 h 257442"/>
                <a:gd name="connsiteX1" fmla="*/ 2843728 w 2898450"/>
                <a:gd name="connsiteY1" fmla="*/ 257442 h 257442"/>
                <a:gd name="connsiteX2" fmla="*/ 0 w 2898450"/>
                <a:gd name="connsiteY2" fmla="*/ 257442 h 257442"/>
                <a:gd name="connsiteX3" fmla="*/ 54721 w 2898450"/>
                <a:gd name="connsiteY3" fmla="*/ 0 h 257442"/>
                <a:gd name="connsiteX0" fmla="*/ 3066765 w 3066765"/>
                <a:gd name="connsiteY0" fmla="*/ 0 h 257442"/>
                <a:gd name="connsiteX1" fmla="*/ 2843728 w 3066765"/>
                <a:gd name="connsiteY1" fmla="*/ 257442 h 257442"/>
                <a:gd name="connsiteX2" fmla="*/ 0 w 3066765"/>
                <a:gd name="connsiteY2" fmla="*/ 257442 h 257442"/>
                <a:gd name="connsiteX3" fmla="*/ 54721 w 3066765"/>
                <a:gd name="connsiteY3" fmla="*/ 0 h 257442"/>
                <a:gd name="connsiteX0" fmla="*/ 3066765 w 3066765"/>
                <a:gd name="connsiteY0" fmla="*/ 0 h 257442"/>
                <a:gd name="connsiteX1" fmla="*/ 3012044 w 3066765"/>
                <a:gd name="connsiteY1" fmla="*/ 257442 h 257442"/>
                <a:gd name="connsiteX2" fmla="*/ 0 w 3066765"/>
                <a:gd name="connsiteY2" fmla="*/ 257442 h 257442"/>
                <a:gd name="connsiteX3" fmla="*/ 54721 w 3066765"/>
                <a:gd name="connsiteY3" fmla="*/ 0 h 257442"/>
                <a:gd name="connsiteX0" fmla="*/ 3066765 w 3066765"/>
                <a:gd name="connsiteY0" fmla="*/ 0 h 257442"/>
                <a:gd name="connsiteX1" fmla="*/ 3012044 w 3066765"/>
                <a:gd name="connsiteY1" fmla="*/ 257442 h 257442"/>
                <a:gd name="connsiteX2" fmla="*/ 0 w 3066765"/>
                <a:gd name="connsiteY2" fmla="*/ 257442 h 257442"/>
                <a:gd name="connsiteX3" fmla="*/ 54721 w 3066765"/>
                <a:gd name="connsiteY3" fmla="*/ 0 h 257442"/>
                <a:gd name="connsiteX0" fmla="*/ 3066765 w 3066765"/>
                <a:gd name="connsiteY0" fmla="*/ 0 h 257442"/>
                <a:gd name="connsiteX1" fmla="*/ 3012044 w 3066765"/>
                <a:gd name="connsiteY1" fmla="*/ 257442 h 257442"/>
                <a:gd name="connsiteX2" fmla="*/ 0 w 3066765"/>
                <a:gd name="connsiteY2" fmla="*/ 257442 h 257442"/>
                <a:gd name="connsiteX3" fmla="*/ 54721 w 3066765"/>
                <a:gd name="connsiteY3" fmla="*/ 0 h 257442"/>
                <a:gd name="connsiteX0" fmla="*/ 3227065 w 3227065"/>
                <a:gd name="connsiteY0" fmla="*/ 0 h 257442"/>
                <a:gd name="connsiteX1" fmla="*/ 3012044 w 3227065"/>
                <a:gd name="connsiteY1" fmla="*/ 257442 h 257442"/>
                <a:gd name="connsiteX2" fmla="*/ 0 w 3227065"/>
                <a:gd name="connsiteY2" fmla="*/ 257442 h 257442"/>
                <a:gd name="connsiteX3" fmla="*/ 54721 w 3227065"/>
                <a:gd name="connsiteY3" fmla="*/ 0 h 257442"/>
                <a:gd name="connsiteX0" fmla="*/ 3227065 w 3227065"/>
                <a:gd name="connsiteY0" fmla="*/ 0 h 257442"/>
                <a:gd name="connsiteX1" fmla="*/ 3172344 w 3227065"/>
                <a:gd name="connsiteY1" fmla="*/ 257442 h 257442"/>
                <a:gd name="connsiteX2" fmla="*/ 0 w 3227065"/>
                <a:gd name="connsiteY2" fmla="*/ 257442 h 257442"/>
                <a:gd name="connsiteX3" fmla="*/ 54721 w 3227065"/>
                <a:gd name="connsiteY3" fmla="*/ 0 h 257442"/>
                <a:gd name="connsiteX0" fmla="*/ 3227065 w 3227065"/>
                <a:gd name="connsiteY0" fmla="*/ 0 h 257442"/>
                <a:gd name="connsiteX1" fmla="*/ 3172344 w 3227065"/>
                <a:gd name="connsiteY1" fmla="*/ 257442 h 257442"/>
                <a:gd name="connsiteX2" fmla="*/ 0 w 3227065"/>
                <a:gd name="connsiteY2" fmla="*/ 257442 h 257442"/>
                <a:gd name="connsiteX3" fmla="*/ 54721 w 3227065"/>
                <a:gd name="connsiteY3" fmla="*/ 0 h 257442"/>
                <a:gd name="connsiteX0" fmla="*/ 3227065 w 3227065"/>
                <a:gd name="connsiteY0" fmla="*/ 0 h 257442"/>
                <a:gd name="connsiteX1" fmla="*/ 3172344 w 3227065"/>
                <a:gd name="connsiteY1" fmla="*/ 257442 h 257442"/>
                <a:gd name="connsiteX2" fmla="*/ 0 w 3227065"/>
                <a:gd name="connsiteY2" fmla="*/ 257442 h 257442"/>
                <a:gd name="connsiteX3" fmla="*/ 54721 w 3227065"/>
                <a:gd name="connsiteY3" fmla="*/ 0 h 257442"/>
                <a:gd name="connsiteX0" fmla="*/ 3387366 w 3387366"/>
                <a:gd name="connsiteY0" fmla="*/ 0 h 257442"/>
                <a:gd name="connsiteX1" fmla="*/ 3172344 w 3387366"/>
                <a:gd name="connsiteY1" fmla="*/ 257442 h 257442"/>
                <a:gd name="connsiteX2" fmla="*/ 0 w 3387366"/>
                <a:gd name="connsiteY2" fmla="*/ 257442 h 257442"/>
                <a:gd name="connsiteX3" fmla="*/ 54721 w 3387366"/>
                <a:gd name="connsiteY3" fmla="*/ 0 h 257442"/>
                <a:gd name="connsiteX0" fmla="*/ 3387366 w 3387366"/>
                <a:gd name="connsiteY0" fmla="*/ 0 h 257442"/>
                <a:gd name="connsiteX1" fmla="*/ 3332644 w 3387366"/>
                <a:gd name="connsiteY1" fmla="*/ 257442 h 257442"/>
                <a:gd name="connsiteX2" fmla="*/ 0 w 3387366"/>
                <a:gd name="connsiteY2" fmla="*/ 257442 h 257442"/>
                <a:gd name="connsiteX3" fmla="*/ 54721 w 3387366"/>
                <a:gd name="connsiteY3" fmla="*/ 0 h 257442"/>
                <a:gd name="connsiteX0" fmla="*/ 3387367 w 3387367"/>
                <a:gd name="connsiteY0" fmla="*/ 0 h 257442"/>
                <a:gd name="connsiteX1" fmla="*/ 3332645 w 3387367"/>
                <a:gd name="connsiteY1" fmla="*/ 257442 h 257442"/>
                <a:gd name="connsiteX2" fmla="*/ 0 w 3387367"/>
                <a:gd name="connsiteY2" fmla="*/ 257442 h 257442"/>
                <a:gd name="connsiteX3" fmla="*/ 54722 w 3387367"/>
                <a:gd name="connsiteY3" fmla="*/ 0 h 257442"/>
                <a:gd name="connsiteX0" fmla="*/ 3387367 w 3387367"/>
                <a:gd name="connsiteY0" fmla="*/ 0 h 257442"/>
                <a:gd name="connsiteX1" fmla="*/ 3332645 w 3387367"/>
                <a:gd name="connsiteY1" fmla="*/ 257442 h 257442"/>
                <a:gd name="connsiteX2" fmla="*/ 0 w 3387367"/>
                <a:gd name="connsiteY2" fmla="*/ 257442 h 257442"/>
                <a:gd name="connsiteX3" fmla="*/ 54722 w 3387367"/>
                <a:gd name="connsiteY3" fmla="*/ 0 h 257442"/>
                <a:gd name="connsiteX0" fmla="*/ 986068 w 3332645"/>
                <a:gd name="connsiteY0" fmla="*/ 0 h 257442"/>
                <a:gd name="connsiteX1" fmla="*/ 3332645 w 3332645"/>
                <a:gd name="connsiteY1" fmla="*/ 257442 h 257442"/>
                <a:gd name="connsiteX2" fmla="*/ 0 w 3332645"/>
                <a:gd name="connsiteY2" fmla="*/ 257442 h 257442"/>
                <a:gd name="connsiteX3" fmla="*/ 54722 w 3332645"/>
                <a:gd name="connsiteY3" fmla="*/ 0 h 257442"/>
                <a:gd name="connsiteX0" fmla="*/ 986068 w 986068"/>
                <a:gd name="connsiteY0" fmla="*/ 0 h 257442"/>
                <a:gd name="connsiteX1" fmla="*/ 931347 w 986068"/>
                <a:gd name="connsiteY1" fmla="*/ 257442 h 257442"/>
                <a:gd name="connsiteX2" fmla="*/ 0 w 986068"/>
                <a:gd name="connsiteY2" fmla="*/ 257442 h 257442"/>
                <a:gd name="connsiteX3" fmla="*/ 54722 w 986068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54721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54721 w 986067"/>
                <a:gd name="connsiteY3" fmla="*/ 0 h 257442"/>
                <a:gd name="connsiteX0" fmla="*/ 1146368 w 1146368"/>
                <a:gd name="connsiteY0" fmla="*/ 0 h 257442"/>
                <a:gd name="connsiteX1" fmla="*/ 931346 w 1146368"/>
                <a:gd name="connsiteY1" fmla="*/ 257442 h 257442"/>
                <a:gd name="connsiteX2" fmla="*/ 0 w 1146368"/>
                <a:gd name="connsiteY2" fmla="*/ 257442 h 257442"/>
                <a:gd name="connsiteX3" fmla="*/ 54721 w 1146368"/>
                <a:gd name="connsiteY3" fmla="*/ 0 h 257442"/>
                <a:gd name="connsiteX0" fmla="*/ 1146368 w 1146368"/>
                <a:gd name="connsiteY0" fmla="*/ 0 h 257442"/>
                <a:gd name="connsiteX1" fmla="*/ 1091646 w 1146368"/>
                <a:gd name="connsiteY1" fmla="*/ 257442 h 257442"/>
                <a:gd name="connsiteX2" fmla="*/ 0 w 1146368"/>
                <a:gd name="connsiteY2" fmla="*/ 257442 h 257442"/>
                <a:gd name="connsiteX3" fmla="*/ 54721 w 1146368"/>
                <a:gd name="connsiteY3" fmla="*/ 0 h 257442"/>
                <a:gd name="connsiteX0" fmla="*/ 1146369 w 1146369"/>
                <a:gd name="connsiteY0" fmla="*/ 0 h 257442"/>
                <a:gd name="connsiteX1" fmla="*/ 1091647 w 1146369"/>
                <a:gd name="connsiteY1" fmla="*/ 257442 h 257442"/>
                <a:gd name="connsiteX2" fmla="*/ 0 w 1146369"/>
                <a:gd name="connsiteY2" fmla="*/ 257442 h 257442"/>
                <a:gd name="connsiteX3" fmla="*/ 54722 w 1146369"/>
                <a:gd name="connsiteY3" fmla="*/ 0 h 257442"/>
                <a:gd name="connsiteX0" fmla="*/ 1146369 w 1146369"/>
                <a:gd name="connsiteY0" fmla="*/ 0 h 257442"/>
                <a:gd name="connsiteX1" fmla="*/ 1091647 w 1146369"/>
                <a:gd name="connsiteY1" fmla="*/ 257442 h 257442"/>
                <a:gd name="connsiteX2" fmla="*/ 0 w 1146369"/>
                <a:gd name="connsiteY2" fmla="*/ 257442 h 257442"/>
                <a:gd name="connsiteX3" fmla="*/ 54722 w 1146369"/>
                <a:gd name="connsiteY3" fmla="*/ 0 h 257442"/>
                <a:gd name="connsiteX0" fmla="*/ 1314683 w 1314683"/>
                <a:gd name="connsiteY0" fmla="*/ 0 h 257442"/>
                <a:gd name="connsiteX1" fmla="*/ 1091647 w 1314683"/>
                <a:gd name="connsiteY1" fmla="*/ 257442 h 257442"/>
                <a:gd name="connsiteX2" fmla="*/ 0 w 1314683"/>
                <a:gd name="connsiteY2" fmla="*/ 257442 h 257442"/>
                <a:gd name="connsiteX3" fmla="*/ 54722 w 1314683"/>
                <a:gd name="connsiteY3" fmla="*/ 0 h 257442"/>
                <a:gd name="connsiteX0" fmla="*/ 1314683 w 1314683"/>
                <a:gd name="connsiteY0" fmla="*/ 0 h 257442"/>
                <a:gd name="connsiteX1" fmla="*/ 1259962 w 1314683"/>
                <a:gd name="connsiteY1" fmla="*/ 257442 h 257442"/>
                <a:gd name="connsiteX2" fmla="*/ 0 w 1314683"/>
                <a:gd name="connsiteY2" fmla="*/ 257442 h 257442"/>
                <a:gd name="connsiteX3" fmla="*/ 54722 w 1314683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54721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54720 w 1314682"/>
                <a:gd name="connsiteY3" fmla="*/ 0 h 257442"/>
                <a:gd name="connsiteX0" fmla="*/ 1474982 w 1474982"/>
                <a:gd name="connsiteY0" fmla="*/ 0 h 257442"/>
                <a:gd name="connsiteX1" fmla="*/ 1259961 w 1474982"/>
                <a:gd name="connsiteY1" fmla="*/ 257442 h 257442"/>
                <a:gd name="connsiteX2" fmla="*/ 0 w 1474982"/>
                <a:gd name="connsiteY2" fmla="*/ 257442 h 257442"/>
                <a:gd name="connsiteX3" fmla="*/ 54720 w 1474982"/>
                <a:gd name="connsiteY3" fmla="*/ 0 h 257442"/>
                <a:gd name="connsiteX0" fmla="*/ 1474982 w 1474982"/>
                <a:gd name="connsiteY0" fmla="*/ 0 h 257442"/>
                <a:gd name="connsiteX1" fmla="*/ 1420261 w 1474982"/>
                <a:gd name="connsiteY1" fmla="*/ 257442 h 257442"/>
                <a:gd name="connsiteX2" fmla="*/ 0 w 1474982"/>
                <a:gd name="connsiteY2" fmla="*/ 257442 h 257442"/>
                <a:gd name="connsiteX3" fmla="*/ 54720 w 1474982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54721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54722 w 1474983"/>
                <a:gd name="connsiteY3" fmla="*/ 0 h 257442"/>
                <a:gd name="connsiteX0" fmla="*/ 1728258 w 1728258"/>
                <a:gd name="connsiteY0" fmla="*/ 0 h 257442"/>
                <a:gd name="connsiteX1" fmla="*/ 1420262 w 1728258"/>
                <a:gd name="connsiteY1" fmla="*/ 257442 h 257442"/>
                <a:gd name="connsiteX2" fmla="*/ 0 w 1728258"/>
                <a:gd name="connsiteY2" fmla="*/ 257442 h 257442"/>
                <a:gd name="connsiteX3" fmla="*/ 54722 w 1728258"/>
                <a:gd name="connsiteY3" fmla="*/ 0 h 257442"/>
                <a:gd name="connsiteX0" fmla="*/ 1728258 w 1728258"/>
                <a:gd name="connsiteY0" fmla="*/ 0 h 257442"/>
                <a:gd name="connsiteX1" fmla="*/ 1673536 w 1728258"/>
                <a:gd name="connsiteY1" fmla="*/ 257442 h 257442"/>
                <a:gd name="connsiteX2" fmla="*/ 0 w 1728258"/>
                <a:gd name="connsiteY2" fmla="*/ 257442 h 257442"/>
                <a:gd name="connsiteX3" fmla="*/ 54722 w 1728258"/>
                <a:gd name="connsiteY3" fmla="*/ 0 h 257442"/>
                <a:gd name="connsiteX0" fmla="*/ 1728258 w 1728258"/>
                <a:gd name="connsiteY0" fmla="*/ 0 h 257442"/>
                <a:gd name="connsiteX1" fmla="*/ 1673536 w 1728258"/>
                <a:gd name="connsiteY1" fmla="*/ 257442 h 257442"/>
                <a:gd name="connsiteX2" fmla="*/ 0 w 1728258"/>
                <a:gd name="connsiteY2" fmla="*/ 257442 h 257442"/>
                <a:gd name="connsiteX3" fmla="*/ 54722 w 1728258"/>
                <a:gd name="connsiteY3" fmla="*/ 0 h 257442"/>
                <a:gd name="connsiteX0" fmla="*/ 1728258 w 1728258"/>
                <a:gd name="connsiteY0" fmla="*/ 0 h 257442"/>
                <a:gd name="connsiteX1" fmla="*/ 1673536 w 1728258"/>
                <a:gd name="connsiteY1" fmla="*/ 257442 h 257442"/>
                <a:gd name="connsiteX2" fmla="*/ 0 w 1728258"/>
                <a:gd name="connsiteY2" fmla="*/ 257442 h 257442"/>
                <a:gd name="connsiteX3" fmla="*/ 54721 w 1728258"/>
                <a:gd name="connsiteY3" fmla="*/ 0 h 257442"/>
                <a:gd name="connsiteX0" fmla="*/ 1888557 w 1888557"/>
                <a:gd name="connsiteY0" fmla="*/ 0 h 257442"/>
                <a:gd name="connsiteX1" fmla="*/ 1673536 w 1888557"/>
                <a:gd name="connsiteY1" fmla="*/ 257442 h 257442"/>
                <a:gd name="connsiteX2" fmla="*/ 0 w 1888557"/>
                <a:gd name="connsiteY2" fmla="*/ 257442 h 257442"/>
                <a:gd name="connsiteX3" fmla="*/ 54721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54721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54721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54721 w 1888557"/>
                <a:gd name="connsiteY3" fmla="*/ 0 h 257442"/>
                <a:gd name="connsiteX0" fmla="*/ 2141832 w 2141832"/>
                <a:gd name="connsiteY0" fmla="*/ 0 h 257442"/>
                <a:gd name="connsiteX1" fmla="*/ 1833836 w 2141832"/>
                <a:gd name="connsiteY1" fmla="*/ 257442 h 257442"/>
                <a:gd name="connsiteX2" fmla="*/ 0 w 2141832"/>
                <a:gd name="connsiteY2" fmla="*/ 257442 h 257442"/>
                <a:gd name="connsiteX3" fmla="*/ 54721 w 2141832"/>
                <a:gd name="connsiteY3" fmla="*/ 0 h 257442"/>
                <a:gd name="connsiteX0" fmla="*/ 2141832 w 2141832"/>
                <a:gd name="connsiteY0" fmla="*/ 0 h 257442"/>
                <a:gd name="connsiteX1" fmla="*/ 2087110 w 2141832"/>
                <a:gd name="connsiteY1" fmla="*/ 257442 h 257442"/>
                <a:gd name="connsiteX2" fmla="*/ 0 w 2141832"/>
                <a:gd name="connsiteY2" fmla="*/ 257442 h 257442"/>
                <a:gd name="connsiteX3" fmla="*/ 54721 w 2141832"/>
                <a:gd name="connsiteY3" fmla="*/ 0 h 257442"/>
                <a:gd name="connsiteX0" fmla="*/ 2141833 w 2141833"/>
                <a:gd name="connsiteY0" fmla="*/ 0 h 257442"/>
                <a:gd name="connsiteX1" fmla="*/ 2087111 w 2141833"/>
                <a:gd name="connsiteY1" fmla="*/ 257442 h 257442"/>
                <a:gd name="connsiteX2" fmla="*/ 0 w 2141833"/>
                <a:gd name="connsiteY2" fmla="*/ 257442 h 257442"/>
                <a:gd name="connsiteX3" fmla="*/ 54722 w 2141833"/>
                <a:gd name="connsiteY3" fmla="*/ 0 h 257442"/>
                <a:gd name="connsiteX0" fmla="*/ 2141833 w 2141833"/>
                <a:gd name="connsiteY0" fmla="*/ 0 h 257442"/>
                <a:gd name="connsiteX1" fmla="*/ 2087111 w 2141833"/>
                <a:gd name="connsiteY1" fmla="*/ 257442 h 257442"/>
                <a:gd name="connsiteX2" fmla="*/ 0 w 2141833"/>
                <a:gd name="connsiteY2" fmla="*/ 257442 h 257442"/>
                <a:gd name="connsiteX3" fmla="*/ 54722 w 2141833"/>
                <a:gd name="connsiteY3" fmla="*/ 0 h 257442"/>
                <a:gd name="connsiteX0" fmla="*/ 2310149 w 2310149"/>
                <a:gd name="connsiteY0" fmla="*/ 0 h 257442"/>
                <a:gd name="connsiteX1" fmla="*/ 2087111 w 2310149"/>
                <a:gd name="connsiteY1" fmla="*/ 257442 h 257442"/>
                <a:gd name="connsiteX2" fmla="*/ 0 w 2310149"/>
                <a:gd name="connsiteY2" fmla="*/ 257442 h 257442"/>
                <a:gd name="connsiteX3" fmla="*/ 54722 w 2310149"/>
                <a:gd name="connsiteY3" fmla="*/ 0 h 257442"/>
                <a:gd name="connsiteX0" fmla="*/ 2310149 w 2310149"/>
                <a:gd name="connsiteY0" fmla="*/ 0 h 257442"/>
                <a:gd name="connsiteX1" fmla="*/ 2255428 w 2310149"/>
                <a:gd name="connsiteY1" fmla="*/ 257442 h 257442"/>
                <a:gd name="connsiteX2" fmla="*/ 0 w 2310149"/>
                <a:gd name="connsiteY2" fmla="*/ 257442 h 257442"/>
                <a:gd name="connsiteX3" fmla="*/ 54722 w 2310149"/>
                <a:gd name="connsiteY3" fmla="*/ 0 h 257442"/>
                <a:gd name="connsiteX0" fmla="*/ 2310148 w 2310148"/>
                <a:gd name="connsiteY0" fmla="*/ 0 h 257442"/>
                <a:gd name="connsiteX1" fmla="*/ 2255427 w 2310148"/>
                <a:gd name="connsiteY1" fmla="*/ 257442 h 257442"/>
                <a:gd name="connsiteX2" fmla="*/ 0 w 2310148"/>
                <a:gd name="connsiteY2" fmla="*/ 257442 h 257442"/>
                <a:gd name="connsiteX3" fmla="*/ 54721 w 2310148"/>
                <a:gd name="connsiteY3" fmla="*/ 0 h 257442"/>
                <a:gd name="connsiteX0" fmla="*/ 2310148 w 2310148"/>
                <a:gd name="connsiteY0" fmla="*/ 0 h 257442"/>
                <a:gd name="connsiteX1" fmla="*/ 2255427 w 2310148"/>
                <a:gd name="connsiteY1" fmla="*/ 257442 h 257442"/>
                <a:gd name="connsiteX2" fmla="*/ 0 w 2310148"/>
                <a:gd name="connsiteY2" fmla="*/ 257442 h 257442"/>
                <a:gd name="connsiteX3" fmla="*/ 54720 w 2310148"/>
                <a:gd name="connsiteY3" fmla="*/ 0 h 257442"/>
                <a:gd name="connsiteX0" fmla="*/ 2478461 w 2478461"/>
                <a:gd name="connsiteY0" fmla="*/ 0 h 257442"/>
                <a:gd name="connsiteX1" fmla="*/ 2255427 w 2478461"/>
                <a:gd name="connsiteY1" fmla="*/ 257442 h 257442"/>
                <a:gd name="connsiteX2" fmla="*/ 0 w 2478461"/>
                <a:gd name="connsiteY2" fmla="*/ 257442 h 257442"/>
                <a:gd name="connsiteX3" fmla="*/ 54720 w 2478461"/>
                <a:gd name="connsiteY3" fmla="*/ 0 h 257442"/>
                <a:gd name="connsiteX0" fmla="*/ 2478461 w 2478461"/>
                <a:gd name="connsiteY0" fmla="*/ 0 h 257442"/>
                <a:gd name="connsiteX1" fmla="*/ 2423740 w 2478461"/>
                <a:gd name="connsiteY1" fmla="*/ 257442 h 257442"/>
                <a:gd name="connsiteX2" fmla="*/ 0 w 2478461"/>
                <a:gd name="connsiteY2" fmla="*/ 257442 h 257442"/>
                <a:gd name="connsiteX3" fmla="*/ 54720 w 2478461"/>
                <a:gd name="connsiteY3" fmla="*/ 0 h 257442"/>
                <a:gd name="connsiteX0" fmla="*/ 2478462 w 2478462"/>
                <a:gd name="connsiteY0" fmla="*/ 0 h 257442"/>
                <a:gd name="connsiteX1" fmla="*/ 2423741 w 2478462"/>
                <a:gd name="connsiteY1" fmla="*/ 257442 h 257442"/>
                <a:gd name="connsiteX2" fmla="*/ 0 w 2478462"/>
                <a:gd name="connsiteY2" fmla="*/ 257442 h 257442"/>
                <a:gd name="connsiteX3" fmla="*/ 54721 w 2478462"/>
                <a:gd name="connsiteY3" fmla="*/ 0 h 257442"/>
                <a:gd name="connsiteX0" fmla="*/ 2478462 w 2478462"/>
                <a:gd name="connsiteY0" fmla="*/ 0 h 257442"/>
                <a:gd name="connsiteX1" fmla="*/ 2423741 w 2478462"/>
                <a:gd name="connsiteY1" fmla="*/ 257442 h 257442"/>
                <a:gd name="connsiteX2" fmla="*/ 0 w 2478462"/>
                <a:gd name="connsiteY2" fmla="*/ 257442 h 257442"/>
                <a:gd name="connsiteX3" fmla="*/ 54721 w 2478462"/>
                <a:gd name="connsiteY3" fmla="*/ 0 h 257442"/>
                <a:gd name="connsiteX0" fmla="*/ 2783033 w 2783033"/>
                <a:gd name="connsiteY0" fmla="*/ 0 h 257442"/>
                <a:gd name="connsiteX1" fmla="*/ 2423741 w 2783033"/>
                <a:gd name="connsiteY1" fmla="*/ 257442 h 257442"/>
                <a:gd name="connsiteX2" fmla="*/ 0 w 2783033"/>
                <a:gd name="connsiteY2" fmla="*/ 257442 h 257442"/>
                <a:gd name="connsiteX3" fmla="*/ 54721 w 2783033"/>
                <a:gd name="connsiteY3" fmla="*/ 0 h 257442"/>
                <a:gd name="connsiteX0" fmla="*/ 2783033 w 2783033"/>
                <a:gd name="connsiteY0" fmla="*/ 0 h 257442"/>
                <a:gd name="connsiteX1" fmla="*/ 2728312 w 2783033"/>
                <a:gd name="connsiteY1" fmla="*/ 257442 h 257442"/>
                <a:gd name="connsiteX2" fmla="*/ 0 w 2783033"/>
                <a:gd name="connsiteY2" fmla="*/ 257442 h 257442"/>
                <a:gd name="connsiteX3" fmla="*/ 54721 w 2783033"/>
                <a:gd name="connsiteY3" fmla="*/ 0 h 257442"/>
                <a:gd name="connsiteX0" fmla="*/ 2783033 w 2783033"/>
                <a:gd name="connsiteY0" fmla="*/ 0 h 257442"/>
                <a:gd name="connsiteX1" fmla="*/ 2728312 w 2783033"/>
                <a:gd name="connsiteY1" fmla="*/ 257442 h 257442"/>
                <a:gd name="connsiteX2" fmla="*/ 0 w 2783033"/>
                <a:gd name="connsiteY2" fmla="*/ 257442 h 257442"/>
                <a:gd name="connsiteX3" fmla="*/ 54721 w 2783033"/>
                <a:gd name="connsiteY3" fmla="*/ 0 h 257442"/>
                <a:gd name="connsiteX0" fmla="*/ 2783033 w 2783033"/>
                <a:gd name="connsiteY0" fmla="*/ 0 h 257442"/>
                <a:gd name="connsiteX1" fmla="*/ 2728312 w 2783033"/>
                <a:gd name="connsiteY1" fmla="*/ 257442 h 257442"/>
                <a:gd name="connsiteX2" fmla="*/ 0 w 2783033"/>
                <a:gd name="connsiteY2" fmla="*/ 257442 h 257442"/>
                <a:gd name="connsiteX3" fmla="*/ 54721 w 2783033"/>
                <a:gd name="connsiteY3" fmla="*/ 0 h 257442"/>
                <a:gd name="connsiteX0" fmla="*/ 3052337 w 3052337"/>
                <a:gd name="connsiteY0" fmla="*/ 0 h 257442"/>
                <a:gd name="connsiteX1" fmla="*/ 2728312 w 3052337"/>
                <a:gd name="connsiteY1" fmla="*/ 257442 h 257442"/>
                <a:gd name="connsiteX2" fmla="*/ 0 w 3052337"/>
                <a:gd name="connsiteY2" fmla="*/ 257442 h 257442"/>
                <a:gd name="connsiteX3" fmla="*/ 54721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54721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54721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54721 w 3052337"/>
                <a:gd name="connsiteY3" fmla="*/ 0 h 257442"/>
                <a:gd name="connsiteX0" fmla="*/ 968434 w 2997616"/>
                <a:gd name="connsiteY0" fmla="*/ 0 h 257442"/>
                <a:gd name="connsiteX1" fmla="*/ 2997616 w 2997616"/>
                <a:gd name="connsiteY1" fmla="*/ 257442 h 257442"/>
                <a:gd name="connsiteX2" fmla="*/ 0 w 2997616"/>
                <a:gd name="connsiteY2" fmla="*/ 257442 h 257442"/>
                <a:gd name="connsiteX3" fmla="*/ 54721 w 2997616"/>
                <a:gd name="connsiteY3" fmla="*/ 0 h 257442"/>
                <a:gd name="connsiteX0" fmla="*/ 968434 w 968434"/>
                <a:gd name="connsiteY0" fmla="*/ 0 h 257442"/>
                <a:gd name="connsiteX1" fmla="*/ 913713 w 968434"/>
                <a:gd name="connsiteY1" fmla="*/ 257442 h 257442"/>
                <a:gd name="connsiteX2" fmla="*/ 0 w 968434"/>
                <a:gd name="connsiteY2" fmla="*/ 257442 h 257442"/>
                <a:gd name="connsiteX3" fmla="*/ 54721 w 968434"/>
                <a:gd name="connsiteY3" fmla="*/ 0 h 257442"/>
                <a:gd name="connsiteX0" fmla="*/ 968434 w 968434"/>
                <a:gd name="connsiteY0" fmla="*/ 0 h 257442"/>
                <a:gd name="connsiteX1" fmla="*/ 913713 w 968434"/>
                <a:gd name="connsiteY1" fmla="*/ 257442 h 257442"/>
                <a:gd name="connsiteX2" fmla="*/ 0 w 968434"/>
                <a:gd name="connsiteY2" fmla="*/ 257442 h 257442"/>
                <a:gd name="connsiteX3" fmla="*/ 54721 w 968434"/>
                <a:gd name="connsiteY3" fmla="*/ 0 h 257442"/>
                <a:gd name="connsiteX0" fmla="*/ 968434 w 968434"/>
                <a:gd name="connsiteY0" fmla="*/ 0 h 257442"/>
                <a:gd name="connsiteX1" fmla="*/ 913713 w 968434"/>
                <a:gd name="connsiteY1" fmla="*/ 257442 h 257442"/>
                <a:gd name="connsiteX2" fmla="*/ 0 w 968434"/>
                <a:gd name="connsiteY2" fmla="*/ 257442 h 257442"/>
                <a:gd name="connsiteX3" fmla="*/ 54721 w 968434"/>
                <a:gd name="connsiteY3" fmla="*/ 0 h 257442"/>
                <a:gd name="connsiteX0" fmla="*/ 1128734 w 1128734"/>
                <a:gd name="connsiteY0" fmla="*/ 0 h 257442"/>
                <a:gd name="connsiteX1" fmla="*/ 9137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566354 w 1566354"/>
                <a:gd name="connsiteY0" fmla="*/ 0 h 257442"/>
                <a:gd name="connsiteX1" fmla="*/ 1242329 w 1566354"/>
                <a:gd name="connsiteY1" fmla="*/ 257442 h 257442"/>
                <a:gd name="connsiteX2" fmla="*/ 0 w 1566354"/>
                <a:gd name="connsiteY2" fmla="*/ 257442 h 257442"/>
                <a:gd name="connsiteX3" fmla="*/ 54721 w 1566354"/>
                <a:gd name="connsiteY3" fmla="*/ 0 h 257442"/>
                <a:gd name="connsiteX0" fmla="*/ 1566354 w 1566354"/>
                <a:gd name="connsiteY0" fmla="*/ 0 h 257442"/>
                <a:gd name="connsiteX1" fmla="*/ 1511633 w 1566354"/>
                <a:gd name="connsiteY1" fmla="*/ 257442 h 257442"/>
                <a:gd name="connsiteX2" fmla="*/ 0 w 1566354"/>
                <a:gd name="connsiteY2" fmla="*/ 257442 h 257442"/>
                <a:gd name="connsiteX3" fmla="*/ 54721 w 1566354"/>
                <a:gd name="connsiteY3" fmla="*/ 0 h 257442"/>
                <a:gd name="connsiteX0" fmla="*/ 1566354 w 1566354"/>
                <a:gd name="connsiteY0" fmla="*/ 0 h 257442"/>
                <a:gd name="connsiteX1" fmla="*/ 1511633 w 1566354"/>
                <a:gd name="connsiteY1" fmla="*/ 257442 h 257442"/>
                <a:gd name="connsiteX2" fmla="*/ 0 w 1566354"/>
                <a:gd name="connsiteY2" fmla="*/ 257442 h 257442"/>
                <a:gd name="connsiteX3" fmla="*/ 54721 w 1566354"/>
                <a:gd name="connsiteY3" fmla="*/ 0 h 257442"/>
                <a:gd name="connsiteX0" fmla="*/ 1566354 w 1566354"/>
                <a:gd name="connsiteY0" fmla="*/ 0 h 257442"/>
                <a:gd name="connsiteX1" fmla="*/ 1511633 w 1566354"/>
                <a:gd name="connsiteY1" fmla="*/ 257442 h 257442"/>
                <a:gd name="connsiteX2" fmla="*/ 0 w 1566354"/>
                <a:gd name="connsiteY2" fmla="*/ 257442 h 257442"/>
                <a:gd name="connsiteX3" fmla="*/ 54721 w 1566354"/>
                <a:gd name="connsiteY3" fmla="*/ 0 h 257442"/>
                <a:gd name="connsiteX0" fmla="*/ 1821937 w 1821937"/>
                <a:gd name="connsiteY0" fmla="*/ 0 h 257442"/>
                <a:gd name="connsiteX1" fmla="*/ 1511633 w 1821937"/>
                <a:gd name="connsiteY1" fmla="*/ 257442 h 257442"/>
                <a:gd name="connsiteX2" fmla="*/ 0 w 1821937"/>
                <a:gd name="connsiteY2" fmla="*/ 257442 h 257442"/>
                <a:gd name="connsiteX3" fmla="*/ 54721 w 1821937"/>
                <a:gd name="connsiteY3" fmla="*/ 0 h 257442"/>
                <a:gd name="connsiteX0" fmla="*/ 1821937 w 1821937"/>
                <a:gd name="connsiteY0" fmla="*/ 0 h 257442"/>
                <a:gd name="connsiteX1" fmla="*/ 1767216 w 1821937"/>
                <a:gd name="connsiteY1" fmla="*/ 257442 h 257442"/>
                <a:gd name="connsiteX2" fmla="*/ 0 w 1821937"/>
                <a:gd name="connsiteY2" fmla="*/ 257442 h 257442"/>
                <a:gd name="connsiteX3" fmla="*/ 54721 w 1821937"/>
                <a:gd name="connsiteY3" fmla="*/ 0 h 257442"/>
                <a:gd name="connsiteX0" fmla="*/ 1821937 w 1821937"/>
                <a:gd name="connsiteY0" fmla="*/ 0 h 257442"/>
                <a:gd name="connsiteX1" fmla="*/ 1767216 w 1821937"/>
                <a:gd name="connsiteY1" fmla="*/ 257442 h 257442"/>
                <a:gd name="connsiteX2" fmla="*/ 0 w 1821937"/>
                <a:gd name="connsiteY2" fmla="*/ 257442 h 257442"/>
                <a:gd name="connsiteX3" fmla="*/ 54721 w 1821937"/>
                <a:gd name="connsiteY3" fmla="*/ 0 h 257442"/>
                <a:gd name="connsiteX0" fmla="*/ 1821937 w 1821937"/>
                <a:gd name="connsiteY0" fmla="*/ 0 h 257442"/>
                <a:gd name="connsiteX1" fmla="*/ 1767216 w 1821937"/>
                <a:gd name="connsiteY1" fmla="*/ 257442 h 257442"/>
                <a:gd name="connsiteX2" fmla="*/ 0 w 1821937"/>
                <a:gd name="connsiteY2" fmla="*/ 257442 h 257442"/>
                <a:gd name="connsiteX3" fmla="*/ 54721 w 1821937"/>
                <a:gd name="connsiteY3" fmla="*/ 0 h 257442"/>
                <a:gd name="connsiteX0" fmla="*/ 1982237 w 1982237"/>
                <a:gd name="connsiteY0" fmla="*/ 0 h 257442"/>
                <a:gd name="connsiteX1" fmla="*/ 1767216 w 1982237"/>
                <a:gd name="connsiteY1" fmla="*/ 257442 h 257442"/>
                <a:gd name="connsiteX2" fmla="*/ 0 w 1982237"/>
                <a:gd name="connsiteY2" fmla="*/ 257442 h 257442"/>
                <a:gd name="connsiteX3" fmla="*/ 54721 w 1982237"/>
                <a:gd name="connsiteY3" fmla="*/ 0 h 257442"/>
                <a:gd name="connsiteX0" fmla="*/ 1982237 w 1982237"/>
                <a:gd name="connsiteY0" fmla="*/ 0 h 257442"/>
                <a:gd name="connsiteX1" fmla="*/ 1927516 w 1982237"/>
                <a:gd name="connsiteY1" fmla="*/ 257442 h 257442"/>
                <a:gd name="connsiteX2" fmla="*/ 0 w 1982237"/>
                <a:gd name="connsiteY2" fmla="*/ 257442 h 257442"/>
                <a:gd name="connsiteX3" fmla="*/ 54721 w 1982237"/>
                <a:gd name="connsiteY3" fmla="*/ 0 h 257442"/>
                <a:gd name="connsiteX0" fmla="*/ 1982237 w 1982237"/>
                <a:gd name="connsiteY0" fmla="*/ 0 h 257442"/>
                <a:gd name="connsiteX1" fmla="*/ 1927516 w 1982237"/>
                <a:gd name="connsiteY1" fmla="*/ 257442 h 257442"/>
                <a:gd name="connsiteX2" fmla="*/ 0 w 1982237"/>
                <a:gd name="connsiteY2" fmla="*/ 257442 h 257442"/>
                <a:gd name="connsiteX3" fmla="*/ 54721 w 1982237"/>
                <a:gd name="connsiteY3" fmla="*/ 0 h 257442"/>
                <a:gd name="connsiteX0" fmla="*/ 1982237 w 1982237"/>
                <a:gd name="connsiteY0" fmla="*/ 0 h 257442"/>
                <a:gd name="connsiteX1" fmla="*/ 1927516 w 1982237"/>
                <a:gd name="connsiteY1" fmla="*/ 257442 h 257442"/>
                <a:gd name="connsiteX2" fmla="*/ 0 w 1982237"/>
                <a:gd name="connsiteY2" fmla="*/ 257442 h 257442"/>
                <a:gd name="connsiteX3" fmla="*/ 54721 w 1982237"/>
                <a:gd name="connsiteY3" fmla="*/ 0 h 257442"/>
                <a:gd name="connsiteX0" fmla="*/ 2142538 w 2142538"/>
                <a:gd name="connsiteY0" fmla="*/ 0 h 257442"/>
                <a:gd name="connsiteX1" fmla="*/ 1927516 w 2142538"/>
                <a:gd name="connsiteY1" fmla="*/ 257442 h 257442"/>
                <a:gd name="connsiteX2" fmla="*/ 0 w 2142538"/>
                <a:gd name="connsiteY2" fmla="*/ 257442 h 257442"/>
                <a:gd name="connsiteX3" fmla="*/ 54721 w 2142538"/>
                <a:gd name="connsiteY3" fmla="*/ 0 h 257442"/>
                <a:gd name="connsiteX0" fmla="*/ 2142538 w 2142538"/>
                <a:gd name="connsiteY0" fmla="*/ 0 h 257442"/>
                <a:gd name="connsiteX1" fmla="*/ 2087816 w 2142538"/>
                <a:gd name="connsiteY1" fmla="*/ 257442 h 257442"/>
                <a:gd name="connsiteX2" fmla="*/ 0 w 2142538"/>
                <a:gd name="connsiteY2" fmla="*/ 257442 h 257442"/>
                <a:gd name="connsiteX3" fmla="*/ 54721 w 2142538"/>
                <a:gd name="connsiteY3" fmla="*/ 0 h 257442"/>
                <a:gd name="connsiteX0" fmla="*/ 2142539 w 2142539"/>
                <a:gd name="connsiteY0" fmla="*/ 0 h 257442"/>
                <a:gd name="connsiteX1" fmla="*/ 2087817 w 2142539"/>
                <a:gd name="connsiteY1" fmla="*/ 257442 h 257442"/>
                <a:gd name="connsiteX2" fmla="*/ 0 w 2142539"/>
                <a:gd name="connsiteY2" fmla="*/ 257442 h 257442"/>
                <a:gd name="connsiteX3" fmla="*/ 54722 w 2142539"/>
                <a:gd name="connsiteY3" fmla="*/ 0 h 257442"/>
                <a:gd name="connsiteX0" fmla="*/ 2142539 w 2142539"/>
                <a:gd name="connsiteY0" fmla="*/ 0 h 257442"/>
                <a:gd name="connsiteX1" fmla="*/ 2087817 w 2142539"/>
                <a:gd name="connsiteY1" fmla="*/ 257442 h 257442"/>
                <a:gd name="connsiteX2" fmla="*/ 0 w 2142539"/>
                <a:gd name="connsiteY2" fmla="*/ 257442 h 257442"/>
                <a:gd name="connsiteX3" fmla="*/ 54722 w 2142539"/>
                <a:gd name="connsiteY3" fmla="*/ 0 h 257442"/>
                <a:gd name="connsiteX0" fmla="*/ 2310853 w 2310853"/>
                <a:gd name="connsiteY0" fmla="*/ 0 h 257442"/>
                <a:gd name="connsiteX1" fmla="*/ 2087817 w 2310853"/>
                <a:gd name="connsiteY1" fmla="*/ 257442 h 257442"/>
                <a:gd name="connsiteX2" fmla="*/ 0 w 2310853"/>
                <a:gd name="connsiteY2" fmla="*/ 257442 h 257442"/>
                <a:gd name="connsiteX3" fmla="*/ 54722 w 2310853"/>
                <a:gd name="connsiteY3" fmla="*/ 0 h 257442"/>
                <a:gd name="connsiteX0" fmla="*/ 2310853 w 2310853"/>
                <a:gd name="connsiteY0" fmla="*/ 0 h 257442"/>
                <a:gd name="connsiteX1" fmla="*/ 2256132 w 2310853"/>
                <a:gd name="connsiteY1" fmla="*/ 257442 h 257442"/>
                <a:gd name="connsiteX2" fmla="*/ 0 w 2310853"/>
                <a:gd name="connsiteY2" fmla="*/ 257442 h 257442"/>
                <a:gd name="connsiteX3" fmla="*/ 54722 w 2310853"/>
                <a:gd name="connsiteY3" fmla="*/ 0 h 257442"/>
                <a:gd name="connsiteX0" fmla="*/ 2310852 w 2310852"/>
                <a:gd name="connsiteY0" fmla="*/ 0 h 257442"/>
                <a:gd name="connsiteX1" fmla="*/ 2256131 w 2310852"/>
                <a:gd name="connsiteY1" fmla="*/ 257442 h 257442"/>
                <a:gd name="connsiteX2" fmla="*/ 0 w 2310852"/>
                <a:gd name="connsiteY2" fmla="*/ 257442 h 257442"/>
                <a:gd name="connsiteX3" fmla="*/ 54721 w 2310852"/>
                <a:gd name="connsiteY3" fmla="*/ 0 h 257442"/>
                <a:gd name="connsiteX0" fmla="*/ 2310852 w 2310852"/>
                <a:gd name="connsiteY0" fmla="*/ 0 h 257442"/>
                <a:gd name="connsiteX1" fmla="*/ 2256131 w 2310852"/>
                <a:gd name="connsiteY1" fmla="*/ 257442 h 257442"/>
                <a:gd name="connsiteX2" fmla="*/ 0 w 2310852"/>
                <a:gd name="connsiteY2" fmla="*/ 257442 h 257442"/>
                <a:gd name="connsiteX3" fmla="*/ 54720 w 2310852"/>
                <a:gd name="connsiteY3" fmla="*/ 0 h 257442"/>
                <a:gd name="connsiteX0" fmla="*/ 2479167 w 2479167"/>
                <a:gd name="connsiteY0" fmla="*/ 0 h 257442"/>
                <a:gd name="connsiteX1" fmla="*/ 2256131 w 2479167"/>
                <a:gd name="connsiteY1" fmla="*/ 257442 h 257442"/>
                <a:gd name="connsiteX2" fmla="*/ 0 w 2479167"/>
                <a:gd name="connsiteY2" fmla="*/ 257442 h 257442"/>
                <a:gd name="connsiteX3" fmla="*/ 54720 w 2479167"/>
                <a:gd name="connsiteY3" fmla="*/ 0 h 257442"/>
                <a:gd name="connsiteX0" fmla="*/ 2479167 w 2479167"/>
                <a:gd name="connsiteY0" fmla="*/ 0 h 257442"/>
                <a:gd name="connsiteX1" fmla="*/ 2424446 w 2479167"/>
                <a:gd name="connsiteY1" fmla="*/ 257442 h 257442"/>
                <a:gd name="connsiteX2" fmla="*/ 0 w 2479167"/>
                <a:gd name="connsiteY2" fmla="*/ 257442 h 257442"/>
                <a:gd name="connsiteX3" fmla="*/ 54720 w 2479167"/>
                <a:gd name="connsiteY3" fmla="*/ 0 h 257442"/>
                <a:gd name="connsiteX0" fmla="*/ 2479168 w 2479168"/>
                <a:gd name="connsiteY0" fmla="*/ 0 h 257442"/>
                <a:gd name="connsiteX1" fmla="*/ 2424447 w 2479168"/>
                <a:gd name="connsiteY1" fmla="*/ 257442 h 257442"/>
                <a:gd name="connsiteX2" fmla="*/ 0 w 2479168"/>
                <a:gd name="connsiteY2" fmla="*/ 257442 h 257442"/>
                <a:gd name="connsiteX3" fmla="*/ 54721 w 2479168"/>
                <a:gd name="connsiteY3" fmla="*/ 0 h 257442"/>
                <a:gd name="connsiteX0" fmla="*/ 2479168 w 2479168"/>
                <a:gd name="connsiteY0" fmla="*/ 0 h 257442"/>
                <a:gd name="connsiteX1" fmla="*/ 2424447 w 2479168"/>
                <a:gd name="connsiteY1" fmla="*/ 257442 h 257442"/>
                <a:gd name="connsiteX2" fmla="*/ 0 w 2479168"/>
                <a:gd name="connsiteY2" fmla="*/ 257442 h 257442"/>
                <a:gd name="connsiteX3" fmla="*/ 54721 w 2479168"/>
                <a:gd name="connsiteY3" fmla="*/ 0 h 257442"/>
                <a:gd name="connsiteX0" fmla="*/ 968434 w 2424447"/>
                <a:gd name="connsiteY0" fmla="*/ 0 h 257442"/>
                <a:gd name="connsiteX1" fmla="*/ 2424447 w 2424447"/>
                <a:gd name="connsiteY1" fmla="*/ 257442 h 257442"/>
                <a:gd name="connsiteX2" fmla="*/ 0 w 2424447"/>
                <a:gd name="connsiteY2" fmla="*/ 257442 h 257442"/>
                <a:gd name="connsiteX3" fmla="*/ 54721 w 2424447"/>
                <a:gd name="connsiteY3" fmla="*/ 0 h 257442"/>
                <a:gd name="connsiteX0" fmla="*/ 968434 w 968434"/>
                <a:gd name="connsiteY0" fmla="*/ 0 h 257442"/>
                <a:gd name="connsiteX1" fmla="*/ 913714 w 968434"/>
                <a:gd name="connsiteY1" fmla="*/ 257442 h 257442"/>
                <a:gd name="connsiteX2" fmla="*/ 0 w 968434"/>
                <a:gd name="connsiteY2" fmla="*/ 257442 h 257442"/>
                <a:gd name="connsiteX3" fmla="*/ 54721 w 968434"/>
                <a:gd name="connsiteY3" fmla="*/ 0 h 257442"/>
                <a:gd name="connsiteX0" fmla="*/ 968433 w 968433"/>
                <a:gd name="connsiteY0" fmla="*/ 0 h 257442"/>
                <a:gd name="connsiteX1" fmla="*/ 913713 w 968433"/>
                <a:gd name="connsiteY1" fmla="*/ 257442 h 257442"/>
                <a:gd name="connsiteX2" fmla="*/ 0 w 968433"/>
                <a:gd name="connsiteY2" fmla="*/ 257442 h 257442"/>
                <a:gd name="connsiteX3" fmla="*/ 54720 w 968433"/>
                <a:gd name="connsiteY3" fmla="*/ 0 h 257442"/>
                <a:gd name="connsiteX0" fmla="*/ 968433 w 968433"/>
                <a:gd name="connsiteY0" fmla="*/ 0 h 257442"/>
                <a:gd name="connsiteX1" fmla="*/ 913713 w 968433"/>
                <a:gd name="connsiteY1" fmla="*/ 257442 h 257442"/>
                <a:gd name="connsiteX2" fmla="*/ 0 w 968433"/>
                <a:gd name="connsiteY2" fmla="*/ 257442 h 257442"/>
                <a:gd name="connsiteX3" fmla="*/ 54721 w 968433"/>
                <a:gd name="connsiteY3" fmla="*/ 0 h 257442"/>
                <a:gd name="connsiteX0" fmla="*/ 1128734 w 1128734"/>
                <a:gd name="connsiteY0" fmla="*/ 0 h 257442"/>
                <a:gd name="connsiteX1" fmla="*/ 9137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128734 w 1128734"/>
                <a:gd name="connsiteY0" fmla="*/ 0 h 257442"/>
                <a:gd name="connsiteX1" fmla="*/ 1074012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54722 w 1128735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54722 w 1128735"/>
                <a:gd name="connsiteY3" fmla="*/ 0 h 257442"/>
                <a:gd name="connsiteX0" fmla="*/ 1297051 w 1297051"/>
                <a:gd name="connsiteY0" fmla="*/ 0 h 257442"/>
                <a:gd name="connsiteX1" fmla="*/ 1074013 w 1297051"/>
                <a:gd name="connsiteY1" fmla="*/ 257442 h 257442"/>
                <a:gd name="connsiteX2" fmla="*/ 0 w 1297051"/>
                <a:gd name="connsiteY2" fmla="*/ 257442 h 257442"/>
                <a:gd name="connsiteX3" fmla="*/ 54722 w 1297051"/>
                <a:gd name="connsiteY3" fmla="*/ 0 h 257442"/>
                <a:gd name="connsiteX0" fmla="*/ 1297051 w 1297051"/>
                <a:gd name="connsiteY0" fmla="*/ 0 h 257442"/>
                <a:gd name="connsiteX1" fmla="*/ 1242330 w 1297051"/>
                <a:gd name="connsiteY1" fmla="*/ 257442 h 257442"/>
                <a:gd name="connsiteX2" fmla="*/ 0 w 1297051"/>
                <a:gd name="connsiteY2" fmla="*/ 257442 h 257442"/>
                <a:gd name="connsiteX3" fmla="*/ 54722 w 1297051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0 w 1297050"/>
                <a:gd name="connsiteY3" fmla="*/ 0 h 257442"/>
                <a:gd name="connsiteX0" fmla="*/ 1566353 w 1566353"/>
                <a:gd name="connsiteY0" fmla="*/ 0 h 257442"/>
                <a:gd name="connsiteX1" fmla="*/ 1242329 w 1566353"/>
                <a:gd name="connsiteY1" fmla="*/ 257442 h 257442"/>
                <a:gd name="connsiteX2" fmla="*/ 0 w 1566353"/>
                <a:gd name="connsiteY2" fmla="*/ 257442 h 257442"/>
                <a:gd name="connsiteX3" fmla="*/ 54720 w 1566353"/>
                <a:gd name="connsiteY3" fmla="*/ 0 h 257442"/>
                <a:gd name="connsiteX0" fmla="*/ 1566353 w 1566353"/>
                <a:gd name="connsiteY0" fmla="*/ 0 h 257442"/>
                <a:gd name="connsiteX1" fmla="*/ 1511632 w 1566353"/>
                <a:gd name="connsiteY1" fmla="*/ 257442 h 257442"/>
                <a:gd name="connsiteX2" fmla="*/ 0 w 1566353"/>
                <a:gd name="connsiteY2" fmla="*/ 257442 h 257442"/>
                <a:gd name="connsiteX3" fmla="*/ 54720 w 1566353"/>
                <a:gd name="connsiteY3" fmla="*/ 0 h 257442"/>
                <a:gd name="connsiteX0" fmla="*/ 1566354 w 1566354"/>
                <a:gd name="connsiteY0" fmla="*/ 0 h 257442"/>
                <a:gd name="connsiteX1" fmla="*/ 1511633 w 1566354"/>
                <a:gd name="connsiteY1" fmla="*/ 257442 h 257442"/>
                <a:gd name="connsiteX2" fmla="*/ 0 w 1566354"/>
                <a:gd name="connsiteY2" fmla="*/ 257442 h 257442"/>
                <a:gd name="connsiteX3" fmla="*/ 54721 w 1566354"/>
                <a:gd name="connsiteY3" fmla="*/ 0 h 257442"/>
                <a:gd name="connsiteX0" fmla="*/ 1566354 w 1566354"/>
                <a:gd name="connsiteY0" fmla="*/ 0 h 257442"/>
                <a:gd name="connsiteX1" fmla="*/ 1511633 w 1566354"/>
                <a:gd name="connsiteY1" fmla="*/ 257442 h 257442"/>
                <a:gd name="connsiteX2" fmla="*/ 0 w 1566354"/>
                <a:gd name="connsiteY2" fmla="*/ 257442 h 257442"/>
                <a:gd name="connsiteX3" fmla="*/ 54721 w 1566354"/>
                <a:gd name="connsiteY3" fmla="*/ 0 h 257442"/>
                <a:gd name="connsiteX0" fmla="*/ 1829952 w 1829952"/>
                <a:gd name="connsiteY0" fmla="*/ 0 h 257442"/>
                <a:gd name="connsiteX1" fmla="*/ 1511633 w 1829952"/>
                <a:gd name="connsiteY1" fmla="*/ 257442 h 257442"/>
                <a:gd name="connsiteX2" fmla="*/ 0 w 1829952"/>
                <a:gd name="connsiteY2" fmla="*/ 257442 h 257442"/>
                <a:gd name="connsiteX3" fmla="*/ 54721 w 1829952"/>
                <a:gd name="connsiteY3" fmla="*/ 0 h 257442"/>
                <a:gd name="connsiteX0" fmla="*/ 1829952 w 1829952"/>
                <a:gd name="connsiteY0" fmla="*/ 0 h 257442"/>
                <a:gd name="connsiteX1" fmla="*/ 1775231 w 1829952"/>
                <a:gd name="connsiteY1" fmla="*/ 257442 h 257442"/>
                <a:gd name="connsiteX2" fmla="*/ 0 w 1829952"/>
                <a:gd name="connsiteY2" fmla="*/ 257442 h 257442"/>
                <a:gd name="connsiteX3" fmla="*/ 54721 w 1829952"/>
                <a:gd name="connsiteY3" fmla="*/ 0 h 257442"/>
                <a:gd name="connsiteX0" fmla="*/ 1829952 w 1829952"/>
                <a:gd name="connsiteY0" fmla="*/ 0 h 257442"/>
                <a:gd name="connsiteX1" fmla="*/ 1775231 w 1829952"/>
                <a:gd name="connsiteY1" fmla="*/ 257442 h 257442"/>
                <a:gd name="connsiteX2" fmla="*/ 0 w 1829952"/>
                <a:gd name="connsiteY2" fmla="*/ 257442 h 257442"/>
                <a:gd name="connsiteX3" fmla="*/ 54721 w 1829952"/>
                <a:gd name="connsiteY3" fmla="*/ 0 h 257442"/>
                <a:gd name="connsiteX0" fmla="*/ 1829952 w 1829952"/>
                <a:gd name="connsiteY0" fmla="*/ 0 h 257442"/>
                <a:gd name="connsiteX1" fmla="*/ 1775231 w 1829952"/>
                <a:gd name="connsiteY1" fmla="*/ 257442 h 257442"/>
                <a:gd name="connsiteX2" fmla="*/ 0 w 1829952"/>
                <a:gd name="connsiteY2" fmla="*/ 257442 h 257442"/>
                <a:gd name="connsiteX3" fmla="*/ 54721 w 1829952"/>
                <a:gd name="connsiteY3" fmla="*/ 0 h 257442"/>
                <a:gd name="connsiteX0" fmla="*/ 1998267 w 1998267"/>
                <a:gd name="connsiteY0" fmla="*/ 0 h 257442"/>
                <a:gd name="connsiteX1" fmla="*/ 1775231 w 1998267"/>
                <a:gd name="connsiteY1" fmla="*/ 257442 h 257442"/>
                <a:gd name="connsiteX2" fmla="*/ 0 w 1998267"/>
                <a:gd name="connsiteY2" fmla="*/ 257442 h 257442"/>
                <a:gd name="connsiteX3" fmla="*/ 54721 w 1998267"/>
                <a:gd name="connsiteY3" fmla="*/ 0 h 257442"/>
                <a:gd name="connsiteX0" fmla="*/ 1998267 w 1998267"/>
                <a:gd name="connsiteY0" fmla="*/ 0 h 257442"/>
                <a:gd name="connsiteX1" fmla="*/ 1943546 w 1998267"/>
                <a:gd name="connsiteY1" fmla="*/ 257442 h 257442"/>
                <a:gd name="connsiteX2" fmla="*/ 0 w 1998267"/>
                <a:gd name="connsiteY2" fmla="*/ 257442 h 257442"/>
                <a:gd name="connsiteX3" fmla="*/ 54721 w 1998267"/>
                <a:gd name="connsiteY3" fmla="*/ 0 h 257442"/>
                <a:gd name="connsiteX0" fmla="*/ 1998267 w 1998267"/>
                <a:gd name="connsiteY0" fmla="*/ 0 h 257442"/>
                <a:gd name="connsiteX1" fmla="*/ 1943546 w 1998267"/>
                <a:gd name="connsiteY1" fmla="*/ 257442 h 257442"/>
                <a:gd name="connsiteX2" fmla="*/ 0 w 1998267"/>
                <a:gd name="connsiteY2" fmla="*/ 257442 h 257442"/>
                <a:gd name="connsiteX3" fmla="*/ 54721 w 1998267"/>
                <a:gd name="connsiteY3" fmla="*/ 0 h 257442"/>
                <a:gd name="connsiteX0" fmla="*/ 1998267 w 1998267"/>
                <a:gd name="connsiteY0" fmla="*/ 0 h 257442"/>
                <a:gd name="connsiteX1" fmla="*/ 1943546 w 1998267"/>
                <a:gd name="connsiteY1" fmla="*/ 257442 h 257442"/>
                <a:gd name="connsiteX2" fmla="*/ 0 w 1998267"/>
                <a:gd name="connsiteY2" fmla="*/ 257442 h 257442"/>
                <a:gd name="connsiteX3" fmla="*/ 54721 w 1998267"/>
                <a:gd name="connsiteY3" fmla="*/ 0 h 257442"/>
                <a:gd name="connsiteX0" fmla="*/ 2166582 w 2166582"/>
                <a:gd name="connsiteY0" fmla="*/ 0 h 257442"/>
                <a:gd name="connsiteX1" fmla="*/ 1943546 w 2166582"/>
                <a:gd name="connsiteY1" fmla="*/ 257442 h 257442"/>
                <a:gd name="connsiteX2" fmla="*/ 0 w 2166582"/>
                <a:gd name="connsiteY2" fmla="*/ 257442 h 257442"/>
                <a:gd name="connsiteX3" fmla="*/ 54721 w 2166582"/>
                <a:gd name="connsiteY3" fmla="*/ 0 h 257442"/>
                <a:gd name="connsiteX0" fmla="*/ 2166582 w 2166582"/>
                <a:gd name="connsiteY0" fmla="*/ 0 h 257442"/>
                <a:gd name="connsiteX1" fmla="*/ 2111860 w 2166582"/>
                <a:gd name="connsiteY1" fmla="*/ 257442 h 257442"/>
                <a:gd name="connsiteX2" fmla="*/ 0 w 2166582"/>
                <a:gd name="connsiteY2" fmla="*/ 257442 h 257442"/>
                <a:gd name="connsiteX3" fmla="*/ 54721 w 2166582"/>
                <a:gd name="connsiteY3" fmla="*/ 0 h 257442"/>
                <a:gd name="connsiteX0" fmla="*/ 2166583 w 2166583"/>
                <a:gd name="connsiteY0" fmla="*/ 0 h 257442"/>
                <a:gd name="connsiteX1" fmla="*/ 2111861 w 2166583"/>
                <a:gd name="connsiteY1" fmla="*/ 257442 h 257442"/>
                <a:gd name="connsiteX2" fmla="*/ 0 w 2166583"/>
                <a:gd name="connsiteY2" fmla="*/ 257442 h 257442"/>
                <a:gd name="connsiteX3" fmla="*/ 54722 w 2166583"/>
                <a:gd name="connsiteY3" fmla="*/ 0 h 257442"/>
                <a:gd name="connsiteX0" fmla="*/ 2166583 w 2166583"/>
                <a:gd name="connsiteY0" fmla="*/ 0 h 257442"/>
                <a:gd name="connsiteX1" fmla="*/ 2111861 w 2166583"/>
                <a:gd name="connsiteY1" fmla="*/ 257442 h 257442"/>
                <a:gd name="connsiteX2" fmla="*/ 0 w 2166583"/>
                <a:gd name="connsiteY2" fmla="*/ 257442 h 257442"/>
                <a:gd name="connsiteX3" fmla="*/ 54722 w 2166583"/>
                <a:gd name="connsiteY3" fmla="*/ 0 h 257442"/>
                <a:gd name="connsiteX0" fmla="*/ 2334899 w 2334899"/>
                <a:gd name="connsiteY0" fmla="*/ 0 h 257442"/>
                <a:gd name="connsiteX1" fmla="*/ 2111861 w 2334899"/>
                <a:gd name="connsiteY1" fmla="*/ 257442 h 257442"/>
                <a:gd name="connsiteX2" fmla="*/ 0 w 2334899"/>
                <a:gd name="connsiteY2" fmla="*/ 257442 h 257442"/>
                <a:gd name="connsiteX3" fmla="*/ 54722 w 2334899"/>
                <a:gd name="connsiteY3" fmla="*/ 0 h 257442"/>
                <a:gd name="connsiteX0" fmla="*/ 2334899 w 2334899"/>
                <a:gd name="connsiteY0" fmla="*/ 0 h 257442"/>
                <a:gd name="connsiteX1" fmla="*/ 2280178 w 2334899"/>
                <a:gd name="connsiteY1" fmla="*/ 257442 h 257442"/>
                <a:gd name="connsiteX2" fmla="*/ 0 w 2334899"/>
                <a:gd name="connsiteY2" fmla="*/ 257442 h 257442"/>
                <a:gd name="connsiteX3" fmla="*/ 54722 w 2334899"/>
                <a:gd name="connsiteY3" fmla="*/ 0 h 257442"/>
                <a:gd name="connsiteX0" fmla="*/ 2334898 w 2334898"/>
                <a:gd name="connsiteY0" fmla="*/ 0 h 257442"/>
                <a:gd name="connsiteX1" fmla="*/ 2280177 w 2334898"/>
                <a:gd name="connsiteY1" fmla="*/ 257442 h 257442"/>
                <a:gd name="connsiteX2" fmla="*/ 0 w 2334898"/>
                <a:gd name="connsiteY2" fmla="*/ 257442 h 257442"/>
                <a:gd name="connsiteX3" fmla="*/ 54721 w 2334898"/>
                <a:gd name="connsiteY3" fmla="*/ 0 h 257442"/>
                <a:gd name="connsiteX0" fmla="*/ 2334898 w 2334898"/>
                <a:gd name="connsiteY0" fmla="*/ 0 h 257442"/>
                <a:gd name="connsiteX1" fmla="*/ 2280177 w 2334898"/>
                <a:gd name="connsiteY1" fmla="*/ 257442 h 257442"/>
                <a:gd name="connsiteX2" fmla="*/ 0 w 2334898"/>
                <a:gd name="connsiteY2" fmla="*/ 257442 h 257442"/>
                <a:gd name="connsiteX3" fmla="*/ 54720 w 2334898"/>
                <a:gd name="connsiteY3" fmla="*/ 0 h 257442"/>
                <a:gd name="connsiteX0" fmla="*/ 2503212 w 2503212"/>
                <a:gd name="connsiteY0" fmla="*/ 0 h 257442"/>
                <a:gd name="connsiteX1" fmla="*/ 2280177 w 2503212"/>
                <a:gd name="connsiteY1" fmla="*/ 257442 h 257442"/>
                <a:gd name="connsiteX2" fmla="*/ 0 w 2503212"/>
                <a:gd name="connsiteY2" fmla="*/ 257442 h 257442"/>
                <a:gd name="connsiteX3" fmla="*/ 54720 w 2503212"/>
                <a:gd name="connsiteY3" fmla="*/ 0 h 257442"/>
                <a:gd name="connsiteX0" fmla="*/ 2503212 w 2503212"/>
                <a:gd name="connsiteY0" fmla="*/ 0 h 257442"/>
                <a:gd name="connsiteX1" fmla="*/ 2448491 w 2503212"/>
                <a:gd name="connsiteY1" fmla="*/ 257442 h 257442"/>
                <a:gd name="connsiteX2" fmla="*/ 0 w 2503212"/>
                <a:gd name="connsiteY2" fmla="*/ 257442 h 257442"/>
                <a:gd name="connsiteX3" fmla="*/ 54720 w 2503212"/>
                <a:gd name="connsiteY3" fmla="*/ 0 h 257442"/>
                <a:gd name="connsiteX0" fmla="*/ 2503213 w 2503213"/>
                <a:gd name="connsiteY0" fmla="*/ 0 h 257442"/>
                <a:gd name="connsiteX1" fmla="*/ 2448492 w 2503213"/>
                <a:gd name="connsiteY1" fmla="*/ 257442 h 257442"/>
                <a:gd name="connsiteX2" fmla="*/ 0 w 2503213"/>
                <a:gd name="connsiteY2" fmla="*/ 257442 h 257442"/>
                <a:gd name="connsiteX3" fmla="*/ 54721 w 2503213"/>
                <a:gd name="connsiteY3" fmla="*/ 0 h 257442"/>
                <a:gd name="connsiteX0" fmla="*/ 2503213 w 2503213"/>
                <a:gd name="connsiteY0" fmla="*/ 0 h 257442"/>
                <a:gd name="connsiteX1" fmla="*/ 2448492 w 2503213"/>
                <a:gd name="connsiteY1" fmla="*/ 257442 h 257442"/>
                <a:gd name="connsiteX2" fmla="*/ 0 w 2503213"/>
                <a:gd name="connsiteY2" fmla="*/ 257442 h 257442"/>
                <a:gd name="connsiteX3" fmla="*/ 54722 w 2503213"/>
                <a:gd name="connsiteY3" fmla="*/ 0 h 257442"/>
                <a:gd name="connsiteX0" fmla="*/ 2663514 w 2663514"/>
                <a:gd name="connsiteY0" fmla="*/ 0 h 257442"/>
                <a:gd name="connsiteX1" fmla="*/ 2448492 w 2663514"/>
                <a:gd name="connsiteY1" fmla="*/ 257442 h 257442"/>
                <a:gd name="connsiteX2" fmla="*/ 0 w 2663514"/>
                <a:gd name="connsiteY2" fmla="*/ 257442 h 257442"/>
                <a:gd name="connsiteX3" fmla="*/ 54722 w 2663514"/>
                <a:gd name="connsiteY3" fmla="*/ 0 h 257442"/>
                <a:gd name="connsiteX0" fmla="*/ 2663514 w 2663514"/>
                <a:gd name="connsiteY0" fmla="*/ 0 h 257442"/>
                <a:gd name="connsiteX1" fmla="*/ 2608792 w 2663514"/>
                <a:gd name="connsiteY1" fmla="*/ 257442 h 257442"/>
                <a:gd name="connsiteX2" fmla="*/ 0 w 2663514"/>
                <a:gd name="connsiteY2" fmla="*/ 257442 h 257442"/>
                <a:gd name="connsiteX3" fmla="*/ 54722 w 2663514"/>
                <a:gd name="connsiteY3" fmla="*/ 0 h 257442"/>
                <a:gd name="connsiteX0" fmla="*/ 2663514 w 2663514"/>
                <a:gd name="connsiteY0" fmla="*/ 0 h 257442"/>
                <a:gd name="connsiteX1" fmla="*/ 2608792 w 2663514"/>
                <a:gd name="connsiteY1" fmla="*/ 257442 h 257442"/>
                <a:gd name="connsiteX2" fmla="*/ 0 w 2663514"/>
                <a:gd name="connsiteY2" fmla="*/ 257442 h 257442"/>
                <a:gd name="connsiteX3" fmla="*/ 54722 w 2663514"/>
                <a:gd name="connsiteY3" fmla="*/ 0 h 257442"/>
                <a:gd name="connsiteX0" fmla="*/ 2663514 w 2663514"/>
                <a:gd name="connsiteY0" fmla="*/ 0 h 257442"/>
                <a:gd name="connsiteX1" fmla="*/ 2608792 w 2663514"/>
                <a:gd name="connsiteY1" fmla="*/ 257442 h 257442"/>
                <a:gd name="connsiteX2" fmla="*/ 0 w 2663514"/>
                <a:gd name="connsiteY2" fmla="*/ 257442 h 257442"/>
                <a:gd name="connsiteX3" fmla="*/ 54721 w 2663514"/>
                <a:gd name="connsiteY3" fmla="*/ 0 h 257442"/>
                <a:gd name="connsiteX0" fmla="*/ 2914031 w 2914031"/>
                <a:gd name="connsiteY0" fmla="*/ 0 h 257442"/>
                <a:gd name="connsiteX1" fmla="*/ 2608792 w 2914031"/>
                <a:gd name="connsiteY1" fmla="*/ 257442 h 257442"/>
                <a:gd name="connsiteX2" fmla="*/ 0 w 2914031"/>
                <a:gd name="connsiteY2" fmla="*/ 257442 h 257442"/>
                <a:gd name="connsiteX3" fmla="*/ 54721 w 2914031"/>
                <a:gd name="connsiteY3" fmla="*/ 0 h 257442"/>
                <a:gd name="connsiteX0" fmla="*/ 2914031 w 2914031"/>
                <a:gd name="connsiteY0" fmla="*/ 0 h 257442"/>
                <a:gd name="connsiteX1" fmla="*/ 2859310 w 2914031"/>
                <a:gd name="connsiteY1" fmla="*/ 257442 h 257442"/>
                <a:gd name="connsiteX2" fmla="*/ 0 w 2914031"/>
                <a:gd name="connsiteY2" fmla="*/ 257442 h 257442"/>
                <a:gd name="connsiteX3" fmla="*/ 54721 w 2914031"/>
                <a:gd name="connsiteY3" fmla="*/ 0 h 257442"/>
                <a:gd name="connsiteX0" fmla="*/ 2914031 w 2914031"/>
                <a:gd name="connsiteY0" fmla="*/ 0 h 257442"/>
                <a:gd name="connsiteX1" fmla="*/ 2859310 w 2914031"/>
                <a:gd name="connsiteY1" fmla="*/ 257442 h 257442"/>
                <a:gd name="connsiteX2" fmla="*/ 0 w 2914031"/>
                <a:gd name="connsiteY2" fmla="*/ 257442 h 257442"/>
                <a:gd name="connsiteX3" fmla="*/ 54721 w 2914031"/>
                <a:gd name="connsiteY3" fmla="*/ 0 h 257442"/>
                <a:gd name="connsiteX0" fmla="*/ 2914031 w 2914031"/>
                <a:gd name="connsiteY0" fmla="*/ 0 h 257442"/>
                <a:gd name="connsiteX1" fmla="*/ 2859310 w 2914031"/>
                <a:gd name="connsiteY1" fmla="*/ 257442 h 257442"/>
                <a:gd name="connsiteX2" fmla="*/ 0 w 2914031"/>
                <a:gd name="connsiteY2" fmla="*/ 257442 h 257442"/>
                <a:gd name="connsiteX3" fmla="*/ 54721 w 2914031"/>
                <a:gd name="connsiteY3" fmla="*/ 0 h 257442"/>
                <a:gd name="connsiteX0" fmla="*/ 3074331 w 3074331"/>
                <a:gd name="connsiteY0" fmla="*/ 0 h 257442"/>
                <a:gd name="connsiteX1" fmla="*/ 2859310 w 3074331"/>
                <a:gd name="connsiteY1" fmla="*/ 257442 h 257442"/>
                <a:gd name="connsiteX2" fmla="*/ 0 w 3074331"/>
                <a:gd name="connsiteY2" fmla="*/ 257442 h 257442"/>
                <a:gd name="connsiteX3" fmla="*/ 54721 w 3074331"/>
                <a:gd name="connsiteY3" fmla="*/ 0 h 257442"/>
                <a:gd name="connsiteX0" fmla="*/ 3074331 w 3074331"/>
                <a:gd name="connsiteY0" fmla="*/ 0 h 257442"/>
                <a:gd name="connsiteX1" fmla="*/ 3019610 w 3074331"/>
                <a:gd name="connsiteY1" fmla="*/ 257442 h 257442"/>
                <a:gd name="connsiteX2" fmla="*/ 0 w 3074331"/>
                <a:gd name="connsiteY2" fmla="*/ 257442 h 257442"/>
                <a:gd name="connsiteX3" fmla="*/ 54721 w 3074331"/>
                <a:gd name="connsiteY3" fmla="*/ 0 h 257442"/>
                <a:gd name="connsiteX0" fmla="*/ 3074331 w 3074331"/>
                <a:gd name="connsiteY0" fmla="*/ 0 h 257442"/>
                <a:gd name="connsiteX1" fmla="*/ 3019610 w 3074331"/>
                <a:gd name="connsiteY1" fmla="*/ 257442 h 257442"/>
                <a:gd name="connsiteX2" fmla="*/ 0 w 3074331"/>
                <a:gd name="connsiteY2" fmla="*/ 257442 h 257442"/>
                <a:gd name="connsiteX3" fmla="*/ 54721 w 3074331"/>
                <a:gd name="connsiteY3" fmla="*/ 0 h 257442"/>
                <a:gd name="connsiteX0" fmla="*/ 3074331 w 3074331"/>
                <a:gd name="connsiteY0" fmla="*/ 0 h 257442"/>
                <a:gd name="connsiteX1" fmla="*/ 3019610 w 3074331"/>
                <a:gd name="connsiteY1" fmla="*/ 257442 h 257442"/>
                <a:gd name="connsiteX2" fmla="*/ 0 w 3074331"/>
                <a:gd name="connsiteY2" fmla="*/ 257442 h 257442"/>
                <a:gd name="connsiteX3" fmla="*/ 54721 w 3074331"/>
                <a:gd name="connsiteY3" fmla="*/ 0 h 257442"/>
                <a:gd name="connsiteX0" fmla="*/ 3234631 w 3234631"/>
                <a:gd name="connsiteY0" fmla="*/ 0 h 257442"/>
                <a:gd name="connsiteX1" fmla="*/ 3019610 w 3234631"/>
                <a:gd name="connsiteY1" fmla="*/ 257442 h 257442"/>
                <a:gd name="connsiteX2" fmla="*/ 0 w 3234631"/>
                <a:gd name="connsiteY2" fmla="*/ 257442 h 257442"/>
                <a:gd name="connsiteX3" fmla="*/ 54721 w 3234631"/>
                <a:gd name="connsiteY3" fmla="*/ 0 h 257442"/>
                <a:gd name="connsiteX0" fmla="*/ 3234631 w 3234631"/>
                <a:gd name="connsiteY0" fmla="*/ 0 h 257442"/>
                <a:gd name="connsiteX1" fmla="*/ 3179910 w 3234631"/>
                <a:gd name="connsiteY1" fmla="*/ 257442 h 257442"/>
                <a:gd name="connsiteX2" fmla="*/ 0 w 3234631"/>
                <a:gd name="connsiteY2" fmla="*/ 257442 h 257442"/>
                <a:gd name="connsiteX3" fmla="*/ 54721 w 3234631"/>
                <a:gd name="connsiteY3" fmla="*/ 0 h 257442"/>
                <a:gd name="connsiteX0" fmla="*/ 3234631 w 3234631"/>
                <a:gd name="connsiteY0" fmla="*/ 0 h 257442"/>
                <a:gd name="connsiteX1" fmla="*/ 3179910 w 3234631"/>
                <a:gd name="connsiteY1" fmla="*/ 257442 h 257442"/>
                <a:gd name="connsiteX2" fmla="*/ 0 w 3234631"/>
                <a:gd name="connsiteY2" fmla="*/ 257442 h 257442"/>
                <a:gd name="connsiteX3" fmla="*/ 54721 w 3234631"/>
                <a:gd name="connsiteY3" fmla="*/ 0 h 257442"/>
                <a:gd name="connsiteX0" fmla="*/ 3234631 w 3234631"/>
                <a:gd name="connsiteY0" fmla="*/ 0 h 257442"/>
                <a:gd name="connsiteX1" fmla="*/ 3179910 w 3234631"/>
                <a:gd name="connsiteY1" fmla="*/ 257442 h 257442"/>
                <a:gd name="connsiteX2" fmla="*/ 0 w 3234631"/>
                <a:gd name="connsiteY2" fmla="*/ 257442 h 257442"/>
                <a:gd name="connsiteX3" fmla="*/ 54721 w 3234631"/>
                <a:gd name="connsiteY3" fmla="*/ 0 h 257442"/>
                <a:gd name="connsiteX0" fmla="*/ 3394932 w 3394932"/>
                <a:gd name="connsiteY0" fmla="*/ 0 h 257442"/>
                <a:gd name="connsiteX1" fmla="*/ 3179910 w 3394932"/>
                <a:gd name="connsiteY1" fmla="*/ 257442 h 257442"/>
                <a:gd name="connsiteX2" fmla="*/ 0 w 3394932"/>
                <a:gd name="connsiteY2" fmla="*/ 257442 h 257442"/>
                <a:gd name="connsiteX3" fmla="*/ 54721 w 3394932"/>
                <a:gd name="connsiteY3" fmla="*/ 0 h 257442"/>
                <a:gd name="connsiteX0" fmla="*/ 3394932 w 3394932"/>
                <a:gd name="connsiteY0" fmla="*/ 0 h 257442"/>
                <a:gd name="connsiteX1" fmla="*/ 3340210 w 3394932"/>
                <a:gd name="connsiteY1" fmla="*/ 257442 h 257442"/>
                <a:gd name="connsiteX2" fmla="*/ 0 w 3394932"/>
                <a:gd name="connsiteY2" fmla="*/ 257442 h 257442"/>
                <a:gd name="connsiteX3" fmla="*/ 54721 w 3394932"/>
                <a:gd name="connsiteY3" fmla="*/ 0 h 257442"/>
                <a:gd name="connsiteX0" fmla="*/ 3394933 w 3394933"/>
                <a:gd name="connsiteY0" fmla="*/ 0 h 257442"/>
                <a:gd name="connsiteX1" fmla="*/ 3340211 w 3394933"/>
                <a:gd name="connsiteY1" fmla="*/ 257442 h 257442"/>
                <a:gd name="connsiteX2" fmla="*/ 0 w 3394933"/>
                <a:gd name="connsiteY2" fmla="*/ 257442 h 257442"/>
                <a:gd name="connsiteX3" fmla="*/ 54722 w 3394933"/>
                <a:gd name="connsiteY3" fmla="*/ 0 h 257442"/>
                <a:gd name="connsiteX0" fmla="*/ 3394933 w 3394933"/>
                <a:gd name="connsiteY0" fmla="*/ 0 h 257442"/>
                <a:gd name="connsiteX1" fmla="*/ 3340211 w 3394933"/>
                <a:gd name="connsiteY1" fmla="*/ 257442 h 257442"/>
                <a:gd name="connsiteX2" fmla="*/ 0 w 3394933"/>
                <a:gd name="connsiteY2" fmla="*/ 257442 h 257442"/>
                <a:gd name="connsiteX3" fmla="*/ 54722 w 3394933"/>
                <a:gd name="connsiteY3" fmla="*/ 0 h 257442"/>
                <a:gd name="connsiteX0" fmla="*/ 3563248 w 3563248"/>
                <a:gd name="connsiteY0" fmla="*/ 0 h 257442"/>
                <a:gd name="connsiteX1" fmla="*/ 3340211 w 3563248"/>
                <a:gd name="connsiteY1" fmla="*/ 257442 h 257442"/>
                <a:gd name="connsiteX2" fmla="*/ 0 w 3563248"/>
                <a:gd name="connsiteY2" fmla="*/ 257442 h 257442"/>
                <a:gd name="connsiteX3" fmla="*/ 54722 w 3563248"/>
                <a:gd name="connsiteY3" fmla="*/ 0 h 257442"/>
                <a:gd name="connsiteX0" fmla="*/ 3563248 w 3563248"/>
                <a:gd name="connsiteY0" fmla="*/ 0 h 257442"/>
                <a:gd name="connsiteX1" fmla="*/ 3508526 w 3563248"/>
                <a:gd name="connsiteY1" fmla="*/ 257442 h 257442"/>
                <a:gd name="connsiteX2" fmla="*/ 0 w 3563248"/>
                <a:gd name="connsiteY2" fmla="*/ 257442 h 257442"/>
                <a:gd name="connsiteX3" fmla="*/ 54722 w 3563248"/>
                <a:gd name="connsiteY3" fmla="*/ 0 h 257442"/>
                <a:gd name="connsiteX0" fmla="*/ 3563248 w 3563248"/>
                <a:gd name="connsiteY0" fmla="*/ 0 h 257442"/>
                <a:gd name="connsiteX1" fmla="*/ 3508526 w 3563248"/>
                <a:gd name="connsiteY1" fmla="*/ 257442 h 257442"/>
                <a:gd name="connsiteX2" fmla="*/ 0 w 3563248"/>
                <a:gd name="connsiteY2" fmla="*/ 257442 h 257442"/>
                <a:gd name="connsiteX3" fmla="*/ 54722 w 3563248"/>
                <a:gd name="connsiteY3" fmla="*/ 0 h 257442"/>
                <a:gd name="connsiteX0" fmla="*/ 3563248 w 3563248"/>
                <a:gd name="connsiteY0" fmla="*/ 0 h 257442"/>
                <a:gd name="connsiteX1" fmla="*/ 3508526 w 3563248"/>
                <a:gd name="connsiteY1" fmla="*/ 257442 h 257442"/>
                <a:gd name="connsiteX2" fmla="*/ 0 w 3563248"/>
                <a:gd name="connsiteY2" fmla="*/ 257442 h 257442"/>
                <a:gd name="connsiteX3" fmla="*/ 54721 w 3563248"/>
                <a:gd name="connsiteY3" fmla="*/ 0 h 257442"/>
                <a:gd name="connsiteX0" fmla="*/ 3731562 w 3731562"/>
                <a:gd name="connsiteY0" fmla="*/ 0 h 257442"/>
                <a:gd name="connsiteX1" fmla="*/ 3508526 w 3731562"/>
                <a:gd name="connsiteY1" fmla="*/ 257442 h 257442"/>
                <a:gd name="connsiteX2" fmla="*/ 0 w 3731562"/>
                <a:gd name="connsiteY2" fmla="*/ 257442 h 257442"/>
                <a:gd name="connsiteX3" fmla="*/ 54721 w 3731562"/>
                <a:gd name="connsiteY3" fmla="*/ 0 h 257442"/>
                <a:gd name="connsiteX0" fmla="*/ 3731562 w 3731562"/>
                <a:gd name="connsiteY0" fmla="*/ 0 h 257442"/>
                <a:gd name="connsiteX1" fmla="*/ 3676841 w 3731562"/>
                <a:gd name="connsiteY1" fmla="*/ 257442 h 257442"/>
                <a:gd name="connsiteX2" fmla="*/ 0 w 3731562"/>
                <a:gd name="connsiteY2" fmla="*/ 257442 h 257442"/>
                <a:gd name="connsiteX3" fmla="*/ 54721 w 3731562"/>
                <a:gd name="connsiteY3" fmla="*/ 0 h 257442"/>
                <a:gd name="connsiteX0" fmla="*/ 3731562 w 3731562"/>
                <a:gd name="connsiteY0" fmla="*/ 0 h 257442"/>
                <a:gd name="connsiteX1" fmla="*/ 3676841 w 3731562"/>
                <a:gd name="connsiteY1" fmla="*/ 257442 h 257442"/>
                <a:gd name="connsiteX2" fmla="*/ 0 w 3731562"/>
                <a:gd name="connsiteY2" fmla="*/ 257442 h 257442"/>
                <a:gd name="connsiteX3" fmla="*/ 54721 w 3731562"/>
                <a:gd name="connsiteY3" fmla="*/ 0 h 257442"/>
                <a:gd name="connsiteX0" fmla="*/ 3731562 w 3731562"/>
                <a:gd name="connsiteY0" fmla="*/ 0 h 257442"/>
                <a:gd name="connsiteX1" fmla="*/ 3676841 w 3731562"/>
                <a:gd name="connsiteY1" fmla="*/ 257442 h 257442"/>
                <a:gd name="connsiteX2" fmla="*/ 0 w 3731562"/>
                <a:gd name="connsiteY2" fmla="*/ 257442 h 257442"/>
                <a:gd name="connsiteX3" fmla="*/ 54721 w 3731562"/>
                <a:gd name="connsiteY3" fmla="*/ 0 h 257442"/>
                <a:gd name="connsiteX0" fmla="*/ 3984837 w 3984837"/>
                <a:gd name="connsiteY0" fmla="*/ 0 h 257442"/>
                <a:gd name="connsiteX1" fmla="*/ 3676841 w 3984837"/>
                <a:gd name="connsiteY1" fmla="*/ 257442 h 257442"/>
                <a:gd name="connsiteX2" fmla="*/ 0 w 3984837"/>
                <a:gd name="connsiteY2" fmla="*/ 257442 h 257442"/>
                <a:gd name="connsiteX3" fmla="*/ 54721 w 3984837"/>
                <a:gd name="connsiteY3" fmla="*/ 0 h 257442"/>
                <a:gd name="connsiteX0" fmla="*/ 3984837 w 3984837"/>
                <a:gd name="connsiteY0" fmla="*/ 0 h 257442"/>
                <a:gd name="connsiteX1" fmla="*/ 3930116 w 3984837"/>
                <a:gd name="connsiteY1" fmla="*/ 257442 h 257442"/>
                <a:gd name="connsiteX2" fmla="*/ 0 w 3984837"/>
                <a:gd name="connsiteY2" fmla="*/ 257442 h 257442"/>
                <a:gd name="connsiteX3" fmla="*/ 54721 w 3984837"/>
                <a:gd name="connsiteY3" fmla="*/ 0 h 257442"/>
                <a:gd name="connsiteX0" fmla="*/ 3984837 w 3984837"/>
                <a:gd name="connsiteY0" fmla="*/ 0 h 257442"/>
                <a:gd name="connsiteX1" fmla="*/ 3930116 w 3984837"/>
                <a:gd name="connsiteY1" fmla="*/ 257442 h 257442"/>
                <a:gd name="connsiteX2" fmla="*/ 0 w 3984837"/>
                <a:gd name="connsiteY2" fmla="*/ 257442 h 257442"/>
                <a:gd name="connsiteX3" fmla="*/ 54721 w 3984837"/>
                <a:gd name="connsiteY3" fmla="*/ 0 h 257442"/>
                <a:gd name="connsiteX0" fmla="*/ 3984837 w 3984837"/>
                <a:gd name="connsiteY0" fmla="*/ 0 h 257442"/>
                <a:gd name="connsiteX1" fmla="*/ 3930116 w 3984837"/>
                <a:gd name="connsiteY1" fmla="*/ 257442 h 257442"/>
                <a:gd name="connsiteX2" fmla="*/ 0 w 3984837"/>
                <a:gd name="connsiteY2" fmla="*/ 257442 h 257442"/>
                <a:gd name="connsiteX3" fmla="*/ 54721 w 3984837"/>
                <a:gd name="connsiteY3" fmla="*/ 0 h 257442"/>
                <a:gd name="connsiteX0" fmla="*/ 4162770 w 4162770"/>
                <a:gd name="connsiteY0" fmla="*/ 0 h 257442"/>
                <a:gd name="connsiteX1" fmla="*/ 3930116 w 4162770"/>
                <a:gd name="connsiteY1" fmla="*/ 257442 h 257442"/>
                <a:gd name="connsiteX2" fmla="*/ 0 w 4162770"/>
                <a:gd name="connsiteY2" fmla="*/ 257442 h 257442"/>
                <a:gd name="connsiteX3" fmla="*/ 54721 w 4162770"/>
                <a:gd name="connsiteY3" fmla="*/ 0 h 257442"/>
                <a:gd name="connsiteX0" fmla="*/ 4162770 w 4162770"/>
                <a:gd name="connsiteY0" fmla="*/ 0 h 257442"/>
                <a:gd name="connsiteX1" fmla="*/ 4108048 w 4162770"/>
                <a:gd name="connsiteY1" fmla="*/ 257442 h 257442"/>
                <a:gd name="connsiteX2" fmla="*/ 0 w 4162770"/>
                <a:gd name="connsiteY2" fmla="*/ 257442 h 257442"/>
                <a:gd name="connsiteX3" fmla="*/ 54721 w 4162770"/>
                <a:gd name="connsiteY3" fmla="*/ 0 h 257442"/>
                <a:gd name="connsiteX0" fmla="*/ 4162771 w 4162771"/>
                <a:gd name="connsiteY0" fmla="*/ 0 h 257442"/>
                <a:gd name="connsiteX1" fmla="*/ 4108049 w 4162771"/>
                <a:gd name="connsiteY1" fmla="*/ 257442 h 257442"/>
                <a:gd name="connsiteX2" fmla="*/ 0 w 4162771"/>
                <a:gd name="connsiteY2" fmla="*/ 257442 h 257442"/>
                <a:gd name="connsiteX3" fmla="*/ 54722 w 4162771"/>
                <a:gd name="connsiteY3" fmla="*/ 0 h 257442"/>
                <a:gd name="connsiteX0" fmla="*/ 4162771 w 4162771"/>
                <a:gd name="connsiteY0" fmla="*/ 0 h 257442"/>
                <a:gd name="connsiteX1" fmla="*/ 4108049 w 4162771"/>
                <a:gd name="connsiteY1" fmla="*/ 257442 h 257442"/>
                <a:gd name="connsiteX2" fmla="*/ 0 w 4162771"/>
                <a:gd name="connsiteY2" fmla="*/ 257442 h 257442"/>
                <a:gd name="connsiteX3" fmla="*/ 54722 w 4162771"/>
                <a:gd name="connsiteY3" fmla="*/ 0 h 257442"/>
                <a:gd name="connsiteX0" fmla="*/ 4331086 w 4331086"/>
                <a:gd name="connsiteY0" fmla="*/ 0 h 257442"/>
                <a:gd name="connsiteX1" fmla="*/ 4108049 w 4331086"/>
                <a:gd name="connsiteY1" fmla="*/ 257442 h 257442"/>
                <a:gd name="connsiteX2" fmla="*/ 0 w 4331086"/>
                <a:gd name="connsiteY2" fmla="*/ 257442 h 257442"/>
                <a:gd name="connsiteX3" fmla="*/ 54722 w 4331086"/>
                <a:gd name="connsiteY3" fmla="*/ 0 h 257442"/>
                <a:gd name="connsiteX0" fmla="*/ 4331086 w 4331086"/>
                <a:gd name="connsiteY0" fmla="*/ 0 h 257442"/>
                <a:gd name="connsiteX1" fmla="*/ 4276364 w 4331086"/>
                <a:gd name="connsiteY1" fmla="*/ 257442 h 257442"/>
                <a:gd name="connsiteX2" fmla="*/ 0 w 4331086"/>
                <a:gd name="connsiteY2" fmla="*/ 257442 h 257442"/>
                <a:gd name="connsiteX3" fmla="*/ 54722 w 4331086"/>
                <a:gd name="connsiteY3" fmla="*/ 0 h 257442"/>
                <a:gd name="connsiteX0" fmla="*/ 4331086 w 4331086"/>
                <a:gd name="connsiteY0" fmla="*/ 0 h 257442"/>
                <a:gd name="connsiteX1" fmla="*/ 4276364 w 4331086"/>
                <a:gd name="connsiteY1" fmla="*/ 257442 h 257442"/>
                <a:gd name="connsiteX2" fmla="*/ 0 w 4331086"/>
                <a:gd name="connsiteY2" fmla="*/ 257442 h 257442"/>
                <a:gd name="connsiteX3" fmla="*/ 54722 w 4331086"/>
                <a:gd name="connsiteY3" fmla="*/ 0 h 257442"/>
                <a:gd name="connsiteX0" fmla="*/ 4331086 w 4331086"/>
                <a:gd name="connsiteY0" fmla="*/ 0 h 257442"/>
                <a:gd name="connsiteX1" fmla="*/ 4276364 w 4331086"/>
                <a:gd name="connsiteY1" fmla="*/ 257442 h 257442"/>
                <a:gd name="connsiteX2" fmla="*/ 0 w 4331086"/>
                <a:gd name="connsiteY2" fmla="*/ 257442 h 257442"/>
                <a:gd name="connsiteX3" fmla="*/ 54721 w 4331086"/>
                <a:gd name="connsiteY3" fmla="*/ 0 h 257442"/>
                <a:gd name="connsiteX0" fmla="*/ 960419 w 4276364"/>
                <a:gd name="connsiteY0" fmla="*/ 0 h 257442"/>
                <a:gd name="connsiteX1" fmla="*/ 4276364 w 4276364"/>
                <a:gd name="connsiteY1" fmla="*/ 257442 h 257442"/>
                <a:gd name="connsiteX2" fmla="*/ 0 w 4276364"/>
                <a:gd name="connsiteY2" fmla="*/ 257442 h 257442"/>
                <a:gd name="connsiteX3" fmla="*/ 54721 w 4276364"/>
                <a:gd name="connsiteY3" fmla="*/ 0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0 w 960419"/>
                <a:gd name="connsiteY2" fmla="*/ 257442 h 257442"/>
                <a:gd name="connsiteX3" fmla="*/ 54721 w 960419"/>
                <a:gd name="connsiteY3" fmla="*/ 0 h 257442"/>
                <a:gd name="connsiteX0" fmla="*/ 960418 w 960418"/>
                <a:gd name="connsiteY0" fmla="*/ 0 h 257442"/>
                <a:gd name="connsiteX1" fmla="*/ 905697 w 960418"/>
                <a:gd name="connsiteY1" fmla="*/ 257442 h 257442"/>
                <a:gd name="connsiteX2" fmla="*/ 0 w 960418"/>
                <a:gd name="connsiteY2" fmla="*/ 257442 h 257442"/>
                <a:gd name="connsiteX3" fmla="*/ 54720 w 960418"/>
                <a:gd name="connsiteY3" fmla="*/ 0 h 257442"/>
                <a:gd name="connsiteX0" fmla="*/ 960418 w 960418"/>
                <a:gd name="connsiteY0" fmla="*/ 0 h 257442"/>
                <a:gd name="connsiteX1" fmla="*/ 905697 w 960418"/>
                <a:gd name="connsiteY1" fmla="*/ 257442 h 257442"/>
                <a:gd name="connsiteX2" fmla="*/ 0 w 960418"/>
                <a:gd name="connsiteY2" fmla="*/ 257442 h 257442"/>
                <a:gd name="connsiteX3" fmla="*/ 54720 w 960418"/>
                <a:gd name="connsiteY3" fmla="*/ 0 h 257442"/>
                <a:gd name="connsiteX0" fmla="*/ 1128733 w 1128733"/>
                <a:gd name="connsiteY0" fmla="*/ 0 h 257442"/>
                <a:gd name="connsiteX1" fmla="*/ 905697 w 1128733"/>
                <a:gd name="connsiteY1" fmla="*/ 257442 h 257442"/>
                <a:gd name="connsiteX2" fmla="*/ 0 w 1128733"/>
                <a:gd name="connsiteY2" fmla="*/ 257442 h 257442"/>
                <a:gd name="connsiteX3" fmla="*/ 54720 w 1128733"/>
                <a:gd name="connsiteY3" fmla="*/ 0 h 257442"/>
                <a:gd name="connsiteX0" fmla="*/ 1128733 w 1128733"/>
                <a:gd name="connsiteY0" fmla="*/ 0 h 257442"/>
                <a:gd name="connsiteX1" fmla="*/ 1074012 w 1128733"/>
                <a:gd name="connsiteY1" fmla="*/ 257442 h 257442"/>
                <a:gd name="connsiteX2" fmla="*/ 0 w 1128733"/>
                <a:gd name="connsiteY2" fmla="*/ 257442 h 257442"/>
                <a:gd name="connsiteX3" fmla="*/ 54720 w 1128733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306668 w 1306668"/>
                <a:gd name="connsiteY0" fmla="*/ 0 h 257442"/>
                <a:gd name="connsiteX1" fmla="*/ 1074013 w 1306668"/>
                <a:gd name="connsiteY1" fmla="*/ 257442 h 257442"/>
                <a:gd name="connsiteX2" fmla="*/ 0 w 1306668"/>
                <a:gd name="connsiteY2" fmla="*/ 257442 h 257442"/>
                <a:gd name="connsiteX3" fmla="*/ 54721 w 1306668"/>
                <a:gd name="connsiteY3" fmla="*/ 0 h 257442"/>
                <a:gd name="connsiteX0" fmla="*/ 1306668 w 1306668"/>
                <a:gd name="connsiteY0" fmla="*/ 0 h 257442"/>
                <a:gd name="connsiteX1" fmla="*/ 1251947 w 1306668"/>
                <a:gd name="connsiteY1" fmla="*/ 257442 h 257442"/>
                <a:gd name="connsiteX2" fmla="*/ 0 w 1306668"/>
                <a:gd name="connsiteY2" fmla="*/ 257442 h 257442"/>
                <a:gd name="connsiteX3" fmla="*/ 54721 w 1306668"/>
                <a:gd name="connsiteY3" fmla="*/ 0 h 257442"/>
                <a:gd name="connsiteX0" fmla="*/ 1306668 w 1306668"/>
                <a:gd name="connsiteY0" fmla="*/ 0 h 257442"/>
                <a:gd name="connsiteX1" fmla="*/ 1251947 w 1306668"/>
                <a:gd name="connsiteY1" fmla="*/ 257442 h 257442"/>
                <a:gd name="connsiteX2" fmla="*/ 0 w 1306668"/>
                <a:gd name="connsiteY2" fmla="*/ 257442 h 257442"/>
                <a:gd name="connsiteX3" fmla="*/ 54721 w 1306668"/>
                <a:gd name="connsiteY3" fmla="*/ 0 h 257442"/>
                <a:gd name="connsiteX0" fmla="*/ 1306668 w 1306668"/>
                <a:gd name="connsiteY0" fmla="*/ 0 h 257442"/>
                <a:gd name="connsiteX1" fmla="*/ 1251947 w 1306668"/>
                <a:gd name="connsiteY1" fmla="*/ 257442 h 257442"/>
                <a:gd name="connsiteX2" fmla="*/ 0 w 1306668"/>
                <a:gd name="connsiteY2" fmla="*/ 257442 h 257442"/>
                <a:gd name="connsiteX3" fmla="*/ 54721 w 1306668"/>
                <a:gd name="connsiteY3" fmla="*/ 0 h 257442"/>
                <a:gd name="connsiteX0" fmla="*/ 1474983 w 1474983"/>
                <a:gd name="connsiteY0" fmla="*/ 0 h 257442"/>
                <a:gd name="connsiteX1" fmla="*/ 1251947 w 1474983"/>
                <a:gd name="connsiteY1" fmla="*/ 257442 h 257442"/>
                <a:gd name="connsiteX2" fmla="*/ 0 w 1474983"/>
                <a:gd name="connsiteY2" fmla="*/ 257442 h 257442"/>
                <a:gd name="connsiteX3" fmla="*/ 54721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54721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54721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54721 w 1474983"/>
                <a:gd name="connsiteY3" fmla="*/ 0 h 257442"/>
                <a:gd name="connsiteX0" fmla="*/ 1643298 w 1643298"/>
                <a:gd name="connsiteY0" fmla="*/ 0 h 257442"/>
                <a:gd name="connsiteX1" fmla="*/ 1420262 w 1643298"/>
                <a:gd name="connsiteY1" fmla="*/ 257442 h 257442"/>
                <a:gd name="connsiteX2" fmla="*/ 0 w 1643298"/>
                <a:gd name="connsiteY2" fmla="*/ 257442 h 257442"/>
                <a:gd name="connsiteX3" fmla="*/ 54721 w 1643298"/>
                <a:gd name="connsiteY3" fmla="*/ 0 h 257442"/>
                <a:gd name="connsiteX0" fmla="*/ 1643298 w 1643298"/>
                <a:gd name="connsiteY0" fmla="*/ 0 h 257442"/>
                <a:gd name="connsiteX1" fmla="*/ 1588576 w 1643298"/>
                <a:gd name="connsiteY1" fmla="*/ 257442 h 257442"/>
                <a:gd name="connsiteX2" fmla="*/ 0 w 1643298"/>
                <a:gd name="connsiteY2" fmla="*/ 257442 h 257442"/>
                <a:gd name="connsiteX3" fmla="*/ 54721 w 1643298"/>
                <a:gd name="connsiteY3" fmla="*/ 0 h 257442"/>
                <a:gd name="connsiteX0" fmla="*/ 1643299 w 1643299"/>
                <a:gd name="connsiteY0" fmla="*/ 0 h 257442"/>
                <a:gd name="connsiteX1" fmla="*/ 1588577 w 1643299"/>
                <a:gd name="connsiteY1" fmla="*/ 257442 h 257442"/>
                <a:gd name="connsiteX2" fmla="*/ 0 w 1643299"/>
                <a:gd name="connsiteY2" fmla="*/ 257442 h 257442"/>
                <a:gd name="connsiteX3" fmla="*/ 54722 w 1643299"/>
                <a:gd name="connsiteY3" fmla="*/ 0 h 257442"/>
                <a:gd name="connsiteX0" fmla="*/ 1643299 w 1643299"/>
                <a:gd name="connsiteY0" fmla="*/ 0 h 257442"/>
                <a:gd name="connsiteX1" fmla="*/ 1588577 w 1643299"/>
                <a:gd name="connsiteY1" fmla="*/ 257442 h 257442"/>
                <a:gd name="connsiteX2" fmla="*/ 0 w 1643299"/>
                <a:gd name="connsiteY2" fmla="*/ 257442 h 257442"/>
                <a:gd name="connsiteX3" fmla="*/ 54722 w 1643299"/>
                <a:gd name="connsiteY3" fmla="*/ 0 h 257442"/>
                <a:gd name="connsiteX0" fmla="*/ 1912604 w 1912604"/>
                <a:gd name="connsiteY0" fmla="*/ 0 h 257442"/>
                <a:gd name="connsiteX1" fmla="*/ 1588577 w 1912604"/>
                <a:gd name="connsiteY1" fmla="*/ 257442 h 257442"/>
                <a:gd name="connsiteX2" fmla="*/ 0 w 1912604"/>
                <a:gd name="connsiteY2" fmla="*/ 257442 h 257442"/>
                <a:gd name="connsiteX3" fmla="*/ 54722 w 1912604"/>
                <a:gd name="connsiteY3" fmla="*/ 0 h 257442"/>
                <a:gd name="connsiteX0" fmla="*/ 1912604 w 1912604"/>
                <a:gd name="connsiteY0" fmla="*/ 0 h 257442"/>
                <a:gd name="connsiteX1" fmla="*/ 1857882 w 1912604"/>
                <a:gd name="connsiteY1" fmla="*/ 257442 h 257442"/>
                <a:gd name="connsiteX2" fmla="*/ 0 w 1912604"/>
                <a:gd name="connsiteY2" fmla="*/ 257442 h 257442"/>
                <a:gd name="connsiteX3" fmla="*/ 54722 w 1912604"/>
                <a:gd name="connsiteY3" fmla="*/ 0 h 257442"/>
                <a:gd name="connsiteX0" fmla="*/ 1912604 w 1912604"/>
                <a:gd name="connsiteY0" fmla="*/ 0 h 257442"/>
                <a:gd name="connsiteX1" fmla="*/ 1857882 w 1912604"/>
                <a:gd name="connsiteY1" fmla="*/ 257442 h 257442"/>
                <a:gd name="connsiteX2" fmla="*/ 0 w 1912604"/>
                <a:gd name="connsiteY2" fmla="*/ 257442 h 257442"/>
                <a:gd name="connsiteX3" fmla="*/ 54722 w 1912604"/>
                <a:gd name="connsiteY3" fmla="*/ 0 h 257442"/>
                <a:gd name="connsiteX0" fmla="*/ 1912604 w 1912604"/>
                <a:gd name="connsiteY0" fmla="*/ 0 h 257442"/>
                <a:gd name="connsiteX1" fmla="*/ 1857882 w 1912604"/>
                <a:gd name="connsiteY1" fmla="*/ 257442 h 257442"/>
                <a:gd name="connsiteX2" fmla="*/ 0 w 1912604"/>
                <a:gd name="connsiteY2" fmla="*/ 257442 h 257442"/>
                <a:gd name="connsiteX3" fmla="*/ 54721 w 1912604"/>
                <a:gd name="connsiteY3" fmla="*/ 0 h 257442"/>
                <a:gd name="connsiteX0" fmla="*/ 2181907 w 2181907"/>
                <a:gd name="connsiteY0" fmla="*/ 0 h 257442"/>
                <a:gd name="connsiteX1" fmla="*/ 1857882 w 2181907"/>
                <a:gd name="connsiteY1" fmla="*/ 257442 h 257442"/>
                <a:gd name="connsiteX2" fmla="*/ 0 w 2181907"/>
                <a:gd name="connsiteY2" fmla="*/ 257442 h 257442"/>
                <a:gd name="connsiteX3" fmla="*/ 54721 w 2181907"/>
                <a:gd name="connsiteY3" fmla="*/ 0 h 257442"/>
                <a:gd name="connsiteX0" fmla="*/ 2181907 w 2181907"/>
                <a:gd name="connsiteY0" fmla="*/ 0 h 257442"/>
                <a:gd name="connsiteX1" fmla="*/ 2127186 w 2181907"/>
                <a:gd name="connsiteY1" fmla="*/ 257442 h 257442"/>
                <a:gd name="connsiteX2" fmla="*/ 0 w 2181907"/>
                <a:gd name="connsiteY2" fmla="*/ 257442 h 257442"/>
                <a:gd name="connsiteX3" fmla="*/ 54721 w 2181907"/>
                <a:gd name="connsiteY3" fmla="*/ 0 h 257442"/>
                <a:gd name="connsiteX0" fmla="*/ 2181907 w 2181907"/>
                <a:gd name="connsiteY0" fmla="*/ 0 h 257442"/>
                <a:gd name="connsiteX1" fmla="*/ 2127186 w 2181907"/>
                <a:gd name="connsiteY1" fmla="*/ 257442 h 257442"/>
                <a:gd name="connsiteX2" fmla="*/ 0 w 2181907"/>
                <a:gd name="connsiteY2" fmla="*/ 257442 h 257442"/>
                <a:gd name="connsiteX3" fmla="*/ 54721 w 2181907"/>
                <a:gd name="connsiteY3" fmla="*/ 0 h 257442"/>
                <a:gd name="connsiteX0" fmla="*/ 2181907 w 2181907"/>
                <a:gd name="connsiteY0" fmla="*/ 0 h 257442"/>
                <a:gd name="connsiteX1" fmla="*/ 2127186 w 2181907"/>
                <a:gd name="connsiteY1" fmla="*/ 257442 h 257442"/>
                <a:gd name="connsiteX2" fmla="*/ 0 w 2181907"/>
                <a:gd name="connsiteY2" fmla="*/ 257442 h 257442"/>
                <a:gd name="connsiteX3" fmla="*/ 54721 w 2181907"/>
                <a:gd name="connsiteY3" fmla="*/ 0 h 257442"/>
                <a:gd name="connsiteX0" fmla="*/ 2342208 w 2342208"/>
                <a:gd name="connsiteY0" fmla="*/ 0 h 257442"/>
                <a:gd name="connsiteX1" fmla="*/ 2127186 w 2342208"/>
                <a:gd name="connsiteY1" fmla="*/ 257442 h 257442"/>
                <a:gd name="connsiteX2" fmla="*/ 0 w 2342208"/>
                <a:gd name="connsiteY2" fmla="*/ 257442 h 257442"/>
                <a:gd name="connsiteX3" fmla="*/ 54721 w 2342208"/>
                <a:gd name="connsiteY3" fmla="*/ 0 h 257442"/>
                <a:gd name="connsiteX0" fmla="*/ 2342208 w 2342208"/>
                <a:gd name="connsiteY0" fmla="*/ 0 h 257442"/>
                <a:gd name="connsiteX1" fmla="*/ 2287486 w 2342208"/>
                <a:gd name="connsiteY1" fmla="*/ 257442 h 257442"/>
                <a:gd name="connsiteX2" fmla="*/ 0 w 2342208"/>
                <a:gd name="connsiteY2" fmla="*/ 257442 h 257442"/>
                <a:gd name="connsiteX3" fmla="*/ 54721 w 2342208"/>
                <a:gd name="connsiteY3" fmla="*/ 0 h 257442"/>
                <a:gd name="connsiteX0" fmla="*/ 2342209 w 2342209"/>
                <a:gd name="connsiteY0" fmla="*/ 0 h 257442"/>
                <a:gd name="connsiteX1" fmla="*/ 2287487 w 2342209"/>
                <a:gd name="connsiteY1" fmla="*/ 257442 h 257442"/>
                <a:gd name="connsiteX2" fmla="*/ 0 w 2342209"/>
                <a:gd name="connsiteY2" fmla="*/ 257442 h 257442"/>
                <a:gd name="connsiteX3" fmla="*/ 54722 w 2342209"/>
                <a:gd name="connsiteY3" fmla="*/ 0 h 257442"/>
                <a:gd name="connsiteX0" fmla="*/ 2342209 w 2342209"/>
                <a:gd name="connsiteY0" fmla="*/ 0 h 257442"/>
                <a:gd name="connsiteX1" fmla="*/ 2287487 w 2342209"/>
                <a:gd name="connsiteY1" fmla="*/ 257442 h 257442"/>
                <a:gd name="connsiteX2" fmla="*/ 0 w 2342209"/>
                <a:gd name="connsiteY2" fmla="*/ 257442 h 257442"/>
                <a:gd name="connsiteX3" fmla="*/ 54722 w 2342209"/>
                <a:gd name="connsiteY3" fmla="*/ 0 h 257442"/>
                <a:gd name="connsiteX0" fmla="*/ 2502509 w 2502509"/>
                <a:gd name="connsiteY0" fmla="*/ 0 h 257442"/>
                <a:gd name="connsiteX1" fmla="*/ 2287487 w 2502509"/>
                <a:gd name="connsiteY1" fmla="*/ 257442 h 257442"/>
                <a:gd name="connsiteX2" fmla="*/ 0 w 2502509"/>
                <a:gd name="connsiteY2" fmla="*/ 257442 h 257442"/>
                <a:gd name="connsiteX3" fmla="*/ 54722 w 2502509"/>
                <a:gd name="connsiteY3" fmla="*/ 0 h 257442"/>
                <a:gd name="connsiteX0" fmla="*/ 2502509 w 2502509"/>
                <a:gd name="connsiteY0" fmla="*/ 0 h 257442"/>
                <a:gd name="connsiteX1" fmla="*/ 2447788 w 2502509"/>
                <a:gd name="connsiteY1" fmla="*/ 257442 h 257442"/>
                <a:gd name="connsiteX2" fmla="*/ 0 w 2502509"/>
                <a:gd name="connsiteY2" fmla="*/ 257442 h 257442"/>
                <a:gd name="connsiteX3" fmla="*/ 54722 w 2502509"/>
                <a:gd name="connsiteY3" fmla="*/ 0 h 257442"/>
                <a:gd name="connsiteX0" fmla="*/ 2502508 w 2502508"/>
                <a:gd name="connsiteY0" fmla="*/ 0 h 257442"/>
                <a:gd name="connsiteX1" fmla="*/ 2447787 w 2502508"/>
                <a:gd name="connsiteY1" fmla="*/ 257442 h 257442"/>
                <a:gd name="connsiteX2" fmla="*/ 0 w 2502508"/>
                <a:gd name="connsiteY2" fmla="*/ 257442 h 257442"/>
                <a:gd name="connsiteX3" fmla="*/ 54721 w 2502508"/>
                <a:gd name="connsiteY3" fmla="*/ 0 h 257442"/>
                <a:gd name="connsiteX0" fmla="*/ 2502508 w 2502508"/>
                <a:gd name="connsiteY0" fmla="*/ 0 h 257442"/>
                <a:gd name="connsiteX1" fmla="*/ 2447787 w 2502508"/>
                <a:gd name="connsiteY1" fmla="*/ 257442 h 257442"/>
                <a:gd name="connsiteX2" fmla="*/ 0 w 2502508"/>
                <a:gd name="connsiteY2" fmla="*/ 257442 h 257442"/>
                <a:gd name="connsiteX3" fmla="*/ 54720 w 2502508"/>
                <a:gd name="connsiteY3" fmla="*/ 0 h 257442"/>
                <a:gd name="connsiteX0" fmla="*/ 2706088 w 2706088"/>
                <a:gd name="connsiteY0" fmla="*/ 0 h 257442"/>
                <a:gd name="connsiteX1" fmla="*/ 2447787 w 2706088"/>
                <a:gd name="connsiteY1" fmla="*/ 257442 h 257442"/>
                <a:gd name="connsiteX2" fmla="*/ 0 w 2706088"/>
                <a:gd name="connsiteY2" fmla="*/ 257442 h 257442"/>
                <a:gd name="connsiteX3" fmla="*/ 54720 w 2706088"/>
                <a:gd name="connsiteY3" fmla="*/ 0 h 257442"/>
                <a:gd name="connsiteX0" fmla="*/ 2706088 w 2706088"/>
                <a:gd name="connsiteY0" fmla="*/ 0 h 257442"/>
                <a:gd name="connsiteX1" fmla="*/ 2651367 w 2706088"/>
                <a:gd name="connsiteY1" fmla="*/ 257442 h 257442"/>
                <a:gd name="connsiteX2" fmla="*/ 0 w 2706088"/>
                <a:gd name="connsiteY2" fmla="*/ 257442 h 257442"/>
                <a:gd name="connsiteX3" fmla="*/ 54720 w 2706088"/>
                <a:gd name="connsiteY3" fmla="*/ 0 h 257442"/>
                <a:gd name="connsiteX0" fmla="*/ 2706089 w 2706089"/>
                <a:gd name="connsiteY0" fmla="*/ 0 h 257442"/>
                <a:gd name="connsiteX1" fmla="*/ 2651368 w 2706089"/>
                <a:gd name="connsiteY1" fmla="*/ 257442 h 257442"/>
                <a:gd name="connsiteX2" fmla="*/ 0 w 2706089"/>
                <a:gd name="connsiteY2" fmla="*/ 257442 h 257442"/>
                <a:gd name="connsiteX3" fmla="*/ 54721 w 2706089"/>
                <a:gd name="connsiteY3" fmla="*/ 0 h 257442"/>
                <a:gd name="connsiteX0" fmla="*/ 2706089 w 2706089"/>
                <a:gd name="connsiteY0" fmla="*/ 0 h 257442"/>
                <a:gd name="connsiteX1" fmla="*/ 2651368 w 2706089"/>
                <a:gd name="connsiteY1" fmla="*/ 257442 h 257442"/>
                <a:gd name="connsiteX2" fmla="*/ 0 w 2706089"/>
                <a:gd name="connsiteY2" fmla="*/ 257442 h 257442"/>
                <a:gd name="connsiteX3" fmla="*/ 54722 w 2706089"/>
                <a:gd name="connsiteY3" fmla="*/ 0 h 257442"/>
                <a:gd name="connsiteX0" fmla="*/ 2884024 w 2884024"/>
                <a:gd name="connsiteY0" fmla="*/ 0 h 257442"/>
                <a:gd name="connsiteX1" fmla="*/ 2651368 w 2884024"/>
                <a:gd name="connsiteY1" fmla="*/ 257442 h 257442"/>
                <a:gd name="connsiteX2" fmla="*/ 0 w 2884024"/>
                <a:gd name="connsiteY2" fmla="*/ 257442 h 257442"/>
                <a:gd name="connsiteX3" fmla="*/ 54722 w 2884024"/>
                <a:gd name="connsiteY3" fmla="*/ 0 h 257442"/>
                <a:gd name="connsiteX0" fmla="*/ 2884024 w 2884024"/>
                <a:gd name="connsiteY0" fmla="*/ 0 h 257442"/>
                <a:gd name="connsiteX1" fmla="*/ 2829302 w 2884024"/>
                <a:gd name="connsiteY1" fmla="*/ 257442 h 257442"/>
                <a:gd name="connsiteX2" fmla="*/ 0 w 2884024"/>
                <a:gd name="connsiteY2" fmla="*/ 257442 h 257442"/>
                <a:gd name="connsiteX3" fmla="*/ 54722 w 2884024"/>
                <a:gd name="connsiteY3" fmla="*/ 0 h 257442"/>
                <a:gd name="connsiteX0" fmla="*/ 2884024 w 2884024"/>
                <a:gd name="connsiteY0" fmla="*/ 0 h 257442"/>
                <a:gd name="connsiteX1" fmla="*/ 2829302 w 2884024"/>
                <a:gd name="connsiteY1" fmla="*/ 257442 h 257442"/>
                <a:gd name="connsiteX2" fmla="*/ 0 w 2884024"/>
                <a:gd name="connsiteY2" fmla="*/ 257442 h 257442"/>
                <a:gd name="connsiteX3" fmla="*/ 54722 w 2884024"/>
                <a:gd name="connsiteY3" fmla="*/ 0 h 257442"/>
                <a:gd name="connsiteX0" fmla="*/ 2884024 w 2884024"/>
                <a:gd name="connsiteY0" fmla="*/ 0 h 257442"/>
                <a:gd name="connsiteX1" fmla="*/ 2829302 w 2884024"/>
                <a:gd name="connsiteY1" fmla="*/ 257442 h 257442"/>
                <a:gd name="connsiteX2" fmla="*/ 0 w 2884024"/>
                <a:gd name="connsiteY2" fmla="*/ 257442 h 257442"/>
                <a:gd name="connsiteX3" fmla="*/ 54721 w 2884024"/>
                <a:gd name="connsiteY3" fmla="*/ 0 h 257442"/>
                <a:gd name="connsiteX0" fmla="*/ 3052337 w 3052337"/>
                <a:gd name="connsiteY0" fmla="*/ 0 h 257442"/>
                <a:gd name="connsiteX1" fmla="*/ 2829302 w 3052337"/>
                <a:gd name="connsiteY1" fmla="*/ 257442 h 257442"/>
                <a:gd name="connsiteX2" fmla="*/ 0 w 3052337"/>
                <a:gd name="connsiteY2" fmla="*/ 257442 h 257442"/>
                <a:gd name="connsiteX3" fmla="*/ 54721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54721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54721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54721 w 3052337"/>
                <a:gd name="connsiteY3" fmla="*/ 0 h 257442"/>
                <a:gd name="connsiteX0" fmla="*/ 3220653 w 3220653"/>
                <a:gd name="connsiteY0" fmla="*/ 0 h 257442"/>
                <a:gd name="connsiteX1" fmla="*/ 2997616 w 3220653"/>
                <a:gd name="connsiteY1" fmla="*/ 257442 h 257442"/>
                <a:gd name="connsiteX2" fmla="*/ 0 w 3220653"/>
                <a:gd name="connsiteY2" fmla="*/ 257442 h 257442"/>
                <a:gd name="connsiteX3" fmla="*/ 54721 w 3220653"/>
                <a:gd name="connsiteY3" fmla="*/ 0 h 257442"/>
                <a:gd name="connsiteX0" fmla="*/ 3220653 w 3220653"/>
                <a:gd name="connsiteY0" fmla="*/ 0 h 257442"/>
                <a:gd name="connsiteX1" fmla="*/ 3165932 w 3220653"/>
                <a:gd name="connsiteY1" fmla="*/ 257442 h 257442"/>
                <a:gd name="connsiteX2" fmla="*/ 0 w 3220653"/>
                <a:gd name="connsiteY2" fmla="*/ 257442 h 257442"/>
                <a:gd name="connsiteX3" fmla="*/ 54721 w 3220653"/>
                <a:gd name="connsiteY3" fmla="*/ 0 h 257442"/>
                <a:gd name="connsiteX0" fmla="*/ 3220653 w 3220653"/>
                <a:gd name="connsiteY0" fmla="*/ 0 h 257442"/>
                <a:gd name="connsiteX1" fmla="*/ 3165932 w 3220653"/>
                <a:gd name="connsiteY1" fmla="*/ 257442 h 257442"/>
                <a:gd name="connsiteX2" fmla="*/ 0 w 3220653"/>
                <a:gd name="connsiteY2" fmla="*/ 257442 h 257442"/>
                <a:gd name="connsiteX3" fmla="*/ 54721 w 3220653"/>
                <a:gd name="connsiteY3" fmla="*/ 0 h 257442"/>
                <a:gd name="connsiteX0" fmla="*/ 3220653 w 3220653"/>
                <a:gd name="connsiteY0" fmla="*/ 0 h 257442"/>
                <a:gd name="connsiteX1" fmla="*/ 3165932 w 3220653"/>
                <a:gd name="connsiteY1" fmla="*/ 257442 h 257442"/>
                <a:gd name="connsiteX2" fmla="*/ 0 w 3220653"/>
                <a:gd name="connsiteY2" fmla="*/ 257442 h 257442"/>
                <a:gd name="connsiteX3" fmla="*/ 54721 w 3220653"/>
                <a:gd name="connsiteY3" fmla="*/ 0 h 257442"/>
                <a:gd name="connsiteX0" fmla="*/ 3499576 w 3499576"/>
                <a:gd name="connsiteY0" fmla="*/ 0 h 257442"/>
                <a:gd name="connsiteX1" fmla="*/ 3165932 w 3499576"/>
                <a:gd name="connsiteY1" fmla="*/ 257442 h 257442"/>
                <a:gd name="connsiteX2" fmla="*/ 0 w 3499576"/>
                <a:gd name="connsiteY2" fmla="*/ 257442 h 257442"/>
                <a:gd name="connsiteX3" fmla="*/ 54721 w 3499576"/>
                <a:gd name="connsiteY3" fmla="*/ 0 h 257442"/>
                <a:gd name="connsiteX0" fmla="*/ 3499576 w 3499576"/>
                <a:gd name="connsiteY0" fmla="*/ 0 h 257442"/>
                <a:gd name="connsiteX1" fmla="*/ 3444854 w 3499576"/>
                <a:gd name="connsiteY1" fmla="*/ 257442 h 257442"/>
                <a:gd name="connsiteX2" fmla="*/ 0 w 3499576"/>
                <a:gd name="connsiteY2" fmla="*/ 257442 h 257442"/>
                <a:gd name="connsiteX3" fmla="*/ 54721 w 3499576"/>
                <a:gd name="connsiteY3" fmla="*/ 0 h 257442"/>
                <a:gd name="connsiteX0" fmla="*/ 3499577 w 3499577"/>
                <a:gd name="connsiteY0" fmla="*/ 0 h 257442"/>
                <a:gd name="connsiteX1" fmla="*/ 3444855 w 3499577"/>
                <a:gd name="connsiteY1" fmla="*/ 257442 h 257442"/>
                <a:gd name="connsiteX2" fmla="*/ 0 w 3499577"/>
                <a:gd name="connsiteY2" fmla="*/ 257442 h 257442"/>
                <a:gd name="connsiteX3" fmla="*/ 54722 w 3499577"/>
                <a:gd name="connsiteY3" fmla="*/ 0 h 257442"/>
                <a:gd name="connsiteX0" fmla="*/ 3499577 w 3499577"/>
                <a:gd name="connsiteY0" fmla="*/ 0 h 257442"/>
                <a:gd name="connsiteX1" fmla="*/ 3444855 w 3499577"/>
                <a:gd name="connsiteY1" fmla="*/ 257442 h 257442"/>
                <a:gd name="connsiteX2" fmla="*/ 0 w 3499577"/>
                <a:gd name="connsiteY2" fmla="*/ 257442 h 257442"/>
                <a:gd name="connsiteX3" fmla="*/ 54722 w 3499577"/>
                <a:gd name="connsiteY3" fmla="*/ 0 h 257442"/>
                <a:gd name="connsiteX0" fmla="*/ 3659877 w 3659877"/>
                <a:gd name="connsiteY0" fmla="*/ 0 h 257442"/>
                <a:gd name="connsiteX1" fmla="*/ 3444855 w 3659877"/>
                <a:gd name="connsiteY1" fmla="*/ 257442 h 257442"/>
                <a:gd name="connsiteX2" fmla="*/ 0 w 3659877"/>
                <a:gd name="connsiteY2" fmla="*/ 257442 h 257442"/>
                <a:gd name="connsiteX3" fmla="*/ 54722 w 3659877"/>
                <a:gd name="connsiteY3" fmla="*/ 0 h 257442"/>
                <a:gd name="connsiteX0" fmla="*/ 3659877 w 3659877"/>
                <a:gd name="connsiteY0" fmla="*/ 0 h 257442"/>
                <a:gd name="connsiteX1" fmla="*/ 3605157 w 3659877"/>
                <a:gd name="connsiteY1" fmla="*/ 257442 h 257442"/>
                <a:gd name="connsiteX2" fmla="*/ 0 w 3659877"/>
                <a:gd name="connsiteY2" fmla="*/ 257442 h 257442"/>
                <a:gd name="connsiteX3" fmla="*/ 54722 w 3659877"/>
                <a:gd name="connsiteY3" fmla="*/ 0 h 257442"/>
                <a:gd name="connsiteX0" fmla="*/ 3659876 w 3659876"/>
                <a:gd name="connsiteY0" fmla="*/ 0 h 257442"/>
                <a:gd name="connsiteX1" fmla="*/ 3605156 w 3659876"/>
                <a:gd name="connsiteY1" fmla="*/ 257442 h 257442"/>
                <a:gd name="connsiteX2" fmla="*/ 0 w 3659876"/>
                <a:gd name="connsiteY2" fmla="*/ 257442 h 257442"/>
                <a:gd name="connsiteX3" fmla="*/ 54721 w 3659876"/>
                <a:gd name="connsiteY3" fmla="*/ 0 h 257442"/>
                <a:gd name="connsiteX0" fmla="*/ 3659876 w 3659876"/>
                <a:gd name="connsiteY0" fmla="*/ 0 h 257442"/>
                <a:gd name="connsiteX1" fmla="*/ 3605156 w 3659876"/>
                <a:gd name="connsiteY1" fmla="*/ 257442 h 257442"/>
                <a:gd name="connsiteX2" fmla="*/ 0 w 3659876"/>
                <a:gd name="connsiteY2" fmla="*/ 257442 h 257442"/>
                <a:gd name="connsiteX3" fmla="*/ 54720 w 3659876"/>
                <a:gd name="connsiteY3" fmla="*/ 0 h 257442"/>
                <a:gd name="connsiteX0" fmla="*/ 3820175 w 3820175"/>
                <a:gd name="connsiteY0" fmla="*/ 0 h 257442"/>
                <a:gd name="connsiteX1" fmla="*/ 3605156 w 3820175"/>
                <a:gd name="connsiteY1" fmla="*/ 257442 h 257442"/>
                <a:gd name="connsiteX2" fmla="*/ 0 w 3820175"/>
                <a:gd name="connsiteY2" fmla="*/ 257442 h 257442"/>
                <a:gd name="connsiteX3" fmla="*/ 54720 w 3820175"/>
                <a:gd name="connsiteY3" fmla="*/ 0 h 257442"/>
                <a:gd name="connsiteX0" fmla="*/ 3820175 w 3820175"/>
                <a:gd name="connsiteY0" fmla="*/ 0 h 257442"/>
                <a:gd name="connsiteX1" fmla="*/ 3765454 w 3820175"/>
                <a:gd name="connsiteY1" fmla="*/ 257442 h 257442"/>
                <a:gd name="connsiteX2" fmla="*/ 0 w 3820175"/>
                <a:gd name="connsiteY2" fmla="*/ 257442 h 257442"/>
                <a:gd name="connsiteX3" fmla="*/ 54720 w 3820175"/>
                <a:gd name="connsiteY3" fmla="*/ 0 h 257442"/>
                <a:gd name="connsiteX0" fmla="*/ 3820176 w 3820176"/>
                <a:gd name="connsiteY0" fmla="*/ 0 h 257442"/>
                <a:gd name="connsiteX1" fmla="*/ 3765455 w 3820176"/>
                <a:gd name="connsiteY1" fmla="*/ 257442 h 257442"/>
                <a:gd name="connsiteX2" fmla="*/ 0 w 3820176"/>
                <a:gd name="connsiteY2" fmla="*/ 257442 h 257442"/>
                <a:gd name="connsiteX3" fmla="*/ 54721 w 3820176"/>
                <a:gd name="connsiteY3" fmla="*/ 0 h 257442"/>
                <a:gd name="connsiteX0" fmla="*/ 3820176 w 3820176"/>
                <a:gd name="connsiteY0" fmla="*/ 0 h 257442"/>
                <a:gd name="connsiteX1" fmla="*/ 3765455 w 3820176"/>
                <a:gd name="connsiteY1" fmla="*/ 257442 h 257442"/>
                <a:gd name="connsiteX2" fmla="*/ 0 w 3820176"/>
                <a:gd name="connsiteY2" fmla="*/ 257442 h 257442"/>
                <a:gd name="connsiteX3" fmla="*/ 54721 w 3820176"/>
                <a:gd name="connsiteY3" fmla="*/ 0 h 257442"/>
                <a:gd name="connsiteX0" fmla="*/ 3988490 w 3988490"/>
                <a:gd name="connsiteY0" fmla="*/ 0 h 257442"/>
                <a:gd name="connsiteX1" fmla="*/ 3765455 w 3988490"/>
                <a:gd name="connsiteY1" fmla="*/ 257442 h 257442"/>
                <a:gd name="connsiteX2" fmla="*/ 0 w 3988490"/>
                <a:gd name="connsiteY2" fmla="*/ 257442 h 257442"/>
                <a:gd name="connsiteX3" fmla="*/ 54721 w 3988490"/>
                <a:gd name="connsiteY3" fmla="*/ 0 h 257442"/>
                <a:gd name="connsiteX0" fmla="*/ 3988490 w 3988490"/>
                <a:gd name="connsiteY0" fmla="*/ 0 h 257442"/>
                <a:gd name="connsiteX1" fmla="*/ 3933770 w 3988490"/>
                <a:gd name="connsiteY1" fmla="*/ 257442 h 257442"/>
                <a:gd name="connsiteX2" fmla="*/ 0 w 3988490"/>
                <a:gd name="connsiteY2" fmla="*/ 257442 h 257442"/>
                <a:gd name="connsiteX3" fmla="*/ 54721 w 3988490"/>
                <a:gd name="connsiteY3" fmla="*/ 0 h 257442"/>
                <a:gd name="connsiteX0" fmla="*/ 3988490 w 3988490"/>
                <a:gd name="connsiteY0" fmla="*/ 0 h 257442"/>
                <a:gd name="connsiteX1" fmla="*/ 3933770 w 3988490"/>
                <a:gd name="connsiteY1" fmla="*/ 257442 h 257442"/>
                <a:gd name="connsiteX2" fmla="*/ 0 w 3988490"/>
                <a:gd name="connsiteY2" fmla="*/ 257442 h 257442"/>
                <a:gd name="connsiteX3" fmla="*/ 54721 w 3988490"/>
                <a:gd name="connsiteY3" fmla="*/ 0 h 257442"/>
                <a:gd name="connsiteX0" fmla="*/ 3988490 w 3988490"/>
                <a:gd name="connsiteY0" fmla="*/ 0 h 257442"/>
                <a:gd name="connsiteX1" fmla="*/ 3933770 w 3988490"/>
                <a:gd name="connsiteY1" fmla="*/ 257442 h 257442"/>
                <a:gd name="connsiteX2" fmla="*/ 0 w 3988490"/>
                <a:gd name="connsiteY2" fmla="*/ 257442 h 257442"/>
                <a:gd name="connsiteX3" fmla="*/ 54721 w 3988490"/>
                <a:gd name="connsiteY3" fmla="*/ 0 h 257442"/>
                <a:gd name="connsiteX0" fmla="*/ 4309092 w 4309092"/>
                <a:gd name="connsiteY0" fmla="*/ 0 h 257442"/>
                <a:gd name="connsiteX1" fmla="*/ 3933770 w 4309092"/>
                <a:gd name="connsiteY1" fmla="*/ 257442 h 257442"/>
                <a:gd name="connsiteX2" fmla="*/ 0 w 4309092"/>
                <a:gd name="connsiteY2" fmla="*/ 257442 h 257442"/>
                <a:gd name="connsiteX3" fmla="*/ 54721 w 4309092"/>
                <a:gd name="connsiteY3" fmla="*/ 0 h 257442"/>
                <a:gd name="connsiteX0" fmla="*/ 4309092 w 4309092"/>
                <a:gd name="connsiteY0" fmla="*/ 0 h 257442"/>
                <a:gd name="connsiteX1" fmla="*/ 4254371 w 4309092"/>
                <a:gd name="connsiteY1" fmla="*/ 257442 h 257442"/>
                <a:gd name="connsiteX2" fmla="*/ 0 w 4309092"/>
                <a:gd name="connsiteY2" fmla="*/ 257442 h 257442"/>
                <a:gd name="connsiteX3" fmla="*/ 54721 w 4309092"/>
                <a:gd name="connsiteY3" fmla="*/ 0 h 257442"/>
                <a:gd name="connsiteX0" fmla="*/ 4309092 w 4309092"/>
                <a:gd name="connsiteY0" fmla="*/ 0 h 257442"/>
                <a:gd name="connsiteX1" fmla="*/ 4254371 w 4309092"/>
                <a:gd name="connsiteY1" fmla="*/ 257442 h 257442"/>
                <a:gd name="connsiteX2" fmla="*/ 0 w 4309092"/>
                <a:gd name="connsiteY2" fmla="*/ 257442 h 257442"/>
                <a:gd name="connsiteX3" fmla="*/ 54721 w 4309092"/>
                <a:gd name="connsiteY3" fmla="*/ 0 h 257442"/>
                <a:gd name="connsiteX0" fmla="*/ 4309092 w 4309092"/>
                <a:gd name="connsiteY0" fmla="*/ 0 h 257442"/>
                <a:gd name="connsiteX1" fmla="*/ 4254371 w 4309092"/>
                <a:gd name="connsiteY1" fmla="*/ 257442 h 257442"/>
                <a:gd name="connsiteX2" fmla="*/ 0 w 4309092"/>
                <a:gd name="connsiteY2" fmla="*/ 257442 h 257442"/>
                <a:gd name="connsiteX3" fmla="*/ 54721 w 4309092"/>
                <a:gd name="connsiteY3" fmla="*/ 0 h 257442"/>
                <a:gd name="connsiteX0" fmla="*/ 4469391 w 4469391"/>
                <a:gd name="connsiteY0" fmla="*/ 0 h 257442"/>
                <a:gd name="connsiteX1" fmla="*/ 4254371 w 4469391"/>
                <a:gd name="connsiteY1" fmla="*/ 257442 h 257442"/>
                <a:gd name="connsiteX2" fmla="*/ 0 w 4469391"/>
                <a:gd name="connsiteY2" fmla="*/ 257442 h 257442"/>
                <a:gd name="connsiteX3" fmla="*/ 54721 w 4469391"/>
                <a:gd name="connsiteY3" fmla="*/ 0 h 257442"/>
                <a:gd name="connsiteX0" fmla="*/ 4469391 w 4469391"/>
                <a:gd name="connsiteY0" fmla="*/ 0 h 257442"/>
                <a:gd name="connsiteX1" fmla="*/ 4414671 w 4469391"/>
                <a:gd name="connsiteY1" fmla="*/ 257442 h 257442"/>
                <a:gd name="connsiteX2" fmla="*/ 0 w 4469391"/>
                <a:gd name="connsiteY2" fmla="*/ 257442 h 257442"/>
                <a:gd name="connsiteX3" fmla="*/ 54721 w 4469391"/>
                <a:gd name="connsiteY3" fmla="*/ 0 h 257442"/>
                <a:gd name="connsiteX0" fmla="*/ 4469391 w 4469391"/>
                <a:gd name="connsiteY0" fmla="*/ 0 h 257442"/>
                <a:gd name="connsiteX1" fmla="*/ 4414671 w 4469391"/>
                <a:gd name="connsiteY1" fmla="*/ 257442 h 257442"/>
                <a:gd name="connsiteX2" fmla="*/ 0 w 4469391"/>
                <a:gd name="connsiteY2" fmla="*/ 257442 h 257442"/>
                <a:gd name="connsiteX3" fmla="*/ 54721 w 4469391"/>
                <a:gd name="connsiteY3" fmla="*/ 0 h 257442"/>
                <a:gd name="connsiteX0" fmla="*/ 4469391 w 4469391"/>
                <a:gd name="connsiteY0" fmla="*/ 0 h 257442"/>
                <a:gd name="connsiteX1" fmla="*/ 4414671 w 4469391"/>
                <a:gd name="connsiteY1" fmla="*/ 257442 h 257442"/>
                <a:gd name="connsiteX2" fmla="*/ 0 w 4469391"/>
                <a:gd name="connsiteY2" fmla="*/ 257442 h 257442"/>
                <a:gd name="connsiteX3" fmla="*/ 54721 w 4469391"/>
                <a:gd name="connsiteY3" fmla="*/ 0 h 257442"/>
                <a:gd name="connsiteX0" fmla="*/ 968434 w 4414671"/>
                <a:gd name="connsiteY0" fmla="*/ 0 h 257442"/>
                <a:gd name="connsiteX1" fmla="*/ 4414671 w 4414671"/>
                <a:gd name="connsiteY1" fmla="*/ 257442 h 257442"/>
                <a:gd name="connsiteX2" fmla="*/ 0 w 4414671"/>
                <a:gd name="connsiteY2" fmla="*/ 257442 h 257442"/>
                <a:gd name="connsiteX3" fmla="*/ 54721 w 4414671"/>
                <a:gd name="connsiteY3" fmla="*/ 0 h 257442"/>
                <a:gd name="connsiteX0" fmla="*/ 968434 w 968434"/>
                <a:gd name="connsiteY0" fmla="*/ 0 h 257442"/>
                <a:gd name="connsiteX1" fmla="*/ 913713 w 968434"/>
                <a:gd name="connsiteY1" fmla="*/ 257442 h 257442"/>
                <a:gd name="connsiteX2" fmla="*/ 0 w 968434"/>
                <a:gd name="connsiteY2" fmla="*/ 257442 h 257442"/>
                <a:gd name="connsiteX3" fmla="*/ 54721 w 968434"/>
                <a:gd name="connsiteY3" fmla="*/ 0 h 257442"/>
                <a:gd name="connsiteX0" fmla="*/ 968434 w 968434"/>
                <a:gd name="connsiteY0" fmla="*/ 0 h 257442"/>
                <a:gd name="connsiteX1" fmla="*/ 913713 w 968434"/>
                <a:gd name="connsiteY1" fmla="*/ 257442 h 257442"/>
                <a:gd name="connsiteX2" fmla="*/ 0 w 968434"/>
                <a:gd name="connsiteY2" fmla="*/ 257442 h 257442"/>
                <a:gd name="connsiteX3" fmla="*/ 54721 w 968434"/>
                <a:gd name="connsiteY3" fmla="*/ 0 h 257442"/>
                <a:gd name="connsiteX0" fmla="*/ 968434 w 968434"/>
                <a:gd name="connsiteY0" fmla="*/ 0 h 257442"/>
                <a:gd name="connsiteX1" fmla="*/ 913713 w 968434"/>
                <a:gd name="connsiteY1" fmla="*/ 257442 h 257442"/>
                <a:gd name="connsiteX2" fmla="*/ 0 w 968434"/>
                <a:gd name="connsiteY2" fmla="*/ 257442 h 257442"/>
                <a:gd name="connsiteX3" fmla="*/ 54721 w 968434"/>
                <a:gd name="connsiteY3" fmla="*/ 0 h 257442"/>
                <a:gd name="connsiteX0" fmla="*/ 1128734 w 1128734"/>
                <a:gd name="connsiteY0" fmla="*/ 0 h 257442"/>
                <a:gd name="connsiteX1" fmla="*/ 9137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566354 w 1566354"/>
                <a:gd name="connsiteY0" fmla="*/ 0 h 257442"/>
                <a:gd name="connsiteX1" fmla="*/ 1242329 w 1566354"/>
                <a:gd name="connsiteY1" fmla="*/ 257442 h 257442"/>
                <a:gd name="connsiteX2" fmla="*/ 0 w 1566354"/>
                <a:gd name="connsiteY2" fmla="*/ 257442 h 257442"/>
                <a:gd name="connsiteX3" fmla="*/ 54721 w 1566354"/>
                <a:gd name="connsiteY3" fmla="*/ 0 h 257442"/>
                <a:gd name="connsiteX0" fmla="*/ 1566354 w 1566354"/>
                <a:gd name="connsiteY0" fmla="*/ 0 h 257442"/>
                <a:gd name="connsiteX1" fmla="*/ 1511633 w 1566354"/>
                <a:gd name="connsiteY1" fmla="*/ 257442 h 257442"/>
                <a:gd name="connsiteX2" fmla="*/ 0 w 1566354"/>
                <a:gd name="connsiteY2" fmla="*/ 257442 h 257442"/>
                <a:gd name="connsiteX3" fmla="*/ 54721 w 1566354"/>
                <a:gd name="connsiteY3" fmla="*/ 0 h 257442"/>
                <a:gd name="connsiteX0" fmla="*/ 1566354 w 1566354"/>
                <a:gd name="connsiteY0" fmla="*/ 0 h 257442"/>
                <a:gd name="connsiteX1" fmla="*/ 1511633 w 1566354"/>
                <a:gd name="connsiteY1" fmla="*/ 257442 h 257442"/>
                <a:gd name="connsiteX2" fmla="*/ 0 w 1566354"/>
                <a:gd name="connsiteY2" fmla="*/ 257442 h 257442"/>
                <a:gd name="connsiteX3" fmla="*/ 54721 w 1566354"/>
                <a:gd name="connsiteY3" fmla="*/ 0 h 257442"/>
                <a:gd name="connsiteX0" fmla="*/ 1566354 w 1566354"/>
                <a:gd name="connsiteY0" fmla="*/ 0 h 257442"/>
                <a:gd name="connsiteX1" fmla="*/ 1511633 w 1566354"/>
                <a:gd name="connsiteY1" fmla="*/ 257442 h 257442"/>
                <a:gd name="connsiteX2" fmla="*/ 0 w 1566354"/>
                <a:gd name="connsiteY2" fmla="*/ 257442 h 257442"/>
                <a:gd name="connsiteX3" fmla="*/ 54721 w 1566354"/>
                <a:gd name="connsiteY3" fmla="*/ 0 h 257442"/>
                <a:gd name="connsiteX0" fmla="*/ 1821937 w 1821937"/>
                <a:gd name="connsiteY0" fmla="*/ 0 h 257442"/>
                <a:gd name="connsiteX1" fmla="*/ 1511633 w 1821937"/>
                <a:gd name="connsiteY1" fmla="*/ 257442 h 257442"/>
                <a:gd name="connsiteX2" fmla="*/ 0 w 1821937"/>
                <a:gd name="connsiteY2" fmla="*/ 257442 h 257442"/>
                <a:gd name="connsiteX3" fmla="*/ 54721 w 1821937"/>
                <a:gd name="connsiteY3" fmla="*/ 0 h 257442"/>
                <a:gd name="connsiteX0" fmla="*/ 1821937 w 1821937"/>
                <a:gd name="connsiteY0" fmla="*/ 0 h 257442"/>
                <a:gd name="connsiteX1" fmla="*/ 1767216 w 1821937"/>
                <a:gd name="connsiteY1" fmla="*/ 257442 h 257442"/>
                <a:gd name="connsiteX2" fmla="*/ 0 w 1821937"/>
                <a:gd name="connsiteY2" fmla="*/ 257442 h 257442"/>
                <a:gd name="connsiteX3" fmla="*/ 54721 w 1821937"/>
                <a:gd name="connsiteY3" fmla="*/ 0 h 257442"/>
                <a:gd name="connsiteX0" fmla="*/ 1821937 w 1821937"/>
                <a:gd name="connsiteY0" fmla="*/ 0 h 257442"/>
                <a:gd name="connsiteX1" fmla="*/ 1767216 w 1821937"/>
                <a:gd name="connsiteY1" fmla="*/ 257442 h 257442"/>
                <a:gd name="connsiteX2" fmla="*/ 0 w 1821937"/>
                <a:gd name="connsiteY2" fmla="*/ 257442 h 257442"/>
                <a:gd name="connsiteX3" fmla="*/ 54721 w 1821937"/>
                <a:gd name="connsiteY3" fmla="*/ 0 h 257442"/>
                <a:gd name="connsiteX0" fmla="*/ 1821937 w 1821937"/>
                <a:gd name="connsiteY0" fmla="*/ 0 h 257442"/>
                <a:gd name="connsiteX1" fmla="*/ 1767216 w 1821937"/>
                <a:gd name="connsiteY1" fmla="*/ 257442 h 257442"/>
                <a:gd name="connsiteX2" fmla="*/ 0 w 1821937"/>
                <a:gd name="connsiteY2" fmla="*/ 257442 h 257442"/>
                <a:gd name="connsiteX3" fmla="*/ 54721 w 1821937"/>
                <a:gd name="connsiteY3" fmla="*/ 0 h 257442"/>
                <a:gd name="connsiteX0" fmla="*/ 1982237 w 1982237"/>
                <a:gd name="connsiteY0" fmla="*/ 0 h 257442"/>
                <a:gd name="connsiteX1" fmla="*/ 1767216 w 1982237"/>
                <a:gd name="connsiteY1" fmla="*/ 257442 h 257442"/>
                <a:gd name="connsiteX2" fmla="*/ 0 w 1982237"/>
                <a:gd name="connsiteY2" fmla="*/ 257442 h 257442"/>
                <a:gd name="connsiteX3" fmla="*/ 54721 w 1982237"/>
                <a:gd name="connsiteY3" fmla="*/ 0 h 257442"/>
                <a:gd name="connsiteX0" fmla="*/ 1982237 w 1982237"/>
                <a:gd name="connsiteY0" fmla="*/ 0 h 257442"/>
                <a:gd name="connsiteX1" fmla="*/ 1927516 w 1982237"/>
                <a:gd name="connsiteY1" fmla="*/ 257442 h 257442"/>
                <a:gd name="connsiteX2" fmla="*/ 0 w 1982237"/>
                <a:gd name="connsiteY2" fmla="*/ 257442 h 257442"/>
                <a:gd name="connsiteX3" fmla="*/ 54721 w 1982237"/>
                <a:gd name="connsiteY3" fmla="*/ 0 h 257442"/>
                <a:gd name="connsiteX0" fmla="*/ 1982237 w 1982237"/>
                <a:gd name="connsiteY0" fmla="*/ 0 h 257442"/>
                <a:gd name="connsiteX1" fmla="*/ 1927516 w 1982237"/>
                <a:gd name="connsiteY1" fmla="*/ 257442 h 257442"/>
                <a:gd name="connsiteX2" fmla="*/ 0 w 1982237"/>
                <a:gd name="connsiteY2" fmla="*/ 257442 h 257442"/>
                <a:gd name="connsiteX3" fmla="*/ 54721 w 1982237"/>
                <a:gd name="connsiteY3" fmla="*/ 0 h 257442"/>
                <a:gd name="connsiteX0" fmla="*/ 1982237 w 1982237"/>
                <a:gd name="connsiteY0" fmla="*/ 0 h 257442"/>
                <a:gd name="connsiteX1" fmla="*/ 1927516 w 1982237"/>
                <a:gd name="connsiteY1" fmla="*/ 257442 h 257442"/>
                <a:gd name="connsiteX2" fmla="*/ 0 w 1982237"/>
                <a:gd name="connsiteY2" fmla="*/ 257442 h 257442"/>
                <a:gd name="connsiteX3" fmla="*/ 54721 w 1982237"/>
                <a:gd name="connsiteY3" fmla="*/ 0 h 257442"/>
                <a:gd name="connsiteX0" fmla="*/ 2142538 w 2142538"/>
                <a:gd name="connsiteY0" fmla="*/ 0 h 257442"/>
                <a:gd name="connsiteX1" fmla="*/ 1927516 w 2142538"/>
                <a:gd name="connsiteY1" fmla="*/ 257442 h 257442"/>
                <a:gd name="connsiteX2" fmla="*/ 0 w 2142538"/>
                <a:gd name="connsiteY2" fmla="*/ 257442 h 257442"/>
                <a:gd name="connsiteX3" fmla="*/ 54721 w 2142538"/>
                <a:gd name="connsiteY3" fmla="*/ 0 h 257442"/>
                <a:gd name="connsiteX0" fmla="*/ 2142538 w 2142538"/>
                <a:gd name="connsiteY0" fmla="*/ 0 h 257442"/>
                <a:gd name="connsiteX1" fmla="*/ 2087816 w 2142538"/>
                <a:gd name="connsiteY1" fmla="*/ 257442 h 257442"/>
                <a:gd name="connsiteX2" fmla="*/ 0 w 2142538"/>
                <a:gd name="connsiteY2" fmla="*/ 257442 h 257442"/>
                <a:gd name="connsiteX3" fmla="*/ 54721 w 2142538"/>
                <a:gd name="connsiteY3" fmla="*/ 0 h 257442"/>
                <a:gd name="connsiteX0" fmla="*/ 2142539 w 2142539"/>
                <a:gd name="connsiteY0" fmla="*/ 0 h 257442"/>
                <a:gd name="connsiteX1" fmla="*/ 2087817 w 2142539"/>
                <a:gd name="connsiteY1" fmla="*/ 257442 h 257442"/>
                <a:gd name="connsiteX2" fmla="*/ 0 w 2142539"/>
                <a:gd name="connsiteY2" fmla="*/ 257442 h 257442"/>
                <a:gd name="connsiteX3" fmla="*/ 54722 w 2142539"/>
                <a:gd name="connsiteY3" fmla="*/ 0 h 257442"/>
                <a:gd name="connsiteX0" fmla="*/ 2142539 w 2142539"/>
                <a:gd name="connsiteY0" fmla="*/ 0 h 257442"/>
                <a:gd name="connsiteX1" fmla="*/ 2087817 w 2142539"/>
                <a:gd name="connsiteY1" fmla="*/ 257442 h 257442"/>
                <a:gd name="connsiteX2" fmla="*/ 0 w 2142539"/>
                <a:gd name="connsiteY2" fmla="*/ 257442 h 257442"/>
                <a:gd name="connsiteX3" fmla="*/ 54722 w 2142539"/>
                <a:gd name="connsiteY3" fmla="*/ 0 h 257442"/>
                <a:gd name="connsiteX0" fmla="*/ 2310853 w 2310853"/>
                <a:gd name="connsiteY0" fmla="*/ 0 h 257442"/>
                <a:gd name="connsiteX1" fmla="*/ 2087817 w 2310853"/>
                <a:gd name="connsiteY1" fmla="*/ 257442 h 257442"/>
                <a:gd name="connsiteX2" fmla="*/ 0 w 2310853"/>
                <a:gd name="connsiteY2" fmla="*/ 257442 h 257442"/>
                <a:gd name="connsiteX3" fmla="*/ 54722 w 2310853"/>
                <a:gd name="connsiteY3" fmla="*/ 0 h 257442"/>
                <a:gd name="connsiteX0" fmla="*/ 2310853 w 2310853"/>
                <a:gd name="connsiteY0" fmla="*/ 0 h 257442"/>
                <a:gd name="connsiteX1" fmla="*/ 2256132 w 2310853"/>
                <a:gd name="connsiteY1" fmla="*/ 257442 h 257442"/>
                <a:gd name="connsiteX2" fmla="*/ 0 w 2310853"/>
                <a:gd name="connsiteY2" fmla="*/ 257442 h 257442"/>
                <a:gd name="connsiteX3" fmla="*/ 54722 w 2310853"/>
                <a:gd name="connsiteY3" fmla="*/ 0 h 257442"/>
                <a:gd name="connsiteX0" fmla="*/ 2310852 w 2310852"/>
                <a:gd name="connsiteY0" fmla="*/ 0 h 257442"/>
                <a:gd name="connsiteX1" fmla="*/ 2256131 w 2310852"/>
                <a:gd name="connsiteY1" fmla="*/ 257442 h 257442"/>
                <a:gd name="connsiteX2" fmla="*/ 0 w 2310852"/>
                <a:gd name="connsiteY2" fmla="*/ 257442 h 257442"/>
                <a:gd name="connsiteX3" fmla="*/ 54721 w 2310852"/>
                <a:gd name="connsiteY3" fmla="*/ 0 h 257442"/>
                <a:gd name="connsiteX0" fmla="*/ 2310852 w 2310852"/>
                <a:gd name="connsiteY0" fmla="*/ 0 h 257442"/>
                <a:gd name="connsiteX1" fmla="*/ 2256131 w 2310852"/>
                <a:gd name="connsiteY1" fmla="*/ 257442 h 257442"/>
                <a:gd name="connsiteX2" fmla="*/ 0 w 2310852"/>
                <a:gd name="connsiteY2" fmla="*/ 257442 h 257442"/>
                <a:gd name="connsiteX3" fmla="*/ 54720 w 2310852"/>
                <a:gd name="connsiteY3" fmla="*/ 0 h 257442"/>
                <a:gd name="connsiteX0" fmla="*/ 2479167 w 2479167"/>
                <a:gd name="connsiteY0" fmla="*/ 0 h 257442"/>
                <a:gd name="connsiteX1" fmla="*/ 2256131 w 2479167"/>
                <a:gd name="connsiteY1" fmla="*/ 257442 h 257442"/>
                <a:gd name="connsiteX2" fmla="*/ 0 w 2479167"/>
                <a:gd name="connsiteY2" fmla="*/ 257442 h 257442"/>
                <a:gd name="connsiteX3" fmla="*/ 54720 w 2479167"/>
                <a:gd name="connsiteY3" fmla="*/ 0 h 257442"/>
                <a:gd name="connsiteX0" fmla="*/ 2479167 w 2479167"/>
                <a:gd name="connsiteY0" fmla="*/ 0 h 257442"/>
                <a:gd name="connsiteX1" fmla="*/ 2424446 w 2479167"/>
                <a:gd name="connsiteY1" fmla="*/ 257442 h 257442"/>
                <a:gd name="connsiteX2" fmla="*/ 0 w 2479167"/>
                <a:gd name="connsiteY2" fmla="*/ 257442 h 257442"/>
                <a:gd name="connsiteX3" fmla="*/ 54720 w 2479167"/>
                <a:gd name="connsiteY3" fmla="*/ 0 h 257442"/>
                <a:gd name="connsiteX0" fmla="*/ 2479168 w 2479168"/>
                <a:gd name="connsiteY0" fmla="*/ 0 h 257442"/>
                <a:gd name="connsiteX1" fmla="*/ 2424447 w 2479168"/>
                <a:gd name="connsiteY1" fmla="*/ 257442 h 257442"/>
                <a:gd name="connsiteX2" fmla="*/ 0 w 2479168"/>
                <a:gd name="connsiteY2" fmla="*/ 257442 h 257442"/>
                <a:gd name="connsiteX3" fmla="*/ 54721 w 2479168"/>
                <a:gd name="connsiteY3" fmla="*/ 0 h 257442"/>
                <a:gd name="connsiteX0" fmla="*/ 2479168 w 2479168"/>
                <a:gd name="connsiteY0" fmla="*/ 0 h 257442"/>
                <a:gd name="connsiteX1" fmla="*/ 2424447 w 2479168"/>
                <a:gd name="connsiteY1" fmla="*/ 257442 h 257442"/>
                <a:gd name="connsiteX2" fmla="*/ 0 w 2479168"/>
                <a:gd name="connsiteY2" fmla="*/ 257442 h 257442"/>
                <a:gd name="connsiteX3" fmla="*/ 54721 w 2479168"/>
                <a:gd name="connsiteY3" fmla="*/ 0 h 257442"/>
                <a:gd name="connsiteX0" fmla="*/ 3494061 w 3494061"/>
                <a:gd name="connsiteY0" fmla="*/ 0 h 257442"/>
                <a:gd name="connsiteX1" fmla="*/ 2424447 w 3494061"/>
                <a:gd name="connsiteY1" fmla="*/ 257442 h 257442"/>
                <a:gd name="connsiteX2" fmla="*/ 0 w 3494061"/>
                <a:gd name="connsiteY2" fmla="*/ 257442 h 257442"/>
                <a:gd name="connsiteX3" fmla="*/ 54721 w 3494061"/>
                <a:gd name="connsiteY3" fmla="*/ 0 h 257442"/>
                <a:gd name="connsiteX0" fmla="*/ 3494061 w 3494061"/>
                <a:gd name="connsiteY0" fmla="*/ 0 h 257442"/>
                <a:gd name="connsiteX1" fmla="*/ 3439340 w 3494061"/>
                <a:gd name="connsiteY1" fmla="*/ 257442 h 257442"/>
                <a:gd name="connsiteX2" fmla="*/ 0 w 3494061"/>
                <a:gd name="connsiteY2" fmla="*/ 257442 h 257442"/>
                <a:gd name="connsiteX3" fmla="*/ 54721 w 3494061"/>
                <a:gd name="connsiteY3" fmla="*/ 0 h 257442"/>
                <a:gd name="connsiteX0" fmla="*/ 3494061 w 3494061"/>
                <a:gd name="connsiteY0" fmla="*/ 0 h 257442"/>
                <a:gd name="connsiteX1" fmla="*/ 3439340 w 3494061"/>
                <a:gd name="connsiteY1" fmla="*/ 257442 h 257442"/>
                <a:gd name="connsiteX2" fmla="*/ 0 w 3494061"/>
                <a:gd name="connsiteY2" fmla="*/ 257442 h 257442"/>
                <a:gd name="connsiteX3" fmla="*/ 54721 w 3494061"/>
                <a:gd name="connsiteY3" fmla="*/ 0 h 257442"/>
                <a:gd name="connsiteX0" fmla="*/ 3494061 w 3494061"/>
                <a:gd name="connsiteY0" fmla="*/ 0 h 257442"/>
                <a:gd name="connsiteX1" fmla="*/ 3439340 w 3494061"/>
                <a:gd name="connsiteY1" fmla="*/ 257442 h 257442"/>
                <a:gd name="connsiteX2" fmla="*/ 0 w 3494061"/>
                <a:gd name="connsiteY2" fmla="*/ 257442 h 257442"/>
                <a:gd name="connsiteX3" fmla="*/ 54721 w 3494061"/>
                <a:gd name="connsiteY3" fmla="*/ 0 h 257442"/>
                <a:gd name="connsiteX0" fmla="*/ 3108956 w 3439340"/>
                <a:gd name="connsiteY0" fmla="*/ 0 h 257442"/>
                <a:gd name="connsiteX1" fmla="*/ 3439340 w 3439340"/>
                <a:gd name="connsiteY1" fmla="*/ 257442 h 257442"/>
                <a:gd name="connsiteX2" fmla="*/ 0 w 3439340"/>
                <a:gd name="connsiteY2" fmla="*/ 257442 h 257442"/>
                <a:gd name="connsiteX3" fmla="*/ 54721 w 3439340"/>
                <a:gd name="connsiteY3" fmla="*/ 0 h 257442"/>
                <a:gd name="connsiteX0" fmla="*/ 3108956 w 3108956"/>
                <a:gd name="connsiteY0" fmla="*/ 0 h 257442"/>
                <a:gd name="connsiteX1" fmla="*/ 3054235 w 3108956"/>
                <a:gd name="connsiteY1" fmla="*/ 257442 h 257442"/>
                <a:gd name="connsiteX2" fmla="*/ 0 w 3108956"/>
                <a:gd name="connsiteY2" fmla="*/ 257442 h 257442"/>
                <a:gd name="connsiteX3" fmla="*/ 54721 w 3108956"/>
                <a:gd name="connsiteY3" fmla="*/ 0 h 257442"/>
                <a:gd name="connsiteX0" fmla="*/ 3108956 w 3108956"/>
                <a:gd name="connsiteY0" fmla="*/ 0 h 257442"/>
                <a:gd name="connsiteX1" fmla="*/ 3054235 w 3108956"/>
                <a:gd name="connsiteY1" fmla="*/ 257442 h 257442"/>
                <a:gd name="connsiteX2" fmla="*/ 0 w 3108956"/>
                <a:gd name="connsiteY2" fmla="*/ 257442 h 257442"/>
                <a:gd name="connsiteX3" fmla="*/ 54721 w 3108956"/>
                <a:gd name="connsiteY3" fmla="*/ 0 h 257442"/>
                <a:gd name="connsiteX0" fmla="*/ 3108956 w 3108956"/>
                <a:gd name="connsiteY0" fmla="*/ 0 h 257442"/>
                <a:gd name="connsiteX1" fmla="*/ 3054235 w 3108956"/>
                <a:gd name="connsiteY1" fmla="*/ 257442 h 257442"/>
                <a:gd name="connsiteX2" fmla="*/ 0 w 3108956"/>
                <a:gd name="connsiteY2" fmla="*/ 257442 h 257442"/>
                <a:gd name="connsiteX3" fmla="*/ 54721 w 3108956"/>
                <a:gd name="connsiteY3" fmla="*/ 0 h 257442"/>
                <a:gd name="connsiteX0" fmla="*/ 950801 w 3054235"/>
                <a:gd name="connsiteY0" fmla="*/ 0 h 257442"/>
                <a:gd name="connsiteX1" fmla="*/ 3054235 w 3054235"/>
                <a:gd name="connsiteY1" fmla="*/ 257442 h 257442"/>
                <a:gd name="connsiteX2" fmla="*/ 0 w 3054235"/>
                <a:gd name="connsiteY2" fmla="*/ 257442 h 257442"/>
                <a:gd name="connsiteX3" fmla="*/ 54721 w 3054235"/>
                <a:gd name="connsiteY3" fmla="*/ 0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1111100 w 1111100"/>
                <a:gd name="connsiteY0" fmla="*/ 0 h 257442"/>
                <a:gd name="connsiteX1" fmla="*/ 896080 w 1111100"/>
                <a:gd name="connsiteY1" fmla="*/ 257442 h 257442"/>
                <a:gd name="connsiteX2" fmla="*/ 0 w 1111100"/>
                <a:gd name="connsiteY2" fmla="*/ 257442 h 257442"/>
                <a:gd name="connsiteX3" fmla="*/ 54720 w 1111100"/>
                <a:gd name="connsiteY3" fmla="*/ 0 h 257442"/>
                <a:gd name="connsiteX0" fmla="*/ 1111100 w 1111100"/>
                <a:gd name="connsiteY0" fmla="*/ 0 h 257442"/>
                <a:gd name="connsiteX1" fmla="*/ 1056379 w 1111100"/>
                <a:gd name="connsiteY1" fmla="*/ 257442 h 257442"/>
                <a:gd name="connsiteX2" fmla="*/ 0 w 1111100"/>
                <a:gd name="connsiteY2" fmla="*/ 257442 h 257442"/>
                <a:gd name="connsiteX3" fmla="*/ 54720 w 1111100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2 w 1111101"/>
                <a:gd name="connsiteY3" fmla="*/ 0 h 257442"/>
                <a:gd name="connsiteX0" fmla="*/ 1297051 w 1297051"/>
                <a:gd name="connsiteY0" fmla="*/ 0 h 257442"/>
                <a:gd name="connsiteX1" fmla="*/ 1056380 w 1297051"/>
                <a:gd name="connsiteY1" fmla="*/ 257442 h 257442"/>
                <a:gd name="connsiteX2" fmla="*/ 0 w 1297051"/>
                <a:gd name="connsiteY2" fmla="*/ 257442 h 257442"/>
                <a:gd name="connsiteX3" fmla="*/ 54722 w 1297051"/>
                <a:gd name="connsiteY3" fmla="*/ 0 h 257442"/>
                <a:gd name="connsiteX0" fmla="*/ 1297051 w 1297051"/>
                <a:gd name="connsiteY0" fmla="*/ 0 h 257442"/>
                <a:gd name="connsiteX1" fmla="*/ 1242330 w 1297051"/>
                <a:gd name="connsiteY1" fmla="*/ 257442 h 257442"/>
                <a:gd name="connsiteX2" fmla="*/ 0 w 1297051"/>
                <a:gd name="connsiteY2" fmla="*/ 257442 h 257442"/>
                <a:gd name="connsiteX3" fmla="*/ 54722 w 1297051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0 w 1297050"/>
                <a:gd name="connsiteY3" fmla="*/ 0 h 257442"/>
                <a:gd name="connsiteX0" fmla="*/ 1474982 w 1474982"/>
                <a:gd name="connsiteY0" fmla="*/ 0 h 257442"/>
                <a:gd name="connsiteX1" fmla="*/ 1242329 w 1474982"/>
                <a:gd name="connsiteY1" fmla="*/ 257442 h 257442"/>
                <a:gd name="connsiteX2" fmla="*/ 0 w 1474982"/>
                <a:gd name="connsiteY2" fmla="*/ 257442 h 257442"/>
                <a:gd name="connsiteX3" fmla="*/ 54720 w 1474982"/>
                <a:gd name="connsiteY3" fmla="*/ 0 h 257442"/>
                <a:gd name="connsiteX0" fmla="*/ 1474982 w 1474982"/>
                <a:gd name="connsiteY0" fmla="*/ 0 h 257442"/>
                <a:gd name="connsiteX1" fmla="*/ 1420261 w 1474982"/>
                <a:gd name="connsiteY1" fmla="*/ 257442 h 257442"/>
                <a:gd name="connsiteX2" fmla="*/ 0 w 1474982"/>
                <a:gd name="connsiteY2" fmla="*/ 257442 h 257442"/>
                <a:gd name="connsiteX3" fmla="*/ 54720 w 1474982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54721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54722 w 1474983"/>
                <a:gd name="connsiteY3" fmla="*/ 0 h 257442"/>
                <a:gd name="connsiteX0" fmla="*/ 1652917 w 1652917"/>
                <a:gd name="connsiteY0" fmla="*/ 0 h 257442"/>
                <a:gd name="connsiteX1" fmla="*/ 1420262 w 1652917"/>
                <a:gd name="connsiteY1" fmla="*/ 257442 h 257442"/>
                <a:gd name="connsiteX2" fmla="*/ 0 w 1652917"/>
                <a:gd name="connsiteY2" fmla="*/ 257442 h 257442"/>
                <a:gd name="connsiteX3" fmla="*/ 54722 w 1652917"/>
                <a:gd name="connsiteY3" fmla="*/ 0 h 257442"/>
                <a:gd name="connsiteX0" fmla="*/ 1652917 w 1652917"/>
                <a:gd name="connsiteY0" fmla="*/ 0 h 257442"/>
                <a:gd name="connsiteX1" fmla="*/ 1598196 w 1652917"/>
                <a:gd name="connsiteY1" fmla="*/ 257442 h 257442"/>
                <a:gd name="connsiteX2" fmla="*/ 0 w 1652917"/>
                <a:gd name="connsiteY2" fmla="*/ 257442 h 257442"/>
                <a:gd name="connsiteX3" fmla="*/ 54722 w 1652917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54721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54720 w 1652916"/>
                <a:gd name="connsiteY3" fmla="*/ 0 h 257442"/>
                <a:gd name="connsiteX0" fmla="*/ 1821230 w 1821230"/>
                <a:gd name="connsiteY0" fmla="*/ 0 h 257442"/>
                <a:gd name="connsiteX1" fmla="*/ 1598195 w 1821230"/>
                <a:gd name="connsiteY1" fmla="*/ 257442 h 257442"/>
                <a:gd name="connsiteX2" fmla="*/ 0 w 1821230"/>
                <a:gd name="connsiteY2" fmla="*/ 257442 h 257442"/>
                <a:gd name="connsiteX3" fmla="*/ 54720 w 1821230"/>
                <a:gd name="connsiteY3" fmla="*/ 0 h 257442"/>
                <a:gd name="connsiteX0" fmla="*/ 1821230 w 1821230"/>
                <a:gd name="connsiteY0" fmla="*/ 0 h 257442"/>
                <a:gd name="connsiteX1" fmla="*/ 1766509 w 1821230"/>
                <a:gd name="connsiteY1" fmla="*/ 257442 h 257442"/>
                <a:gd name="connsiteX2" fmla="*/ 0 w 1821230"/>
                <a:gd name="connsiteY2" fmla="*/ 257442 h 257442"/>
                <a:gd name="connsiteX3" fmla="*/ 54720 w 1821230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54721 w 1821231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54722 w 1821231"/>
                <a:gd name="connsiteY3" fmla="*/ 0 h 257442"/>
                <a:gd name="connsiteX0" fmla="*/ 1989548 w 1989548"/>
                <a:gd name="connsiteY0" fmla="*/ 0 h 257442"/>
                <a:gd name="connsiteX1" fmla="*/ 1766510 w 1989548"/>
                <a:gd name="connsiteY1" fmla="*/ 257442 h 257442"/>
                <a:gd name="connsiteX2" fmla="*/ 0 w 1989548"/>
                <a:gd name="connsiteY2" fmla="*/ 257442 h 257442"/>
                <a:gd name="connsiteX3" fmla="*/ 54722 w 1989548"/>
                <a:gd name="connsiteY3" fmla="*/ 0 h 257442"/>
                <a:gd name="connsiteX0" fmla="*/ 1989548 w 1989548"/>
                <a:gd name="connsiteY0" fmla="*/ 0 h 257442"/>
                <a:gd name="connsiteX1" fmla="*/ 1934826 w 1989548"/>
                <a:gd name="connsiteY1" fmla="*/ 257442 h 257442"/>
                <a:gd name="connsiteX2" fmla="*/ 0 w 1989548"/>
                <a:gd name="connsiteY2" fmla="*/ 257442 h 257442"/>
                <a:gd name="connsiteX3" fmla="*/ 54722 w 1989548"/>
                <a:gd name="connsiteY3" fmla="*/ 0 h 257442"/>
                <a:gd name="connsiteX0" fmla="*/ 1989548 w 1989548"/>
                <a:gd name="connsiteY0" fmla="*/ 0 h 257442"/>
                <a:gd name="connsiteX1" fmla="*/ 1934826 w 1989548"/>
                <a:gd name="connsiteY1" fmla="*/ 257442 h 257442"/>
                <a:gd name="connsiteX2" fmla="*/ 0 w 1989548"/>
                <a:gd name="connsiteY2" fmla="*/ 257442 h 257442"/>
                <a:gd name="connsiteX3" fmla="*/ 54722 w 1989548"/>
                <a:gd name="connsiteY3" fmla="*/ 0 h 257442"/>
                <a:gd name="connsiteX0" fmla="*/ 1989548 w 1989548"/>
                <a:gd name="connsiteY0" fmla="*/ 0 h 257442"/>
                <a:gd name="connsiteX1" fmla="*/ 1934826 w 1989548"/>
                <a:gd name="connsiteY1" fmla="*/ 257442 h 257442"/>
                <a:gd name="connsiteX2" fmla="*/ 0 w 1989548"/>
                <a:gd name="connsiteY2" fmla="*/ 257442 h 257442"/>
                <a:gd name="connsiteX3" fmla="*/ 54721 w 1989548"/>
                <a:gd name="connsiteY3" fmla="*/ 0 h 257442"/>
                <a:gd name="connsiteX0" fmla="*/ 2149847 w 2149847"/>
                <a:gd name="connsiteY0" fmla="*/ 0 h 257442"/>
                <a:gd name="connsiteX1" fmla="*/ 1934826 w 2149847"/>
                <a:gd name="connsiteY1" fmla="*/ 257442 h 257442"/>
                <a:gd name="connsiteX2" fmla="*/ 0 w 2149847"/>
                <a:gd name="connsiteY2" fmla="*/ 257442 h 257442"/>
                <a:gd name="connsiteX3" fmla="*/ 54721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54721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54721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54721 w 2149847"/>
                <a:gd name="connsiteY3" fmla="*/ 0 h 257442"/>
                <a:gd name="connsiteX0" fmla="*/ 2318162 w 2318162"/>
                <a:gd name="connsiteY0" fmla="*/ 0 h 257442"/>
                <a:gd name="connsiteX1" fmla="*/ 2095126 w 2318162"/>
                <a:gd name="connsiteY1" fmla="*/ 257442 h 257442"/>
                <a:gd name="connsiteX2" fmla="*/ 0 w 2318162"/>
                <a:gd name="connsiteY2" fmla="*/ 257442 h 257442"/>
                <a:gd name="connsiteX3" fmla="*/ 54721 w 2318162"/>
                <a:gd name="connsiteY3" fmla="*/ 0 h 257442"/>
                <a:gd name="connsiteX0" fmla="*/ 2318162 w 2318162"/>
                <a:gd name="connsiteY0" fmla="*/ 0 h 257442"/>
                <a:gd name="connsiteX1" fmla="*/ 2263440 w 2318162"/>
                <a:gd name="connsiteY1" fmla="*/ 257442 h 257442"/>
                <a:gd name="connsiteX2" fmla="*/ 0 w 2318162"/>
                <a:gd name="connsiteY2" fmla="*/ 257442 h 257442"/>
                <a:gd name="connsiteX3" fmla="*/ 54721 w 2318162"/>
                <a:gd name="connsiteY3" fmla="*/ 0 h 257442"/>
                <a:gd name="connsiteX0" fmla="*/ 2318163 w 2318163"/>
                <a:gd name="connsiteY0" fmla="*/ 0 h 257442"/>
                <a:gd name="connsiteX1" fmla="*/ 2263441 w 2318163"/>
                <a:gd name="connsiteY1" fmla="*/ 257442 h 257442"/>
                <a:gd name="connsiteX2" fmla="*/ 0 w 2318163"/>
                <a:gd name="connsiteY2" fmla="*/ 257442 h 257442"/>
                <a:gd name="connsiteX3" fmla="*/ 54722 w 2318163"/>
                <a:gd name="connsiteY3" fmla="*/ 0 h 257442"/>
                <a:gd name="connsiteX0" fmla="*/ 2318163 w 2318163"/>
                <a:gd name="connsiteY0" fmla="*/ 0 h 257442"/>
                <a:gd name="connsiteX1" fmla="*/ 2263441 w 2318163"/>
                <a:gd name="connsiteY1" fmla="*/ 257442 h 257442"/>
                <a:gd name="connsiteX2" fmla="*/ 0 w 2318163"/>
                <a:gd name="connsiteY2" fmla="*/ 257442 h 257442"/>
                <a:gd name="connsiteX3" fmla="*/ 54722 w 2318163"/>
                <a:gd name="connsiteY3" fmla="*/ 0 h 257442"/>
                <a:gd name="connsiteX0" fmla="*/ 2587468 w 2587468"/>
                <a:gd name="connsiteY0" fmla="*/ 0 h 257442"/>
                <a:gd name="connsiteX1" fmla="*/ 2263441 w 2587468"/>
                <a:gd name="connsiteY1" fmla="*/ 257442 h 257442"/>
                <a:gd name="connsiteX2" fmla="*/ 0 w 2587468"/>
                <a:gd name="connsiteY2" fmla="*/ 257442 h 257442"/>
                <a:gd name="connsiteX3" fmla="*/ 54722 w 2587468"/>
                <a:gd name="connsiteY3" fmla="*/ 0 h 257442"/>
                <a:gd name="connsiteX0" fmla="*/ 2587468 w 2587468"/>
                <a:gd name="connsiteY0" fmla="*/ 0 h 257442"/>
                <a:gd name="connsiteX1" fmla="*/ 2532746 w 2587468"/>
                <a:gd name="connsiteY1" fmla="*/ 257442 h 257442"/>
                <a:gd name="connsiteX2" fmla="*/ 0 w 2587468"/>
                <a:gd name="connsiteY2" fmla="*/ 257442 h 257442"/>
                <a:gd name="connsiteX3" fmla="*/ 54722 w 2587468"/>
                <a:gd name="connsiteY3" fmla="*/ 0 h 257442"/>
                <a:gd name="connsiteX0" fmla="*/ 2587468 w 2587468"/>
                <a:gd name="connsiteY0" fmla="*/ 0 h 257442"/>
                <a:gd name="connsiteX1" fmla="*/ 2532746 w 2587468"/>
                <a:gd name="connsiteY1" fmla="*/ 257442 h 257442"/>
                <a:gd name="connsiteX2" fmla="*/ 0 w 2587468"/>
                <a:gd name="connsiteY2" fmla="*/ 257442 h 257442"/>
                <a:gd name="connsiteX3" fmla="*/ 54722 w 2587468"/>
                <a:gd name="connsiteY3" fmla="*/ 0 h 257442"/>
                <a:gd name="connsiteX0" fmla="*/ 2587468 w 2587468"/>
                <a:gd name="connsiteY0" fmla="*/ 0 h 257442"/>
                <a:gd name="connsiteX1" fmla="*/ 2532746 w 2587468"/>
                <a:gd name="connsiteY1" fmla="*/ 257442 h 257442"/>
                <a:gd name="connsiteX2" fmla="*/ 0 w 2587468"/>
                <a:gd name="connsiteY2" fmla="*/ 257442 h 257442"/>
                <a:gd name="connsiteX3" fmla="*/ 54721 w 2587468"/>
                <a:gd name="connsiteY3" fmla="*/ 0 h 257442"/>
                <a:gd name="connsiteX0" fmla="*/ 2747767 w 2747767"/>
                <a:gd name="connsiteY0" fmla="*/ 0 h 257442"/>
                <a:gd name="connsiteX1" fmla="*/ 2532746 w 2747767"/>
                <a:gd name="connsiteY1" fmla="*/ 257442 h 257442"/>
                <a:gd name="connsiteX2" fmla="*/ 0 w 2747767"/>
                <a:gd name="connsiteY2" fmla="*/ 257442 h 257442"/>
                <a:gd name="connsiteX3" fmla="*/ 54721 w 2747767"/>
                <a:gd name="connsiteY3" fmla="*/ 0 h 257442"/>
                <a:gd name="connsiteX0" fmla="*/ 2747767 w 2747767"/>
                <a:gd name="connsiteY0" fmla="*/ 0 h 257442"/>
                <a:gd name="connsiteX1" fmla="*/ 2693046 w 2747767"/>
                <a:gd name="connsiteY1" fmla="*/ 257442 h 257442"/>
                <a:gd name="connsiteX2" fmla="*/ 0 w 2747767"/>
                <a:gd name="connsiteY2" fmla="*/ 257442 h 257442"/>
                <a:gd name="connsiteX3" fmla="*/ 54721 w 2747767"/>
                <a:gd name="connsiteY3" fmla="*/ 0 h 257442"/>
                <a:gd name="connsiteX0" fmla="*/ 2747767 w 2747767"/>
                <a:gd name="connsiteY0" fmla="*/ 0 h 257442"/>
                <a:gd name="connsiteX1" fmla="*/ 2693046 w 2747767"/>
                <a:gd name="connsiteY1" fmla="*/ 257442 h 257442"/>
                <a:gd name="connsiteX2" fmla="*/ 0 w 2747767"/>
                <a:gd name="connsiteY2" fmla="*/ 257442 h 257442"/>
                <a:gd name="connsiteX3" fmla="*/ 54721 w 2747767"/>
                <a:gd name="connsiteY3" fmla="*/ 0 h 257442"/>
                <a:gd name="connsiteX0" fmla="*/ 2747767 w 2747767"/>
                <a:gd name="connsiteY0" fmla="*/ 0 h 257442"/>
                <a:gd name="connsiteX1" fmla="*/ 2693046 w 2747767"/>
                <a:gd name="connsiteY1" fmla="*/ 257442 h 257442"/>
                <a:gd name="connsiteX2" fmla="*/ 0 w 2747767"/>
                <a:gd name="connsiteY2" fmla="*/ 257442 h 257442"/>
                <a:gd name="connsiteX3" fmla="*/ 54721 w 2747767"/>
                <a:gd name="connsiteY3" fmla="*/ 0 h 257442"/>
                <a:gd name="connsiteX0" fmla="*/ 942786 w 2693046"/>
                <a:gd name="connsiteY0" fmla="*/ 0 h 257442"/>
                <a:gd name="connsiteX1" fmla="*/ 2693046 w 2693046"/>
                <a:gd name="connsiteY1" fmla="*/ 257442 h 257442"/>
                <a:gd name="connsiteX2" fmla="*/ 0 w 2693046"/>
                <a:gd name="connsiteY2" fmla="*/ 257442 h 257442"/>
                <a:gd name="connsiteX3" fmla="*/ 54721 w 269304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54721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54721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54721 w 942786"/>
                <a:gd name="connsiteY3" fmla="*/ 0 h 257442"/>
                <a:gd name="connsiteX0" fmla="*/ 1111101 w 1111101"/>
                <a:gd name="connsiteY0" fmla="*/ 0 h 257442"/>
                <a:gd name="connsiteX1" fmla="*/ 888065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289034 w 1289034"/>
                <a:gd name="connsiteY0" fmla="*/ 0 h 257442"/>
                <a:gd name="connsiteX1" fmla="*/ 1056380 w 1289034"/>
                <a:gd name="connsiteY1" fmla="*/ 257442 h 257442"/>
                <a:gd name="connsiteX2" fmla="*/ 0 w 1289034"/>
                <a:gd name="connsiteY2" fmla="*/ 257442 h 257442"/>
                <a:gd name="connsiteX3" fmla="*/ 54721 w 1289034"/>
                <a:gd name="connsiteY3" fmla="*/ 0 h 257442"/>
                <a:gd name="connsiteX0" fmla="*/ 1289034 w 1289034"/>
                <a:gd name="connsiteY0" fmla="*/ 0 h 257442"/>
                <a:gd name="connsiteX1" fmla="*/ 1234312 w 1289034"/>
                <a:gd name="connsiteY1" fmla="*/ 257442 h 257442"/>
                <a:gd name="connsiteX2" fmla="*/ 0 w 1289034"/>
                <a:gd name="connsiteY2" fmla="*/ 257442 h 257442"/>
                <a:gd name="connsiteX3" fmla="*/ 54721 w 1289034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54722 w 1289035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54722 w 1289035"/>
                <a:gd name="connsiteY3" fmla="*/ 0 h 257442"/>
                <a:gd name="connsiteX0" fmla="*/ 1457351 w 1457351"/>
                <a:gd name="connsiteY0" fmla="*/ 0 h 257442"/>
                <a:gd name="connsiteX1" fmla="*/ 1234313 w 1457351"/>
                <a:gd name="connsiteY1" fmla="*/ 257442 h 257442"/>
                <a:gd name="connsiteX2" fmla="*/ 0 w 1457351"/>
                <a:gd name="connsiteY2" fmla="*/ 257442 h 257442"/>
                <a:gd name="connsiteX3" fmla="*/ 54722 w 1457351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0 w 1457351"/>
                <a:gd name="connsiteY2" fmla="*/ 257442 h 257442"/>
                <a:gd name="connsiteX3" fmla="*/ 54722 w 1457351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0 w 1457350"/>
                <a:gd name="connsiteY3" fmla="*/ 0 h 257442"/>
                <a:gd name="connsiteX0" fmla="*/ 1635282 w 1635282"/>
                <a:gd name="connsiteY0" fmla="*/ 0 h 257442"/>
                <a:gd name="connsiteX1" fmla="*/ 1402629 w 1635282"/>
                <a:gd name="connsiteY1" fmla="*/ 257442 h 257442"/>
                <a:gd name="connsiteX2" fmla="*/ 0 w 1635282"/>
                <a:gd name="connsiteY2" fmla="*/ 257442 h 257442"/>
                <a:gd name="connsiteX3" fmla="*/ 54720 w 1635282"/>
                <a:gd name="connsiteY3" fmla="*/ 0 h 257442"/>
                <a:gd name="connsiteX0" fmla="*/ 1635282 w 1635282"/>
                <a:gd name="connsiteY0" fmla="*/ 0 h 257442"/>
                <a:gd name="connsiteX1" fmla="*/ 1580561 w 1635282"/>
                <a:gd name="connsiteY1" fmla="*/ 257442 h 257442"/>
                <a:gd name="connsiteX2" fmla="*/ 0 w 1635282"/>
                <a:gd name="connsiteY2" fmla="*/ 257442 h 257442"/>
                <a:gd name="connsiteX3" fmla="*/ 54720 w 1635282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54721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54722 w 1635283"/>
                <a:gd name="connsiteY3" fmla="*/ 0 h 257442"/>
                <a:gd name="connsiteX0" fmla="*/ 1795584 w 1795584"/>
                <a:gd name="connsiteY0" fmla="*/ 0 h 257442"/>
                <a:gd name="connsiteX1" fmla="*/ 1580562 w 1795584"/>
                <a:gd name="connsiteY1" fmla="*/ 257442 h 257442"/>
                <a:gd name="connsiteX2" fmla="*/ 0 w 1795584"/>
                <a:gd name="connsiteY2" fmla="*/ 257442 h 257442"/>
                <a:gd name="connsiteX3" fmla="*/ 54722 w 1795584"/>
                <a:gd name="connsiteY3" fmla="*/ 0 h 257442"/>
                <a:gd name="connsiteX0" fmla="*/ 1795584 w 1795584"/>
                <a:gd name="connsiteY0" fmla="*/ 0 h 257442"/>
                <a:gd name="connsiteX1" fmla="*/ 1740862 w 1795584"/>
                <a:gd name="connsiteY1" fmla="*/ 257442 h 257442"/>
                <a:gd name="connsiteX2" fmla="*/ 0 w 1795584"/>
                <a:gd name="connsiteY2" fmla="*/ 257442 h 257442"/>
                <a:gd name="connsiteX3" fmla="*/ 54722 w 1795584"/>
                <a:gd name="connsiteY3" fmla="*/ 0 h 257442"/>
                <a:gd name="connsiteX0" fmla="*/ 1795584 w 1795584"/>
                <a:gd name="connsiteY0" fmla="*/ 0 h 257442"/>
                <a:gd name="connsiteX1" fmla="*/ 1740862 w 1795584"/>
                <a:gd name="connsiteY1" fmla="*/ 257442 h 257442"/>
                <a:gd name="connsiteX2" fmla="*/ 0 w 1795584"/>
                <a:gd name="connsiteY2" fmla="*/ 257442 h 257442"/>
                <a:gd name="connsiteX3" fmla="*/ 54722 w 1795584"/>
                <a:gd name="connsiteY3" fmla="*/ 0 h 257442"/>
                <a:gd name="connsiteX0" fmla="*/ 1795584 w 1795584"/>
                <a:gd name="connsiteY0" fmla="*/ 0 h 257442"/>
                <a:gd name="connsiteX1" fmla="*/ 1740862 w 1795584"/>
                <a:gd name="connsiteY1" fmla="*/ 257442 h 257442"/>
                <a:gd name="connsiteX2" fmla="*/ 0 w 1795584"/>
                <a:gd name="connsiteY2" fmla="*/ 257442 h 257442"/>
                <a:gd name="connsiteX3" fmla="*/ 54721 w 1795584"/>
                <a:gd name="connsiteY3" fmla="*/ 0 h 257442"/>
                <a:gd name="connsiteX0" fmla="*/ 1981532 w 1981532"/>
                <a:gd name="connsiteY0" fmla="*/ 0 h 257442"/>
                <a:gd name="connsiteX1" fmla="*/ 1740862 w 1981532"/>
                <a:gd name="connsiteY1" fmla="*/ 257442 h 257442"/>
                <a:gd name="connsiteX2" fmla="*/ 0 w 1981532"/>
                <a:gd name="connsiteY2" fmla="*/ 257442 h 257442"/>
                <a:gd name="connsiteX3" fmla="*/ 54721 w 1981532"/>
                <a:gd name="connsiteY3" fmla="*/ 0 h 257442"/>
                <a:gd name="connsiteX0" fmla="*/ 1981532 w 1981532"/>
                <a:gd name="connsiteY0" fmla="*/ 0 h 257442"/>
                <a:gd name="connsiteX1" fmla="*/ 1926811 w 1981532"/>
                <a:gd name="connsiteY1" fmla="*/ 257442 h 257442"/>
                <a:gd name="connsiteX2" fmla="*/ 0 w 1981532"/>
                <a:gd name="connsiteY2" fmla="*/ 257442 h 257442"/>
                <a:gd name="connsiteX3" fmla="*/ 54721 w 1981532"/>
                <a:gd name="connsiteY3" fmla="*/ 0 h 257442"/>
                <a:gd name="connsiteX0" fmla="*/ 1981532 w 1981532"/>
                <a:gd name="connsiteY0" fmla="*/ 0 h 257442"/>
                <a:gd name="connsiteX1" fmla="*/ 1926811 w 1981532"/>
                <a:gd name="connsiteY1" fmla="*/ 257442 h 257442"/>
                <a:gd name="connsiteX2" fmla="*/ 0 w 1981532"/>
                <a:gd name="connsiteY2" fmla="*/ 257442 h 257442"/>
                <a:gd name="connsiteX3" fmla="*/ 54721 w 1981532"/>
                <a:gd name="connsiteY3" fmla="*/ 0 h 257442"/>
                <a:gd name="connsiteX0" fmla="*/ 1981532 w 1981532"/>
                <a:gd name="connsiteY0" fmla="*/ 0 h 257442"/>
                <a:gd name="connsiteX1" fmla="*/ 1926811 w 1981532"/>
                <a:gd name="connsiteY1" fmla="*/ 257442 h 257442"/>
                <a:gd name="connsiteX2" fmla="*/ 0 w 1981532"/>
                <a:gd name="connsiteY2" fmla="*/ 257442 h 257442"/>
                <a:gd name="connsiteX3" fmla="*/ 54721 w 1981532"/>
                <a:gd name="connsiteY3" fmla="*/ 0 h 257442"/>
                <a:gd name="connsiteX0" fmla="*/ 2141832 w 2141832"/>
                <a:gd name="connsiteY0" fmla="*/ 0 h 257442"/>
                <a:gd name="connsiteX1" fmla="*/ 1926811 w 2141832"/>
                <a:gd name="connsiteY1" fmla="*/ 257442 h 257442"/>
                <a:gd name="connsiteX2" fmla="*/ 0 w 2141832"/>
                <a:gd name="connsiteY2" fmla="*/ 257442 h 257442"/>
                <a:gd name="connsiteX3" fmla="*/ 54721 w 2141832"/>
                <a:gd name="connsiteY3" fmla="*/ 0 h 257442"/>
                <a:gd name="connsiteX0" fmla="*/ 2141832 w 2141832"/>
                <a:gd name="connsiteY0" fmla="*/ 0 h 257442"/>
                <a:gd name="connsiteX1" fmla="*/ 2087111 w 2141832"/>
                <a:gd name="connsiteY1" fmla="*/ 257442 h 257442"/>
                <a:gd name="connsiteX2" fmla="*/ 0 w 2141832"/>
                <a:gd name="connsiteY2" fmla="*/ 257442 h 257442"/>
                <a:gd name="connsiteX3" fmla="*/ 54721 w 2141832"/>
                <a:gd name="connsiteY3" fmla="*/ 0 h 257442"/>
                <a:gd name="connsiteX0" fmla="*/ 2141832 w 2141832"/>
                <a:gd name="connsiteY0" fmla="*/ 0 h 257442"/>
                <a:gd name="connsiteX1" fmla="*/ 2087111 w 2141832"/>
                <a:gd name="connsiteY1" fmla="*/ 257442 h 257442"/>
                <a:gd name="connsiteX2" fmla="*/ 0 w 2141832"/>
                <a:gd name="connsiteY2" fmla="*/ 257442 h 257442"/>
                <a:gd name="connsiteX3" fmla="*/ 54721 w 2141832"/>
                <a:gd name="connsiteY3" fmla="*/ 0 h 257442"/>
                <a:gd name="connsiteX0" fmla="*/ 2141832 w 2141832"/>
                <a:gd name="connsiteY0" fmla="*/ 0 h 257442"/>
                <a:gd name="connsiteX1" fmla="*/ 2087111 w 2141832"/>
                <a:gd name="connsiteY1" fmla="*/ 257442 h 257442"/>
                <a:gd name="connsiteX2" fmla="*/ 0 w 2141832"/>
                <a:gd name="connsiteY2" fmla="*/ 257442 h 257442"/>
                <a:gd name="connsiteX3" fmla="*/ 54721 w 2141832"/>
                <a:gd name="connsiteY3" fmla="*/ 0 h 257442"/>
                <a:gd name="connsiteX0" fmla="*/ 2310148 w 2310148"/>
                <a:gd name="connsiteY0" fmla="*/ 0 h 257442"/>
                <a:gd name="connsiteX1" fmla="*/ 2087111 w 2310148"/>
                <a:gd name="connsiteY1" fmla="*/ 257442 h 257442"/>
                <a:gd name="connsiteX2" fmla="*/ 0 w 2310148"/>
                <a:gd name="connsiteY2" fmla="*/ 257442 h 257442"/>
                <a:gd name="connsiteX3" fmla="*/ 54721 w 2310148"/>
                <a:gd name="connsiteY3" fmla="*/ 0 h 257442"/>
                <a:gd name="connsiteX0" fmla="*/ 2310148 w 2310148"/>
                <a:gd name="connsiteY0" fmla="*/ 0 h 257442"/>
                <a:gd name="connsiteX1" fmla="*/ 2255427 w 2310148"/>
                <a:gd name="connsiteY1" fmla="*/ 257442 h 257442"/>
                <a:gd name="connsiteX2" fmla="*/ 0 w 2310148"/>
                <a:gd name="connsiteY2" fmla="*/ 257442 h 257442"/>
                <a:gd name="connsiteX3" fmla="*/ 54721 w 2310148"/>
                <a:gd name="connsiteY3" fmla="*/ 0 h 257442"/>
                <a:gd name="connsiteX0" fmla="*/ 2310148 w 2310148"/>
                <a:gd name="connsiteY0" fmla="*/ 0 h 257442"/>
                <a:gd name="connsiteX1" fmla="*/ 2255427 w 2310148"/>
                <a:gd name="connsiteY1" fmla="*/ 257442 h 257442"/>
                <a:gd name="connsiteX2" fmla="*/ 0 w 2310148"/>
                <a:gd name="connsiteY2" fmla="*/ 257442 h 257442"/>
                <a:gd name="connsiteX3" fmla="*/ 54721 w 2310148"/>
                <a:gd name="connsiteY3" fmla="*/ 0 h 257442"/>
                <a:gd name="connsiteX0" fmla="*/ 2310148 w 2310148"/>
                <a:gd name="connsiteY0" fmla="*/ 0 h 257442"/>
                <a:gd name="connsiteX1" fmla="*/ 2255427 w 2310148"/>
                <a:gd name="connsiteY1" fmla="*/ 257442 h 257442"/>
                <a:gd name="connsiteX2" fmla="*/ 0 w 2310148"/>
                <a:gd name="connsiteY2" fmla="*/ 257442 h 257442"/>
                <a:gd name="connsiteX3" fmla="*/ 54721 w 2310148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0148" h="257442">
                  <a:moveTo>
                    <a:pt x="2310148" y="0"/>
                  </a:moveTo>
                  <a:lnTo>
                    <a:pt x="2255427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26" name="btfpRunningAgenda2LevelTextRight462810">
              <a:extLst>
                <a:ext uri="{FF2B5EF4-FFF2-40B4-BE49-F238E27FC236}">
                  <a16:creationId xmlns:a16="http://schemas.microsoft.com/office/drawing/2014/main" id="{58C598B0-1103-3998-88BE-2F42FDDF2168}"/>
                </a:ext>
              </a:extLst>
            </p:cNvPr>
            <p:cNvSpPr txBox="1"/>
            <p:nvPr/>
          </p:nvSpPr>
          <p:spPr bwMode="gray">
            <a:xfrm>
              <a:off x="2351636" y="876300"/>
              <a:ext cx="2407711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cap="all" spc="450">
                  <a:solidFill>
                    <a:srgbClr val="FFFFFF"/>
                  </a:solidFill>
                </a:rPr>
                <a:t>engagement</a:t>
              </a:r>
            </a:p>
          </p:txBody>
        </p:sp>
      </p:grpSp>
      <p:grpSp>
        <p:nvGrpSpPr>
          <p:cNvPr id="89" name="btfpStatusSticker686227">
            <a:extLst>
              <a:ext uri="{FF2B5EF4-FFF2-40B4-BE49-F238E27FC236}">
                <a16:creationId xmlns:a16="http://schemas.microsoft.com/office/drawing/2014/main" id="{83D50EFA-3255-3B16-4439-F66BB43FDFB4}"/>
              </a:ext>
            </a:extLst>
          </p:cNvPr>
          <p:cNvGrpSpPr/>
          <p:nvPr>
            <p:custDataLst>
              <p:tags r:id="rId10"/>
            </p:custDataLst>
          </p:nvPr>
        </p:nvGrpSpPr>
        <p:grpSpPr>
          <a:xfrm>
            <a:off x="10138846" y="956321"/>
            <a:ext cx="1759136" cy="235611"/>
            <a:chOff x="8626959" y="955344"/>
            <a:chExt cx="1759136" cy="235611"/>
          </a:xfrm>
        </p:grpSpPr>
        <p:sp>
          <p:nvSpPr>
            <p:cNvPr id="90" name="btfpStatusStickerText686227">
              <a:extLst>
                <a:ext uri="{FF2B5EF4-FFF2-40B4-BE49-F238E27FC236}">
                  <a16:creationId xmlns:a16="http://schemas.microsoft.com/office/drawing/2014/main" id="{1EF5FA57-6083-EF98-276F-16D9AD8F4A44}"/>
                </a:ext>
              </a:extLst>
            </p:cNvPr>
            <p:cNvSpPr txBox="1"/>
            <p:nvPr/>
          </p:nvSpPr>
          <p:spPr bwMode="gray">
            <a:xfrm>
              <a:off x="8626959" y="955344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ct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91" name="btfpStatusStickerLine686227">
              <a:extLst>
                <a:ext uri="{FF2B5EF4-FFF2-40B4-BE49-F238E27FC236}">
                  <a16:creationId xmlns:a16="http://schemas.microsoft.com/office/drawing/2014/main" id="{A2911DD7-5D12-C8B9-E0AD-CC9E88412A91}"/>
                </a:ext>
              </a:extLst>
            </p:cNvPr>
            <p:cNvCxnSpPr/>
            <p:nvPr/>
          </p:nvCxnSpPr>
          <p:spPr bwMode="gray">
            <a:xfrm rot="720000">
              <a:off x="8626959" y="955344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btfpNotesBox735198">
            <a:extLst>
              <a:ext uri="{FF2B5EF4-FFF2-40B4-BE49-F238E27FC236}">
                <a16:creationId xmlns:a16="http://schemas.microsoft.com/office/drawing/2014/main" id="{2CF1C8A5-6A00-66D5-992D-AD02E642ED83}"/>
              </a:ext>
            </a:extLst>
          </p:cNvPr>
          <p:cNvSpPr txBox="1"/>
          <p:nvPr>
            <p:custDataLst>
              <p:tags r:id="rId11"/>
            </p:custDataLst>
          </p:nvPr>
        </p:nvSpPr>
        <p:spPr bwMode="gray">
          <a:xfrm>
            <a:off x="330200" y="6341860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/>
              <a:t>Note: LTM is Apr’24-Mar’25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/>
              <a:t>Source: </a:t>
            </a:r>
            <a:r>
              <a:rPr lang="en-US" sz="800" err="1"/>
              <a:t>SimilarWeb</a:t>
            </a:r>
            <a:endParaRPr lang="en-US" sz="80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F0B5BEB-56D4-075D-87FB-47D2FBDC4A63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38" y="946635"/>
            <a:ext cx="252287" cy="25157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279757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71AC1FE8-4BDC-BCA6-4D1D-3C49D97006E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2849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04" imgH="405" progId="TCLayout.ActiveDocument.1">
                  <p:embed/>
                </p:oleObj>
              </mc:Choice>
              <mc:Fallback>
                <p:oleObj name="think-cell Slide" r:id="rId10" imgW="404" imgH="405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AC1FE8-4BDC-BCA6-4D1D-3C49D9700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0" name="btfpColumnIndicatorGroup2">
            <a:extLst>
              <a:ext uri="{FF2B5EF4-FFF2-40B4-BE49-F238E27FC236}">
                <a16:creationId xmlns:a16="http://schemas.microsoft.com/office/drawing/2014/main" id="{368293DA-B4CB-7323-7ACE-D03F0F5B6939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7" name="btfpColumnGapBlocker149446">
              <a:extLst>
                <a:ext uri="{FF2B5EF4-FFF2-40B4-BE49-F238E27FC236}">
                  <a16:creationId xmlns:a16="http://schemas.microsoft.com/office/drawing/2014/main" id="{37709E64-DEB9-54D1-1DEF-340FA080A4DF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3" name="btfpColumnGapBlocker623310">
              <a:extLst>
                <a:ext uri="{FF2B5EF4-FFF2-40B4-BE49-F238E27FC236}">
                  <a16:creationId xmlns:a16="http://schemas.microsoft.com/office/drawing/2014/main" id="{B78D093B-E063-8236-5EBB-C306350FF88E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753187">
              <a:extLst>
                <a:ext uri="{FF2B5EF4-FFF2-40B4-BE49-F238E27FC236}">
                  <a16:creationId xmlns:a16="http://schemas.microsoft.com/office/drawing/2014/main" id="{7C90A7B5-2F40-407C-683C-B8DA734746E6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506682">
              <a:extLst>
                <a:ext uri="{FF2B5EF4-FFF2-40B4-BE49-F238E27FC236}">
                  <a16:creationId xmlns:a16="http://schemas.microsoft.com/office/drawing/2014/main" id="{F4EA3044-1F3B-F4B4-970E-5FF59A0685CD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btfpColumnIndicatorGroup1">
            <a:extLst>
              <a:ext uri="{FF2B5EF4-FFF2-40B4-BE49-F238E27FC236}">
                <a16:creationId xmlns:a16="http://schemas.microsoft.com/office/drawing/2014/main" id="{BE1A7A45-867F-4AEA-7980-885423944A73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4" name="btfpColumnGapBlocker448246">
              <a:extLst>
                <a:ext uri="{FF2B5EF4-FFF2-40B4-BE49-F238E27FC236}">
                  <a16:creationId xmlns:a16="http://schemas.microsoft.com/office/drawing/2014/main" id="{42A8AD9B-A4B3-1DED-A720-C5C417D6938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1" name="btfpColumnGapBlocker755942">
              <a:extLst>
                <a:ext uri="{FF2B5EF4-FFF2-40B4-BE49-F238E27FC236}">
                  <a16:creationId xmlns:a16="http://schemas.microsoft.com/office/drawing/2014/main" id="{EB3BCC2A-9D3B-BCFE-4F2F-991756F9ABCA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" name="btfpColumnIndicator984135">
              <a:extLst>
                <a:ext uri="{FF2B5EF4-FFF2-40B4-BE49-F238E27FC236}">
                  <a16:creationId xmlns:a16="http://schemas.microsoft.com/office/drawing/2014/main" id="{C73097C8-14F5-67C2-19BE-F1334606BDC6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" name="btfpColumnIndicator149803">
              <a:extLst>
                <a:ext uri="{FF2B5EF4-FFF2-40B4-BE49-F238E27FC236}">
                  <a16:creationId xmlns:a16="http://schemas.microsoft.com/office/drawing/2014/main" id="{3873EC60-ED2C-A47A-6C46-62E0B58E1F3F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C028B21C-115E-D5E0-647E-010AA1F579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304041"/>
              </p:ext>
            </p:extLst>
          </p:nvPr>
        </p:nvGraphicFramePr>
        <p:xfrm>
          <a:off x="828433" y="1506078"/>
          <a:ext cx="11033370" cy="4680524"/>
        </p:xfrm>
        <a:graphic>
          <a:graphicData uri="http://schemas.openxmlformats.org/drawingml/2006/table">
            <a:tbl>
              <a:tblPr/>
              <a:tblGrid>
                <a:gridCol w="1252850">
                  <a:extLst>
                    <a:ext uri="{9D8B030D-6E8A-4147-A177-3AD203B41FA5}">
                      <a16:colId xmlns:a16="http://schemas.microsoft.com/office/drawing/2014/main" val="2684986347"/>
                    </a:ext>
                  </a:extLst>
                </a:gridCol>
                <a:gridCol w="1222565">
                  <a:extLst>
                    <a:ext uri="{9D8B030D-6E8A-4147-A177-3AD203B41FA5}">
                      <a16:colId xmlns:a16="http://schemas.microsoft.com/office/drawing/2014/main" val="13701569"/>
                    </a:ext>
                  </a:extLst>
                </a:gridCol>
                <a:gridCol w="1222565">
                  <a:extLst>
                    <a:ext uri="{9D8B030D-6E8A-4147-A177-3AD203B41FA5}">
                      <a16:colId xmlns:a16="http://schemas.microsoft.com/office/drawing/2014/main" val="268035706"/>
                    </a:ext>
                  </a:extLst>
                </a:gridCol>
                <a:gridCol w="1222565">
                  <a:extLst>
                    <a:ext uri="{9D8B030D-6E8A-4147-A177-3AD203B41FA5}">
                      <a16:colId xmlns:a16="http://schemas.microsoft.com/office/drawing/2014/main" val="1562870298"/>
                    </a:ext>
                  </a:extLst>
                </a:gridCol>
                <a:gridCol w="1222565">
                  <a:extLst>
                    <a:ext uri="{9D8B030D-6E8A-4147-A177-3AD203B41FA5}">
                      <a16:colId xmlns:a16="http://schemas.microsoft.com/office/drawing/2014/main" val="1801828103"/>
                    </a:ext>
                  </a:extLst>
                </a:gridCol>
                <a:gridCol w="1222565">
                  <a:extLst>
                    <a:ext uri="{9D8B030D-6E8A-4147-A177-3AD203B41FA5}">
                      <a16:colId xmlns:a16="http://schemas.microsoft.com/office/drawing/2014/main" val="2998309804"/>
                    </a:ext>
                  </a:extLst>
                </a:gridCol>
                <a:gridCol w="1222565">
                  <a:extLst>
                    <a:ext uri="{9D8B030D-6E8A-4147-A177-3AD203B41FA5}">
                      <a16:colId xmlns:a16="http://schemas.microsoft.com/office/drawing/2014/main" val="1978475672"/>
                    </a:ext>
                  </a:extLst>
                </a:gridCol>
                <a:gridCol w="1222565">
                  <a:extLst>
                    <a:ext uri="{9D8B030D-6E8A-4147-A177-3AD203B41FA5}">
                      <a16:colId xmlns:a16="http://schemas.microsoft.com/office/drawing/2014/main" val="4161147581"/>
                    </a:ext>
                  </a:extLst>
                </a:gridCol>
                <a:gridCol w="1222565">
                  <a:extLst>
                    <a:ext uri="{9D8B030D-6E8A-4147-A177-3AD203B41FA5}">
                      <a16:colId xmlns:a16="http://schemas.microsoft.com/office/drawing/2014/main" val="1917863902"/>
                    </a:ext>
                  </a:extLst>
                </a:gridCol>
              </a:tblGrid>
              <a:tr h="482897"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9681183"/>
                  </a:ext>
                </a:extLst>
              </a:tr>
              <a:tr h="533811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11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+mj-lt"/>
                        </a:rPr>
                        <a:t>Peer 4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+mj-lt"/>
                        </a:rPr>
                        <a:t>Peer 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+mj-lt"/>
                        </a:rPr>
                        <a:t>Peer 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+mj-lt"/>
                        </a:rPr>
                        <a:t>Peer 5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+mj-lt"/>
                        </a:rPr>
                        <a:t>Peer 7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+mj-lt"/>
                        </a:rPr>
                        <a:t>Peer 3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+mj-lt"/>
                        </a:rPr>
                        <a:t>Peer 6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eer 9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39669909"/>
                  </a:ext>
                </a:extLst>
              </a:tr>
              <a:tr h="457977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9110513"/>
                  </a:ext>
                </a:extLst>
              </a:tr>
              <a:tr h="457977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0338622"/>
                  </a:ext>
                </a:extLst>
              </a:tr>
              <a:tr h="457977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1489307"/>
                  </a:ext>
                </a:extLst>
              </a:tr>
              <a:tr h="457977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46947469"/>
                  </a:ext>
                </a:extLst>
              </a:tr>
              <a:tr h="457977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5999302"/>
                  </a:ext>
                </a:extLst>
              </a:tr>
              <a:tr h="457977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3019452"/>
                  </a:ext>
                </a:extLst>
              </a:tr>
              <a:tr h="457977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4882937"/>
                  </a:ext>
                </a:extLst>
              </a:tr>
              <a:tr h="457977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0199174"/>
                  </a:ext>
                </a:extLst>
              </a:tr>
            </a:tbl>
          </a:graphicData>
        </a:graphic>
      </p:graphicFrame>
      <p:sp>
        <p:nvSpPr>
          <p:cNvPr id="87" name="btfpNotesBox868802">
            <a:extLst>
              <a:ext uri="{FF2B5EF4-FFF2-40B4-BE49-F238E27FC236}">
                <a16:creationId xmlns:a16="http://schemas.microsoft.com/office/drawing/2014/main" id="{4C9B30AA-74DF-4272-A433-D579CD586994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200" y="633696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/>
              <a:t>Note: Based on desktop data only; Average %s over LTM (Apr’24 – Mar’25); Website visitors for Peer 11, Peer 10, Peer 8 and Peer 12 had 0% overlap with all other players,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/>
              <a:t>hence not shown on the slide | Source: </a:t>
            </a:r>
            <a:r>
              <a:rPr lang="en-US" sz="800" dirty="0" err="1"/>
              <a:t>SimilarWeb</a:t>
            </a:r>
            <a:endParaRPr lang="en-US" sz="800" dirty="0"/>
          </a:p>
        </p:txBody>
      </p:sp>
      <p:grpSp>
        <p:nvGrpSpPr>
          <p:cNvPr id="89" name="btfpStatusSticker670262">
            <a:extLst>
              <a:ext uri="{FF2B5EF4-FFF2-40B4-BE49-F238E27FC236}">
                <a16:creationId xmlns:a16="http://schemas.microsoft.com/office/drawing/2014/main" id="{F8FB72EB-7710-4FE3-8C0D-1748097CD7EB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102664" y="955344"/>
            <a:ext cx="1759136" cy="235611"/>
            <a:chOff x="-2269853" y="876300"/>
            <a:chExt cx="1759136" cy="235611"/>
          </a:xfrm>
        </p:grpSpPr>
        <p:sp>
          <p:nvSpPr>
            <p:cNvPr id="90" name="btfpStatusStickerText670262">
              <a:extLst>
                <a:ext uri="{FF2B5EF4-FFF2-40B4-BE49-F238E27FC236}">
                  <a16:creationId xmlns:a16="http://schemas.microsoft.com/office/drawing/2014/main" id="{0FBF613D-8F2F-4870-912F-47BFEFC72B09}"/>
                </a:ext>
              </a:extLst>
            </p:cNvPr>
            <p:cNvSpPr txBox="1"/>
            <p:nvPr/>
          </p:nvSpPr>
          <p:spPr bwMode="gray">
            <a:xfrm>
              <a:off x="-2269853" y="876300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91" name="btfpStatusStickerLine670262">
              <a:extLst>
                <a:ext uri="{FF2B5EF4-FFF2-40B4-BE49-F238E27FC236}">
                  <a16:creationId xmlns:a16="http://schemas.microsoft.com/office/drawing/2014/main" id="{B3353619-866D-41DE-BBD8-E1215459137E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69853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Title 1">
            <a:extLst>
              <a:ext uri="{FF2B5EF4-FFF2-40B4-BE49-F238E27FC236}">
                <a16:creationId xmlns:a16="http://schemas.microsoft.com/office/drawing/2014/main" id="{AE061BBC-D039-4A2F-8088-A54FB56D3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12" y="1"/>
            <a:ext cx="11715309" cy="876687"/>
          </a:xfrm>
        </p:spPr>
        <p:txBody>
          <a:bodyPr vert="horz"/>
          <a:lstStyle/>
          <a:p>
            <a:r>
              <a:rPr lang="en-US" b="1" dirty="0"/>
              <a:t>Cross-Purchase</a:t>
            </a:r>
            <a:r>
              <a:rPr lang="en-US" dirty="0"/>
              <a:t>: </a:t>
            </a:r>
            <a:r>
              <a:rPr lang="en-US" sz="2200" dirty="0"/>
              <a:t>Certain Peer 1 sub-brands have high overlap within each other but limited overlap with competitors; Peer 4 attracts high %age of visitors from sub-brands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C9B2E35-CEAE-E2C1-1AAA-62F954C9BE2D}"/>
              </a:ext>
            </a:extLst>
          </p:cNvPr>
          <p:cNvSpPr/>
          <p:nvPr/>
        </p:nvSpPr>
        <p:spPr bwMode="gray">
          <a:xfrm>
            <a:off x="10311407" y="6346348"/>
            <a:ext cx="486932" cy="20619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800" b="1" i="1">
                <a:solidFill>
                  <a:schemeClr val="tx1"/>
                </a:solidFill>
              </a:rPr>
              <a:t>1-5%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3DE02B4-DCE5-96B2-098E-C67FED46231C}"/>
              </a:ext>
            </a:extLst>
          </p:cNvPr>
          <p:cNvSpPr/>
          <p:nvPr/>
        </p:nvSpPr>
        <p:spPr bwMode="gray">
          <a:xfrm>
            <a:off x="10830740" y="6346348"/>
            <a:ext cx="486932" cy="20381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800" b="1" i="1">
                <a:solidFill>
                  <a:schemeClr val="tx1"/>
                </a:solidFill>
              </a:rPr>
              <a:t>6-10%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1C7E7079-A63E-3BDC-97DF-40EB109704FC}"/>
              </a:ext>
            </a:extLst>
          </p:cNvPr>
          <p:cNvSpPr/>
          <p:nvPr/>
        </p:nvSpPr>
        <p:spPr bwMode="gray">
          <a:xfrm>
            <a:off x="11350073" y="6346348"/>
            <a:ext cx="486931" cy="20619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800" b="1" i="1">
                <a:solidFill>
                  <a:schemeClr val="tx1"/>
                </a:solidFill>
              </a:rPr>
              <a:t>&gt;10%</a:t>
            </a:r>
          </a:p>
        </p:txBody>
      </p:sp>
      <p:sp>
        <p:nvSpPr>
          <p:cNvPr id="67" name="AutoShape 6" descr="KaartDirect">
            <a:extLst>
              <a:ext uri="{FF2B5EF4-FFF2-40B4-BE49-F238E27FC236}">
                <a16:creationId xmlns:a16="http://schemas.microsoft.com/office/drawing/2014/main" id="{5C95A394-F5F2-D97E-1A58-26E167B9B1B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B1F25150-14DB-D5D1-0A6D-11B9BBB4D38C}"/>
              </a:ext>
            </a:extLst>
          </p:cNvPr>
          <p:cNvSpPr txBox="1"/>
          <p:nvPr/>
        </p:nvSpPr>
        <p:spPr bwMode="gray">
          <a:xfrm rot="16200000">
            <a:off x="-612998" y="3252024"/>
            <a:ext cx="2164080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 algn="r">
              <a:buNone/>
            </a:pPr>
            <a:r>
              <a:rPr lang="en-US" b="1"/>
              <a:t>Visitors to…</a:t>
            </a:r>
          </a:p>
        </p:txBody>
      </p: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27DEBCD5-40EC-053D-4D97-5058560DC562}"/>
              </a:ext>
            </a:extLst>
          </p:cNvPr>
          <p:cNvCxnSpPr>
            <a:cxnSpLocks/>
          </p:cNvCxnSpPr>
          <p:nvPr/>
        </p:nvCxnSpPr>
        <p:spPr bwMode="gray">
          <a:xfrm flipV="1">
            <a:off x="620237" y="2448037"/>
            <a:ext cx="0" cy="3738566"/>
          </a:xfrm>
          <a:prstGeom prst="straightConnector1">
            <a:avLst/>
          </a:prstGeom>
          <a:ln w="9525" cap="flat">
            <a:solidFill>
              <a:schemeClr val="tx1"/>
            </a:solidFill>
            <a:miter lim="800000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Box 77">
            <a:extLst>
              <a:ext uri="{FF2B5EF4-FFF2-40B4-BE49-F238E27FC236}">
                <a16:creationId xmlns:a16="http://schemas.microsoft.com/office/drawing/2014/main" id="{C999B5DA-1D11-795E-3744-116026CA7DEA}"/>
              </a:ext>
            </a:extLst>
          </p:cNvPr>
          <p:cNvSpPr txBox="1"/>
          <p:nvPr/>
        </p:nvSpPr>
        <p:spPr bwMode="gray">
          <a:xfrm>
            <a:off x="2091689" y="1201061"/>
            <a:ext cx="6362015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b="1"/>
              <a:t>Also visited…</a:t>
            </a:r>
          </a:p>
        </p:txBody>
      </p:sp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3267E0AE-431E-A638-F89B-A0C4097E099C}"/>
              </a:ext>
            </a:extLst>
          </p:cNvPr>
          <p:cNvCxnSpPr>
            <a:cxnSpLocks/>
          </p:cNvCxnSpPr>
          <p:nvPr/>
        </p:nvCxnSpPr>
        <p:spPr bwMode="gray">
          <a:xfrm>
            <a:off x="2106668" y="1561643"/>
            <a:ext cx="9674169" cy="0"/>
          </a:xfrm>
          <a:prstGeom prst="straightConnector1">
            <a:avLst/>
          </a:prstGeom>
          <a:ln w="9525" cap="flat">
            <a:solidFill>
              <a:schemeClr val="tx1"/>
            </a:solidFill>
            <a:miter lim="800000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" name="btfpRunningAgenda2Level600372">
            <a:extLst>
              <a:ext uri="{FF2B5EF4-FFF2-40B4-BE49-F238E27FC236}">
                <a16:creationId xmlns:a16="http://schemas.microsoft.com/office/drawing/2014/main" id="{D5AD728A-BCDC-3952-D618-E87AEF8FAB05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-1" y="944429"/>
            <a:ext cx="4281873" cy="257442"/>
            <a:chOff x="-1" y="876300"/>
            <a:chExt cx="4281873" cy="257442"/>
          </a:xfrm>
        </p:grpSpPr>
        <p:sp>
          <p:nvSpPr>
            <p:cNvPr id="35" name="btfpRunningAgenda2LevelBarLeft600372">
              <a:extLst>
                <a:ext uri="{FF2B5EF4-FFF2-40B4-BE49-F238E27FC236}">
                  <a16:creationId xmlns:a16="http://schemas.microsoft.com/office/drawing/2014/main" id="{AF7CAB64-6D1D-46F5-F0A9-3C039EC5939F}"/>
                </a:ext>
              </a:extLst>
            </p:cNvPr>
            <p:cNvSpPr/>
            <p:nvPr/>
          </p:nvSpPr>
          <p:spPr bwMode="gray">
            <a:xfrm>
              <a:off x="-1" y="876300"/>
              <a:ext cx="2486479" cy="257442"/>
            </a:xfrm>
            <a:custGeom>
              <a:avLst/>
              <a:gdLst>
                <a:gd name="connsiteX0" fmla="*/ 986067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86067 w 1816204"/>
                <a:gd name="connsiteY0" fmla="*/ 0 h 257442"/>
                <a:gd name="connsiteX1" fmla="*/ 931347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86067 w 986067"/>
                <a:gd name="connsiteY0" fmla="*/ 0 h 257442"/>
                <a:gd name="connsiteX1" fmla="*/ 931347 w 986067"/>
                <a:gd name="connsiteY1" fmla="*/ 257442 h 257442"/>
                <a:gd name="connsiteX2" fmla="*/ 1 w 986067"/>
                <a:gd name="connsiteY2" fmla="*/ 257442 h 257442"/>
                <a:gd name="connsiteX3" fmla="*/ 0 w 986067"/>
                <a:gd name="connsiteY3" fmla="*/ 257442 h 257442"/>
                <a:gd name="connsiteX0" fmla="*/ 986066 w 986066"/>
                <a:gd name="connsiteY0" fmla="*/ 0 h 257442"/>
                <a:gd name="connsiteX1" fmla="*/ 931346 w 986066"/>
                <a:gd name="connsiteY1" fmla="*/ 257442 h 257442"/>
                <a:gd name="connsiteX2" fmla="*/ 0 w 986066"/>
                <a:gd name="connsiteY2" fmla="*/ 257442 h 257442"/>
                <a:gd name="connsiteX3" fmla="*/ 1 w 986066"/>
                <a:gd name="connsiteY3" fmla="*/ 0 h 257442"/>
                <a:gd name="connsiteX0" fmla="*/ 1146368 w 1146368"/>
                <a:gd name="connsiteY0" fmla="*/ 0 h 257442"/>
                <a:gd name="connsiteX1" fmla="*/ 931346 w 1146368"/>
                <a:gd name="connsiteY1" fmla="*/ 257442 h 257442"/>
                <a:gd name="connsiteX2" fmla="*/ 0 w 1146368"/>
                <a:gd name="connsiteY2" fmla="*/ 257442 h 257442"/>
                <a:gd name="connsiteX3" fmla="*/ 1 w 1146368"/>
                <a:gd name="connsiteY3" fmla="*/ 0 h 257442"/>
                <a:gd name="connsiteX0" fmla="*/ 1146368 w 1146368"/>
                <a:gd name="connsiteY0" fmla="*/ 0 h 257442"/>
                <a:gd name="connsiteX1" fmla="*/ 1091647 w 1146368"/>
                <a:gd name="connsiteY1" fmla="*/ 257442 h 257442"/>
                <a:gd name="connsiteX2" fmla="*/ 0 w 1146368"/>
                <a:gd name="connsiteY2" fmla="*/ 257442 h 257442"/>
                <a:gd name="connsiteX3" fmla="*/ 1 w 1146368"/>
                <a:gd name="connsiteY3" fmla="*/ 0 h 257442"/>
                <a:gd name="connsiteX0" fmla="*/ 1146368 w 1146368"/>
                <a:gd name="connsiteY0" fmla="*/ 0 h 257442"/>
                <a:gd name="connsiteX1" fmla="*/ 1091647 w 1146368"/>
                <a:gd name="connsiteY1" fmla="*/ 257442 h 257442"/>
                <a:gd name="connsiteX2" fmla="*/ 0 w 1146368"/>
                <a:gd name="connsiteY2" fmla="*/ 257442 h 257442"/>
                <a:gd name="connsiteX3" fmla="*/ 1 w 1146368"/>
                <a:gd name="connsiteY3" fmla="*/ 0 h 257442"/>
                <a:gd name="connsiteX0" fmla="*/ 1146368 w 1146368"/>
                <a:gd name="connsiteY0" fmla="*/ 0 h 257442"/>
                <a:gd name="connsiteX1" fmla="*/ 1091647 w 1146368"/>
                <a:gd name="connsiteY1" fmla="*/ 257442 h 257442"/>
                <a:gd name="connsiteX2" fmla="*/ 0 w 1146368"/>
                <a:gd name="connsiteY2" fmla="*/ 257442 h 257442"/>
                <a:gd name="connsiteX3" fmla="*/ 0 w 1146368"/>
                <a:gd name="connsiteY3" fmla="*/ 0 h 257442"/>
                <a:gd name="connsiteX0" fmla="*/ 1314682 w 1314682"/>
                <a:gd name="connsiteY0" fmla="*/ 0 h 257442"/>
                <a:gd name="connsiteX1" fmla="*/ 1091647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415672 w 1415672"/>
                <a:gd name="connsiteY0" fmla="*/ 0 h 257442"/>
                <a:gd name="connsiteX1" fmla="*/ 1259961 w 1415672"/>
                <a:gd name="connsiteY1" fmla="*/ 257442 h 257442"/>
                <a:gd name="connsiteX2" fmla="*/ 0 w 1415672"/>
                <a:gd name="connsiteY2" fmla="*/ 257442 h 257442"/>
                <a:gd name="connsiteX3" fmla="*/ 0 w 1415672"/>
                <a:gd name="connsiteY3" fmla="*/ 0 h 257442"/>
                <a:gd name="connsiteX0" fmla="*/ 1415672 w 1415672"/>
                <a:gd name="connsiteY0" fmla="*/ 0 h 257442"/>
                <a:gd name="connsiteX1" fmla="*/ 1360951 w 1415672"/>
                <a:gd name="connsiteY1" fmla="*/ 257442 h 257442"/>
                <a:gd name="connsiteX2" fmla="*/ 0 w 1415672"/>
                <a:gd name="connsiteY2" fmla="*/ 257442 h 257442"/>
                <a:gd name="connsiteX3" fmla="*/ 0 w 1415672"/>
                <a:gd name="connsiteY3" fmla="*/ 0 h 257442"/>
                <a:gd name="connsiteX0" fmla="*/ 1415672 w 1415672"/>
                <a:gd name="connsiteY0" fmla="*/ 0 h 257442"/>
                <a:gd name="connsiteX1" fmla="*/ 1360951 w 1415672"/>
                <a:gd name="connsiteY1" fmla="*/ 257442 h 257442"/>
                <a:gd name="connsiteX2" fmla="*/ 0 w 1415672"/>
                <a:gd name="connsiteY2" fmla="*/ 257442 h 257442"/>
                <a:gd name="connsiteX3" fmla="*/ 0 w 1415672"/>
                <a:gd name="connsiteY3" fmla="*/ 0 h 257442"/>
                <a:gd name="connsiteX0" fmla="*/ 1415672 w 1415672"/>
                <a:gd name="connsiteY0" fmla="*/ 0 h 257442"/>
                <a:gd name="connsiteX1" fmla="*/ 1360951 w 1415672"/>
                <a:gd name="connsiteY1" fmla="*/ 257442 h 257442"/>
                <a:gd name="connsiteX2" fmla="*/ 0 w 1415672"/>
                <a:gd name="connsiteY2" fmla="*/ 257442 h 257442"/>
                <a:gd name="connsiteX3" fmla="*/ 0 w 1415672"/>
                <a:gd name="connsiteY3" fmla="*/ 0 h 257442"/>
                <a:gd name="connsiteX0" fmla="*/ 1567957 w 1567957"/>
                <a:gd name="connsiteY0" fmla="*/ 0 h 257442"/>
                <a:gd name="connsiteX1" fmla="*/ 1360951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567957 w 1567957"/>
                <a:gd name="connsiteY0" fmla="*/ 0 h 257442"/>
                <a:gd name="connsiteX1" fmla="*/ 1513236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567957 w 1567957"/>
                <a:gd name="connsiteY0" fmla="*/ 0 h 257442"/>
                <a:gd name="connsiteX1" fmla="*/ 1513236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567957 w 1567957"/>
                <a:gd name="connsiteY0" fmla="*/ 0 h 257442"/>
                <a:gd name="connsiteX1" fmla="*/ 1513236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736273 w 1736273"/>
                <a:gd name="connsiteY0" fmla="*/ 0 h 257442"/>
                <a:gd name="connsiteX1" fmla="*/ 1513236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736273 w 1736273"/>
                <a:gd name="connsiteY0" fmla="*/ 0 h 257442"/>
                <a:gd name="connsiteX1" fmla="*/ 1681552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736273 w 1736273"/>
                <a:gd name="connsiteY0" fmla="*/ 0 h 257442"/>
                <a:gd name="connsiteX1" fmla="*/ 1681552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736273 w 1736273"/>
                <a:gd name="connsiteY0" fmla="*/ 0 h 257442"/>
                <a:gd name="connsiteX1" fmla="*/ 1681552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904587 w 1904587"/>
                <a:gd name="connsiteY0" fmla="*/ 0 h 257442"/>
                <a:gd name="connsiteX1" fmla="*/ 1681552 w 1904587"/>
                <a:gd name="connsiteY1" fmla="*/ 257442 h 257442"/>
                <a:gd name="connsiteX2" fmla="*/ 0 w 1904587"/>
                <a:gd name="connsiteY2" fmla="*/ 257442 h 257442"/>
                <a:gd name="connsiteX3" fmla="*/ 0 w 1904587"/>
                <a:gd name="connsiteY3" fmla="*/ 0 h 257442"/>
                <a:gd name="connsiteX0" fmla="*/ 1904587 w 1904587"/>
                <a:gd name="connsiteY0" fmla="*/ 0 h 257442"/>
                <a:gd name="connsiteX1" fmla="*/ 1849866 w 1904587"/>
                <a:gd name="connsiteY1" fmla="*/ 257442 h 257442"/>
                <a:gd name="connsiteX2" fmla="*/ 0 w 1904587"/>
                <a:gd name="connsiteY2" fmla="*/ 257442 h 257442"/>
                <a:gd name="connsiteX3" fmla="*/ 0 w 1904587"/>
                <a:gd name="connsiteY3" fmla="*/ 0 h 257442"/>
                <a:gd name="connsiteX0" fmla="*/ 1904587 w 1904587"/>
                <a:gd name="connsiteY0" fmla="*/ 0 h 257442"/>
                <a:gd name="connsiteX1" fmla="*/ 1849866 w 1904587"/>
                <a:gd name="connsiteY1" fmla="*/ 257442 h 257442"/>
                <a:gd name="connsiteX2" fmla="*/ 0 w 1904587"/>
                <a:gd name="connsiteY2" fmla="*/ 257442 h 257442"/>
                <a:gd name="connsiteX3" fmla="*/ 0 w 1904587"/>
                <a:gd name="connsiteY3" fmla="*/ 0 h 257442"/>
                <a:gd name="connsiteX0" fmla="*/ 1904587 w 1904587"/>
                <a:gd name="connsiteY0" fmla="*/ 0 h 257442"/>
                <a:gd name="connsiteX1" fmla="*/ 1849866 w 1904587"/>
                <a:gd name="connsiteY1" fmla="*/ 257442 h 257442"/>
                <a:gd name="connsiteX2" fmla="*/ 0 w 1904587"/>
                <a:gd name="connsiteY2" fmla="*/ 257442 h 257442"/>
                <a:gd name="connsiteX3" fmla="*/ 0 w 1904587"/>
                <a:gd name="connsiteY3" fmla="*/ 0 h 257442"/>
                <a:gd name="connsiteX0" fmla="*/ 2056873 w 2056873"/>
                <a:gd name="connsiteY0" fmla="*/ 0 h 257442"/>
                <a:gd name="connsiteX1" fmla="*/ 1849866 w 2056873"/>
                <a:gd name="connsiteY1" fmla="*/ 257442 h 257442"/>
                <a:gd name="connsiteX2" fmla="*/ 0 w 2056873"/>
                <a:gd name="connsiteY2" fmla="*/ 257442 h 257442"/>
                <a:gd name="connsiteX3" fmla="*/ 0 w 2056873"/>
                <a:gd name="connsiteY3" fmla="*/ 0 h 257442"/>
                <a:gd name="connsiteX0" fmla="*/ 2056873 w 2056873"/>
                <a:gd name="connsiteY0" fmla="*/ 0 h 257442"/>
                <a:gd name="connsiteX1" fmla="*/ 2002152 w 2056873"/>
                <a:gd name="connsiteY1" fmla="*/ 257442 h 257442"/>
                <a:gd name="connsiteX2" fmla="*/ 0 w 2056873"/>
                <a:gd name="connsiteY2" fmla="*/ 257442 h 257442"/>
                <a:gd name="connsiteX3" fmla="*/ 0 w 2056873"/>
                <a:gd name="connsiteY3" fmla="*/ 0 h 257442"/>
                <a:gd name="connsiteX0" fmla="*/ 2056873 w 2056873"/>
                <a:gd name="connsiteY0" fmla="*/ 0 h 257442"/>
                <a:gd name="connsiteX1" fmla="*/ 2002152 w 2056873"/>
                <a:gd name="connsiteY1" fmla="*/ 257442 h 257442"/>
                <a:gd name="connsiteX2" fmla="*/ 0 w 2056873"/>
                <a:gd name="connsiteY2" fmla="*/ 257442 h 257442"/>
                <a:gd name="connsiteX3" fmla="*/ 0 w 2056873"/>
                <a:gd name="connsiteY3" fmla="*/ 0 h 257442"/>
                <a:gd name="connsiteX0" fmla="*/ 2056873 w 2056873"/>
                <a:gd name="connsiteY0" fmla="*/ 0 h 257442"/>
                <a:gd name="connsiteX1" fmla="*/ 2002152 w 2056873"/>
                <a:gd name="connsiteY1" fmla="*/ 257442 h 257442"/>
                <a:gd name="connsiteX2" fmla="*/ 0 w 2056873"/>
                <a:gd name="connsiteY2" fmla="*/ 257442 h 257442"/>
                <a:gd name="connsiteX3" fmla="*/ 0 w 2056873"/>
                <a:gd name="connsiteY3" fmla="*/ 0 h 257442"/>
                <a:gd name="connsiteX0" fmla="*/ 2209158 w 2209158"/>
                <a:gd name="connsiteY0" fmla="*/ 0 h 257442"/>
                <a:gd name="connsiteX1" fmla="*/ 2002152 w 2209158"/>
                <a:gd name="connsiteY1" fmla="*/ 257442 h 257442"/>
                <a:gd name="connsiteX2" fmla="*/ 0 w 2209158"/>
                <a:gd name="connsiteY2" fmla="*/ 257442 h 257442"/>
                <a:gd name="connsiteX3" fmla="*/ 0 w 2209158"/>
                <a:gd name="connsiteY3" fmla="*/ 0 h 257442"/>
                <a:gd name="connsiteX0" fmla="*/ 2209158 w 2209158"/>
                <a:gd name="connsiteY0" fmla="*/ 0 h 257442"/>
                <a:gd name="connsiteX1" fmla="*/ 2154436 w 2209158"/>
                <a:gd name="connsiteY1" fmla="*/ 257442 h 257442"/>
                <a:gd name="connsiteX2" fmla="*/ 0 w 2209158"/>
                <a:gd name="connsiteY2" fmla="*/ 257442 h 257442"/>
                <a:gd name="connsiteX3" fmla="*/ 0 w 2209158"/>
                <a:gd name="connsiteY3" fmla="*/ 0 h 257442"/>
                <a:gd name="connsiteX0" fmla="*/ 2209159 w 2209159"/>
                <a:gd name="connsiteY0" fmla="*/ 0 h 257442"/>
                <a:gd name="connsiteX1" fmla="*/ 2154437 w 2209159"/>
                <a:gd name="connsiteY1" fmla="*/ 257442 h 257442"/>
                <a:gd name="connsiteX2" fmla="*/ 0 w 2209159"/>
                <a:gd name="connsiteY2" fmla="*/ 257442 h 257442"/>
                <a:gd name="connsiteX3" fmla="*/ 1 w 2209159"/>
                <a:gd name="connsiteY3" fmla="*/ 0 h 257442"/>
                <a:gd name="connsiteX0" fmla="*/ 2209159 w 2209159"/>
                <a:gd name="connsiteY0" fmla="*/ 0 h 257442"/>
                <a:gd name="connsiteX1" fmla="*/ 2154437 w 2209159"/>
                <a:gd name="connsiteY1" fmla="*/ 257442 h 257442"/>
                <a:gd name="connsiteX2" fmla="*/ 0 w 2209159"/>
                <a:gd name="connsiteY2" fmla="*/ 257442 h 257442"/>
                <a:gd name="connsiteX3" fmla="*/ 1 w 2209159"/>
                <a:gd name="connsiteY3" fmla="*/ 0 h 257442"/>
                <a:gd name="connsiteX0" fmla="*/ 2310149 w 2310149"/>
                <a:gd name="connsiteY0" fmla="*/ 0 h 257442"/>
                <a:gd name="connsiteX1" fmla="*/ 2154437 w 2310149"/>
                <a:gd name="connsiteY1" fmla="*/ 257442 h 257442"/>
                <a:gd name="connsiteX2" fmla="*/ 0 w 2310149"/>
                <a:gd name="connsiteY2" fmla="*/ 257442 h 257442"/>
                <a:gd name="connsiteX3" fmla="*/ 1 w 2310149"/>
                <a:gd name="connsiteY3" fmla="*/ 0 h 257442"/>
                <a:gd name="connsiteX0" fmla="*/ 2310149 w 2310149"/>
                <a:gd name="connsiteY0" fmla="*/ 0 h 257442"/>
                <a:gd name="connsiteX1" fmla="*/ 2255428 w 2310149"/>
                <a:gd name="connsiteY1" fmla="*/ 257442 h 257442"/>
                <a:gd name="connsiteX2" fmla="*/ 0 w 2310149"/>
                <a:gd name="connsiteY2" fmla="*/ 257442 h 257442"/>
                <a:gd name="connsiteX3" fmla="*/ 1 w 2310149"/>
                <a:gd name="connsiteY3" fmla="*/ 0 h 257442"/>
                <a:gd name="connsiteX0" fmla="*/ 2310148 w 2310148"/>
                <a:gd name="connsiteY0" fmla="*/ 0 h 257442"/>
                <a:gd name="connsiteX1" fmla="*/ 2255427 w 2310148"/>
                <a:gd name="connsiteY1" fmla="*/ 257442 h 257442"/>
                <a:gd name="connsiteX2" fmla="*/ 0 w 2310148"/>
                <a:gd name="connsiteY2" fmla="*/ 257442 h 257442"/>
                <a:gd name="connsiteX3" fmla="*/ 0 w 2310148"/>
                <a:gd name="connsiteY3" fmla="*/ 0 h 257442"/>
                <a:gd name="connsiteX0" fmla="*/ 2310149 w 2310149"/>
                <a:gd name="connsiteY0" fmla="*/ 0 h 257442"/>
                <a:gd name="connsiteX1" fmla="*/ 2255428 w 2310149"/>
                <a:gd name="connsiteY1" fmla="*/ 257442 h 257442"/>
                <a:gd name="connsiteX2" fmla="*/ 1 w 2310149"/>
                <a:gd name="connsiteY2" fmla="*/ 257442 h 257442"/>
                <a:gd name="connsiteX3" fmla="*/ 0 w 2310149"/>
                <a:gd name="connsiteY3" fmla="*/ 0 h 257442"/>
                <a:gd name="connsiteX0" fmla="*/ 2478463 w 2478463"/>
                <a:gd name="connsiteY0" fmla="*/ 0 h 257442"/>
                <a:gd name="connsiteX1" fmla="*/ 2255428 w 2478463"/>
                <a:gd name="connsiteY1" fmla="*/ 257442 h 257442"/>
                <a:gd name="connsiteX2" fmla="*/ 1 w 2478463"/>
                <a:gd name="connsiteY2" fmla="*/ 257442 h 257442"/>
                <a:gd name="connsiteX3" fmla="*/ 0 w 2478463"/>
                <a:gd name="connsiteY3" fmla="*/ 0 h 257442"/>
                <a:gd name="connsiteX0" fmla="*/ 2478463 w 2478463"/>
                <a:gd name="connsiteY0" fmla="*/ 0 h 257442"/>
                <a:gd name="connsiteX1" fmla="*/ 2423742 w 2478463"/>
                <a:gd name="connsiteY1" fmla="*/ 257442 h 257442"/>
                <a:gd name="connsiteX2" fmla="*/ 1 w 2478463"/>
                <a:gd name="connsiteY2" fmla="*/ 257442 h 257442"/>
                <a:gd name="connsiteX3" fmla="*/ 0 w 2478463"/>
                <a:gd name="connsiteY3" fmla="*/ 0 h 257442"/>
                <a:gd name="connsiteX0" fmla="*/ 2478463 w 2478463"/>
                <a:gd name="connsiteY0" fmla="*/ 0 h 257442"/>
                <a:gd name="connsiteX1" fmla="*/ 2423742 w 2478463"/>
                <a:gd name="connsiteY1" fmla="*/ 257442 h 257442"/>
                <a:gd name="connsiteX2" fmla="*/ 1 w 2478463"/>
                <a:gd name="connsiteY2" fmla="*/ 257442 h 257442"/>
                <a:gd name="connsiteX3" fmla="*/ 0 w 2478463"/>
                <a:gd name="connsiteY3" fmla="*/ 0 h 257442"/>
                <a:gd name="connsiteX0" fmla="*/ 2478462 w 2478462"/>
                <a:gd name="connsiteY0" fmla="*/ 0 h 257442"/>
                <a:gd name="connsiteX1" fmla="*/ 2423741 w 2478462"/>
                <a:gd name="connsiteY1" fmla="*/ 257442 h 257442"/>
                <a:gd name="connsiteX2" fmla="*/ 0 w 2478462"/>
                <a:gd name="connsiteY2" fmla="*/ 257442 h 257442"/>
                <a:gd name="connsiteX3" fmla="*/ 0 w 2478462"/>
                <a:gd name="connsiteY3" fmla="*/ 0 h 257442"/>
                <a:gd name="connsiteX0" fmla="*/ 2377473 w 2423741"/>
                <a:gd name="connsiteY0" fmla="*/ 0 h 257442"/>
                <a:gd name="connsiteX1" fmla="*/ 2423741 w 2423741"/>
                <a:gd name="connsiteY1" fmla="*/ 257442 h 257442"/>
                <a:gd name="connsiteX2" fmla="*/ 0 w 2423741"/>
                <a:gd name="connsiteY2" fmla="*/ 257442 h 257442"/>
                <a:gd name="connsiteX3" fmla="*/ 0 w 2423741"/>
                <a:gd name="connsiteY3" fmla="*/ 0 h 257442"/>
                <a:gd name="connsiteX0" fmla="*/ 2377473 w 2377473"/>
                <a:gd name="connsiteY0" fmla="*/ 0 h 257442"/>
                <a:gd name="connsiteX1" fmla="*/ 2322753 w 2377473"/>
                <a:gd name="connsiteY1" fmla="*/ 257442 h 257442"/>
                <a:gd name="connsiteX2" fmla="*/ 0 w 2377473"/>
                <a:gd name="connsiteY2" fmla="*/ 257442 h 257442"/>
                <a:gd name="connsiteX3" fmla="*/ 0 w 2377473"/>
                <a:gd name="connsiteY3" fmla="*/ 0 h 257442"/>
                <a:gd name="connsiteX0" fmla="*/ 2377473 w 2377473"/>
                <a:gd name="connsiteY0" fmla="*/ 0 h 257442"/>
                <a:gd name="connsiteX1" fmla="*/ 2322753 w 2377473"/>
                <a:gd name="connsiteY1" fmla="*/ 257442 h 257442"/>
                <a:gd name="connsiteX2" fmla="*/ 0 w 2377473"/>
                <a:gd name="connsiteY2" fmla="*/ 257442 h 257442"/>
                <a:gd name="connsiteX3" fmla="*/ 0 w 2377473"/>
                <a:gd name="connsiteY3" fmla="*/ 0 h 257442"/>
                <a:gd name="connsiteX0" fmla="*/ 2377473 w 2377473"/>
                <a:gd name="connsiteY0" fmla="*/ 0 h 257442"/>
                <a:gd name="connsiteX1" fmla="*/ 2322753 w 2377473"/>
                <a:gd name="connsiteY1" fmla="*/ 257442 h 257442"/>
                <a:gd name="connsiteX2" fmla="*/ 0 w 2377473"/>
                <a:gd name="connsiteY2" fmla="*/ 257442 h 257442"/>
                <a:gd name="connsiteX3" fmla="*/ 0 w 2377473"/>
                <a:gd name="connsiteY3" fmla="*/ 0 h 257442"/>
                <a:gd name="connsiteX0" fmla="*/ 2486478 w 2486478"/>
                <a:gd name="connsiteY0" fmla="*/ 0 h 257442"/>
                <a:gd name="connsiteX1" fmla="*/ 2322753 w 2486478"/>
                <a:gd name="connsiteY1" fmla="*/ 257442 h 257442"/>
                <a:gd name="connsiteX2" fmla="*/ 0 w 2486478"/>
                <a:gd name="connsiteY2" fmla="*/ 257442 h 257442"/>
                <a:gd name="connsiteX3" fmla="*/ 0 w 2486478"/>
                <a:gd name="connsiteY3" fmla="*/ 0 h 257442"/>
                <a:gd name="connsiteX0" fmla="*/ 2486478 w 2486478"/>
                <a:gd name="connsiteY0" fmla="*/ 0 h 257442"/>
                <a:gd name="connsiteX1" fmla="*/ 2431756 w 2486478"/>
                <a:gd name="connsiteY1" fmla="*/ 257442 h 257442"/>
                <a:gd name="connsiteX2" fmla="*/ 0 w 2486478"/>
                <a:gd name="connsiteY2" fmla="*/ 257442 h 257442"/>
                <a:gd name="connsiteX3" fmla="*/ 0 w 2486478"/>
                <a:gd name="connsiteY3" fmla="*/ 0 h 257442"/>
                <a:gd name="connsiteX0" fmla="*/ 2486479 w 2486479"/>
                <a:gd name="connsiteY0" fmla="*/ 0 h 257442"/>
                <a:gd name="connsiteX1" fmla="*/ 2431757 w 2486479"/>
                <a:gd name="connsiteY1" fmla="*/ 257442 h 257442"/>
                <a:gd name="connsiteX2" fmla="*/ 0 w 2486479"/>
                <a:gd name="connsiteY2" fmla="*/ 257442 h 257442"/>
                <a:gd name="connsiteX3" fmla="*/ 1 w 2486479"/>
                <a:gd name="connsiteY3" fmla="*/ 0 h 257442"/>
                <a:gd name="connsiteX0" fmla="*/ 2486479 w 2486479"/>
                <a:gd name="connsiteY0" fmla="*/ 0 h 257442"/>
                <a:gd name="connsiteX1" fmla="*/ 2431757 w 2486479"/>
                <a:gd name="connsiteY1" fmla="*/ 257442 h 257442"/>
                <a:gd name="connsiteX2" fmla="*/ 0 w 2486479"/>
                <a:gd name="connsiteY2" fmla="*/ 257442 h 257442"/>
                <a:gd name="connsiteX3" fmla="*/ 1 w 2486479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86479" h="257442">
                  <a:moveTo>
                    <a:pt x="2486479" y="0"/>
                  </a:moveTo>
                  <a:lnTo>
                    <a:pt x="2431757" y="257442"/>
                  </a:lnTo>
                  <a:lnTo>
                    <a:pt x="0" y="257442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2" name="btfpRunningAgenda2LevelTextLeft600372">
              <a:extLst>
                <a:ext uri="{FF2B5EF4-FFF2-40B4-BE49-F238E27FC236}">
                  <a16:creationId xmlns:a16="http://schemas.microsoft.com/office/drawing/2014/main" id="{805175FF-1A1B-3C54-8703-F6E9C3A2068C}"/>
                </a:ext>
              </a:extLst>
            </p:cNvPr>
            <p:cNvSpPr txBox="1"/>
            <p:nvPr/>
          </p:nvSpPr>
          <p:spPr bwMode="gray">
            <a:xfrm>
              <a:off x="0" y="876300"/>
              <a:ext cx="2431757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Web-traffic</a:t>
              </a:r>
            </a:p>
          </p:txBody>
        </p:sp>
        <p:sp>
          <p:nvSpPr>
            <p:cNvPr id="37" name="btfpRunningAgenda2LevelBarRight600372">
              <a:extLst>
                <a:ext uri="{FF2B5EF4-FFF2-40B4-BE49-F238E27FC236}">
                  <a16:creationId xmlns:a16="http://schemas.microsoft.com/office/drawing/2014/main" id="{31D52202-D6F3-0E1A-B7C0-664CAABADAFD}"/>
                </a:ext>
              </a:extLst>
            </p:cNvPr>
            <p:cNvSpPr/>
            <p:nvPr/>
          </p:nvSpPr>
          <p:spPr bwMode="gray">
            <a:xfrm>
              <a:off x="2351636" y="876300"/>
              <a:ext cx="1930236" cy="257442"/>
            </a:xfrm>
            <a:custGeom>
              <a:avLst/>
              <a:gdLst>
                <a:gd name="connsiteX0" fmla="*/ 960419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60419 w 2313135"/>
                <a:gd name="connsiteY0" fmla="*/ 0 h 257442"/>
                <a:gd name="connsiteX1" fmla="*/ 905698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7 w 960418"/>
                <a:gd name="connsiteY1" fmla="*/ 257442 h 257442"/>
                <a:gd name="connsiteX2" fmla="*/ 0 w 960418"/>
                <a:gd name="connsiteY2" fmla="*/ 257442 h 257442"/>
                <a:gd name="connsiteX3" fmla="*/ 54721 w 960418"/>
                <a:gd name="connsiteY3" fmla="*/ 0 h 257442"/>
                <a:gd name="connsiteX0" fmla="*/ 1120718 w 1120718"/>
                <a:gd name="connsiteY0" fmla="*/ 0 h 257442"/>
                <a:gd name="connsiteX1" fmla="*/ 905697 w 1120718"/>
                <a:gd name="connsiteY1" fmla="*/ 257442 h 257442"/>
                <a:gd name="connsiteX2" fmla="*/ 0 w 1120718"/>
                <a:gd name="connsiteY2" fmla="*/ 257442 h 257442"/>
                <a:gd name="connsiteX3" fmla="*/ 54721 w 1120718"/>
                <a:gd name="connsiteY3" fmla="*/ 0 h 257442"/>
                <a:gd name="connsiteX0" fmla="*/ 1120718 w 1120718"/>
                <a:gd name="connsiteY0" fmla="*/ 0 h 257442"/>
                <a:gd name="connsiteX1" fmla="*/ 1065997 w 1120718"/>
                <a:gd name="connsiteY1" fmla="*/ 257442 h 257442"/>
                <a:gd name="connsiteX2" fmla="*/ 0 w 1120718"/>
                <a:gd name="connsiteY2" fmla="*/ 257442 h 257442"/>
                <a:gd name="connsiteX3" fmla="*/ 54721 w 1120718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54722 w 1120719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54722 w 1120719"/>
                <a:gd name="connsiteY3" fmla="*/ 0 h 257442"/>
                <a:gd name="connsiteX0" fmla="*/ 1281021 w 1281021"/>
                <a:gd name="connsiteY0" fmla="*/ 0 h 257442"/>
                <a:gd name="connsiteX1" fmla="*/ 1065998 w 1281021"/>
                <a:gd name="connsiteY1" fmla="*/ 257442 h 257442"/>
                <a:gd name="connsiteX2" fmla="*/ 0 w 1281021"/>
                <a:gd name="connsiteY2" fmla="*/ 257442 h 257442"/>
                <a:gd name="connsiteX3" fmla="*/ 54722 w 1281021"/>
                <a:gd name="connsiteY3" fmla="*/ 0 h 257442"/>
                <a:gd name="connsiteX0" fmla="*/ 1281021 w 1281021"/>
                <a:gd name="connsiteY0" fmla="*/ 0 h 257442"/>
                <a:gd name="connsiteX1" fmla="*/ 1226300 w 1281021"/>
                <a:gd name="connsiteY1" fmla="*/ 257442 h 257442"/>
                <a:gd name="connsiteX2" fmla="*/ 0 w 1281021"/>
                <a:gd name="connsiteY2" fmla="*/ 257442 h 257442"/>
                <a:gd name="connsiteX3" fmla="*/ 54722 w 1281021"/>
                <a:gd name="connsiteY3" fmla="*/ 0 h 257442"/>
                <a:gd name="connsiteX0" fmla="*/ 1281020 w 1281020"/>
                <a:gd name="connsiteY0" fmla="*/ 0 h 257442"/>
                <a:gd name="connsiteX1" fmla="*/ 1226299 w 1281020"/>
                <a:gd name="connsiteY1" fmla="*/ 257442 h 257442"/>
                <a:gd name="connsiteX2" fmla="*/ 0 w 1281020"/>
                <a:gd name="connsiteY2" fmla="*/ 257442 h 257442"/>
                <a:gd name="connsiteX3" fmla="*/ 54721 w 1281020"/>
                <a:gd name="connsiteY3" fmla="*/ 0 h 257442"/>
                <a:gd name="connsiteX0" fmla="*/ 1281020 w 1281020"/>
                <a:gd name="connsiteY0" fmla="*/ 0 h 257442"/>
                <a:gd name="connsiteX1" fmla="*/ 1226299 w 1281020"/>
                <a:gd name="connsiteY1" fmla="*/ 257442 h 257442"/>
                <a:gd name="connsiteX2" fmla="*/ 0 w 1281020"/>
                <a:gd name="connsiteY2" fmla="*/ 257442 h 257442"/>
                <a:gd name="connsiteX3" fmla="*/ 54720 w 1281020"/>
                <a:gd name="connsiteY3" fmla="*/ 0 h 257442"/>
                <a:gd name="connsiteX0" fmla="*/ 1449334 w 1449334"/>
                <a:gd name="connsiteY0" fmla="*/ 0 h 257442"/>
                <a:gd name="connsiteX1" fmla="*/ 1226299 w 1449334"/>
                <a:gd name="connsiteY1" fmla="*/ 257442 h 257442"/>
                <a:gd name="connsiteX2" fmla="*/ 0 w 1449334"/>
                <a:gd name="connsiteY2" fmla="*/ 257442 h 257442"/>
                <a:gd name="connsiteX3" fmla="*/ 54720 w 1449334"/>
                <a:gd name="connsiteY3" fmla="*/ 0 h 257442"/>
                <a:gd name="connsiteX0" fmla="*/ 1449334 w 1449334"/>
                <a:gd name="connsiteY0" fmla="*/ 0 h 257442"/>
                <a:gd name="connsiteX1" fmla="*/ 1394613 w 1449334"/>
                <a:gd name="connsiteY1" fmla="*/ 257442 h 257442"/>
                <a:gd name="connsiteX2" fmla="*/ 0 w 1449334"/>
                <a:gd name="connsiteY2" fmla="*/ 257442 h 257442"/>
                <a:gd name="connsiteX3" fmla="*/ 54720 w 1449334"/>
                <a:gd name="connsiteY3" fmla="*/ 0 h 257442"/>
                <a:gd name="connsiteX0" fmla="*/ 1449335 w 1449335"/>
                <a:gd name="connsiteY0" fmla="*/ 0 h 257442"/>
                <a:gd name="connsiteX1" fmla="*/ 1394614 w 1449335"/>
                <a:gd name="connsiteY1" fmla="*/ 257442 h 257442"/>
                <a:gd name="connsiteX2" fmla="*/ 0 w 1449335"/>
                <a:gd name="connsiteY2" fmla="*/ 257442 h 257442"/>
                <a:gd name="connsiteX3" fmla="*/ 54721 w 1449335"/>
                <a:gd name="connsiteY3" fmla="*/ 0 h 257442"/>
                <a:gd name="connsiteX0" fmla="*/ 1449335 w 1449335"/>
                <a:gd name="connsiteY0" fmla="*/ 0 h 257442"/>
                <a:gd name="connsiteX1" fmla="*/ 1394614 w 1449335"/>
                <a:gd name="connsiteY1" fmla="*/ 257442 h 257442"/>
                <a:gd name="connsiteX2" fmla="*/ 0 w 1449335"/>
                <a:gd name="connsiteY2" fmla="*/ 257442 h 257442"/>
                <a:gd name="connsiteX3" fmla="*/ 54722 w 1449335"/>
                <a:gd name="connsiteY3" fmla="*/ 0 h 257442"/>
                <a:gd name="connsiteX0" fmla="*/ 1617651 w 1617651"/>
                <a:gd name="connsiteY0" fmla="*/ 0 h 257442"/>
                <a:gd name="connsiteX1" fmla="*/ 1394614 w 1617651"/>
                <a:gd name="connsiteY1" fmla="*/ 257442 h 257442"/>
                <a:gd name="connsiteX2" fmla="*/ 0 w 1617651"/>
                <a:gd name="connsiteY2" fmla="*/ 257442 h 257442"/>
                <a:gd name="connsiteX3" fmla="*/ 54722 w 1617651"/>
                <a:gd name="connsiteY3" fmla="*/ 0 h 257442"/>
                <a:gd name="connsiteX0" fmla="*/ 1617651 w 1617651"/>
                <a:gd name="connsiteY0" fmla="*/ 0 h 257442"/>
                <a:gd name="connsiteX1" fmla="*/ 1562930 w 1617651"/>
                <a:gd name="connsiteY1" fmla="*/ 257442 h 257442"/>
                <a:gd name="connsiteX2" fmla="*/ 0 w 1617651"/>
                <a:gd name="connsiteY2" fmla="*/ 257442 h 257442"/>
                <a:gd name="connsiteX3" fmla="*/ 54722 w 1617651"/>
                <a:gd name="connsiteY3" fmla="*/ 0 h 257442"/>
                <a:gd name="connsiteX0" fmla="*/ 1617650 w 1617650"/>
                <a:gd name="connsiteY0" fmla="*/ 0 h 257442"/>
                <a:gd name="connsiteX1" fmla="*/ 1562929 w 1617650"/>
                <a:gd name="connsiteY1" fmla="*/ 257442 h 257442"/>
                <a:gd name="connsiteX2" fmla="*/ 0 w 1617650"/>
                <a:gd name="connsiteY2" fmla="*/ 257442 h 257442"/>
                <a:gd name="connsiteX3" fmla="*/ 54721 w 1617650"/>
                <a:gd name="connsiteY3" fmla="*/ 0 h 257442"/>
                <a:gd name="connsiteX0" fmla="*/ 1617650 w 1617650"/>
                <a:gd name="connsiteY0" fmla="*/ 0 h 257442"/>
                <a:gd name="connsiteX1" fmla="*/ 1562929 w 1617650"/>
                <a:gd name="connsiteY1" fmla="*/ 257442 h 257442"/>
                <a:gd name="connsiteX2" fmla="*/ 0 w 1617650"/>
                <a:gd name="connsiteY2" fmla="*/ 257442 h 257442"/>
                <a:gd name="connsiteX3" fmla="*/ 54720 w 1617650"/>
                <a:gd name="connsiteY3" fmla="*/ 0 h 257442"/>
                <a:gd name="connsiteX0" fmla="*/ 1785964 w 1785964"/>
                <a:gd name="connsiteY0" fmla="*/ 0 h 257442"/>
                <a:gd name="connsiteX1" fmla="*/ 1562929 w 1785964"/>
                <a:gd name="connsiteY1" fmla="*/ 257442 h 257442"/>
                <a:gd name="connsiteX2" fmla="*/ 0 w 1785964"/>
                <a:gd name="connsiteY2" fmla="*/ 257442 h 257442"/>
                <a:gd name="connsiteX3" fmla="*/ 54720 w 1785964"/>
                <a:gd name="connsiteY3" fmla="*/ 0 h 257442"/>
                <a:gd name="connsiteX0" fmla="*/ 1785964 w 1785964"/>
                <a:gd name="connsiteY0" fmla="*/ 0 h 257442"/>
                <a:gd name="connsiteX1" fmla="*/ 1731243 w 1785964"/>
                <a:gd name="connsiteY1" fmla="*/ 257442 h 257442"/>
                <a:gd name="connsiteX2" fmla="*/ 0 w 1785964"/>
                <a:gd name="connsiteY2" fmla="*/ 257442 h 257442"/>
                <a:gd name="connsiteX3" fmla="*/ 54720 w 1785964"/>
                <a:gd name="connsiteY3" fmla="*/ 0 h 257442"/>
                <a:gd name="connsiteX0" fmla="*/ 1785965 w 1785965"/>
                <a:gd name="connsiteY0" fmla="*/ 0 h 257442"/>
                <a:gd name="connsiteX1" fmla="*/ 1731244 w 1785965"/>
                <a:gd name="connsiteY1" fmla="*/ 257442 h 257442"/>
                <a:gd name="connsiteX2" fmla="*/ 0 w 1785965"/>
                <a:gd name="connsiteY2" fmla="*/ 257442 h 257442"/>
                <a:gd name="connsiteX3" fmla="*/ 54721 w 1785965"/>
                <a:gd name="connsiteY3" fmla="*/ 0 h 257442"/>
                <a:gd name="connsiteX0" fmla="*/ 1785965 w 1785965"/>
                <a:gd name="connsiteY0" fmla="*/ 0 h 257442"/>
                <a:gd name="connsiteX1" fmla="*/ 1731244 w 1785965"/>
                <a:gd name="connsiteY1" fmla="*/ 257442 h 257442"/>
                <a:gd name="connsiteX2" fmla="*/ 0 w 1785965"/>
                <a:gd name="connsiteY2" fmla="*/ 257442 h 257442"/>
                <a:gd name="connsiteX3" fmla="*/ 54722 w 1785965"/>
                <a:gd name="connsiteY3" fmla="*/ 0 h 257442"/>
                <a:gd name="connsiteX0" fmla="*/ 1617651 w 1731244"/>
                <a:gd name="connsiteY0" fmla="*/ 0 h 257442"/>
                <a:gd name="connsiteX1" fmla="*/ 1731244 w 1731244"/>
                <a:gd name="connsiteY1" fmla="*/ 257442 h 257442"/>
                <a:gd name="connsiteX2" fmla="*/ 0 w 1731244"/>
                <a:gd name="connsiteY2" fmla="*/ 257442 h 257442"/>
                <a:gd name="connsiteX3" fmla="*/ 54722 w 1731244"/>
                <a:gd name="connsiteY3" fmla="*/ 0 h 257442"/>
                <a:gd name="connsiteX0" fmla="*/ 1617651 w 1617651"/>
                <a:gd name="connsiteY0" fmla="*/ 0 h 257442"/>
                <a:gd name="connsiteX1" fmla="*/ 1562930 w 1617651"/>
                <a:gd name="connsiteY1" fmla="*/ 257442 h 257442"/>
                <a:gd name="connsiteX2" fmla="*/ 0 w 1617651"/>
                <a:gd name="connsiteY2" fmla="*/ 257442 h 257442"/>
                <a:gd name="connsiteX3" fmla="*/ 54722 w 1617651"/>
                <a:gd name="connsiteY3" fmla="*/ 0 h 257442"/>
                <a:gd name="connsiteX0" fmla="*/ 1617649 w 1617649"/>
                <a:gd name="connsiteY0" fmla="*/ 0 h 257442"/>
                <a:gd name="connsiteX1" fmla="*/ 1562928 w 1617649"/>
                <a:gd name="connsiteY1" fmla="*/ 257442 h 257442"/>
                <a:gd name="connsiteX2" fmla="*/ 0 w 1617649"/>
                <a:gd name="connsiteY2" fmla="*/ 257442 h 257442"/>
                <a:gd name="connsiteX3" fmla="*/ 54720 w 1617649"/>
                <a:gd name="connsiteY3" fmla="*/ 0 h 257442"/>
                <a:gd name="connsiteX0" fmla="*/ 1617649 w 1617649"/>
                <a:gd name="connsiteY0" fmla="*/ 0 h 257442"/>
                <a:gd name="connsiteX1" fmla="*/ 1562928 w 1617649"/>
                <a:gd name="connsiteY1" fmla="*/ 257442 h 257442"/>
                <a:gd name="connsiteX2" fmla="*/ 0 w 1617649"/>
                <a:gd name="connsiteY2" fmla="*/ 257442 h 257442"/>
                <a:gd name="connsiteX3" fmla="*/ 54721 w 1617649"/>
                <a:gd name="connsiteY3" fmla="*/ 0 h 257442"/>
                <a:gd name="connsiteX0" fmla="*/ 1449335 w 1562928"/>
                <a:gd name="connsiteY0" fmla="*/ 0 h 257442"/>
                <a:gd name="connsiteX1" fmla="*/ 1562928 w 1562928"/>
                <a:gd name="connsiteY1" fmla="*/ 257442 h 257442"/>
                <a:gd name="connsiteX2" fmla="*/ 0 w 1562928"/>
                <a:gd name="connsiteY2" fmla="*/ 257442 h 257442"/>
                <a:gd name="connsiteX3" fmla="*/ 54721 w 1562928"/>
                <a:gd name="connsiteY3" fmla="*/ 0 h 257442"/>
                <a:gd name="connsiteX0" fmla="*/ 1449335 w 1449335"/>
                <a:gd name="connsiteY0" fmla="*/ 0 h 257442"/>
                <a:gd name="connsiteX1" fmla="*/ 1394614 w 1449335"/>
                <a:gd name="connsiteY1" fmla="*/ 257442 h 257442"/>
                <a:gd name="connsiteX2" fmla="*/ 0 w 1449335"/>
                <a:gd name="connsiteY2" fmla="*/ 257442 h 257442"/>
                <a:gd name="connsiteX3" fmla="*/ 54721 w 1449335"/>
                <a:gd name="connsiteY3" fmla="*/ 0 h 257442"/>
                <a:gd name="connsiteX0" fmla="*/ 1449334 w 1449334"/>
                <a:gd name="connsiteY0" fmla="*/ 0 h 257442"/>
                <a:gd name="connsiteX1" fmla="*/ 1394613 w 1449334"/>
                <a:gd name="connsiteY1" fmla="*/ 257442 h 257442"/>
                <a:gd name="connsiteX2" fmla="*/ 0 w 1449334"/>
                <a:gd name="connsiteY2" fmla="*/ 257442 h 257442"/>
                <a:gd name="connsiteX3" fmla="*/ 54720 w 1449334"/>
                <a:gd name="connsiteY3" fmla="*/ 0 h 257442"/>
                <a:gd name="connsiteX0" fmla="*/ 1449334 w 1449334"/>
                <a:gd name="connsiteY0" fmla="*/ 0 h 257442"/>
                <a:gd name="connsiteX1" fmla="*/ 1394613 w 1449334"/>
                <a:gd name="connsiteY1" fmla="*/ 257442 h 257442"/>
                <a:gd name="connsiteX2" fmla="*/ 0 w 1449334"/>
                <a:gd name="connsiteY2" fmla="*/ 257442 h 257442"/>
                <a:gd name="connsiteX3" fmla="*/ 54720 w 1449334"/>
                <a:gd name="connsiteY3" fmla="*/ 0 h 257442"/>
                <a:gd name="connsiteX0" fmla="*/ 1769934 w 1769934"/>
                <a:gd name="connsiteY0" fmla="*/ 0 h 257442"/>
                <a:gd name="connsiteX1" fmla="*/ 1394613 w 1769934"/>
                <a:gd name="connsiteY1" fmla="*/ 257442 h 257442"/>
                <a:gd name="connsiteX2" fmla="*/ 0 w 1769934"/>
                <a:gd name="connsiteY2" fmla="*/ 257442 h 257442"/>
                <a:gd name="connsiteX3" fmla="*/ 54720 w 1769934"/>
                <a:gd name="connsiteY3" fmla="*/ 0 h 257442"/>
                <a:gd name="connsiteX0" fmla="*/ 1769934 w 1769934"/>
                <a:gd name="connsiteY0" fmla="*/ 0 h 257442"/>
                <a:gd name="connsiteX1" fmla="*/ 1715213 w 1769934"/>
                <a:gd name="connsiteY1" fmla="*/ 257442 h 257442"/>
                <a:gd name="connsiteX2" fmla="*/ 0 w 1769934"/>
                <a:gd name="connsiteY2" fmla="*/ 257442 h 257442"/>
                <a:gd name="connsiteX3" fmla="*/ 54720 w 1769934"/>
                <a:gd name="connsiteY3" fmla="*/ 0 h 257442"/>
                <a:gd name="connsiteX0" fmla="*/ 1769935 w 1769935"/>
                <a:gd name="connsiteY0" fmla="*/ 0 h 257442"/>
                <a:gd name="connsiteX1" fmla="*/ 1715214 w 1769935"/>
                <a:gd name="connsiteY1" fmla="*/ 257442 h 257442"/>
                <a:gd name="connsiteX2" fmla="*/ 0 w 1769935"/>
                <a:gd name="connsiteY2" fmla="*/ 257442 h 257442"/>
                <a:gd name="connsiteX3" fmla="*/ 54721 w 1769935"/>
                <a:gd name="connsiteY3" fmla="*/ 0 h 257442"/>
                <a:gd name="connsiteX0" fmla="*/ 1769935 w 1769935"/>
                <a:gd name="connsiteY0" fmla="*/ 0 h 257442"/>
                <a:gd name="connsiteX1" fmla="*/ 1715214 w 1769935"/>
                <a:gd name="connsiteY1" fmla="*/ 257442 h 257442"/>
                <a:gd name="connsiteX2" fmla="*/ 0 w 1769935"/>
                <a:gd name="connsiteY2" fmla="*/ 257442 h 257442"/>
                <a:gd name="connsiteX3" fmla="*/ 54722 w 1769935"/>
                <a:gd name="connsiteY3" fmla="*/ 0 h 257442"/>
                <a:gd name="connsiteX0" fmla="*/ 1930236 w 1930236"/>
                <a:gd name="connsiteY0" fmla="*/ 0 h 257442"/>
                <a:gd name="connsiteX1" fmla="*/ 1715214 w 1930236"/>
                <a:gd name="connsiteY1" fmla="*/ 257442 h 257442"/>
                <a:gd name="connsiteX2" fmla="*/ 0 w 1930236"/>
                <a:gd name="connsiteY2" fmla="*/ 257442 h 257442"/>
                <a:gd name="connsiteX3" fmla="*/ 54722 w 1930236"/>
                <a:gd name="connsiteY3" fmla="*/ 0 h 257442"/>
                <a:gd name="connsiteX0" fmla="*/ 1930236 w 1930236"/>
                <a:gd name="connsiteY0" fmla="*/ 0 h 257442"/>
                <a:gd name="connsiteX1" fmla="*/ 1875514 w 1930236"/>
                <a:gd name="connsiteY1" fmla="*/ 257442 h 257442"/>
                <a:gd name="connsiteX2" fmla="*/ 0 w 1930236"/>
                <a:gd name="connsiteY2" fmla="*/ 257442 h 257442"/>
                <a:gd name="connsiteX3" fmla="*/ 54722 w 1930236"/>
                <a:gd name="connsiteY3" fmla="*/ 0 h 257442"/>
                <a:gd name="connsiteX0" fmla="*/ 1930236 w 1930236"/>
                <a:gd name="connsiteY0" fmla="*/ 0 h 257442"/>
                <a:gd name="connsiteX1" fmla="*/ 1875514 w 1930236"/>
                <a:gd name="connsiteY1" fmla="*/ 257442 h 257442"/>
                <a:gd name="connsiteX2" fmla="*/ 0 w 1930236"/>
                <a:gd name="connsiteY2" fmla="*/ 257442 h 257442"/>
                <a:gd name="connsiteX3" fmla="*/ 54722 w 1930236"/>
                <a:gd name="connsiteY3" fmla="*/ 0 h 257442"/>
                <a:gd name="connsiteX0" fmla="*/ 1930236 w 1930236"/>
                <a:gd name="connsiteY0" fmla="*/ 0 h 257442"/>
                <a:gd name="connsiteX1" fmla="*/ 1875514 w 1930236"/>
                <a:gd name="connsiteY1" fmla="*/ 257442 h 257442"/>
                <a:gd name="connsiteX2" fmla="*/ 0 w 1930236"/>
                <a:gd name="connsiteY2" fmla="*/ 257442 h 257442"/>
                <a:gd name="connsiteX3" fmla="*/ 54721 w 1930236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30236" h="257442">
                  <a:moveTo>
                    <a:pt x="1930236" y="0"/>
                  </a:moveTo>
                  <a:lnTo>
                    <a:pt x="1875514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6" name="btfpRunningAgenda2LevelTextRight600372">
              <a:extLst>
                <a:ext uri="{FF2B5EF4-FFF2-40B4-BE49-F238E27FC236}">
                  <a16:creationId xmlns:a16="http://schemas.microsoft.com/office/drawing/2014/main" id="{E14F68BC-6319-48EA-6AFB-4646700FA5A3}"/>
                </a:ext>
              </a:extLst>
            </p:cNvPr>
            <p:cNvSpPr txBox="1"/>
            <p:nvPr/>
          </p:nvSpPr>
          <p:spPr bwMode="gray">
            <a:xfrm>
              <a:off x="2351636" y="876300"/>
              <a:ext cx="1875514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overlap</a:t>
              </a: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4E2BEE82-5ECE-AEFD-1BBB-AFD3E01B5EC4}"/>
              </a:ext>
            </a:extLst>
          </p:cNvPr>
          <p:cNvSpPr txBox="1"/>
          <p:nvPr/>
        </p:nvSpPr>
        <p:spPr bwMode="gray">
          <a:xfrm>
            <a:off x="2093803" y="1621420"/>
            <a:ext cx="8535868" cy="21120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900" b="1" dirty="0"/>
              <a:t>Target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D1F4695-585C-F1EB-E8A6-8AA57A0860E5}"/>
              </a:ext>
            </a:extLst>
          </p:cNvPr>
          <p:cNvSpPr txBox="1"/>
          <p:nvPr/>
        </p:nvSpPr>
        <p:spPr bwMode="gray">
          <a:xfrm>
            <a:off x="10683240" y="1621420"/>
            <a:ext cx="1199181" cy="211202"/>
          </a:xfrm>
          <a:prstGeom prst="rect">
            <a:avLst/>
          </a:prstGeom>
          <a:solidFill>
            <a:srgbClr val="BBCABA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900" b="1"/>
              <a:t>Competitor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4489CAE-6FA1-0907-0FE2-FB2FED5A4D2A}"/>
              </a:ext>
            </a:extLst>
          </p:cNvPr>
          <p:cNvSpPr txBox="1"/>
          <p:nvPr/>
        </p:nvSpPr>
        <p:spPr bwMode="gray">
          <a:xfrm rot="16200000">
            <a:off x="-739214" y="3975693"/>
            <a:ext cx="3115016" cy="21120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900" b="1" dirty="0"/>
              <a:t>Target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E37F2D1C-36D4-9C5D-63B8-29C48350BFEA}"/>
              </a:ext>
            </a:extLst>
          </p:cNvPr>
          <p:cNvSpPr txBox="1"/>
          <p:nvPr/>
        </p:nvSpPr>
        <p:spPr bwMode="gray">
          <a:xfrm rot="16200000">
            <a:off x="584369" y="5837576"/>
            <a:ext cx="486838" cy="21120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900" b="1"/>
              <a:t>Comp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CDE9147-88D1-D19D-C2E3-810398909FAB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1030142" y="2523788"/>
            <a:ext cx="10852279" cy="3175970"/>
          </a:xfrm>
          <a:prstGeom prst="rect">
            <a:avLst/>
          </a:prstGeom>
          <a:noFill/>
          <a:ln w="1905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D01A093-AA50-E2C4-43DF-53AB5009465C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 rot="5400000">
            <a:off x="4229059" y="-214014"/>
            <a:ext cx="4252557" cy="8548669"/>
          </a:xfrm>
          <a:prstGeom prst="rect">
            <a:avLst/>
          </a:prstGeom>
          <a:noFill/>
          <a:ln w="1905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9" name="btfpCallout265433">
            <a:extLst>
              <a:ext uri="{FF2B5EF4-FFF2-40B4-BE49-F238E27FC236}">
                <a16:creationId xmlns:a16="http://schemas.microsoft.com/office/drawing/2014/main" id="{00FE135D-1A6F-CEBD-F8C3-827DFE260F52}"/>
              </a:ext>
            </a:extLst>
          </p:cNvPr>
          <p:cNvSpPr/>
          <p:nvPr/>
        </p:nvSpPr>
        <p:spPr bwMode="gray">
          <a:xfrm>
            <a:off x="261954" y="1472253"/>
            <a:ext cx="1634080" cy="799202"/>
          </a:xfrm>
          <a:prstGeom prst="wedgeRectCallout">
            <a:avLst>
              <a:gd name="adj1" fmla="val 57995"/>
              <a:gd name="adj2" fmla="val 57096"/>
            </a:avLst>
          </a:prstGeom>
          <a:solidFill>
            <a:srgbClr val="FFFFFF"/>
          </a:solidFill>
          <a:ln w="19050">
            <a:solidFill>
              <a:srgbClr val="5C5C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>
              <a:spcBef>
                <a:spcPts val="0"/>
              </a:spcBef>
              <a:buNone/>
            </a:pPr>
            <a:r>
              <a:rPr lang="en-US" sz="900" b="1" i="1" dirty="0">
                <a:solidFill>
                  <a:srgbClr val="5C5C5C"/>
                </a:solidFill>
              </a:rPr>
              <a:t>Reading-aid</a:t>
            </a:r>
            <a:r>
              <a:rPr lang="en-US" sz="900" i="1" dirty="0">
                <a:solidFill>
                  <a:srgbClr val="5C5C5C"/>
                </a:solidFill>
              </a:rPr>
              <a:t>: Peer 4 and Peer 1 share ‘X’ number of visitors. That ‘X’ is 4% of Peer 4’s traffic and 7% of Peer 1's traffic.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1BDDDF0-9CD9-0BDA-E0DC-6B713F650560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38" y="946635"/>
            <a:ext cx="252287" cy="251574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35570FC0-97C3-A1F2-90A5-90CC56A87EE9}"/>
              </a:ext>
            </a:extLst>
          </p:cNvPr>
          <p:cNvSpPr/>
          <p:nvPr/>
        </p:nvSpPr>
        <p:spPr bwMode="gray">
          <a:xfrm>
            <a:off x="1239317" y="2594155"/>
            <a:ext cx="616562" cy="32186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50" b="1" dirty="0">
                <a:solidFill>
                  <a:srgbClr val="C00000"/>
                </a:solidFill>
              </a:rPr>
              <a:t>Peer 4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5C19828-CFB0-A799-0C8A-9DE032992B75}"/>
              </a:ext>
            </a:extLst>
          </p:cNvPr>
          <p:cNvSpPr/>
          <p:nvPr/>
        </p:nvSpPr>
        <p:spPr bwMode="gray">
          <a:xfrm>
            <a:off x="1239317" y="2998509"/>
            <a:ext cx="616562" cy="32186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50" b="1" dirty="0">
                <a:solidFill>
                  <a:srgbClr val="C00000"/>
                </a:solidFill>
              </a:rPr>
              <a:t>Peer 1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F6313C4A-E3C9-7999-BCAE-141E13C484E6}"/>
              </a:ext>
            </a:extLst>
          </p:cNvPr>
          <p:cNvSpPr/>
          <p:nvPr/>
        </p:nvSpPr>
        <p:spPr bwMode="gray">
          <a:xfrm>
            <a:off x="1239317" y="3467496"/>
            <a:ext cx="616562" cy="32186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50" b="1" dirty="0">
                <a:solidFill>
                  <a:srgbClr val="C00000"/>
                </a:solidFill>
              </a:rPr>
              <a:t>Peer 2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60A77674-63C5-129D-2EB3-D1E25792D92F}"/>
              </a:ext>
            </a:extLst>
          </p:cNvPr>
          <p:cNvSpPr/>
          <p:nvPr/>
        </p:nvSpPr>
        <p:spPr bwMode="gray">
          <a:xfrm>
            <a:off x="1239317" y="3899386"/>
            <a:ext cx="616562" cy="32186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50" b="1" dirty="0">
                <a:solidFill>
                  <a:srgbClr val="C00000"/>
                </a:solidFill>
              </a:rPr>
              <a:t>Peer 5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036D3E4-8086-C5D1-EB72-ABD0875CB3FC}"/>
              </a:ext>
            </a:extLst>
          </p:cNvPr>
          <p:cNvSpPr/>
          <p:nvPr/>
        </p:nvSpPr>
        <p:spPr bwMode="gray">
          <a:xfrm>
            <a:off x="1239317" y="4367682"/>
            <a:ext cx="616562" cy="32186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50" b="1" dirty="0">
                <a:solidFill>
                  <a:srgbClr val="C00000"/>
                </a:solidFill>
              </a:rPr>
              <a:t>Peer 7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3EFFD01-F107-500E-947F-0409011B0443}"/>
              </a:ext>
            </a:extLst>
          </p:cNvPr>
          <p:cNvSpPr/>
          <p:nvPr/>
        </p:nvSpPr>
        <p:spPr bwMode="gray">
          <a:xfrm>
            <a:off x="1239317" y="4822298"/>
            <a:ext cx="616562" cy="32186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50" b="1" dirty="0">
                <a:solidFill>
                  <a:srgbClr val="C00000"/>
                </a:solidFill>
              </a:rPr>
              <a:t>Peer 3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92D3C4AF-32EC-A6D7-6562-5259D18C6696}"/>
              </a:ext>
            </a:extLst>
          </p:cNvPr>
          <p:cNvSpPr/>
          <p:nvPr/>
        </p:nvSpPr>
        <p:spPr bwMode="gray">
          <a:xfrm>
            <a:off x="1239317" y="5272603"/>
            <a:ext cx="616562" cy="32186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50" b="1" dirty="0">
                <a:solidFill>
                  <a:srgbClr val="C00000"/>
                </a:solidFill>
              </a:rPr>
              <a:t>Peer 6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830CB9B-0A33-87CF-BED6-4B19500DC895}"/>
              </a:ext>
            </a:extLst>
          </p:cNvPr>
          <p:cNvSpPr/>
          <p:nvPr/>
        </p:nvSpPr>
        <p:spPr bwMode="gray">
          <a:xfrm>
            <a:off x="1239317" y="5737743"/>
            <a:ext cx="616562" cy="32186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50" b="1" dirty="0">
                <a:solidFill>
                  <a:srgbClr val="000000"/>
                </a:solidFill>
              </a:rPr>
              <a:t>Peer 9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464833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49385AC7-8CB1-2B1E-1722-3B6D85AFC48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6729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606" imgH="608" progId="TCLayout.ActiveDocument.1">
                  <p:embed/>
                </p:oleObj>
              </mc:Choice>
              <mc:Fallback>
                <p:oleObj name="think-cell Slide" r:id="rId12" imgW="606" imgH="608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385AC7-8CB1-2B1E-1722-3B6D85AFC4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tangle 35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jGqWYA6BjsAEOoBh/sxdjbjOIlqW00QkN1B+POn69dvO2kRCA0fuSBYFoyafyotITGnUIttRWRAKVVUostTOUW4G6tNk/dAa/f5doJqzRe/HmvbAcnAxdWmueMgyzxaX3h3SfB9eHN52y4NT7gk7QJhUqVDBLhrauqypOt1nxLoxoSFI5jPFrBRrZMPDKibYoCySjNoWEPvzPoeB3wepnQfLpSIIbji4P+Ocp5dXeiAZBGey6G4aqXrv9iw1xDEIYxKGYbGtSJ1xLLq7L//82aJrz9HGaeqrIESgDW6QI3mRKqo0Eyh78n86bHw22B/i6ToUeTprQWaYlTkZw3dKeBDe5eZ56KD9ps4nkj+5MF/fDbXJuJ9se3c8zBF+TGDIcCKHxiQgDDGpdWQxIr8Svov2CGTPFMxSuQGkPzP7Tj/HnFYjxZpxFf5j8XQiHxRMMmU+IcjjUP0xuiycYAgNiawl5ilGCxbAV3RIVFOWjdR3cq0Wo+ORKACtwJuEACy7OJb/bkPPP1R3l/hVMv2dbD5YaS8456TLaHg+WOh2VBrbNtCUPehU4MUh2N9MEpsFXLESPZGIDyRfXrXGQtP1md7BPApuO4158sBJQ3HtY5HHnPWgRF/62oJGNqhwk1eEbeN4pnITpsCsYTl4gyMFw9bNAa3NmFhxHn8SjM0HEwJXNUHPKUaYwD9h9oELe4KWpuuJ809LzlLk5SiLIFW6sI6CffymCQVxFAbTpT2tCd9Lcu/JeJQ1GzhW93i7aDDoBdloefkzxkl/ROd/kUkkE88MvPZ4TWo3ojBHC932Qsr6Esx/iIOvJHnfH5YVD/X8pkF14GBcRptTgK8WCEoyKvPo2NVzyO9JmFstDley3Szt4zDQhwGb2rWxzKC+01EhHj0ObJaoaUmvM0hvQpFpi1yMOXvo74GU9aTpFQF9CGY2ANBim7h7I44ltjMb+2OCH2KXWB/aklUBuwsOoqadghlSVozVNXrvoQX+Agy+dJpwhGvzrDm6WnBO5/hfGzbRE8rXQnSCRS0/lIPQswErpBpoCsWiCguKE8XBxj6k7gdsc9y9H0RIU74V/WMLLscdJMSuidIIYAjJW3FEn5FjY7dgdKPcePZqRCtQpEK/48pZejBldNZdsMSWc1YRHTug4dxMR+Gzk9wGRP8FhRnFmdf0eUcLyevAUCG8boElKwfhZ56LWtK7ytFmJpGfddDpDUHpHldEtlRfWPX/5gMVawkU7ygOEJFLaRBpbuMAQRbWrOEYhG1bBS6C4/3TJs8+1hrYodiEJpvvS3vz9afvfsSDbbq6FzgOF5br02Jh3EkEWk+ZtCH+D+GdRFy8oWENevUSNMHaqDZkasTzFL7/q5ewP9hDt2r7RZ9KXpLBxz30KtkDm2J3FM95M/S/s/HB4Wk86tEE825VJaemJ3UBwOYEoULBAK2ghYIuSdVIt+BiY+3hj8QJBcFsCdJqVAIQWTIjNkZQiePLmvfMOEysQFvgHhG1ioyLiWlj/FxXL3MkTvNrTdsW6o7yhMemuCkzhl0rHpSMRXijLiNKf72eQyabY70I6L7UPF6UHJklrV+YJ6wVVb07KRL5X0rOUGSfZLaNJDTs1YtwyY1YkllPTlTvUE+fWiAE8HSekX1OvBB7sT1qN/WZPU9h3HGlijhuTbLtPzIAUcvKip4oJdF+5KTAqpcXt+6cUzkW4eStELa6ajLjLKRHbqcC3JKD/3XfG95jkis/1HbF5aBBd1l/zkQKmDeRev6VQ0Q+dfF+nCUhjnomauWevGr568Ux6oRagdmM+lTm07JyGxHLiQI/CcL8XBPO2qt84e2uNJZbs1zPjWpzg8nMF8XPj7SBXb0Bu1OrISFAsOQEltoyoVIw6Vi8PaWnCk8pScjIiXRqgk3rTURXzlpmp9fxoH4VTrBlu8ZMBo5bnaslHLEEUIhdm+EmDpn8LR1/ORZzPoeR0Nv8ownlxn/gdcp34lfvK6/s1ASN4xqwF2sYjNG7xSgKx2MT5/9ITMaH4zKFfL8T6WLMnREB7FyWNT0dMm3TX9gGTffN58x2phhbuevs2+WIMj+ezdeOEI4ozKXNrDeZVOz2pEttlHZT70SGywGOtmftpXAOs0qbqOA2jbpb0HfpS3JWS4gAd8tfDjyd/I2qCrfa/OQKUSdXjpoZvlhLadjYjMuirz6Y75q0lPj0SRoQiZ1eWWcJ7KJQDePkIxJoV+iiq7rMIRisROdB9OqobHLGytwxvaXMEL9n2p/oSibF7BXBEXcC/hvJ0P3HWptWtD2/SvsJDwYnPg2c1L2ZHxL+mAJiT6ILnFDLu2yHgc9WacwHSXxs3xTpNDbRxaZeZRsXmTLE9RgCYmzt9rGMRCV0Bf3ELLCZIGO2WheMwr6aIS0YxdK4JSKMkYoAypCBeZPVIn6YYZ5k3A/DPDBjjVB/qJuK09YjPY5Q2Mp+KisJnd1z5yJLxELKHTJvNlGS5px3/HUpMaTx4A6+9wXoZV7VlDFeTIN045wNW+aOekFgz8AoAGb3r8nspUKX9dj3NhYP6SN8uF0GSseBsEZ4WK0ahEVAt/MO4UG+vRqmdSQSgaVTy6oPSzKlq9TzsclNYVFV0QQOXGgbVjGhGQTfju+ZfV+Jx0kyfkj/SsIFCS3IT/yQytPWCbQTuAMuxprDd6VbUD3xm8IzsxUW4hb77c1SdmM0FX7qIFMYbCQZHkkQXfoUX9JI8TD7KCu49WkMn5uZT6bhoTNxgFai3M0Xjf3F6F2dtrS0GII8AB6aHZQYam05ulgR/1IqZH7xNINwsuOlSOoc4pmwNrIjcbQyYq+OHkMMqSIooVZqqiXIDoJ2kZ1UXYvzeFOttSSNe6IFBCHxrR0XZeXipYfycFqEJb5qJZ6rMkP0FpY1Wrx/1UsZQLXAbld28qM7mK2mofyP30zW45D6+C3p3qPcP23i9tDXKBf9uJUyL6x73tzCT0sldlK5js7XFDcEq4XKlHE/imzoO6F7IPgcbmC9H+EGYeUdRYM9MF5vVlqVj0wxwt+HxRP921kpHTxPJduKp3sMEs93tN7ne2gURGqEA4FRXlOKetpilsu/gZWP8DVxR6ZvPr4oCNT2QA91ofCqTIhN967Kwb4dLRZc7ehHbd7powpi7s7KJbYLSEaYggTMq2Ze2/ql3yRvTozbWTSq53KkSV+BKXJoKOdVloO+oQvA/4IsZ9Lnxpu7kiLFKThUPsVHvTr7XGgDA7W33F2AcEae3+ukcy5bXL1xhSGKjAQRiFHp/jAYb0E9EbLHJdKDOFlGC0sLf+oH8uzg+B/rZEn9vEwua0sJuR6So+xDsVlpLt4kmOmG7u8KV/lR8H7A8OeSLqrkZxqSFTe0ckvSBVBemCGpfeKtW19nMENXGdugdfv9KlLIteunjLZAqE6Fo8FvGGI8Leuk8c8AASAxdTm4Q5JW0z82ZC550OHwmHqkAUGXRAlS9gQ0I0y7WynxiaMBEJtcSc0SfJOY8JfeoZ+x2ZSpPCgMcrHECaB0+NWSHKhJWdt60C1Nv2545/14I+n/vPvDGVg/W2bM3Zmk+8lDyHqFkCBR1D75HkpaKXoEgkDM3gzhTzCJNn1xHyV++NQaju52W2YOwU6XDeCAW1RI6NWDTMgDaLJe5NHHHpYZHdBcFWKiHYp34+GMLPpdCWjTLng2KFkXdluES1wNDjtKh1mxjSx21QNOZMNVlgwflwVrg5Ej5OCjSO2er9z10LO07v7bJxcXCZYjpZsE7IfAvU9jdRWFJYgteYPySvS6qTNq3op+QUUIp4w1zvc6tY/MZ6NeAFBC85gWEMNjl2F+XiNGa5Y+BsD2w4L1t6DAl6KaWpNjcmnLw4LhVLlUQJB+3WQWT+IwYDhfdrC/KD2r0Nw35B2svTOawMhlHgUcs8se6CqGREN4P1xf/XchBKRlcN9Cj4VBWpgSgRzqFAJLT9iSJj5d6eBfbkNluGvryiLrqxMP6Pr0Kz7rcG5FtnVDoC1hwEiVOMA67UBknHMg7XI/oYbonzYORGBj7CS/y8VFqPHi098wfQaNxqmkQFqF9aZeTrYGA4+wOslsh/woMLqYRpzo2FGKgAjGe+OdXtnsh3MH9M++9qpT38UrrAhMk8Cb2QjLay/aGOwjBGteWCQgsxk0LwoCktgGUwiZ4T1Cjd/BNRILooRRRtaX5x8Kc3niQMiFeJorbs7IT3+Rp0tflGonqja6gL9cse2+H4jS/4uNN1XZ5AiFpDEaO0TxZUfVksQgPKjJijeVMAfhDK3jl0PT9cDxkbyB6bXbnMKmb5CNjuS7b2V+V+bjs7VmexVujeqIrFgYVUyVCh8d/mMgjgXwfi5IzabfuphvqFoclgDbm3VC1FmLO/BbmIVQPjw2+vXjEDW66l17IYO4f9fd5OvYvWTgdcoE8O05G+Rm8EFY8eFjgrtT91UmTFSGCVZdZXZztbUL2i843rAcH35lPDcBrEEaz/jtuiqR/jGb9ZlIAkxWtBo1Ci9O6V5YeeSud7JuBCb79lBJv0gXo0zx81EbACpj36+TLIRo8AFHsIVeR/A3n2u4pKZeHHGTwLk9aPZ9TSyo7Ghi8njdoaKPbxCzlKobaMnMA1SnDcw/t+VPZTpEwUBFESimNmJ0n8bz6Jv9EoNL01mioPinJMCVyFTRRsbySdPZvUq50QaqzZrrPUKYzbyYBv2k2p+FKJzUld/zNQefN0RFcJbPqTLo5/G5cyD5eh5CyZ9Haw3aj9kXG4EULzYS9KIkC7Zz/Z7ZDib5E+ne1hAxbB/94KCCKgMkl+FPF1Hr5+XlAtsuxsT5o+nE8yVplG6LKdvBQCi2neApxBxQTqCA7HxDmV3q+GNihkRLJo/tgKPciKHtI1x5Y1W/ScRvDTPtzZvWZIyIs2QkGen/ALkrzyrwGY22yuHpmrOdEpHkWcrUpRHM8T2Q0j4KLSdu4pSh60BF/8fqqg8BRDJHpXdnIWSqhCVTzYw3LbaLh3YgD3CBPVnQ/WkDZey9CB3PC2bFHSzNRItzIJHklAbOvSnrwAKMXpjSW7Ht+ehlrANkou0sPwBSEhIxYoGqUH8u7Ivns3+pX5HO9oAmo0Jyrtv2hDJlOBkDqmIGd5UznrEDkJMg89WbqQAgkMDAj+omnJ/lFwUFjxa2YgC/TaXLnPm1uEMeJ6mWrbjRvdUsTtQokBwdw4Jhs4yx84MOgHB5Cb5GNJBQ1taQ0NtAnjOONbr5bTMhob7N7iV4Hp90KwGVhp29thI7wQBduiW4Dx9Ad1QGZkhU1vFsKIvLL6l+nDSCVRhEKZBUJ18FKB285B1rj9jmNb33rL2im+FSkKW3Zn/t3c5jRODgE/zE3jE7M4AB7jCjoCku7SorRErYx5gk8RBw9/72lAT6sNZUvnbZRoz9C1GyMsATB1XnJviNZSFXeQ7IvL/0+FGgvTAaYSMFNndOVMmeidgdO2ZDpC6SQxvUlHjGcnP0lliIN14GPXKuf8CyB+xav5snUvIjDh8inGL4DlHx0G9G7ouqZZ97D/XT8c/RLJt5IDVTqox4dsZ32vbngtuHpvO2Scr2FmdbRe0V5+TE1PqWbllionX9Q9/2oeWoQBHk9IDOMi9w6LOAvW7PNvxAGMs/2l7QeXPYpoymDYnRTl2k+pmBPdEltIsXloRijJLtTGY9jwhfd1Y/FdBAcNNGD97fcO31whECkyVTjIlIpEaRP3QviTo+vankZEjIaWN4EmJ5e9WiVfvCTw0u/Ogub0bQzp6wHMcXkbSagpcV+ufzwbGPmHVeiBB5EaCq1fXsQdoSWuZHfiUYdU5dQ1+Rf08HY7prTIlWAu2MsbfJSjGGwS5Y+LOx0kUrMF0NMmuRBfvsTH+PoDHEjF/y23H8xSzvGSWGNyFr3+e7ReqL5XZdie2SYJjgczgT1wLoD8CPoun7YSQfwBfGHYG2fOaTI6jZ2U47+8X7QzfFEbrqtdZPsEkzH5F0wznDEi2LLUMroniWnlPpceJoP3lzS+OS0miaiBD4/N4a++WowkGd3TmjhIlcR8QkldRsHaZWrTN03/1sD/7Tnx0p4sQH60F3mUwyvCBpN0DdU9BPkfnEyFpTMgqFv4u9N9tJaklJZPToMn29hzZzn+IcOMu3anqETF9UVuEdnyTX9h2xzASE6gOjWVPLAcVrvrdMkETKG/1tjg3TuYkg79h7U6fwX0kH0J9+79iCrPsXLAECJNeU/ZzKD7MQ9VWzjJtI95sFLAKbRlZdmLzmUyZfaYixZm1W4vWVJadF5GNSkJ5wYHOjozESq4MWddWoVccWSAFup8sKAHRtXNEnwHUY1fW7xwJtLdJUmj6/9iON+Ouj0sAwBmFwrvux4gazYTmGDLComSmjoJdxxjdUzg9qK7Z6aMlOstoULQNwG3+0dGHz+DFSnf5SdsscQHcyPsZyxeOC+QiQdbw8PiuYeGa0xxy2IUn1+uYGhvKBK+AEgwYqOFA8k0evSyJIm9bMJQBGCSGB6F+10IjFvLilITZYWPhTR7xB86bJliUhZyHAA5ePvaiEX8XdUC+8DeYjnFMwOcK7lW1wp9qWqba66uelxeiW/a9RIzJiaUUWzcK2iICjd5GK8w7hWxiV0/gj1pEFBp20Xv0gdl36SPK1KD0/lsdOKiyX/pjAax5B7JfUqY79raYeYIvNRSgp+j+wFMJ9If26qImfq+lMYcxTZ05HS8sUs5DotEB2Dno410xtZiiRyhqzauBfV2zoGdPQEeOgZ7KmJ2gXbh0l9GYBFDv94YPzBqKapVMnuoGosMFpEd4kami8rs9E/eZk9vc7F/kXQKpdAtlJBoC5zq8OJKfJWnoV+X1cwanxAcZlCfFliwJCfP/CV1peZ8cZheJNnNioWDQHsPfnFXyrv26Hz/4qCThX1EHhvaVTr4eAmF/sWPeqFKw3N1MUDBH+8PEAMWl4bh9C+WfqcuztrmnTT/11x1sTJZ4/Lp5PPNZYgoCdO+9UFp4GJdlDFo4j+WkS2Suzp3KiizvdINpubgtQFUUvIvmmqNV1Ampcaq/PQ4Bdxw/pNmHJieaY0wGjQ4l6dt2ftMdMStHabJCiL6J6DDOecio9yncZ9aostQ9FelwzND8NJEZlVkYgEGeVzR9evHtJlUL+/3o9uyX0SFQvTzQxdN9CXFi0h+MiGm9QGCHTDzQEYB/MoOb0WCKJlU4pwAFS+bAN+3AcrN+62Fp+BqOmaRU9XOILiZsB75UpqAaW3XxmGMbsfSslmfqqt46gkU4/BYJ73kxbH4/aFlUlsm2CV+W7c1hdU+cAJaUCdLurzN8UdtdsPyg62nI2Le53yqTlHBTaC+att6izcqeSApZsITLbDKe9BLyeTXpU1afzpzm6nhj/R2aaDCktX+pmX3Cl6c1OtC1doSFAclGphplaAWa2oi4bf2z9/yrJsiUcpcth2ZDcwcp06PZZn8Bf464Wypc8XxiMtmNYJGgB86j5ojE6fT08WQJbD7GdlF0kTrPvksipa4NIEdsA/0xZRXuDO4lsB2NHuMzFfkiP3//b+chAuEYG//8UP46IHbE3Pd4DAPBd07Bnbr+hecUrIZ6oBn+JmQpCcyZNz3hcf7UmQvSrPhBed3EYbyIpec7LVz9rVlIKF6syyJ9qTPdWi+AxdkgPM8TD0YzaKJ5wQ3qLAHKeiUv+r3BO2DbCCHIcSnX5YnftCJifYuHWi3xd1gLPWpMyhUw6pOHG+F7NUzTXiwww2xhmpO0J54PCLyQHQHzGfDvz8mMzDEHxpJph23/0f39R0MOgbOMYpjpHu6P6tWfn1UyGv7syxmQHyPhWKMVYTk+qKlZ4zPsOBHm36tduKyUJO4yP/RrSH74Dh+7P5rRfrmA8YHSbvae2mtjtSLwXjMLGt4pfLxXYCoMZGfFJMLy2fZa6WLe3BeoDaTnVdIJas85FCACUfjFfrzxuVvKJXBoNgbGoXgALhu+R3Yyi/XFdaQLO8HRPKG0zeS6wYyC+XsyXkCx7OdD9db0/WqwxHrG5N2Q2a2XbYg9wgOj1QAKkkpDN1MuL1YmeecqhiozLkPtltuAINiANPd/rR4kyRx3/q1tEXo9Az+lIrTR3D0HqFFl4EKUZ20vQqvyHHQUdTMbdYOII/lFlTnnBvZvspWu7PrAeXwZxXffq/ss12zMU3SMqy888TqsAq+5nQWmwHNj0d497FzIhEjCY+j4pmCKo3EYdlggnhVb+4yITE32pViRgMdLJKFizIeDjmmjXelWOC3w2iqOxiDOCsQkyIhGsa5TWvxrmcZGGuySTxmnCNeUuwP7kSnHtiWlyFnj3JKgx71K8KHopHXT7JhW29KPhq93d8JpnRStyNqjOxKvi2LmARagGHVZ1TlxpNRAe+n3BHYKxlKcACSJuhD1sxtnI/D/JM0rHgssJG5X70G9FvGTnpKp8JeMhABCrWUvYHYQk7L4EVuOUDg9KY6q+pRJiXvaOI7dYc7RyTqQ5Gh4ww8QbcEYt+QeMwNxPvpQr4eToLjt9Lysrn3Jsy4yP8A1F7OZ/HBSfBH89qM607BuGuWm2PVhM6N2bm4PpByDUqJBCPSSy6A0wP/uyq5n70ijew0w3UQE2ShjQKAJqUn+3TMe9BgW/pMNDpKAO1FSqfz16NS3iV9H2uHvGpED9z9wwSkAt+ZgHH7tpxIdS/X5b1tM9TrhQH4ED6kKUU6Ml2McXwGukT5gdH960c7zgj75jJOgUVTQiyJSG9sqRNroobPlSiwXNZFlKRcqrT4GUPSVyGVDVh2FrrKSxH7lPB4khRWOtxHB89fsrDok49+ieUw3o0lbPbIxmbhKp7T1r8POH1a0m1vPy5yjmzlrNbfULCvPj28H4aC3Y0ID3+foDhYXjVagLIjVZi7gylSuFjJWfzDr40F9upeP8z4Ehwpe3Id3vTxrGjn9v+mzXuOjGM4WbxjIVFFSOMmZy3dnd9+qCTFA0vd+Mh1ZdKwr6BYCSWi691vYps5VsmyC5hKL0udnVY+8mjG9YfrchQsmMbHdnGkbpWGurFbSUGV4q711sCo+jyFz7d47AZoKicrKRo/5b9up+ETL/B72qQI3M0j7D2TS2HS5IR8F21pSiyKVlg6fQjsEbNe3XYh8+EvkAqhnURUd4GqFMRxmEHAtsUQfLk4WE1pr7OOw9c4wvN8Yyc/mxfLv32IWJtT2peeujNRLZ2mt58Lu0SoplOgXBJW1dozAEn0r1M9twLNbYarMAMi7ZTbc+lHw24OwT2VZAwnaWoyUra9vBsNlIUhcf9UMnaQSZlw52YLunPi0PSsaus0/XTkJYZw+WCDjKE0kTKMHPtj3CcrDC1fEGkPNkpxgvR6xVhN7dV+ZK1W8YgO4fJTpmM9A2WITSjI+Wk7MCa1824gluJlgw05Zxo8BLlOxNDcwXde69RhIG281uPDWCO0A+I+JmfnZRiYI7LU3fRlezWZXNUIehQVOrdwJOk74AXOEFCv8SS5iRAh6qRMC9IYBb16NBseKcVvE1xbPWBv+xjAYdS7Fl+jiwAOoVaXDMUN9rKyrwIFKP3EMOzomsguGYVOIxRx8K8j/Ga8KBs6B0utbPDoBo5v9iXBdJpMWdZBW1ihC6F3mARBOFcJpo+249RphknNXlGDFfmIr9Tx0TN7cBaGYwz6wbrHeMy9IjbJS7Ay2WBazJXmdnVe5FrO4Gh//Rl5+lFDTzO+dp6Wnn4EczD1EqfcDhaoiYkC60Ckga1E0+KoUqBGZcbNqKHLmiA8yQENHrjAz7jQqVge6yvr02P7DR10sUpSQqhNv0GRgmZVMh5sq/G3t+bTYcA8WRX460G47tjhpydUogjVA2UWidFKnXjuNoAspzGqDLUPfkLVWRBy2U7YuR2elc4pwpN4Nu209UdNCEzjRmMCMHyp2Goo7xI460dl/xYGA15s+G105ABTN4ERHsUAxdTc/yhdg8BSeMEALf8mxUaMhWjn+HM6MSb0feyZvGKgjkhvahx4gEh14RykPb5NiYJwnMOdf4l60oEmeNNrDCu6lWm2tstgPP8HIaDDAk9ml1ANZvqF1AhM5jSRfOXHvCZWTgtaTMDzzPA+0PPMsKbQIpMf40CTmCQKtuHeNNAPEk6NZ+m96Cfso8jrjUx0ZzVL6/l41upEWimw05BG30G4n7qLedDRKa4mliDXMTxlLTtt+F3F73E1HoJSu3GRbtKntBN/J7/Ru8TRdXFj5Q9DxSCYzD0jt1rNwuBrh1BGseJBj9q23WdRxWNy4dPf46IdIdera1Oa18ss2051Hs/Se5+FZl/3jhK3MmTXIdzSv5qEzLDykwjGlcOzgu8cGsvW9JFYDIfssh9mPpnZfrMYrvKIvjFCTij294bEdhurLNNdh+0bOm7LEfI4Xl08LhYE50MsEiLBrX/lPBCFL2e6MUk9EZar9Gyhyj/EfbHIlgXPv7naaiTgAtVhciBPexJRwL1S1YTrFl1Z/ogy5CehcBXYLgb8P0vAaey3tNt2M3cIPYwa8iqKqE9OmuBl875GLGF9/hgkJwdRFacuY1OxntJEMMeXHwYvDcIjgewDubeIDdnuwjnNEqAjnOWR12OULLxzfwbT+BG4/9+0mgXTOclcJuQZAvpwLIZvTDzH3aNrDrfXj3sr/eyDzzQinB+icnF8b44a7VbdRkacudQdUs1AIXCsdFFHgEZrq+yeLuky/Bbmjw7nDd0famvB5ZzU+zLiP4Vxien06YUi+iANNOzJJ2CeO1vm44Nquqjfv1vYmlG8LOPeJw2WSlU3d/V9BhZPoceID4RtV06whYHQAoXXCmuwyJAHJX4xg4cNmassxX57pQlaBHdml5XUxvl+HzU++bJKANjqV4EV/JnAc9N3WD/9gQT3a2WA9uPESnpp1kcN4vNh2Kw2SJsCDAfCfRFNH6G1M/x+uSf2n7Gwe0g4MXH+iZ5ngeEjvgmXjjE9XPp6GC8o3LYKyNbGtXpNFChZpQ7gju3UlGK8s2Sa2lOpZSaixbu0aQosolRi8Ti0OnsMC/mRxUU6lXiJptkqxSixKnyNUJ2vsyShiURL46y6B3GL7RpIxSUJTdFvYoRkIuxq5C96fHL02IkkLBsLBS8zrafoctcyxebHKi68Vb636ESvksHVu7ax4rFzfoAKniBmBv5EjMdCBVbdxbXQH7I3EaJrGNNC2yyKYkpjvVf/gq86jDDCq5IipzfFuUXsfaS2nyTjmcwGRlHwdFP4wPX/rRU6GeWGCGPtxazlwqCaKDwFmpTseYiM4d87QJDEPokljPB9Dajb9k24abJEbXJfBVcB1ZjnCUwlYzxH51YIwLf8VhNrH6bgOWHqgghp5lbA16pB3pHB6uadBFypl77QTBLwTFu6EZk8c7qyQBPcWM2lIaJ/Uho3IL+b7kWHJZehrhP+HSczcvGs+/sKMjwN4BFYyChm0oSYDSFkcUZXJBv8TrR5FQXZk6OflyRQ+/I5/GuyeNqXYxJvdU54ToMX4Htc5/gm82L7EIeBL0/Um/4lCjomyNl0+NI/+O/EubXD2w+OSHaz9M6nGZf0v7Wi6No/Ff6BwfubboDJ2ZfOPnCSs15iDOu1QEda5zLNe4UpZlYGlyzEaGS4UDhQ3PeRjU4ThOFGO24oCNb2sWR6WQadtRHYHMbigWHEF0R3PjDF1OLT6zUDSN+UEhA/eAgqR4zU6f3p4G9NI6kyt6WDjN7a/8KaK9DFQ0KSv3bKALIu64pDoKGnxXetKom7yPDksUalaM04i/hn2r5pSVzUDINLB7l4E54bLn+8fqDFsYCWE7J+SejVyuW8HbWl1A0gZVWZbPwaXRpJbIPqAP3cPCkn3miQAX+cbmPuW1mqgjk+uWHcGO9eLgR/c4UdlJF/EFIQhC5kQ681zlo3ilh/FczZh0Q2JIHJco8BgpON7XjKnjY3zAAv169aSMV1Wufo9Ta3YE0Q7mgPXqNsrKHPnQnai8JE9NMwN5Y+ko8Kv0kNJ/nxHKrR79C8U+Lx3Jvg3N9g+FGFpxVX4GbiIlMN22wEhMzu4PKxNzmjScJ/zCpmI9sUhmmZI2c65dyQKG28GB/VikCMsvJEBkn9dSKSxj/5R8LJaoiCvGsHbx6JnvU/h2KLUh4KWlfztUoVtg3T7/uJvVAzaNp92SmnwNLrj+YI+qWeaVcBPn6VvXy/RqVnbs5vsrNbwrg47EIfme6n1zR3Rvv11PZLuLw3a0w9Vxg1m0Gug94ZgI7tdMhjjVuYv+fYpT0trOeCwlVj5pGPhz2o++RnDvWAoQww82rySkOWZ4blQw01YOuLvSxuP7g74S3+HnnTSRuieu0LkwBHfICxj1KIoQS+ngRVMcrbXqQYV0AJi9E4Xk/6eOoCtoC/Ut7NJEy8x7oioQigZiJhyuZIRoZ7xDIYkJoKLC8E/saZKnCT1jvphspFSUflcCEWRS0N45BN+SK3MC7aLtpS7GjilWj9l837vp102VINSQQRexM1a5ogbl9UH3ClCVMWP+cIVwQMf0tPO23efc6Mj6mbuQJ9/dH8GmdcIF0g8lpBN2CkLXF/1Un7oBKhF50R7g6Ofrpvw2x9X/cqYJ8XkH5Z04pw9LfbqeR3EwCQF+keVaQ4rPkqCJ6YDnyjHDEvrvlqSInGfMF1pRr/mXJBNkVnJ5jMOCBmbFuIpIBuGHJ2wCQRz14oRh4W/O6I+VlvRSRYyfxmCK91sPCXwUXbgr4jxY4zgpTofmFJLG7ldOmLeVb7DALqlHenrP8H/FLVhVYZDgglSjp4m3TDiJJiD0qf4BSD40nx0/FHj37cIdhJWA4TSPh9AhWmrb+vlOtbfMyJojo/1FCJzh7l0F9nqpflW2218kPVHcUxPmxo7ZxgYe6JQC7v8gdGD/gc/klnG1w59fvc2FMBGJjbFacQ+8z13FL5UPV1ix7duLmk4mGUxD0r2wKPJTc5zMCCUdx7QEG3GnK9dAa8xY+rgvFu0HeNbMDEI/3jMBgRIaUIj5HwQCzSycysw6zvtKITqYvvMeVwyc0+RgUXFr7H8L9/yR6/e6M9FDeqWt2uJ4L9nEceAu03GaEB45XLZEzVS+wwA7P/kr0wth6yP6b2q0QL4PrC9vttFwARlrJNBLzroKIHlCymB4ymgyfDvfd1w2V7DRRyP9pCFoyANK/ZQuWef9Dsz4WTVXKEHEH6eivOmgGmFknB2jGHv27cb4EqIq3HcT9lRPR7Tg5VZLeYwTDId7zO+u99hmvesFxK8zZYyq/0+o+yLEZWZ3IAGaxPeF5vd+cXg8E9W05t6X11xjeYTQ34xVMwS0L/ia07OfAIEthtHy0YQOOgVHuGvgkI4/GeMrJu5LrFwJh9YysvbbDzSbXUhAHSgvEuinywPc4raQpmxSI0J12HDAKRj5rzh29SeIuiifKyJEx5nBps4lopw11xW9B0bDZ8xLEMTiSGRSo1GzesgPr4CPmV5qGjTzgcobsGfs8JkMi1DlFzDH5MvngRQxiixrClKI+8Wm3go5u195zAWkBEBHBWCfORoSe/Eyq7ddXmVnUbbttgb6uAB/PZn8gp4ktYlhPi0Er0Bc0pftyQKSgpfYBBpsC/KMgKn2JggCfjSPufAvDyk7ISb+vYbHKXJVrZ7rG1UoQ93kXHyG7zP0sNtJgZZJ+bSUxvHThhmYBBY3JYIjTiLVQP//Fwm2Iuf0At+/CF9xCOww9hKHb7haeOS3KL/5yD+yp9g8m3alks39vsjzPNv9CqOSox6BkvtU9kBB951tzCXEB8cJgQz46U7bUCB76QYs6OhwQveqaGzf6yGbdZHtQr9xKHXnt+ePYnpqFQ+cjL2Xof/j0gQzHNpPFDNAoq8XtVj0VJxKteVq6gLY+pHzsJdmutTaHH+ZbLNIHuFCmhYwonT3/gQBrihq4zIzQuJiQdxsIPpjkrjikqpnpShMNTaixhABknQrx8dhXUG4IAuTEut992O5wQn1OpQvBW37MsWJTre3k17yRnf9W1Bvh1VaH68R6XWRYQRJCt6zp+eWshgnceJO63HZIPvYajyrFjEb3Sco7q7QOHjHKPFsZXh2qJS9eq5LZN2QCS+dLFRKMj03kNcrFKl3XMA06uwy+p2UAX1dgNeqlEW7UMVh40fJWM0XsKEkRRRgiDnBuo3mkkEn+W1WsEZrTlu7nuyVNj3ZtYebnJv9VLN/V+m7HLYqwAeWMqqq4pTTzleUxCU2uTLaHml1voR8bEJrCAakjKsl8FpluXUn3Tqdf7mZqfXBJ+xTDEUCKe+6TEcT393Xew7rJBknYkE/h6dvPMyvYKjb0kSY61z1ucXdpAO1x//ardaXlf4jbyUDQEgspE0jrk7Nrcbmq0JBSzJvJj7HABEUQouqHB+2wBohjIlIE0Veo7VB7Q09Ao1X8lkc+K3K9fm5O1mq78sDUBfaSh0z18wGwkfyCadJa88eS/zUtY80b1YlujX7RsCkWj38kbztry3DecBJCxP6Xtoe/b1XIQ8d6U5PPCM+nqbZHX9xocKewtIkLNDoh21+skHqdAYxWrMHGRIAYSfFh/J+FxTzp0pryLKQPqUxWluEvhLdzbpKTQuHbHh1JqcYAiuCIXJl80c6+T4bAvcfM0JDQ6y32/PX60dMFzIc1LpWLo/gxs9cWRzCUUBfGubmkAE3wJPknRlg4HZq8ZglhmQeRTjFNR8kkEB7hBMlIxnzTk2eUeQy65XUIvYMdUhsedLEjaacS4pzv7qH9V6UE/BuABc9HAekLzKlY7x2Q/lbqDD+Vfou6R9grNHZMFl7FKjaGMaoSCDh60/J6S+Am+7DesT9KtNbasNmD5M5xUr1Tg3oniDEcvBxo9lOO5lt9DJim7PcdTYmqpdPhAuCypbZo9yEFQtVQ55OyKGj521WfGA7ENFq48/m6OyqxkIjAiv/5P2KxhT9NIRQtK1r+azrg26GA0xzHlk8n3ESaFH3I84g9BWP1xDmQlRR3FmwRWRtrMmMPQq6HsHGZuvZpYl3UTNEZ6DpPgUTmGo+Q+wBS5+QZj5Ds3E9wlkLR9KaFYLtrDYpSJ+CHxmJEwU9dfq12FgHDRNH0a7X8D4tBzwXlRzRdpb8nggs7ZMVvdBvGigW1VL4ddlYrY0xuQQB2Y5BUAj9Ob01yG+Ip5evgzoon5SHK4/ItogPAg3Jl942adgmvomtpr4B0jqiffpfKULJQT1JyG9/PxSNGcODHARrR+DuY845QnPJ73Uf+T1g63nLZe6KZ8yigeXlRqFW0Uf7irbGkxN7fx1gC8/zZo8wM2wP7H/ozOGCueDBDbdcZprL5c2AXEp5In0sMsWlC3MovA90mx8wn9M9VUTzLC0Qqqx2AU79y5LqtbyTtlRlAnESQ7078lfJQs6L3beOov99dJd4FaSBjdTtUMLxQ2OTVzUsX1VgNmxfVk2w2R/fv0AVoOi48e50dFmyIR63+SaeJSO9va+HVXH6tXOMZaNRG2z+eYsGl1aRPooWQUknsnHeSc117k6UkLdpoJIB23S90ZkUDpcBg1Ef4zm2zS9fhEK4nvJmbrQgeuJAs0tt4ak118GA/3lTrh3bsM4upfJQErlQYraduaZiqATIlgshPGV8tTVwjC6SVIqL6DVwbsnPjXU294bef11umQHfv5TMEDAL8rXBjOEsyuIKpdhgspEC4bHpCMh3X+eOC9hqOvQ/1EnWYMzUbqvu7cDTu9fEbYuuPvaNbQRFfebPP4jws1RsOnuMDyQXyaU939k+UsWQ57xSuGjn1CLv+PDiQH456MHXkZu75D8LEP2jRMd7/2FdmrtgFga3dmjpquf7Wbv7LndfPs+RoWDUhXn63UjJGcMd7a5RAvgzgC2TwiOYlwNY4vr57mM3nrKyzo71WniLz+JQh68Ks/AbiSrb79IV6+GWgLk8vmDArnsGep/sJjDAvWAcvgVeOdhvkImXFqeYedY9phYpcvTItUgpwqtc+7oSbCCEf9cnlnJWUkowolvqa54uH2C6C7CduJ8I1cYi8YLKz5zRBfABdKocv00B6uPU1atjL3K5cPTqt8EF19DE+QcUTzE7mF88C7FiuIdvXdg7Ifhnuaq5MS8sSdZ+QO9INzxz2/PV87TUavKxbBjc7VYq7PyT2e6vdC5U9mEN/IyFrHfE6H8KQ+tzecJ86N7QDNyTlEOoY4gG+41Ebe4oQw06puRTOGCm7z/5vVEUqSsUhcchR1eL+bdXf1yV10xMyhVgMBQtGEbmDNSgGEUqbzAdFF8e7C0SYGko2p4+YGt4Zqngxx5xtry2GGY7bB15Q6/8alkwiGhVTJ/XMeNCf0b9Gont3s3Kd9+3HaQKD+3Ebojsjfp01a5kF/T81jZYP3ZBXKhFVGLiMSMI+CDkbJJc0c04rTiCYHSxoNsV+s08wt7St3I7+8hwUpPWVCaOKWsDg1OTGYBQwMBpXxmlBmLYdpkKjiriPuXWzppXIfrCSzcHy8FmtL21KWfVrycG58NJzLWeOPt3m0EHrmdfUxaFLAaBUSvr6vaT29afcmuktWODRa8846HMGjcVChLk6UTZqyD0F9xuVv6N1hiltpNiN6302NdWKQuhRNxxItq3UcdbDLQGULC8/OyCdvgF7fl1czWV1jWPF4z3MrfA69qgIch3zJ15G0XhCfVb4/QDVtF88KqxPxyUr7dhtxiczSABTxe6604VZ0WRavkwZxcDXsc+bOjFRn9LnEfZ/wj7TY9clVt3jg/qqLdZwfRtH6FeHOB7KWVQz0ygwHiwlPU34MYt2FvJg+8Q3x1QlYui+8brAKfkVShury2MyFtAApdQSfdD+LNkisPfhiNwPrGz5XYuB9hIWu1m92GGRvX6JVQ3TOPUkMOJsLujNXt1IKdJH+4TTpx/PINs+Rj10dB2QVGzd9Um8tsZ2fFVvLCej3DKhwgI8s0aLpt45jk5yyos1hfl7X5qViNssw7gO517FAbqNx4tdAOTLYKJviwaZMhd5JpaOlz3EfbeJE50BqPE4dTZQWsynDNGKPg/WHgjeOAn4wZ/jj0Q/mZq6taJfx0OCdQThX/Af7vVMEHOeUtTy8DtVb6MKzB1BSG+TArxFzC0TMaaYGgxBfWsx4GbZyuz3ajMqX7CprIrn3CV9rA5COVM4cz+CIneV+gKpC9MKSnzYQLvz5vwxaulZSYLMD9i7AKzGTuqQeqUWGHjAXVqAteggUM0OGHlCSvvTCPY8odMsPWrhVpqT3ig07tzvgRsuvaYszFE8faG6sLCAE+jrG3zTh5WOyUQlqj6BTsgGmhWokhIlTW8M2LVitQ6yy+ULG2gQubLGmSX8UIyd3/BjGcjrYHs8ajY6jS3XS/aeys0zJJSj6A3GOA3k1DP9MppkTfgH5Ji/dATJ5SvR3GTifbDIl3u+/B1yNI5M3/rqSLmGIM2bKm5F8dCEI3uaSiEY7JReM1sM5XE7N4T2qP8COSdnhmDMmC6MgYZk4uwOFOCSv/XeHtrnc2lJ5v77+MBMdlWF5QTSyNRqedvUTRcO7fI+QDT5deHwL0DXG7FC8+1KYY25HxbG0c+/uXeVUsl0suTl/1GdEL2wZE6TCcfO6O5zDZ5cRj/lIPbKoUY507dnLrfJ8kmghR2ee+IdRyKbStAH8xdJqyqPmtKR9A9Qc9ISE8kreY7lslUIYKeXkTZqV9mcURFDCl/UOBEC3HiNst4X86eCMYaRNRtgAprWZw3JCoQZ+ZHJQa24sBeU77sQQu87Ij98EwEl1yVs2xdRf4bsdXQVrUIEB+JV19B0T/yPi6q6e61en96tapUH38CtBhEfBu1xhzvHjChL4jby25pxbzpkGbYAeUnZhLhkTZlQP/Qzxb3lSE3qv5RGeSZXoYf88LzdI3VOb8O9XmrBBF3xktbklq+D0KpymL86N78O6vF408M8YbPdr7xQd1vDBQtU7G0Nmi6XE6SAmwmYISxxI6vyjfqtKss4XkNSLwH7lXEKcT0Ps8bOlLV0+cNaMoG3Z0MDo5mj5HbdJXA9fpHsFQiGgKL0c7Z13u4AnnCmERdf57qGpH89dQS8KaR6SenpzPW0LoUmFUesYrVAxxI0+mJ+HGtv0Xqte6tGuDlqqAr7WMPctNo6AZnDpecQgE/KKC/yrg3U3S5s22WdeJd0kIN2lcbDjdoKKhG25AaloA5NNrIfUlSlD80Db39QJDFMhh+7488j9SDM0twIT71PZvMHty8wNGwIlfz+ULUfIYrcszQctTGoo5I8DxK7N9sU8cShKEjbRzbzRfjyyG6wffonxfbqVWijkrhwI8fz4c8th681lDpjhGBCdy6yhMf50cBq4GI5NlL2aB4/wQ3A9eW0PEtMUK2JF645CJ8MftCg5TZh+EhMj5SucMU20BD3uT5XY0p9ViZmGTPtEDLl2oOPj4VrD7rPBds4/Vxr4XReCjpODUVzn3ZlEwp8CgNNwC6aIwMQpWZO8eR0aDY2pdKAbj6SxSH22Io4BbBdxINvu55n5CNID/b7VGM2vh3652VQ9paxeq2m2Tqjhs0fWvw1NnK2Ftw9aeNLsT2NjU9PLP3a0yqKfzNqam+PF3Gzb3ciX23EwnHYBuB3uPQ5p5SEh5qF2jLjm5HCD67t7zJWnSQ9fxZMgXLUW5bX1x+KnlD26sD8tRk/SABH5hZ7eu/jvgmfS4K19YNzm0AimogIkXVlhv6kSSBtgy5fw4ifu/VAoExxbU89WjxJgjyTPoH0FJA49CNJzv30OnE5dEzl4ArM9BWPx1dYC9klUrvzUtefET7YYQ3zEk5r9LveAL9C0Um7ZZXWtwAU4fZOBubnbT7P0E523mpNNJzGKNdBiA9Rx00SzCVDWbH1/BpfnulpRP37ajepBX2RPckPiTLH0ndxBFYSLTVCgs7NHwwI7/gkqOR+ZPOZ8qRQeFbxdn/qsTZfHd2gD0glcF9Ff5ZOXqLDg9GJT/hx81/ScRcwjfA1tyibg61G/VqLItiVyYX5mB0CBq0dUa0HaV0LcPCh5/MyWW1O+GMYc9TTPT22SQ0hs1hCLvVbWQ5lrd0ePEPSjIqm9gPjELW9Lf+TRnVeZKHBHhC1jmjtPeCgccagezs4cNwKWQ5k1712C8cYZEoe6bLNXqynlue1nffMK+grGjLzTXDBXiyCTmshNvdAyUOfhbTjEPpEO6sEzQ3IQmGENDhURkWut7wJcMaPVYWA6ONIoEdZxulkHS8DtSbX/eSEXbL32ehSfZF8PMQ9omi5x9XBDlcWiY7Lfs1sDW8fdzklhf7sBKYijyiL2Q7/cLrm0Sd6UTHcPdH7hj7tH6p8WZe4m7qOqaJ+Ya4Xuwf0BFa3rIs+HcoDoec0S8BI4iS6HOzTw3GBKzMHJbTQJwTFM5LG0FOc777lOZLmzUTkExvcRYIj2yGAYBG876p6cIwD7BO412wTvxess02QddFdWiEtXFivguPW91v6F3cldmIMbTOunpjiT1NSSa5sgG8TgPaUdHsBKI2HcFurgxRhP8p613+noXNkpZbPCC4gBBPmr44KUqnFbz/OAgUcl0epX0Gu4IH7rPwdmpfSMeAVOVbXQFk4I/2gIaWkMSMJsjxIXT/QbNVGFuG95cspojhqlNRQ4ZymYA2zIkUqMpuy+c3qOIQ1DWHMG6n2OaBgKXvALVGH8v1hg348473mvSLZ3UOUzrlsrQwuAoBQu75+FUE4Vag9lW/nR/ZZe8yKUT2MwWexOB4OFykqFkWbQhcWIg1UGTRpJ6hDAadW5tWKfvE5cJHzuznVB4RU4bWJ3VsycOuxgEJ3Xe+FR6+KgvNUykUoUWHBRWByjOxO1U+w23jsbuCKviILE8LVhvZ+d4jAS/CVGi22q2k8KDdUQFQzs5sVekzjzdK+ptVtgEoc/8Y2C9JjcL7mQaIARKSGPmNQFzafZ9i798+sdqYl7SdrbQW974eHHa3DyfsH9Hyy/XOGtBaf9Z2/acEbXZm7FYpT3AE73gzTvLNgwz/ls9Jf5jcdXmL8MdhArmIJ/lTv/X1t7fDMBftP2diBhLrV/wA8jDK+GyU27+Bp+7fOtQJmnz6RB+dFyG7SLs8MFR3vt6l8PKk7rjXVRyoBQFCewbo0nAAYU2mcke+A9b36ESzhYDFrKAoU0eAUC0iVXrvtp7x1ldF+/KJtU4ZSnvdGfA2T2bKuUDoMOemYJT0sJNUS/NlroNVtjk+mra2jmUPSXlIRASnvygL1rfeB2VuzrYkCpM2GlyH8s1gdk/Cs2c5H7RRFCzUk/yZ10CwqimKdzlkbeFK2xhGaxTEgLUU8jLB2FOrGAer7m06hVjSXZHfOqJZMGFS1+Szalw5aG1LyAMWAEhk/DlVrigDfBA3ScJX0WJTM9YrFdqKvql1mSwny0wUN/+ZM7hcTzY+/ruVngHeVhI4He7vFctVW5h1m+/7rynxyei1DWEEFVUsfG/15PzuLAhT6NZyquFmS2NuSasQQBe1iOxPcqiCqvnopbPe+kOi2GRalNFBDvMO8D5BKf1ouQt+6Ir2Qda8kTwQ3LnJCSeajYkp26aOUzQP4zEi7E4Z82NSnD8ikf5zHa6gF8duQB4e0vGqZAZqkdf+adlgYIYbBMjZBhYcj89A1h9rLcHiG+TYnAtvI5zg68HlJONCwtnJTqQa7o26Ed9h43LIKv77NWRwbrVsIWa2vX8M55vojB7otHJX6r9mLVIWy4BXDPIwK4elskVV6gaygesgIuG2FcgKPkyvV0kaCPWlKKhUgff3mMTFPBJgF6xUHqAFdbN9swztF1uDv5SgwFq843p5dECYfxiLVbqYPRvj0OrET5NbnltKDlGRp5uaBtvUMDBpUfCH4FX8w+8tOwx3ptMqyQxqWffZGYdc/vCCNqq0QWn/UToUp4iTM3EVHhOuLBJt1w3ZvS7W43MgaPzDdaScpMAuTjFLNQLJK1d4uDT0F38ZL94Wl+/KUh8i5XtI8PJtjD5TuGjV8BJ4SjtXn9uVoIzpXV8LVIXfuYBh8HSUOKNC13U71NYzvgWIqmA+3E1/gFzk+6ue0sGTqqa1WZKgAHGhEnU053335Mv72Yzcb2EWgzZk4gbV3PCFLzQT7eKV/PF7lu04pSCvkjwQ2WKesnXi+dur79mdY7XbMBxoxowA+Zkw2SlHzzsx/IdtEhgvs4Pt1unv0ldfhY/bPb6rzneeEoOQ9PWu/oxjBxYV/HxBY59sHrBPUs3teR6eM91/OJhrypO16KAUpWtICCrZx/HiLwtZR1+A+ywi7CQgKOIgTRMKPmxlXbxG74RPuzEgQfjheQvwLH9286SsXDjEuk4+X24pHuZ5unrNZheBWhseMAFRX77/Y4pAUdy4jX/o0DgXJnfMzHs3cX3HxamfQdl7RZlM9DjeL3IcIuMCE8atSf8tCpz9ePFuU/mshy7/AIjoF65vXIuXNnm2IYU3qb1QirxYgxPyaSAx7//5IjYMgpnVYegCzPMaGAe6ohtD6Yak08Kw84vZoDThkKY1MlqP44WB49AC79Q4LsSDisLP3ZRMKZLcMwGRjTRSXI7FgAqRyAVl+YrQPBHC3MOk8hQ8V+J47K1/eTN+N7t/XT86tqTWUAvJw7TSLXmQnPFn9uUSFLaSMYYIvBKQr6syIo66RA0zs5rVYp9XdL3+R82KzNfkzZW72T98kRZh7ReJ6z1mMxuCL/BoHNPbR2MAGQ6aP6609iywHB84iaXYLycu0LIguhrEtqlCI8rMRnQ54MMKxatRp8UgBh3jFsIm+crFyPkeSURDUOak5NhgkR32QgZWh12JqNtXljZY2KJBzpVAr+R/Cwxz2+DBK3wEorHyLbU+cZg+EcP4L1tElODdPqwU2okxY2huDutvvrLi4FFEL+itDJfyKi97kTCuDdhgWk9DzXDivuoHzA2CJR8sqjxIRqUTAeu9ucq22xSZYrY+lVT7A+pNrjARFfPngtZSsZKou4LMiFViGmHFk4ncx2e9Siby3u+hOzoLFR7YieCllOlexnBILRNx/SlPbD4bQAWBwCvFDgghM4Svjn9Art9X0CBhhPH5tPkPwF9CfXVmuiKq7FKdOdB12vZT8QI5t1RB91zWvUlfs3pl8Js4909LzakdsDmCg26ibuijmk6YZx0bFBM6Xzuy94w2NAE/Lvuadz/lVy+DPeyGngj96qO295kcElvpTL06HvaYVDnGhottZtzWahWE0Y1FXz3ZbmiTN1hZZQs7NtVgFHuGZcrm5yb18vXymrX+AJrkJk0oCkrmpAcBnNEIWSbpYwHMuuh8NcTkbiv05j0gE/h83uOw8wWQ/X/d5HMBYgly5MMMASNiWKzQ4sCQ6BKvh45HSx6aBmAojDoXNjI6hLYyDWXS/P/TdAPOEDDgEaw3MlvsKWlT9KSAYYLY7/wOnpVDx3vrVIz1excjnP+7NdWI4rAB0FsjhW3QWw7JohJ/WG5TnJr+1v7ro7Ex4KtqEAGoh6sD0eSItnn8ShfW24HGQxpM76NcGwOQRz4uv3RvnrtjaNbw05s0G1kRSeacRefxSow38eqy8m3BZJ0ZMDk20JjXIqhvzCTtrR5MZNfGQ5t/MUyhcIz4Y+vUzFM3L7bbqN6GP4oaNME99on9devLEQ676YcZoh/EcvRRIuC5JUJae08uV4cQYcf9XQbKfXJPXltpccZrD7UHY6witGMICQEmXPkjQ1aVDgCeDejH119ak66/yRSrlI6+x6nppveqtgtyuaBs7BlK+onWH2t2qp6Q7C39dTDClefGh7vcSPXYJfYrFYj1yhUg6UqnoqhBQ+sLJDBEaMHFtB4M7W2XG+G93rszsR+97Ie2etRvZDbExYLpjTVLyRmXOk/SHsry6Vhi3QjUhEMdFgRpvVfXvnxChmq4fSy0FMPGIkKFPigzkUoMbCGR6sRpM7ZJLMX3FvhLDbW51GID58qNZ+2w1Wk+WiARSKmb7J0hpY5uk/BqTUy+6sjWm/0ylJor+wlNMc2tiT+MVqszoAT5qhn1bOImt5VLGJd+TrWzkxJaWr7uepzc58imqhPx7vTDsdq2KVUFqCb/BRLPbqw4d4g0upOSNSOFm1ovB078GV+kDYJY2OHd2ZUbqj2YQxsmdOLrOlI6P+r3FapV5FyykrIMDubGWi+4aE6H/dSZBUB2nHRfYfzF3evNd4yeCClPOUPqgjruuyvtmBTTvr65YJ6BMAMugy1HBS8CDsq+wlP5Tmq3WQysFTqNfurFy0esdq/Nxg1M62AWPBFLF1aOBbAzLsiNpVZpuI/n2PWcOGMCbgI6P4uUeJ6TZ4K7na4ROr+CZDDN/0adSrIeuVEkVXn3MeN5C+1upPs4R7bt8PMu862sZ0AFloM9JjcQ1tHR+xpoEAEQ/oVkvd1QYkKCeDzHyfuzOjkK4jWfrgot6Gku2kwAOb4CFiBgSMoS63J0P4E4a6GUfQCpDUh/pLxCQfv7wavYzIdzWZrieaiO8feEo5nT6/ItIg6L2JAHTDIW25jLtgAwG84SBpGyCdWSS/F54JMRuDFs+Q9ak9KosE4LsiaOVNmiQhzd139QYjvi7cxyW1REvY2q3y0CSS5tclLxFDL+XTShAy/oRQ2d/pzLgmCfs4meEj9VYNT12FJI07k3IcTOPu9MrKqoCJu6KntwAJ/zLmf+teozjouuqDLIvCipeyVdWUlZO2OQVCHu7uXW2QX1mlipHskr/8x5gF8jJTzL6ZUaoYudE8xzwZuFTZD94KX6v49m3HnHtinWXf4Ads1ytFshhTNKRkHIcM9Z1xi9QwJKqp/C89X5CL97kHgEaBHHgiM9vq4hw384nGPYoOCg6n4ZYZCdnFyfia3P/wQOA1IYaext9J0AxJ+B3cWOh9qdA7KIiqywCPknlMdzWqgN01e3SbMZFSrvPMe/3aFPyc+ShOlYE+wxRqPUnTzq7Ks6gmgAzsxNUTtujGId7s3yzSPIFw/183NZtF3JrTkz0SUe6dyOB6ewJV7+DpU1m48RCnhizqQ6/AjAYzGd3eF3WYHdyJ+EKUZVqBbsuo28AVEG9/BogN4dQQhzfe+o2n+37bZxTN/Uzar3/GwkY7Why4Lxwe6HvaWMe2xWLyjSytqvTNeU7uXJFem0P8/ZY3j5yzPAy2TN3STkT+A1LGl1lIUJGOcakbIkvInIz9cprzCt3A+DIGrZO6i7OG68g/oTpZDIsdFTmBLVK+Q8DBoOCD3DinxFNAWk2UvMgqIyak3mOj6GiJfQNSn5yT0x3I6wqjBhvxzBXMP4j2FKgSy3UNiSbB3QOcaFk+g4Qhs3j7RxgQdIKFMZvqYhjcB3MWxwp/4EQ1sB4hN1xqAV9xgJ0dJtHtMfIqMBXxUhFUMH/vBx/5kierj7yXyZylKwvyaui3gDGn96p1HVZZoANIsBpoqK6VDnb1p9DxkckqDRWpDwvb4eO/0zm5GYlnSCdQAr9RFx5QQ9rgpxRNXdkdKGGAUjDxAglq3LOIoL+B47UmQQx0BLQ3lLzbrDF43Q524Iq46p1a/9T4nLsoV5l/zksYEUM75dTrmZq3JlSYwFS76DQKIh8mFUdS3HzZ71QGfzEGj1/2XK/g7P0H7DfXcKoFEvrmNAwMcQw+sX0jzxdpVPpTm7pLlAY/dVuUwMZlH3m4xNYtcZPaETlz7FCJpoFQ8kRSZ8OtwslqEo0WX7SLDQRaM2O8F3UgesAzrLyZjrKJEVKNYLhm0hKNfubNdipLKXhwuKikPs1vXve6k8ryOMRoGJ8OoAoxCWt2Cc1cRbrqklUDHqvlC23cfR2ViIh5wt6zOJmqkyHeGbESsgB+1EEDpaYNdGovULZk7sbaEuctHpqp8mNS1+B2DDWmbc3mLlUCJ/8xBSaTkhqvZPgjOk1Rv2yaf3b55yCn8mGNkSfBL5eYrYQ3Vk3WahIx7khBAT6HjymeEjYZuqPfNw42Ovu5wAcNcQU5Mmz1iQUXbppT+Fx0aDC6irFGcQSA8TM92Dc1eeSmeJiCrmTm4jqEtp5YlXGF/J8LwvuTepv//B0cdRkTkOt4U/HhzewbFhZWEZ5o6ZkvvqqDHzXLWXS/ZHNPHnuU7Rf5vV0OBbFj17T04qpFFU1/iFnYRl1YBMlrOeHkfGBGjglPG486Uk74aH/OkEK6LJyXNmQnTj0M7QogLqOxuxMZqPWeEpOAY/flpWsb61LVSDlnvBgzEUPXI5T8JYay2wvOcIXwv6x+YvbUXuvixZlGdpi6u8UpNgKRJdrHbYamDDHGFaELyWXKUBzblLTYChowe5q7caxyD80pVcmIdGYvBu9/8OLNPXtWV2xee8S0tVY/mqy8HmNoBGj2bDs6qy944txnLCc9eF237El8Tc+GWSQSyD9DISsU51WuBqf8gW6psDjt2/yS8aQk8DVKSXcdDovu3gS16cRWh/hfKYw1WSj6WFCcgGplQB+H4VR+qoVvBOC1QVz5bLWrNu4YmeaYqLQlA7lt/ctZGpClsjXwDDch2+MJw2lCzQsHUwWP+2b3YgGriQLoZap/quzlX0WJ0tkOKgDRK8Gf8u3Y9B60CIb1LGTyoXmOVOcOh55szzR15ace7bcgedxEAYC3j1qwYtVmVSFHWkJXVR6bfM3irUn9focxwd1YrwtK2nwlv3cS5fM0Ekhqkm7loY6mYmDtnb0VCZFAre+cYWU4I0hiI5CjyGrhhsadpmH7r3tNKOOSGx40M2YZPaANCh2jlXkxTs4g59WzG4rKo1Inx5UBB7b4rM/kutU6FsK3yyNl1JAquS3nv1xNF8/ro/+HYnGH72YsL4uJ/DJd3ZchfnSMd50raDmEHLUd498n1V94fya2WRi6S8thUaQHtnVe1i0vbwkDlgiF8lEM8CE1NT1Jk8BRUI0y0OjaIboRgoStTI1/eM9ReRdtR8WUnaeaSccjJ7qV7ebNvqa5XATZurf7acxXw1yy/mvDDbR57uAH/1u4dR14Nse93IVAKwG/bqsh3DOKAYy2Iu4k8XMO6+14o80QaYevPzw041zzKowksGkWJNsl7WWN9r7IPBZOSyznjKLQNImr8JyI9z0666BS28mkBDFRpjNkZiivJz6Ej1XS5QIZ0AQfXCIuG/nXaa9+HvRfCihhz7sZrpbaMbsgKvJi4trhVpeZJ0GNvPxmcFf9MbP/KXXd4LpbNQyfsmjkZjtQ364cWZVGcxHpPUdhX7TkRkCh/Cys1GsAna3mSKQ/fMi+6xGY74hMpvT01D/aHUBLMFn41qR37lsrKCcDH9UDFI94iSzw01J0R7lLQFyk1Dz5vuisaInftjLBu5G+04BIRCaMIbAz5hzLGT91Jyno0n94o7/DtWUv91V17BJLL4LnC6GtYZkDkxm6t7kTx6So3EuG+JiSl5rOh66tfIf8MSprl/RcvBBeMiBcqlgPwMaRAbro5vBKTERRJz2JBsfdvwstkwoBYkFDjRKf0gD48/oC458T2rbsR+pSTKhubE/+iiijY1WOXB+i+Yz4ktxInE+P1GhaUu4cj0rtNiCkOcDVjvgtX+B2u5kxSE3Oamy1xLkgmdHB7TzxiomtGxqQgxIhurMmZ7kK+2cu8KiJjZuQPMJO0ZbW0fCYDtAL1shvMX5XCDr3LtghJ35u1PQhy+ZSS/VGifBtuOk+fNzDEQ3t0JHLhAp6saQu8fVggoshT4DnKmQPFaoR9p0qSN30CJJyAkp8OftGbFmi+Yb7GGt5XeKGmtF+qH6BjAjMAhTjLUuZi5lhOP0bLJjQV1JuBH71zMibCZira89kOquirkkJ+frI5cTPDQlm7zWo71RB/g166ad9vrct8o20biezu+pyaoyKSpiJoBhm3feQ1go5eaq0fgKobeMArRMr9mbSuRNOuNUeCsrXI3oaXGVf06FyxFf9lP/AmQ2pgSpPAjOwVIO9c6+1bd0KCWod9S1/iJOX5IOrjO4jkQpHBcCL2rVYTDv555TtmhC1SlWNJhktkKrx+UQ5Aw2BoMAAzzciKCm9S1TgS5oyMiOIsuCy7b6hBh0+4IibPksOvAKAANsGA61dvS6SIqWkEqpN9ZTfxH4wW7UV3CO3oIIqw0JYZ+m+d7trnHDFPV0rr7wrwkoQI0PKPepAjbsUgvOLxERI54rSxIUBiSADpyKZdEOPa2ARDwTYDIYdtbs0qh8sjs9WZoqV6WIu1FDWuCG4AWVZjxP3ij5clcsxWNn6rECXPmskTYe8u//zevTkQRj8guAf8YIEOtPV/3tytwTl1DwILakgzqrcrpKlrio7EA/8XDv0w5X5CO+Y9oqPrvWGM15wTTjiOAVrXB0hgxHs5wt5GeO8nJsXkyZWRIjoPz9kydlNNZ7sLpnXwV12KMisa4XxKHutaQmXFL22xJsw8a+iNpQ/yJwsx8JhQHd/KiRHDexJFaLDn/JA6oCA3Y6PymYKsNp5fpk0Z/dOBfNA+xL+V5naRYmOjgEavyS3jLYD+WDFG5zhNdwwWcAAw0Hd+TdldPmr/BdclE/n8Rzg4u9VbA0UUjAqB1Zs5rDqwzkCsBDilQg/0o2i5XcubjLPzvoU20/6mFSzWDkC9atQePXWAm4hFnqOZF0lL3ToEjdBB9sqzsAayWySWD9Pn41A6ftoRNjhJvcW3Y6Lyj7OmEz6eU0CrSzxEqjv/UvVHkuqW102tRuA7mM1/jPmyrxebQ6avJUN2hGADCVgW4pwuh6dl5L5t6xZ99pXq6TpAjea+293WaguAHIIY2afh3vZv9T/qrh/187Ys6hSRcNp1Dgwf62eUbETHPX8h98+V4GAet8r0dZcZ3B+/Ij2smAFiDUB8p+UKKM3yM2kX6E5Ydqcwq1pC4gJFZkhJHSoJjwnL7Iz7WNOnFmNrM6iOzs2hf7kLtYKayKH6U8jQ6g6McQq/83BMRlvNIQ0CCvmiQMuHh6TJWAzELfdJTrtuEsyfDt0ajJPZuKKQ1ZS5SGMz5UlRnRR7xwJY0qCioJ8yYDHEYXXCCEtEB1hV59vfBsAfSGVcPfrQSW5Mg9SfpzfBTpU+Gs2DeK27jCtRM4xGY67i93zA21RGQeW/+1rbOhnxMjeZj6U3umNi9t8+LwBzGegsy3dgxaYBIxg3Bu6hU77rTH1gzhAF8GI+pjEnOKk4Z288KPmWAagfPREn79byUwgs0bjLC+xgrZTsmG5h+WMCTLLlD8fMBdVL9ujE72rMvnRNd8U5qJXgywgko2vL8nvfIqD7j7QUNzqt2aA3pS5J5Rt6793yNmATaWXotecMwkB7cG+Bh43cNUd5hGcDOLCgDVwpbmoHBDRu+9M6GP0ucc9+tWZPryeFxVjVnumiG6lo4TTfyqGOp/gTlkA3a5TY7i06LSAjAmJvOvZRerMQFR2YYCo5ov39qJJA/qwsmAVyac4F5aY4a2MGLd+43TryJPLalReARDORVvbwdqA7Ygyi55nkDPqbObQoEY+FBwdm6rpM5hUdI4bumK7OV3511TAGnstIENFQiYmVkxXVNghByULDYMEzdrRHpVN2tZhkDgYDYDKIvqvGRbkOXYE9kJA5I+qLRQxNchVoE4pIn/o7M09c/tUtmXInuDwlOukwFhm7bjzdieaoG6OcEFE7HaTIGjNBKtk2IlYvXtHFHbccTogr0ZLCR11ixIDQGI9T2MGjuMJMMH1HtymmowBE29925/j9+Z/E8mvHlh82bHTpAf18Ama/k7G+QNiPFwfxNXrpEUJs53Exx8uzkRhwQDzVTdBr6mQ6pR/W5oFDAN/41stZ9fvLieO+AWJ74mnsp9xisikVLdV/HA/knMXn7jpDig7gV+1A1yqiCdXR85xvUNcTiqBNS87dhoZDQBaNCPdjBWtlDGwAXEKUnuBE0UsFWRJhaHy3R6vL9SFmKORKOEYEuOBF6ffMpRLrR6VN7+fvhZ0IJFegz5IsUSEsnuLdL4xh8Df+Cfn1To7erso+ZVb1ggPz7vlx/4wTtTeakwtDhsBVJxumieSAMsnJMh+gz1/pFuOUlKJ9YhTWDn9/ihstvKNGAN88ZObvFQtW8RRzVE5OlYINSu7+NYc/99Rd0vwBFHowtnDXpjWihYA5RuhCtlmcLZ8ZW/Ks+7+9ZtgIU3JLWRB100Tjl4UWYg7vDcPhrK3rhC3Z9OaDCfMU7v3rdp3lB5XwTojTQE7+Rn1/rgHlJROei/IrD2PHHI4dVt2+m+MWOeWpquCbTuzJAydiWb/OLeilqmXC8hSPY8rbQoLvwa4RNkUBDIJHkmZQ3XMshGXlEgud1/hma3vWJLXnkPy1H5tr08tuj4YqVj/nydjHk66GmcmfhfpFsxd/EpaUMiyDkPVc6oOg4OcnEyupHvw6Vyz8s2qHO221upPhIpjtBCtKMIUNhPzRzb0+6LoQwHV0omWfMbv5m19D4l+D21fXgWJzUJnj8qTM8naKDkrozVzK8025cA0MzwEx/YWyoEoOUFN0K8KxtFSHrTKQ9zudhom3ZGTvXrX7loKEI+inAi5noCJTASMnubCjv+uQD3Jcg7dkgxPJFu3HBeQZ+ys0PtU/FRwt6cBFKwZqsAaTfmwe3pU8YS0+w/EI7F77b19dtkoMVRecsDEAxYx14lrtokHQOgbfpPKNtunv4SvLZVdVy4tWdK2mkt/hzOFHcOYfxwZTL4MolwM2jF+OY4omhbdtwfhDp1aTfp/2bZG7yZY9B85rFae82rmgel+pnhfYrIVQ9LRdLDZMNRjm9N4jagSOeNmqQirO7PKJphZX/QFXWETvaOtdHvGttUCniy0sQFx1+yK4ThKyXk6oIPSQTMYP5DjENneJKRuDvPiuKNhZk0BVtxTHlWaAv+BDA6HiCCUtHFrp8mSnng8qtqghbxutNSpN1NL/MAdGdWn2dN29nlvN0oz95d0iIZ2u88Idmj61wwXLC4iiiclxoGs/jBGf26jWeD58E1GQ/Oz5GvjxL+H4Qi9x8fdzIgiNba0DLqefCbp7V3jXw9HFVBIipVWVFNlA8Mok3nn9bBuygtRhSe6OpEtTF2h6s7QRQxiBAK1eS8iuNAk1/S8hDv/1ZbV3PpEjUwFun5dHYE2PL3yd9sUlNB3rAmaR0qvJj3sWtqDjG2r4pxcRy4QNvDT8dP0mEbVXer2XJwRH+HkAgM50ZonBd1BfKvAbYGrPhmNola5YysxVJoBADBocNoXh9T5GWW3Ggnv+i/QcfrxjlkvC+BX09Rb8fqMJOXHQ7WnLxhKRiWFT9flQ+bd7zRRkxAyxEBkFIBsy2TzYSPBn/9sXvAI4AbioeauOxzAICRF9gquqTUUa0CH/VTQk3Qr9EbBNN0ITOVay2NALEh1DDODtRIN1dtsp4ebbRn0d0wSHkWbqd6/hdu84tNt9mlWblvnMLZQF69gKw7u+NJ3Shjg392ZNDmEbvQfnKx2DAOdrQ0cFZHK4y8vSXE7N5ofqN8PABLcnucG7N/DvlEdMrJD2ncm2WnLJD4ySzrvyVDnoyxIR+QcpsJ4QlhTIcL/ogePknHDWJ088DdeUR9ayKXEGmTDQ830Dnh8qbDwOqK95evb19HgXlKIaI/+xp9lDlZNa3N2+HOkISZeicIAYHI6PsbNrg9SSqoG3A23R4zC5zZwVRD9GQkVjlb09xvP6YdErB+7rM8buyCKCQ5gT30vhBgmAF1HUE2VYSkyL2RyZUbZfCIGRybNXYw5u4sS8kZbPi3S69FqkBgzcu+YfJtBj73FikUrSja8uZAU2Q7WicNMiy+Pfms5EjC9Ej4rTJ6Ar83Dju7fXQVLCdeKiZMukgRzb9ydsej35psxrZEqytodx9FTz5Ofwk8biG17PiNi0CXY5iOPEveSCQnXVNgfGU3UWF5DCPzXWcMjiD9QKya495Ia4NHb1PDogDMrK6mi05FI/p1Plz3WBk8pdayqBoe/zMQx66L81j9pWF4opBAmauHy2ykqZ43CMrrZHGoaGRtZNCubwWm0IJ/MHgw7drLg3Tk/KIElMVF+FBheDTyPNLnfdMIb41BqIBSfiqf5AXAq30vZhrqtPIltKz52aB53xr8vsfVALWuBjp/mZrMB+Vke2u0APfY93jmoBD0UAlJMQ8lBST/bR/dDHO322invuyBcir/BcdFScttJiWzSk752uQgH8R2fFN8DxO5Q/a9sTllbTg50kaJG4lEjci4QZjTpKpLomhJi6238YFWfmbfjF5fyR0ymb1Jy2U85qBmB9htEJ97dNrkUvonpfLNn1hccyj34G3YcKmBQRAGG5S+8I+OutmRd4gXoymZeaEi+8tf4rBNlm/w6R+10bxTerYeMKYk66kQl05yZA8ZbdFYfh+Yaarc0Gihlw7+Bnek2EOZXr1ldQpWK/RAlfJvuc0vjU9fUvbIYa8xcdE1o+Pu/WY+FW+6xeTL/M1QdR29/f9lnnR9Ybekj8JjIsV9ALCcnNGnipyqXv7otiaBtkSn++j2jYiLHJGucltKuEQj+u+UgWZpaTsyrTkzuSFYJjbHCq+BO0islq3u0wsrCsU9uB71RdY+tgiFiEpV/Hmv0Gyt8LFGeLV/q3yfijPTp4AghbuogyGZeB6wgYHkoU8Xk8voPoyUYNGGDPXgM7mcRs3RuQXfUF3CzpG4yxqxyOBFvM+Gq7goOtIm2hTweqhTY2E5xcMsanGNZnmOb1oWqlFPUzzvqTJtGZjWXpC4oCiH0JTQ3YhUcNssDwx0tQBV44Qip2hvAR0vbu+uCnWxY4JGzRj8g2GW3X5+Bl9BSvo52UvK2NCttOGJYXIhpLOGMX+sImFRSznymo+HB7ci6qvpHyvOr09E+nOGEdtS7/FKyV2vNJb3NzlSrskEkEJpkHeBw/Bni1FATQEtPonXO/Q+fFZeh21eB4A5I3H83eo71c5dA/cBDzUohMLcljPjYxyEBYynKy6WVy8rYPG466ulY/Wp9V2vbtreRSKMfAYwz/zBbrvGDdJg3YmVtAF54PjUz3p+JuMgdYE6dgUDTqBDEXJzByJ+OmExMhf/aE0tNb9IgDPY9T7kKhB8zNI3Oz+gXxbkpR5hu5sRBpALyCjIY/9sG4CiyR+V/DpH/bAF/PAPKhGCQ6U6HjuWslZAk56XU38Mwn70tvDd06U2gzWo1zLF6g5irFWNBOipsbJ6ctqtASf0zjbF/2O6UEmRhAT95vsiiy+X78jv8ZSOhPUoYCzR+VNI1AAKaDO3sFWO+n9SIpjrheX08xHe6fa0JFjmIvoAUSsnUVK8dZEVTlo8HEMlkmK26y9MXmPn+BFKPI0S5/FIObj1V5rqwJbbgrNzF42eCUG8dO4F1BxC9BTtKFxBQOhCQSoQACYiUgDO2wYxJ1tR0gxCBkH5xgEX6uN/Askixpoi6/VjPpigqIWmenEmmN/RhR9Jve3ynk56Rv63agnXQdm//IRRLO4cbO1H1PTw+x90LbKR5W7MT6byD6RxeR5L+bz9hLChOIRkIIeAkzSAe3StGQt3eKxLE50FdasDpeYIw7hR0KKdPxtXxsND/YgI6L1qaIwXGUucem5nw38fDEwVvBud019Z9tLP6t+KAcDvKMYYmq1PxvjgRy3vedJEzt+MB79XF88UUAlWpNuqlR4PO6AR0BUdNMDIS1365mszxK/scuecdaO+U4sN3dAnKOICJxGqNGhzak8PagQClEyTyIjm+Vv4L6lsK1ECEvqNu6jN3wnzqEOQgI6wH06RGgSr2m1nv3afy96/lFVJmPi+C5meSMPsY+P19RdvAeQv2FHLLKb0jvLi1gkie+AVvS5iYSt5XYAxz7z8lt9s0qH9nNvYFt/vmkjvAZBiBCunugqvTGaCElsLzznxwYEFObmcTB44S1vf9RkMcsRgUe43THTHWXEjmyVmFAK1MQjLlPDuPKdqc+RFU2bw2SwVpDxjEmGx1Kpzrz/sVzwzshtxjwDXHLB+MawRAJPxuRDE1QOUqaV1CH3ob2SqyPJbc2v5uf7DexLhyCgIMe26zixh+KQmJmatxfcv9/rkmPacs6X126hvASqrNfjkpySPqErGFaBI9B1UOYVydyaRRpLUNwyCoMryNHjGEWQor4ei0MiELgHvBgX609BlXDwd6d3N+kii2Dn6gUcUvFFLcBAusZyW+Sj0gxXOZG9Yk745zGDmVIB4oaT2useoSx/PYWmfIRc5hZ806vB2hg9ZVAu91PfJ2pmV8uMar7LtSUOdYaIgABgWI3fJDMd2OoG8Fk9lvh9E1hqgAyMSJsJDOU40aTOtVT2+TUCDS8OGqeKntv/ztlv7sB4959tJGKxs4PWs87DSiFY61pf2hotw2MTQ4Cflsq0Vbc98LzMkF5YFDcz7+Zi+HYQYZ1LACooxlpTT96ANvHhedIqL7LyIhq/9Z5CscFZfltKuLDkQ43q7thaGbbt/SAwc72QawRkQ0QPLFei5mR5YYj2rQTnA31GqbJckyn225+ElUpAdv9ooffkY2QDv3TFCwi2u0NeX4gE+tfYSTJEWsFKbjN57tSler6YqcLeWyi7w3p6dPwTqMYZMfHlMK4lEhfya4KzCu+1xC/fg81r/ob+OX3JYDlxUQmGtbHoJTiW+0BrwELVUXIIYun3lv9ZoKf+hGssGHhPbeFivkKHQQTeK24V0Z5BYLVfcoMAk4SNthiYald8vWRAVmmX6OCpnN9ElDOGRulzLrqRUPFd7lqPZGzXiO5qjziqDhvlQ0sGfhoxS2K80hISmiFpfINL8hh9TAcqjKq0ffXRVnWz0ZdIw1+kJyHV0z2MXmxR8jWLQTrQNrq+jiiHoHJvBHp/VZx97+taA/v+KY1OtK8VCnfcnlV8SitGFN6Wr2zlgfcvhdasXaBsEEhaTxGSLwOmYL35FQspBP/zjIjQFeDZfALWI7VpmhccjIvW/n5SCE0IAkZAdaP8R2k/Jb7TXopLczjJ9FAErCEgn558a2t4keIb2X8Rs7iaaJplxJbnMr8jCzHTpx7kYZAaX9D/JXXRqT2pBQounvIRL7QaYNVDNwLEGRR9SEN0b5+NuCUxCMqnmsCo6Nt2keRWraVjJ1eWDg9fWE/LAUbyiEPXmFON47hlgspwSy/C1EIruVkNDuxXcZRiwsdOE/ExQ8zVTiYECCCXXP/CMS0hFR6hY7M8m8yVX07DLZMbACytkfD8nfMEEC3anb1XXlo3WiipYksGLNdykYaqYSlaUNrNAnfCSETY+Fuy1HxBsTTgxZZPe1Ag8JpsjJ1Zo0lwrAxf5oKYKYK/vLpYmnn4bvbejO5+IrzbNwV+pTv22jB+WEgsWxnFj5TfgJEtWu8+hrYZOP9gP/4BKP7nzEsKGnZsVYAb9KGpxTA8/Ynp2S9l05oOD8nyT/mWYm7nEWc8FjzlF9644a46BfcSY+IiubyWGPVyueOdVMgISGANzcmyMjxiaar+XhCh8Heah8GnDo+7I1gJkUOhHzZThL3jvtOznJbeBAGKzMtuzIJ9MaT5+PffTfCAto8mBmYwWxKE4NWnpHgx8Q7UbypE1ZenvvLvpNtbgbCmGCLmpK/NgJFCpee9AvrGtoTu7XuqkZns81SPsX+B6u1GC9m8yq0IxSp+VFGWJh3h+rxMfYzt5JJmIF/q1kXbPIOmIeOZUZRo0E2//JxfPRAhtIPEhPfzPGKAnsnyOCdNGL3XtOPyHjd3SsADtUQH8mwBeQ3JzdaXUXxhI/ic7JvyP2MN+StbZn5ZEcxcK1PjJ9fn0yeBEKc4NQXxUHlvm/r/RlE7A24EDQ3uovY+FCPpr/YQjsha0TPe/DtVraKm0E48EgpPnM4otG76CMX/RKIe/m2ZIwf00F3maHN3l4DTagfQ0NY4En+0datuwPOopyBlv4pDFNBMpRiqMOnbtU33svWPmsUdXgYVD5QlzJAVYCPwDbO4GrQiDn3yyIiWHkTQZJG3ldOPoR4z/Ln51+0DZ+tkZkdd/UljEdE27TjBSNtb8UjY9ntSnoc+3G5cNJbkHf0d3vkeAInrYlmdTK7qAXLomGlrjrxH5L4q9AOFwj/AGXp5LNmZ2xuDBDwUxTexPTJUYPCnkUMHIFZrPQqvWUBi2je34m5W2HFKzMcODT6OAY31euJSwsquS6sGw2Y45UbLUHEdembm+yQ4/H1HrWn733tzU+IzrgtQ7i+Zh4sQSmBHEkpanDf5fG2ViWsPZ8kHAk7EcnBBSHDNQYwYJOSFVjrYEcw9x748MBjzGi4Ij9wmM0phbK9Q/WCoba/+HzbdPTSq0Qj/Kzmr+5EOqlz8/6T76Ox6k0YMZnNodbX3akeJ70OrZjfj0VMtKtbibH7EwAugsBczTVuK9169m7+E4Pfv/XWpxPKHkX1dQfY4hMBaKsMhp9pYTV4Ot13s+FStag9FtVD7sw3K1WKlRGLGzjAdrDOyxV63wUn67Mho9YC3QngCNLEXlSwrtnMrwdMAHK9JJAE5IbkdgSZHcI07D4u7WGLB7OpepKNy9DCEqt0cQ95OPLBkbw0tb1fQK3zrSfOatjdUMjPgtw8+FaAkMlukvzTU0vzaCZNCjrov3VjlocKUvZZmIOI2D0QtrYGlTquQADcZgulKAZ7woZpGNLWKoeJ2TcvuSyfTB/uDVeMO58IEmOBogNxgKTz50Ea5jfDYvjDWzIIF4wKY9o8zoDDoqQqucmHvG+8+T/LIpcUAFyDHouM9Bj0mZRjxK1EHNgQB71V4McGlLKFwEf9dXVQD0pZ//t1qLdzMXWzyS/EFkIvXefrIMvfEw8HckytAE/lf08mWx5r7+M/jualJlTTZQNDcc4JBIRkstR2G3/48aVlQo7iuCjcEWslGBxsQrSS0ronLWNbyFGejPPQ3LjWfwotHIwbBfaIvTcim1nwqCBDxbylf/hON5yt+K/dDNjQxPMszrZhVTvkoRPcdRkVvMqXY8FYQiBU9K//zg+mxS8qwWzRmr5Oic8T9XNwJP79Wivh3Yb8mfJvyIq/AuyEARKdqpu6mZUVm+tFVaU81oPXEAiK7C6wWB610BXVvap5We9A/PzFNqJ9Jr1O7abiCp/VKD+H2MWzMUJi/VuVipndu9f+xuwhl6LSL6n9htQc1CHG5QZpJv1abLxXMCA9TfAZcNYSY5Lw31dVxmqS0RjrSzDu6oMa347FZrA2Rna8nOaihbBqOrM2aeBRKouVKIQk5gvgRwI9fbiiBB0I5uLKGhQW2a9wEBdVbSodAepePcMeIIpQwcEum2B82MJ3J5BCxXVm4/egfIsoql9NDYV4rsCwKrsJyw0y+52DSs2LWCzFYvmuz7BTdm0rXMG0IZx9hbIk3IRtKWZZpIc9QOz633M6KCJUPQkxzsPRSB4nF9bcSRoT9MIndor+HOOYVHkGeyftLySmXbgrtAu+natHlMNIxsnfBRk35uh6O3j+0i77BV2TjxH2vuujt18XSo9pc+ykkAKjNauDzsMKnKD5x6iEZlo0wjd7/SArk786zKJdcdcX4aSo13T74AGDS3RKoO1sIDl66V3+MWPpv7GgL8LPkUIC7TKb18k1ddtZILQ+Wst0YBC9Apfp+wJ8qNDgOXmitLkjCpsy7RLC+03QzvnJ6sWdWh6onCiPYTLOdRD0TYfGZQv2lDFPM8Fye6UhlDwUW9x/jhBp6LRWP/XbYj8aJZs6JMlEY0JNzVbDIAJy0CiK/YnID10evyw6jLAWuJXnHfYmOOc8jPHWgq8Uu2m7Z1Gdk/EKRi+8QnCzFCYerrsMTnrsSsJgtLO2Q1DZD2/DSjMN62woDnlOEgOYJ1DcKxg2nWOJpu7YvivwlzPaTgGD4LeC9C//jY683H8PyccrenejKrqozsA4Rsf4jzEJZr0U1yZIjO4vfE9WIpf5bz3eG6Ks107pK3YLcDZ0oBIy5xe0DU0s6BgBNaE6HGfHv7X9hECbMdI3k7SqvKWXsRFyaRqwom//nHsNqRQNfeQVcW1AbMejiatyeat0EDROChbAxKz9hN7+Cgpkw0+A3mnPtGUoci0vSQoDtErSROHcG4W7Q4xu/5whsJ75AqROcuHGZta4FECdbxalFgx1nvc2KiOnMY2NnhdzDeRt9TyStiivO9hFwaFrnZZ2yJuY+yIeuV/6+d4LlLWVnq4pBZ6VLDtWLxOVP9Mpgxjak5b5Gn9Kq93fWLAX05xyL8f+Epwn9h5ZdvM8oQ769ygRUX0rIqBRUTVu9hPkOOQ8rmfK7TJo4XjfXFETXe+HnOTVvWjUFJ42HNIUvl2sp9ycd1leg7rnjQeNYZjmtdyGTVvY01Jrt73kfSWaLKN0neEfbuNBuaJOM4b18l+94EpkojN/6G5BxDECX0cLHoVSjJrQnOiQjvfX72ftHMkUamkaoSwDiUpyh69HrpL6wyTa7onCsBMVQWI++L+XlG4VX1NghRFbwWPzCBr2C49FQrMRFn7jcKHDdv+1QgNyR82jsnnsu8MO19TYBvqclBkMDBHlwo2jZJV8qafQ6CHHIIPcBm0T2f9FVaiZTE6IMkPA2qad0CvJu/yGh5coQY6IKmoMYOCU7vo1YVytupb4TV7WbZeK7D8kwYpcMiiGPbKsTlL5RX5rse9AW5DvRdpC3TjbEEyBDGcCEa2/wUKgB+ZsqTlEcgAfkL5QN1+B4mCePzBBIeSjkNHAGFxtjMTN+f5qw1lJtTj1bP34Aju+9nDgV7XsWjPOqaV34i1s3TbYGx16Gt0/E/pJCNHElFh9cgigb1AEZQDHj2sCK3m+FBIl95uri2fzX9XMSKzeE9v8pNd5plxzqySgtyctn5E9E0IuzcfrHjFVjTX+NNP0KJBfysvKkP0qtsSm3T8P+OCDQOXLThPP77IQwZg0/cuvp+VFz+Fah1k0tk3FZAIVjnDGS6dmZPgEvVRn6eIeDpwsGnm1a6+J3kaJUC05tBvP6ZtUqg1VRlSfcglMHZypNuvoBKvyqiuJRyleWHNYFqIgkg5QmdqBkJEUT9YCbiA86+CPtgfjVB369PioMecch/gNRpcXATAk5bN7FJde9qRnVBL3sb46WW7i+kpbBBSMEJSprXOqvsy/OTB50kTY+P1p6BdM7nmWwLo+yRdmpc8LjNwrwf9ovabcHIQr4tbC7hi6iTIKdyd5kOUipECfzhBhI4DVbK9BiYOvhjTvtGJ2fG4MFE+63uxBw0fCEz7PkKtFmdlZ1omc6/KTwi8SzcRDhrXyS4zq+XRhw/IhlBHSe5AWAAP1yppqSnqvjiAQlRTQ+odlSwPqV78FxIPjLj2VH7+U4AwBOQQO0ugcGFtmjFhMhM1+FFlweM90bPsYF0HpbarIT5HWx/2OzpPa3EDDkRklFdvEzw+GzKswMTmA6A+KE+2jIf4CGyJGd8Ea1rXujTb+k63x3sdMSOl+/v+uAPe0S0lzteYgKx70IBcqtDlWxzcQGdla3mt5Zu4pAv5rido9tsYA9/0X1QZxZJNmX7F7a/rX4jave4nv8MK8GtaWdFdfr+6pfQaNHsCZeEMY22MbnMpX48R6IQ8Tkbaeb3y2aGbXC5taTz+6uQ90b9Z5BPwhgL6ZN8GtWeoQRYigEYpe1Gi9HgyZp3mr5ncp215XbxcVDQvtdLN1bsGClGpmdW6t0mz8h3S2TOCEslnQUOG2S3PZ9snBUGdILNblPep50RpMc7ZG4MPN7mBFeTMHzMCPf7jhq1YtWLCORbF03nG3VRo5W9SNQ8txlLqWRXtvsjBu+SVe1i65HJv+HWf7gUUwpGM5U+SLAm1cy4ql1f46Kle6IxV0QT0u5j0alz/clJH/g3PmPiQWTGdt4QT7P4mfh5ZKky14rrK0AdPo99wuDKjqog1dWRyNxTZff7d6qbfLQHslOm13x2UTgr8usjj6ol1WQNRIDP7/+yDI0bfaCbk5msHS6XDH8+BQq1vC8d8G4WHiV3PJSZ0nePS7WMNXy08pJ2TqSI8CniAsO6PHcTVOuAHCqGYKCx4MB7CR/GeHhyIQ3AZBZfqqE2GI8LTAO6ZJyo5LYkDy6k6z3+BRbzBKtXGy8nHvMMdjO7Rk6EcBj9HySMoN+S32EsTNBtPt2yAMBQQU1zneNp+vkccsqXEIMxQPLsttmVhrzZvlppEeGywtcgvgd/JIB8MENurHO7AAswZ2zzJ2G8QCKE3dJORIGT8u3rOiHcTHF10zPN+yvpE2QxZ0BrQ3UJLqqsj1j9hQeRn67V2hO074k+Fq9h42Q9XZq456SHfkrNOzZH6bTQN5Q9QNid7pk2ed8M203bA8a0acX+H+M28m0dGStLpD5JyNS2zMcs9mMIXRQwbwmcbIny6dvMP29WkAVAqtRcQrB6oXv4wjo+iMbzxHoHOtmLVHQSO7T2xu397zhp2Jcyn4NwQFes+hIXuozcoZnovrmB+PznLp+DVMfOjDGd1a8SEMUaUKNGH0fmDiP+AvniOnKoeawy3eS4ZHIA0fLhHKfIPHG51BVM5WJ2qDcBPaKGVQOs1XaY2zkTzF8axXkLa59NciJhUNuRz6ph7fKbZJ/fRJpF49EBTiHsKeYTcrZdZxig4kA+CtFsdrnOHuRwJrytStwBedfOl7z8Nx/amk+CPSdfluDoY0idt3EhcUsZNsZyknGhytg8nLOHhRO+yumT72kEkuBs/0kXzFKWzcE6wk1jiYWh4MedPh4O0a7CsT2gd/rrI7zE7S33zOskr1dNQljIrXFj4rTBhyqoU/H9/v/+IJsvzcAP7EodLEcgVzzErQZdPdX1s+31dJlO57qBcdlck6pIcLG5qvorPVup+rWSjXWGAa75H99SeDYv4kYzk84CydPsTP6oszac9IeIYiUBRxaw346yKrzhKLuFCQ5mTKAzgNYMk4Detw64kfV5Q+gs2fFC0Jugt7SVxdIKgVqDDEE0VZGZerNQOxWwmIy+tZo/5PM/TvqGiviAQZdlFKHsTZyhCgGaxT/enOARBeTni8Rm52Zyqv7CxTms7rv8eDUflxkdB21xSDCcyY0DVFF5KMRfV+GRmfn+Jk45KsLXCD/BPIiFmXht8Gnjj/k5mlYDDm3kO4+YD+7qamMDxRz1OB5mracrjnKm75aSqtShZUZyQl56vFxlUt6mC2psizyvmNQQs6Gl0+8gR73HMsGpNxqDdcA8MXbMSwZAXvZR7lTWC4xefSCDWxlL0YSNBm9CwICFHdQjOffM4d7NoqzNw0IafCBFklbXCZNBK7oIx9CNesLwY7eWFwC5BMXUtkMWTJB6wqJvZRl5OTyqzbHaBqnpP9MNK6BoPaVO16T3/0tHw3F8iaEqXrqHu+na23VQxP0lMmFXDqU5FZI6q8NC2eC1/YFJbPHjs38CJX509o6k01KGBrI8GNzVtMJojX2SufvQ+fcvJJnVkagTfpO0xTZourW0D2Y7+9voEW4WqIBGR51qPV2+zgjh7l7dpqQ1S6Ybi14edEw8uPZ0gJOhU9uf5LQu2c1n0IOlzBNPV7X5zAk7et7rgw10/ehdRx6VvKxBtQ2/lDj2dMwNxw6M/HtSXjkfHhv/p3ZBXTfvKZ7+5hqSyuOPC+9ZtRC9I2sKYNA4vnabuKvUz/Ynuq4e5cwKwUPvS3uQeaHglgOLCPzo/6cq6v4H2SswzpboVvVSPC/q6/fz7xJ7JQtRQ45hQh23EKjIDZSMPPXEkNelGjq9u2QznrdbiliP0dOrb921MzpOf3ica6Uco/ir6y+bLEOA9IIraL/bzpWEo1Yk5PQ93kKIHsPUAKAk70NBPze0szhIJDuX636Pbg0xnpTYinUooTkInNAClXoyY73eOtREwoGWP2BEOFheMxeyZTCqAoZYS2PKwFn3Y/GN8IpjZdINv2DVGFu3mZKRjI9RhJC5xNUJgF0orZ0E1JPBGPcpeEur9Af1L3zdNPpgALa3ytDpi7KDzsJYZwL7JsZ3B7lOXd218xVtTIcGfnUZX81MxIFzOfHK0vLjCHuQ6lAfk06fLe9B8L732lSEfYjqwgp0/xR8KedvhriNg7Ya+f0vD6LViNUbLApPiBhCMylrsHJFlBjZAc2RcjJQu2/CS7Wxlsvvbd1VQFgGSCmG9uP56tV0XXMCcK06TE+kp+ijxHQCSHAnlXy3qAN+HTRMdFVZmQM76nFyWwdZ3xpBSphYLRY5ixKzk3AhH1fY3tHBpV+BhRQOT0ksbgmOfvJ53l0zo8iXMG574rmzi+EFqll6L7jcYORpAsinFAhyZFAFLK+56nup/GBtiae0FoRu4u1hEKHEoZimKHTM/LrV4x9WZZHKADSHIr0/5g7wrE2apwuQeN3maB82L2p/SrTv+YAAMhm39g/Q0NitEqMqvRlSWVm9SrNG2Ldi758WIZKN7LZ+Cdzwlbq+NNGC7HDHPyN5Ddq56HOsZ02jaTvkcLV53zxnCTtcwhGUM3DsQU+0WtDAmUkmYX4w2IyWJ8NQYUjtozE9RJ1y5vEKdMwU8CFRKd7lv4IhoUViq+4NrU6ojfnXQjrYNkZz3uIK6HNbN7OWQslwDmisbHbGbeONtqhlyZ7L5/kLGnbBuJCm1c5zyS44KGI1TiNF3PtdhOdTLYe1+9eQ1ZX9rdzhPUtrJ2XZWzzZFbGbTbr5/UYOHx2QgzAzbii9eujboqN3T6r5n1oWGOn3jAOwRjidzz3KE5XqMSVb9DN/SgS6sQ5HPfI2a1aJuADQWVvOwRvWBZw+ZuoYrMgQSPeaweE1txds6h+dk2gmmlNrxL+0yJr2UPj+l/7y6fNSLEPZnvSQiVRu9GI1vDHEodObO5t3cvRnfbavwHqiD9xu/WzdNVl53U38fDNtZ7vHw2kQikcgTTQVPK486k4FUeMqUR8CrvXRvewuKfPmHT/4RZm3+djLE/KXFYHKUc8XXFdhAKgaCYzfKcmdpa9VhH8+WPbm/hwBeSl7h/2rKxnENent5H79swguMjs83xDLhKvbGk/sjGLEkfooTW48m3wjU2JlNCaT8SIoP9Ol3dua1Pxz7UJowIrl6zlWhhumGUVnGkIbElFLefxrbn6xPlbu9jPFrRzkR3CB3JzvgUTxdnabQq4s/F3ne/MfMFJ7asKU6BEjzB6UFHDuwt2mOaTLaCKrP9D+MK0papvKuwl6MY5aNktq6lJGlnzCo9iTfuGwEof/h6w+beKsUrelkXHbgIfHwE+hBBh4MRNWjc9rymHvqtcmiVPaMU8Y+af1uIYrfE5cLMpK8dNZFRbFT3ER9pC8TZat+NVC9ZacLYAajx5YjjiJSdq1dmJq7LAep/nJKZaPAd0jIGoRDNZVb2UVS1QVtOXhkRH3RdYU4ar+Qs0kRJFLGvRbihXoDUzoDqVBfVCUGwuJn/pTbNE2lXw9iw278081CjBTW662nemvr0e5g2mWiAmbNy0ulY/UdszM760iCs3zPZS+fed4teO+zTp1BtX/uC+4nEz23intj3Cr92CPYbv9QXw7c9uFjysOZRHkGhOuKwVTy4sBDOfhAu2glqwxnz3sSdlAYotb/SBmImeRP/pEjomjaFbDOaenSDf8jy1BQbAvsK3nOQ3kFwzxB90ZpRgq12wMFQypg8kW4U5nEFsw6ouN5pOVckbvIAwOs9l2azvhOg4mStR4A1ft+CC+C1gmt2QqaIoaADLK3Qh0sumFKOQilW+82GYiq7mOCeJZsyIkoCDI92/ZA6qIuQqwNgHvMYEnwQk+ZmoMOkrMlbxyf0S972Ndc7cbS4GdC1HtSUkt4LH81ttQ+3a1xH+AQua4HFc2AeQuID6YTSo/SdOZlTlNZ8ryxq1ncQJS69I/lil/WseGxWNF1hpPDV6tES0R8RTydkJDBBxNIW0+C/u2BOIfxPjqTQgndWnjEs3Ormo1JcjDlaDcoIE/WHSE4Rc5YsS61qElKJFimQhiB3Pv7jkfegvkO3poKgHJmNzeYmDoRKqyogLsTplz0d+cOn8rU9Zpkc2VkjQ356BI2+IeEHhR6ftYRi1w1lsTXHhQk5CD/ZFqBX5x/xivo85DwfH01RPiDeyxRxVq0gGDgGepQOyqIp7wqBbTiLr9PT3fB9AfpQVD4GytlHpUMn59+aP9qQ6YIw3r12/4GwRCHPtVteb8ZyC0AmmZQ20VGHLq0adfBB0ZOMXHjNggxBb45QyDU1cRr1DYPtxrGIcanViU8jFub3rSloyRc3Py/Iyv+vB3O9E+Av4Zz8fpb44Ua6+R+HbA5YGk2y6cOXiK58e7DnbSuc1Vz/5yt5kq2uc3p78ZeKGdW9Cg/821YqIkonJ/MD3qvC3qProrncpx8nYJsLYEHTzCTzqHNXKZqwN3yc3958lGV1vKHVBM8dYdy57j5Ur2rniKMpF6z8SCRKkHmCho36nXiuHmm07DZV0bnv4Gdc5KpxXTS6Ea1nIncJmNb8tPs4q3+yg5GxD14SVLrn2X2FaBh/rcP2Vjy5587j5hEjAVDMw6TnJtU7NWwE2/xmqAdJ4WS1KiEjGCL3LVE4KMRattQixxItVbIb19VD1KVtO0JmaUthA06nTBbLnWFBHhN3Vvm2P2U7oUhuvXID+UtBossb8VROcVx5/q5R7SxKln2FyHsE7RdthEUJCyBumt2fE/GBIzb4lJaiT7LmAQEg6WiyKS4bmAuj1gw1ArL2AE/zlzGG8OIZQrcEzWZF7DbQL5wvmNPvKfQuUJ0eSISG78QNkzi5lntGeJBPFuHzGXBh4aMvV20XnGsS6JxN2WjwJN2XGS7DQEN/hmC+hrDKM97AOKXLjJf+4WEChVj9f4jKcsEaM6g83rI6xeoLp5DtpJAkbAacOx9CB5povAFGVF3ScCdbCn8lUXrQm+yG+ND+bXbzY+c73gp5NaX8H9CxmLcyQavufcGaykvUeL3GH1J7CtaHKgNcWKJOAxmCX+g5zJonYcrOzR27gBNjMX76K2e3FSxvRTFEF2JqTR3l/6RiCZ19IHDxF5VP6dXjCwcXhdekDcBTR4JS6qJr75x6NHi1J/GT4iYfl/6un9+ShuQU4ReALw6H1DYQWh3mx+lGU27h4ro7dAWCEFKrF3Vafr1ux82gSD+HMiN4tg5aOm58DJGkPfdUkesL5k1vZamyaPkci6NGSe2oc7fEouIaCflA83KejX9uePEsMgsYqd77ae57P7zdbY7PSCYLd0WGLYoerZwBXG+Np8hfPkFlWhKhs6pDi2PgTeIXX5tXQIvkq8TDmSbuGYX5S9HSfw7W46tlUwL3XsgLYOBc0wqOqhZMdfmopg1vC21SHeviDz5dMkPtRDfR7U7Qo00v/1cQNRPWFo1AnJQS8kHgnYWj1ZzMOoMV/kC951yngycWPeLW23Mb+qGFQ71xOzXFQ0qL0CrBGhRFFc/TN64rCUaCUnghYoubI00mnnqad7WaiTK9CilupWVY+BzLBYEJeJTG2TB4LP0+ATvgn2tQ4qa78LzYhpvEid/aPVx5YAFfCE4JcVKv17Qg1GJ1Sy64/lG6weUQC9MmmAR+rXK+docYTj8axevTxIK3uyyRtQqkQCy4VhE24O9UpcNaWmjTgRUVjGpg08GOjIjh9BlH+Ba49ICqXlhf0AL0nLKSqWkgB95tUhJ9my8zczSD0y/lgMpyIi6rMyEh6ck6rS5jQrfmggJJgkyrHqBw8iW7ojhklJLyPduniWZ6IRI7eb2tYgMQjNl0aQ2YZHO/+gAdzxlsequfluryj9NS9YLEB79d7Iq4KBVjhpssFqz6OC1tPVh7SLjE5YYYJqKd3p5JBLF5HvajsjBu6Br0ZKt+die7tpiloEYmWRPVDMzVYs26YcAKqWA4nbZL0Fq64oevMmNM8hRO+kCvo2FREZuO3n2vlT8tKKCbfIb5mULCxoOkNPpFBIijKCkkpOVDWth+YWomNtZvc+Sy/R1P4c8yLvPJqwGKg4IpeeEEPH8Ia9jV30YR4cgZjDyr6j75Y+LThzgbM+kLdpS3hNZJFRwP6/LBkW+tuKxDogGB9RDWg3PRRSVvQZG+GdKOvLjuaf8yepxdhswWmULVbyUHoVxgZzHL1ZfTcVdazDer+F9U2DrIc1tEFx2iL1FGeZYkEoQJojzSQN9hJUmbHIkE9815FbjjQfp5TaPUmYP0hue4HnExsSoLNf0lXaxGjNrFLlz/zD55JmkzhsVwDC7lYeffmVckf1RP+7Guv0Lq4Ijzf8af8m7vOITw6POMFE60cz9yilpFh/iU1XtKAzN7gdFSa23ebtnIgHePEPSDUEf0LuppQS6Rpq/1Lr0XR1Q43uLUIGUEf+6/Ga2vXX/5dCtinBVPzjp/WCH0FFHZ6GoMFwtMUjiNXkwC+p+bf5OCuss/ByB2t8ON43rgAAlbazFlq0VjtZH3KDVCUAfjO6FrD3ou7WlxngJWfOkX02icn801q5+ZOrp61hZbWINCO8BZB21yfF2EqS+nqGBmDM22AynKv6EWW8RJGQreaXJ/in3mtYvItLUSL3afMgk5yI0jmIOyxGbDzc3YiBd4oGykkvt48QruOHUtfCDbU4seLiL4TR5oxnh2QS7QFpUYC7A7ycbd5XSt1TyX8RPT+S45YEycehymfdqJgS0OWX7uolZy/Fr349FyvFV6tqiID9CoNaMAa6wRns9oKdeAvBQrhn0xxBM87nZPO6I+M/E5o4RCO1mAYNej/8yyRnVfAdWhFs0AIf6j84wihzlb/WfLsk2X51hPvKynfqyx7bNq6T4DI+aV9osLlTuoEfa2KKyC070ZhULHVTYB4eW7zgyah9ISxoFVP0SMm6+4nWtAo+Y/uTqJRUXIMurQxea0QsUTbcyAhZkkIlZLAPFSxtWYjIkyo4ZaotH6fq2Az/PhEcIinM+cjRY5qjLCw/yzborCh0yVzty6AxcC7tKacR/oZ45AO/h2XiQZKyjn7RbJHjKmNIzQrdo0CWykqSMV0ph83UL/k5x+TlQ+QTszJYypXqyvTpgejFYNM+a3qYG0SoS/J1z9ZjYPTOfJP7dZrLNgxJHaK996ZwPC5wTHBQmxgl6OLGkDb3vTj7cTGd6gFaFPhzyzdIZJNbq3Wxd6PbkU/k0Dxm23QtOu08RGxqJcXV9VbP0wT5YPYZ6FJONUdcVdwsnBGPkpuxHOKNAJrwi9TS5qGL46fnAAXXMeMCFuxU08F1YBB2hgvFZr3Dx9GFd9/hsfmfeG5XX4Nbkr0NSGiccwtovXr7xVPbwJnINz9mRwzZWyLKPtmPz0/MpH3/aVvEbQkjq3wuj4OFxzFksc1Pw8JS6jiz3onUUHQ6lewpAqdEIQUAnbJyQbhluS634B3yg1iAiTuCBU3+LVub/xG7i1cZJf8NRcBkTXKVKOhS+4ldNgi7krE02is+Q36lZKZK0EUQPL53qzhiXAWckJvKiJlqc/L8HoyEcH9ndOYdk6oflcxPd+qiHEyX0dJrbhKUxSySM13cGAGYhRwxtz/cfzcdj6IGQEq3tyvzE8nDmGtaT14hGiYQ5yRy1thbB5mHy96hSdubCgsuxI9Nvg91H7g4we14njwmFGg/Spct8HnZ4AMND9zqUTcptPKnq/44/rWWomu54eadhwI9EFQEpCNB0rsfFByVoAhKyVuQwv6ih1DWP9U4Wj7Rgkvgl+bpPvNGaV7ag7QINURygsanW3/qd5AwZ5dKykYMG9B+MPojue/IdjGe3cQa3UQ4bsEEvyEuDkjnaR560dyqG/gn3GylQvOoak2nKe/x1iUqYMrnXUSWee4Cs1AyeVBdZZ8QD62EIJAtn1kCi/H4sNePlnqU+n4HiwbdwlLNDYB57yzxn8ljku5f6+fmyvf0Y10qcLeakDcdiqI1GKxi2T+oDE2zBLTpg+mrpqhTdT/GqVIu8Ua1VzkIFBkVGrtrxBL25C5mdQhgQ92qnARAaFLOIO/mA35uk09952Jz458pOQZUlNa0ehXSGcWVhgNkkfjWmpTtERFqthC1N1GmcxSZuWEflN1YmD452yEXZT+Ryy2X6NzCtT+4X73EgO+GgwLSY++jxEUjiy3xOuHbaDxXhshJh7XA6PWWNU3jOeWK5GQK73E5WDGm6s5PS0kyCfCp+PacWhzspufAnEH8orA4Kg1QB4GaSZRrDRyF9K6lULdqFiBY/rYvR2B+kPGaUJ55lU31iIrUAcdUCbnEe9CNMA2W8ho6lxNgZRatoPvMBMjA7oGAUzi69ScwuDFDRwzjkyo9C3hVgLhIifLGdCzUGeNWbA43NVhSQZ8LSlRusfChQ9eZi/sld0PS2OMq6nZcVFmH8VPjsUY4ktv02d5YC6Kaf1XsTbPXxsTJPQaLWjxhylZLPuVlmwny5YK0U06yox2LEB9ZxgW6C167hmXzwnYvJy4JJxP6K5bzZp6T8BOFaehNlr78ix0o/7IoozHPheDz9q0JxgVyPbKA/TU3kKvRnNGKfYQ0CwWUsZvmByuGKAW6gScqwa2xsdvzEPoFYr1QO4k6hOb6vT3bsksiDQRazGjqOXFI6YY+GsfN/VMsoqDNX6eRuItItMwJ59ovUFlWNagk8mZtff+cxhPwY+Uao0f+5FE8nzuhY9lr6NMgMkWdkH1L83xCVyPi1KiKP8A6Eb+0goQ0jqAYK5MKWW2TeFquD2M1lbTxxYeqnnP8lh0WaWHUFlN02rKXGBdOBNROOJE+KFg35dHtzIg7rVJlnGu6iHMUffkW7i2bUDnC+TGpsBKXNYjbioGzJ4vhl2dxblaaVG0fd7QLf4JyvCGMy8ld3btWn2RPPuFUJAeDLZhyFNKPma9QbaXshV6Hmh5vsW9hgwMwbA7pCM4I8J8lm9AwKfKM4kx8YRvK8CEfn00COwigg8x2Nnz3Xt+47bkrXo+j1+9tmIXdGgG9cVWtLZt7QzixtYKninlWuyP9hseiv2JEJrzLByDKfpEzY128nBlNrZ1ANZ3rJGSUXpzuul+z4E2KZfT3ScwM/ke0vt9L9FzjynePCfrsz+bWlXkPmy8at6xofETLpm4wXHNRq96asebN5v2FRft6E4iHq8zxX8gfG6T2SXKnL9IuAd/+HuwTVn+0zRlVxPRcoCfhHURttCjn7SExeA4QrQ/snqRSBocHGwVraubg1H9O5Re4o/GZOx0cLclUCOCt8LvIxfcerHqx3VpEM2ikWkTuAdnF5Qak9eYTgcSzQ/pJrwGZgTf1pi9A83+Yvs2774AMZCw+pTCQeI0u9uHrvegRxQHo6vcoEgfufeXOnkoVlVJcglVZMnOQvkqX2C9+7t7lDVezw9KuyRbgYGirj+MHpgcKw8AjKBiqR5XSHvV6QlRveZDPvncXuYX9hBfPyZgHJoqcnXLrjkoK/oDVEmV87KpWhppJT3+JcorBXuH4q2n25Q51GRwyeHXTJefBdL+r5w+ohTW+SRy4fImmpCtAlA1R24x1ZAzjw5ZKRg7rpyFI+dx+nJ5NwOmOKDrKmaM8FsiUhmDcDGCI5+krAZYhmOTMT06PXobOZrvAh1Hi9JmV7V8tMb3/+Y9IbYj80P16Pd8Hl3WCLgrIdoOFbkPxv+fEGJ7QGep6WeqaiN7QWSru8HX058cTei02qGUgo/DeMBSKeGB5cuEtllC7l5cZprTIKaOUZukMRXJOvOM/71mOvlcmwshFqXxhQ6C/XFTd7z+PyrAsh2HA+goxEv+bKFKvz9W+JL9j9+wypebZHXIToPCfYsk/62oKcMbhJRE0otYGgo0zFyU6RMjxiFkzo2uZIP7f4IBuLU0Da1A4t4mWl2j5yMuaeDzH3B+fEYet8C/4TxK/8l7PYO7iFtuj41dILGMOV2ArUrEeKOBSwob5VAXSu2gw7qriUcEZR8O0Wmj9qJprLQGfNfqoeEwBVGmGTDBGlbczSEkzMQD3UpLcKTMqc3p8p1GwpHu1IvRJ49NrMkNBkJIttINflmvCgujGcLcbfd69xlvsVWA0T1+H2NsI7/QErdmUyElJmRPfp/V4Zg042UdnYSnqC2bBB2rEhAWdJ5m2ZiBA79cRxhIwUdl98SzB9ui2YyaFlqZmnI6UJrW7241yVAPg9ywi+1YcOjf1ZFdor/3SMwkMlqSj3FcTbuL6514CM19rs4SHIcl8iBa0ZMTpq6jHAhvZXrWAdrYQha5BTot1iUG6KEqp+6kTCOTmSJe4IbX+V22ejMQhcrA9da1FNLeqTLMol0R9ecMSGmUuBz9wZqtYMN0oO5IsKO2usG+p29ePyEGMfnIoxiwnbg09QmfAfPNnhvpko4JEG1qmFKPqK00we422lBt8++IJm+hdxzz1db8h4USTW9LqTmjAPV3NvNfgBveza55zXjkNuQY07ZGVtipXZQRnkd/dGa1lf2VVlgdob4eZTRYEshsLMd1+qBcDf7R7+T2t215JqAUZJgKyis7LvzlOqyVNP8pZc8gq6L0SPtzE32G4ijAS9tZ776YSa6BORrAhCFEoOrrMQLbxWsr5tmI/HSWbjOjejEkf3NeToyTSZPzxkFPBenJWr+j7StMA7EGl+XzPNV633bYyQPVZhw/NC77fiVhPaqxNggLb2v/DyTF/j6VJVA0sylelB0DdM8JmYYN422S+6CrCb1OMPcixeydoZSV7nsQdfCj9kY8zUaUOYkSonLqerzr4ZLWLUzUwUVleDvyC9osBfcArI+ukQPJaXiLY8czwZgM8u5/ca9fKfUDrlZkdr1D8gXlf8kHyeGK2rFsGbOo+JJwZyECUVGogj2pH9ni/5ioowd+FVldiL2ftXnLQo1O8bNSG6Skq/AqaCFykHvEiceUM8RitHnbmx4IFB4DAGAcorpXBWLFFR4CoXgGfoHTCZBg3FJSnT0QxJ/iDCBvNjBorkW7LJEyrsT0enWwjbFKbryc3u1JO38xDedhhr295Mu30jCVebt3wA9LCAgDJAtdedAS+oWV4jLjSCoYcj/KI7aMV7b11lLAWd4myalgUCFCFmPgGzmEXHIZd5f2zcUu93y7mIiozrDrNi7np/f4GL9u6Avocs5IaiNVpdm/rDBbhvZviMQlpQtoG+wnJkLQO1tYwZBXVh98Bt3xyr6UMQ9/LLgWxeZwDcGOpWY0Cj/vMOcP1GIULFy7Ar2uf9DEpWR3SzLwXPrjkctm722G+spsDeoxbv0ZSW+GsILN0Yo/wnwMuejLuEy/2RJQIdOmxa01f6e2UjygRIlB17rP6RW8RJv8i4XBYubsjZkhy1R6HQoM7gVoU4QfO4fxi1/yvLrYnr3Dcda1n7E79TQlmSqEHDbLL2sBH6D6sV3LMwsOf9F4Waq3Kgp9wjITahasK5TfLSW0pTbOMrDhdUlPLURjWA9te+KW15m0UBJ2u61qIaZqnAfTkRsk6nTZBzswFey77sB9o4gbvs1WxmVuv0mHeUz6XwZJfBwhnlMuTQc0Vr3DWFg6CpJz0yBI3RRlwJ6ijY6zg1FQ2s0ZLcFYDEPHKLFSuqPrqZPgQd9MTu3VjyQRCyEZJbPio4j1XFnMb/3N8eWN6O75jiP5x3xxySq16vrjKHdufuXwlzXrJSOAjTzCNMMs0Iujpjcxabz5EKySUrkrfB4jjT/6oqxeUyxj9godWJ1vdwEjase8b2I8WoEKl904LqXjY3BpfyG7mJD/rW2nTGcBPjO5KuNO1Knx42IRIi1kxaLJ6jTRoVGJg1MfXhKSr21ZD43kA7kS8BJQKty0a7/qxTgB+vfIwlgARd15bSe5tSCZEvANl9EuS0XWX4oQt7xnDVc1YBfnbmnyoQcLOzS9rwdnwMz6zWbjaKYNJy8b6GMbX0KcIs5GH4jro3syiCZk8fOmcn8lvHfjA/BG/7OLapej8RVBm3PxnmYYUPRV09qIPDNaRd/xORnTh/upNFrLrEHPNcdE5X4nEy1B+55kMtF4qcVIu2+qfsfjrsiPC2b20g0J2dA4FQt5yuGaHvrW+NTCC3msFzo2+fZlpL4eQU9RkO+Xox/0ylseeiXkSZs9w+SFezickbTq41LGsE/Bf4NzlIgy8wE9baeqLWcpJCr35FHlDlZghMl+POGKLBx2JT5bjCqD0HOBWxM8H/t9I1S5PdaQPOb8ZZI0e6MqsUDDlcQGDRlCQayxB3p00u/P7ecguGg5bR2K6JTl4guuPYnKHuNyDTfth/z5FOp4waSa+AIH4PWkOKQdOKSPy0otuMQ9BneuqnxiDQesHG/eXgy8CFrdeOgInJgVgRONWL7fkFWdfeGWQqZ9GUzlEed/Rr45XZ8/aSWAR2gCwXiy+40BG4hz64hP4LRrY+tp1rVK+48/s+kZGhSud78KaTZSW5ygzf8dYypOXusix5fdCBg1yfPxymrthzlhJ6/VnFLnD/EXjl7gdgc60py6JE72/GaCFieB1kSSReNXsi6J9hRc0PQfInFdURXesMcTUR+Y6hCPyNbfqlp3k3yjqPbXaS+DLMlBDmOVe3M7mciFgAfuz/DFv37BLS02MVHxVwIiZV3U3UT1DG4GzdrDXquki+YjRrLJuVQ4Cu8dze8vbXQFYT31DQJ7CDrMkmRH8Be25PByu1TpAkAV/6FUkQmdsliz8Ul/jBDR9Vao2cXnK1YQ4ZdYhIWRremQE8wvEohreUNr7UvI5IpkXKcA0TuVz0z8NStqc/IxxUuOCyJvu29Z5cjpRgBaP025uBUjBQnK9o1XjfZlBcYhNT3kZk77uvNjxSko4K5uRAI3FuOxvmjmZqDLG4GcFXXmZHdcsapj7TvYRhXvz2GpFmGKH8kHivnoPvzkUCo5ou4+msIqObX5NWjtnwYTvs5KDBS1DAtL8xPGJwwQErXcw3TmTcOMmYDj8I3+RHpZSgHeaXJqsGqcqjSGrVf4oy6/4spzrZz2LgPJT3W7IpiEGkzLAyXnesJMTFP5s7TdtOsfj5zJghJMr5z+gXEHdHTJFDCLnh/L9nMSm6dt5nxfemSmshrMk+/QixEP8APGAXxjWJzMXerxbVmALcYR3+O+5BT94lGddlOW9xHNoNRyPl0kmF6co+0TztO1D/QLBk8xYeIYBp89uV5T31KfDXhIxp2RZizs/Prakz8oKY0B56SQiFQ+uinT3eElxqykif4Khkp9lhpKvt/b/UhCoRAFq2omutyUiHAAqkOG1zmHvHtDCuVkq6U/Wk+OeoD6qQzMXU1BkK1izCIesi330x51y/DpK2q6rJpRJZXicaWQEzNC7ef9fpHypUHYG2IDIoICJsHhqJpSILvpam2kY3X1DceS3bkHs56dNlVSmq5SsbHzoltOmdqvbSBXbGl3yCGwn4kEQ9mnZeIygBwWYZFimUslauZVCoNDl6V5erx9TUbNedOeRKrZWjuODppLxCJFw+21rTt64zZuaSUSyQic2B2zlOJT4LgQ/xM+cZ82dckn4GUBpZucbmHPDUUjW1GRcEl4t7Xl+ec23O3EgtcW+ed/fYMRhsrR08jAVqcxBWoOpQuvpEM2eoT2KQTjtoDfgvKy6s84F5sdlXOn8FXrj+Cs/s+8R2NqkJt0yTYbaaqfwEzokvBYSYnosDTaLGla5IKWJZDmBhhs9hGuVQSuxjaV+kZzYGW3NAou45O/0dncaaoTJDUBY7zQI74yMiobblTvXh+aCPv+PozNkLETVRRG+gBgFmFDpRCRRgJNf5ZzXYcAS60Tj+UnMIhuLMifW6j8HnnaEQobhgRL8beOstKMKFZt87n8T3EgpsZ22yxNB+Gx0/brGvsO03hiuttIR4SS5o4xcUChCAqwbo9xEfpOYUia3sGQ+FJhLBExCJFKGxSOpUO7RRIJ5pYRURtSKO49l92eyPIixPYbOIY0xVRgBz1rsJXPnDEogPq5rw2Z0/FJVVw5YZOWqWqWPTQdAJbEa4sxsCeaGYxCfEgXVWVNHuweQl2mdBdm2esDGAolYex3bIqmgFGmd2vyvoo9a41JVreou+0yla0JXXUU1GlsYwOktZvNegQQwinlQOZwvxrWqpJs4g48yY8D/f2j0xxcmkFTAEBcF38xr2QlRErhYx7Bp2G6q3wNswPcBCCJxHXM3ogS8zuheP4/rOLM1DBvKJQA88HaE+7IrkbV0Q2Bga98W667FPHY3n1yDcElKEno2aUN4YmJ6J0a9fG2tbelLZNpjoEBXrs52gIFAd0X8qqTbqCB2zpYz1bPMNMJeI6m+IM3bXNisQiY93tjsCBMhVtRT4NTVhyG/qdLz5G8mLMj5+rDv/F8F5GIhhitbPiU3oWwAoX3CRxjPnpnVDCGGmCNZ+o8439S9Lsp+C9kOE+vjdUi/sKMlYaiSTB93ztQp/jlphCbIL8wW3GcMSu42gxlt5LzkMFmtIxON3n51AEXq6/90gFVhmYvjslnrCX5nd/RRF8GJiqLxUCpsmdKuk0uOs3FnVErwrCcTaLvuPJNlM4NBxVIOeT4amrx9uIQLn1PIHTULTwc6fbu9aWMSzONBKAGSYmVuWV9j6eGOVPTrEAkmpdV/u97fa6iv1A/8tWjNjmBkFWDDI+/LdK38IW4nnDp/m1CVY2kHvI+2ox8zb8/UC5RspetVJYtrpno/PBMwIpNO4cYT/V5li3NK9k7GdOIBBhNgjfwWn+00kbq50IgBRG97bnxzgPLs1GOJPstqXl9A9rtq+oiu+5IAx6yI9qP+5EQ1pOLVdtc/6oMcVlaWb6lf8uKlNkOIs3bFiTokVNRPsLC/3KGyz5bouuPl7ln1S8GDF+1INQwJGPbhMTPlnVgrJF9pKC/2/0XLZQF4GdPuAyROnENwX2IkM5jVS+DBChBQe/JXS5PWQMlNFb7X9DYidI6GSp0FqDb9ZmCuM4hzVh59qR4YcYlXgw0cKpb9TRZSrXwxZwV2Y9K9+kWsX1f52j8Mwt5b0A5lb7100EQW1VF/AJ0bpGI46eHEbgCNyZ72tBPSYJpVHrYqIRJqj1cJCCDnBC57ZMbHOGzU1Dw2oPk0vbWTX/dL52vUtTgOMJsUuMA4x1KqFrdb0DRRpCc+YVJkjxGY6D0bblve5tk7LdOHriHF0nfJ0J9zIlJdWCDVHiuODJLuDTVbPC/l38QJufYberm3W0fH8TlLeF56hn6BP0GXTiTYJw7H68DReVeg2aKVWUjnqcQTTBfUo2kV9iCTu7EwGyuHOalI5DfT9C8Yj8GUpeB+YT4HI2qOP45lvEKwbDrSs1GndS4Xg7h5d7HI49MRMG9U3VMkSge/SNEgliyFrbYRsSRugerFazEb3rpiXNO1KaU24GaIq6rPmtBtVZW/Zh+fGoAGW3+ah9nd4+aDXFb7YKyNCjrmP0TobbWlafVtAf/1p3jwKmv8yu1ad1qHQdW/8g5x50kHZrk/u6Xm/bxpWaj/07rwHJNJY8IOMYeugr1bnsqoLJhW46ZeyxymxurM5J/z5MtIh0/lb6gMYErGTOPEMNK6pD9FuJnbBXBhCi/WyfSPcPfo0NIuCqSKwqhenxnC/6Ukr/GSZ2726tV6Fa2syVymO917HwHvrEYdrzN+2QwURDGALnFahD50Ko41hWh1BfE0O/xZYgD/fkcVfW0MRaz5ez/WQuBNl6LOd/YfuGwRFjqxwlMjN3rZ4XxfpeJqZxGPYp+AOmhjee3qLdyWj2h3vgeVWhJjwmkDioIOevG9tzV2uJz1s5PTrSl9cF6fBQkXZZPXrXti6sPR+7Ct6oy7uus1/ebON+3My+v1TmrMYs1T5Q4r0vgUUvnSVEWhT41ZI9uvOlGv2snMJGjRRC1Y+Uhk0GqjL9tgQake5LnkRPtXUtqhH3kciqFrCRNvoUIx3//RJ1SiSgZIISfWgf/nLM+zlodi4NHIJbDc0Ar+6P7/IUPIen+yKqtkkMieA1baXwG6udFGqauZF5VZvDhSSqMA09rCElYlhVWFhhyW60zvHixG9PLjUQ48rwFZ4O4xUY80nY2oOIah/XruwytZbrR+aIfFQPcwRxrL5CAVZTnhu+2pbc0CjcYmu7IFcnBeavlgGrCkU6qw94jeIuToXhg6ysnMWNEG2roFySyWvTlHfv6a8HAgVIs2RCd9w0hhYjNd2eaEcYgeaaSCokx31JkSgzQpJQbIkAB12SghXitNv9ptr2OEALrNr7MoyMMYT/jwRHrRCXlShn2OQuV1WfPDCKSMOx402RjOq0QKy6dDzoXnQcVSbxElkxtRttiw7h291p4KKRNrQTUNn8+42CpQLpzbVzyjAC7SCs+oC1jqSltHvyYgIxOfFDrYv/YkchN094rxofuU+3HtdXPQ2sh2n6q8ZmBeXEeNeP8bYUdLzpzJDvX5NfkhpJHTIarRopYfOBXVZKt3LeBij4sW7h6qRNKtSdWkL8VX1hGISjsD2uJ7XRyRahbNnJzVEfVilZiPKVV0pTsnm8dut4sSrCwI5E1Z0XEvcaDVSUvK8V0AT2qHvhLXVJU1Q6ogWYjZ5CVJc7pK0nsHzq6M9vj+xxPRWrd3FB2mPaDsF8mgX56/HoP/ah5ryty5wqv5ndWoylND0IC+cb0hTmvOclVFJ6qIuuUCZ6XjUjqdJjyxSSSb2b5Lx5gzAB6FHVdfVZBZYIW54PeY7lET9G9dQ2vIkHZg4YIypGLZCRLaq2F9ZrfqGoWXfTDFaUExtYOqmOoeb7fzy4BlGuiZ+oFq/6wMQnH+RQUCuAltW4YVDhckjxKx9FDfPqjjEv7OZ0osT4hhNJTeba0cseNj5drJNXoHAk0eeM4WuC8li5sKC2GB4AVjV58Ol2zp5lx89tiVFNY/58+eQeVMlvKMUz5b6jyNL6UyoYwYQTgQOs8OQf9BE3JzgYrWAzJjA0rDT/RX7WmtbfDK0ioHkyvLvVC/XCLbXX2Rh91fnKlQS2EQBPwespABdze2hEo4YZ0IWFCKTG5Sqo8vky05z+TKXZNNL7h+L6ycUgro/8erhdQuV/A477T1OdrgEd+Jn794hC6HwXNNH8ocv3SofyljIGFrPvTRVQQYgnKb2/ng7EWyM5J6137OwyoKOd8G/IDSD0AB67NzZeYOcdmnPnY6K69PXguHQOQa/na853WOC8Xoz06P46ScWJquVyinO96JODYi/u0jU59w4WDl5pckxDoywy6GUuPLGE7xH0cxOycc8AqpdhhIvIEJyPKqShkIYPi8REo/QDKsU0R1EMECrbuikN0dza6Th4MrIkwYk8GSK3PbYWltPQ3wlaVDT/PVSH2bvXP3BcK5ZTWjE07Y1ffA4jLJtmblDgAYIIiTufJSZ37HyO/HAKIn7rMuS4RkuwTBOZzCa+qVj5r6v1gzDqFTmppwCyQ8zVuvcnxpMc2tIDU3JUUxILpVebHXstX+mFoFH94VfLz+az+rGTA6IzVjFBJW42cIMHp8gfmnCqTX+VivHdTvA4UXPKV70J9E8SzStH3wifLaA6baZ1z1V/G9eNR5LntUhu/iXH4Quql5R9QQbtuAoN0mlAkNSQgvaIxT9qKfDAfSDDRPnuyX7u50YFYH9MThrgsgMtB90RAR/6g90tlaOAWMM0QS7MEwlfWhbq3ZVpwLBcmXCaMPZtmweAJLJzVh7eaxzKWDKbPQj1dcL6UxNgeQp7WCbRFcKqE+c0Vll8AXqLF9DhAM5JzN7WisAVXfWU+N4XPL6MhLOvA9tkp8a9KOP1tBIz98+9+uSQr/lhZSoVlPZQ1UAhhS12cEML5+8K+Bzj2Sam0JSxP9fSreo75XKQhWMWx77uzak8DGxIO348eAw3eZUscIfVKcb0k77CvM2PYmFdmnLM18/DnfUnazsh3zBtSU1j54BNTFKU6fEDHG6MY9prdSQbvxOXGAfbjeelKzNl6gNqdCAqKSjZXJRel8PcpkgZhniQ8Zruaa5G1LQop4ADa1sFAFc6b4vtIoygxuqFcJAOC0TbDo9rrGJNL+6mxTilo6EQOE3LijCukqrukYYb1hUFJ+OQ8+mmka5Xt6shWw2+/W4QkuRkc5ELd0E6pNGabXMUvIETjeMc7qsTPpM6kh9XHyBBxn2TK+vSHujnXHc5z1bzSr2JD+roeKyWfS6SMuVnCklO1FoulsbgHYL+ASZ3uegyGaw+GVOg/8vSnnHMv9KGK2YkxNl78OfklKmNaOhNwOlY6HWHm7E8d2im7jB2kuv1H9icovtWP+DtGdxgXSN9HS2bbdJg2ARNNGcp2K5LBWMGb6HURInSBRNltGM5c5Bdf1waUCwgB7pKyodBik852qAaGyTWRaUATDZu1+bLspXP5FVsMgsjGjgy7CmDwoglhNS2iSbwIKwpO4H88+P27SShCCCbpVa/IeKY4vmr59v7/Cjw3N2ExzHXXVhzbTtn/7Cga8jpysN6nFkNdH7IRyoOOjuZh6BO5iOMsVYOmFD+bgypM+U+ggGpF2vYfBaJ092YUqq7c9p3JTSqH3LogWCKyL8TuOGOq8XpQMVElLZqpXLbDWjUO6MmG6B+vpUfnbGXfeImzY/H80szipFoFd+8RH05MSTuwAWWI/DyzZB5jX2nUhGf7/RQxCssj1AvPvYzSFMx5SISohFG6Nttn1V0xdLmcDzmGWzzyjN/GZmBbARVMzLhIR4O+xJR/KOCncYb89mA4+f0Snxc7V3in7rc/nZ66ZCS/kGDTzIB5p+QmsqNcjYeM/gA/slp5500AmWPewN9s104pzuCNWgqw+Sj0lS/dF9t0LwiaiYtEjkqEbuzl3GuP5rwn+MQKYPkKZlWepbJjk61tnNgy+G7wu/PGd+wMRQFfDgoVkNfZCTU552Rs2v+ryfbq3AXvD7bJdna+Ejwdqset9gsyzpPUOj07NIDgZQn9aHFCQ99eUwL3uto5UIkgLnYN/CQsQalXUIwtICfbwA2vtANl3JdgutJrbaD0LYGRn2KZEV8joC+J26Hq1hjGmUmAeH0m/hyWU3LzkNATofcfvrGVAU8D746xSV/rLvjsG9WSja73zISlMOixzW8IAf+eQB2QG0eIdOUpdf3fxgLtl+KgW/sbWj6dSrpaZeNVu3E0zF3bQtrBO2Oah3NPv5Qo3OQ4Gl+ADh+Ua7y26LukBUXJEbSdxXSMQXr9UwxZ8x6iF6wFjwxRIoQ3B5Llgr09UackPLO+pG8gCVZo9oM+QZxZFsXa2HMzYZcrHpEjuQprLvxOPqauWuswQgPWJ1Q3Mp7RfkaHVKPvIaaMT6QVHQHaC35KlY+7bQ2q24wwvvolb3d/T9BJW4sRYl6fc7gRJmb8kvhfHhN6aDm7TF9x+q9yqn18AumOEBcoPdN6owu0934r2LuGNvT4eKhz6lXHseXOqUT70QI9LqVhiMwn9Iz8nH9iVwuIZuvW85NTkrqvAY8AF+Z6/EYmcwJDv16UkXZsRHSGS8PTNfnd4pHpaoZ73QbApf7tEktKG3vPLnZLINEnCpHwUMJ63jnJvJre6yHBDV0AxavddGXFV3Gcy0LFChlaS62Djzs2z9/gOeLK88Yv9dtQalzsy3ggk5FC/ueg7Dxi0DUxZPQzCoZJIlYAqnKYVBAVK1K5GkvWylDRUxu3McbwAtH4FJQL5IbM0tAQsUcuEl3fZRYeWuQTLyH8RQXYR15js6wEj6GKxNV/F3jDL4/CUW7o/yuTPgUmesMObZxBby1QgedP9tha+mzny+kfR0HWI0xwZlBvlZswF8PCig7vi0d+Z6jbJY85H6oAwuPFcdUXA7Ic5BfbmkOwDF+1zGb51hJc1f7NN7tQ8S6YkAwpMZniRNmFtJClEORxoDAYC5NQ+cH9LV05tsB+hUUQobv0eDXz49Zv2z6YMu1JT8+v/U97WZ0v04HyZnnSoZlTsZ0Frp8D9UqMy849yD7thYPcQOQibyzzm3i8DCRM4NGCAs+V5Uk81X5oj+KdwPvqQz7TmVAOQXjm7sluCC6CnHbvdGKBLPduJnZ+o0iCvH+o7nPf4wnEwrErpdx+pKPXWK+rpM6YRj2BIfTiOpHXbZPMYXgl3RzvWzylqi8Inh6hVjPxz3YDrTJhtrQAH+gvlYE12MPHgPNN90FgYuxKKU1xQIgW944IngifUWw+bsedJS75EKouY6H9MUhTu41V8DGQlwVBlbHry1PHYojSOku6UA5/nxsN1QLXFLviJNcIoYfv5zrtrTighioldC5xrVdRtXTEnO3KiPCZAZE9qydx+EC/2sLgFBO+QxhNOGhN/Dx/chZV9tVPTq3itQQ+nSJr7Dadr8lm6a61VeHUIninVM7vv7SgO3FPS8YUV3xs43UG0dXMiCG3dSmy1gfJMDmlFEgsL/uA4jKCzO0EAsqQBaNJUHqRLRluNdjsRA8j/oOF8qRucAbIQ86wkJ+h3lr1soirVumF+IgmrSd13l4bDQBmPhwOiKswVJtafepvfeDX8wB9BO/7b4teoctUChcjxM4AGtTNrX54AANtRfy/kUHe/X2FygxV+fg6SreAWj2S6mNbuyL5ZJbgOTLqvg6YRRD8SKimiMsx3eLwuVW8SxIGTg0ULIGSokLiuERo2j3Urjyf7Q2DYmcX0Ko9z3g2PnCAXMPUUQMTt1O4T4VzFBgTy9FqsyNGJ0phB0y913M42bl3locQCG4nzYEKRBWSzh2e1lsoThP1fXy/RIYleGJ9ochiA+3QEFsVfFB7PoXTBTXwy/I0IUe3cye72YpfKzH3O3h5tU3lzLL6rxZX32SBJz0QBjjcGpXXATCUUF2kmRHQzU/ZGaXltQAAZSXjtNjeEU14L1CLZ9fiq8wDOI6KVCkYJ41A8hYQoyHrWw+67+Ac51a3Bqv4Uzaa3dRwSpR5W9wP6ZObRw60iaDBUxXIBIqhUP2AOJ369mQU27gtUC0yxcTRS3KtnmipEZ5hS1+HCfwcmvJIHMr3gfooKXeQIJhOs2pqdw4J1SkVapUWruEMEqAVKKgh/JKyFrUrhoN0IfXCDIbSFtn+6HnyvDCoB2TnC6n7NoNBUJJuzfz0NPXk5xJp/Xkv7sVXxEWpnxAa+UcLY1IYSd3ZcxXMIDGO33SQ6tf14XMkqiV9rEbxBXGh8s+ElXEZgGm5crEeJK7qZSkMpPTrSa1cL2NXaxRKW1ClADjrXKNNZu3KPswmg8r9bv0zM3yMif8OzxbNqv5fhGOS0lREmg7gxd7lM6NhKWoweNRNA2IWG0pcFf5BME7DInOLP00ooyFvHcMtjsLxMZMzdr0CXMXRWkomiEVNWLguXgGMd404A8MbTtlK4+Fxq0nLQ+UUeMs5+hjm+xzVH1LM5eYL/4q98BE52FExKdVbyL7cv+bH/tdjrFoHXG2dMjetnO/XN9HchkOLaNez45+4DgMG7PB3GDVRmbBq2wZPxORjbpMs6JRmm62f4Cz6POVvn0a/gotClnaIggQ8Fji5n0uXWPp1R0NRAjXeAozVErP8GwpEEilyrqHD6iqmYNLqMP2JHKCemfd4aONogOnFP5/61YdYGJZ6IjASKQpRcvHkuW0MZmWvdpbMU4kpKoHCC5/1Klrzw0knO8w88XGQCeJy9xlflVUGVYRQYYW/TqTnvclX8UOhgWLD7F11L3LkE4sJM9p/vsmWOkTtz8UM9c7Op1vv+iDWKlY6uHmndctK6BQmbu1M5MLj/qWihcn8PnmduSYyEgcYRFpwiQjrPUvJJlL3E6wZw21MvoPKxiP2LsfwPx7unc9q+NkbGQTOp+Qs/IUdAVLvnYQgkG3q8wsWqqaZ8AElhzKfKs7/1O4Rx6GH34iV/jwq4KzeQ5L7NFU6muqs+so56F5hYrxVOtFVnoPPdsyUWliz1wtxzS3lRpubNIhJHOht6L9yE8EONxA3+sYdFiAXSnOeBpRoGCmLOFKp3ac9i3okl5hdH8yssOrh3uBGpT7YezZ6+2QOwPAKyVHBMIqsadKn9eSFWWeoN+6nBQRnbVySmFkKLNuutEwUJeYN39uVJhjIDy4ldnkuAOD2sTLylLpoJKWbtGLKepg3rXYAtpChA1Qqnx5cLB2MC22BpzUcqpWmm6ht4n8PD9gdHAH3+Pc7gbFqnrNBz+nFoHWemlAL4MxgxV94tFHTKyiO8kSOnsU4zdp4Xi2TIOk1tBT42sEjVL5aYt96ccyLvxYpGllcVUYzVm13ltlabd8pWr4J0xI8SFAPqPWls2j/6q+d5kyILDej25KqNvFJ0N3um5SkBiJy0NBUafErwkH0Gm7waELBvO0TSDFYUqp2G1nD8lgfZriyDbasy1+xXofa1HKJ/kF+9GhM6oo3YqFgqH8f4KuoQg2dM5hFvikxcTUEgnT//ZgOlp28A20mLrwh2eseKO9wZXG7llB4zsmTAE393cnoJ77INoyNd/fjm/qeod87FMhDZQVD0oP5NKMcm/Rlz8WlyZjoKE0Iv9nuQxH+vNWbKSCpnOCoTVwnlxn9QWeJyQN6K2CZZM+6NEEfIp7QTE0StvSM7bk/0LZSgqgk5VHQgkYqwu0LQKI879XByTAeciso0mSfasWpep9tum2wdFT44pzvxj7haQGQtTmsyOlqZU3FyUs8ZEEDD/o1lvVwcQvbVXGOTtzXMLK7vYl8A6ctRr8lpf8re7C+A2oxw6zVyRRX7S4RJusPD1Wt+H/IQl1EX3eGSg7feslIQe7fvNPCBL49/4ajhvclxO7qRc9KriWT7DJrCc78klb+ChQPUnAKRq22XQX68Sei17aZBQoekTn4ilAM++ukp7juld9K9xmbFkiJzPjM681fpuYiN69bNAUvQl0Wyu3lQAywKpY0iE5y2CorU+SzuUlakpZ2iQIOsYbONtQP1rLiKRBg3K6BxKm+xrrFt9f13ldpUHjYUEYXr+VPkerT+6H6tzG47c9Xky3kPmK+Jjp1qHXOyUcPMrM9fwFzqE1p4Ag3utVJZ4vq+azNBikXfYaExWVysvT1N2SJAmnYzh3sAZGGpves8ZQ3Cq8WUR7ktfQLMRSDi1K4c6AM420vX3MaD8jY69Ahq6+oJT3IWW2DHTlmpyVB/TARX/DHzp9B3ge5KZFXkM/c628U4stIWOOavgLNR4CnMeXKy4P9c5Z+b+lFBmV5R34QlAICZf/pTAA8IPdeK2rjB9QICJFQH4YOQ7QolP3C1kTOL3/HJ7ej+iwwpFcoJ7SObT9qxmals5Cf0IQiHKPibYXUSNWffSd0skdCfV4xob21pt7TUTrandgaJsaQQwCK62DtOVWu80oce8Cougat2CD7GkYr8SKkRqw1sTz1Bzy4BiVlWbuKa2cw1auG2UoN7mBEZuZVet4lzTy/feJITPFrfdQHbusqAY68gjHQjZbFI9VNp9sfw4AaPjTjJr40OG7SQGmMBFS26qNWOdbnLYXg6+22unkKNaAl/3lp2+C3ZcsW/jpEXfZWJLtXHqYlyn910iV9hRqW8DMKMer8TrXL8ZbXs79GpB3RWqRtC+0baaWZUTEzZ3bAYNTVm2WeyxaZ3o2uZpggASIn7UUIhqbgr8EJtnERaf9EzR7NXkb3gZ/3r9sVl8edRysOgxSCNc4G2+DJXQp7IQG0ZfhOierhYEIa1V6Y2fcCrOhFZce/vMai8K9bBUY4F0T2kvAEzaNfvKtFeBirjKAHSgoBQA0QwNG8rsmtTMdX2Pz/5zIwV7vjzDhtxisrmL8YrOQbzMVPgYRkCsjfijv/Fej0HGMk+z4d6TQx9hAXwUlQDdyQ+HKHJdmE4qoEIjcZfaZO1MqUAE+q/7kFRMWgDG9ULYdheacry40quYpOh5IUCxiH3s7WBTXaZM6wA5tzjAuZ2K9m1/BmTcImSlZmxJ1VTpNbhuZ4W1M4MmdCkSrPHdFNRQCbE7LnX8X5nnFASOqU43ro89vJfrItxnXTHn0kggOc7qBKx70774KNGNt+al/gscgI8tIipXD25X/IS6+gRGPhihesvyHwUH/p4d43f/pyDhjgwLkoYLM37KHuhHKnjqOYXOLSWXauTboA91hNzP9Xicdf/6iPUiKfn8RqzsVd1sLy6udpYDJOz/Z65FXIVNk1sF13WjCWNnMzy1lkBxTcI7aYSVl6CxvlHDHM3JUb8ZnoADvZC432mMOwk6ah4WU4WajD6b27/52/itwdBo8BXUsjlNbXT/laRAUs2rH5RcvUWA7EsHiKMp1UhrhUDxQznM37zslTzC+TvjP1HDd/9oJc34dWJw3279dUaoY5P63yfk0epCPO7o2x2VEHVfMZtgyexCqMgIHjj3xL93nfSb7ATZ9S2VfnVWWQMGU8J4QunmLulO2jg9Kc9ta8S8yJdiLYvsSCc7TJyJi04dH+y+Xe1xt/0zQgjo9ko92tDd/ZX3VhBeCOZSYHrtV84Lvh/UuSTzaKoSSPjLh+yPOAfpDvNRwDexBVARJ2wxCXNAhSyxm+3QnySBedaQ1waXQPxtuyQJ/A4VxDiRaxAwacn22Yby7ReIFJ5+rdhkVG6k+/+ES58Pi6dQjFX6ArWVT+1CVqZd9aRrOarJ0blS1vWuzAaT02dLNm/cn+1zzM3qX7frPhXGnN3B76ylDB9E4Vs5lNUhm8pGrO+i+5yZxh/48JVuaDZ1DeKDOgiGXvmT5p12PbSMUFKoi72MgPxGecaG3t9BkcBX/R90ENzZZnZve+b4omaONSXLwUP1lbuIvyfXnigF51a2GI5Ew4MHfKo3RgBZQXslg9UZdqQU6coQ2nEPUt8JxpOQlBbmS9GqhKFxjU5/iiCbuh3itJXmfccyUDdtfYC7PTyWXT9TcgEWCkcZrZsnfVqwwIVoqN7SRIc+VK3QhPl/MVsIIC0BfQp7zebOzBdTmcKky5/oxil0/rrvfY/cpPUSdOR1/VU0DrAkGkvxs5r+yyq7az3bLRLrU9kavNZ+hMZDNMV+rPNko9/1z1E7oIS33mGr+XKR0QRhXTWgfOzTVSQzvSYZKhuCNUjtOBYk0ciyl5OZ23iHqnELdp49JDerr6lWi6okN2u2BnxApG5E60xkKGI9/JRuIqPC4FruU95yzlQ62dpS8rM5mx8jUN3yeKah2hvFG7C1eSbaZG8sJb2uGMzjhEcM7MR3/Ko1ACehrWEJuJAvUuwEETyAACheQIj8/G+4gbjb+nd6+kEAmeEVo3z7ItOkIAZpVPHqED7IRFI2vh2OoDqnTaP9MrjP4i7XerDVQ6D/hdWGDdrcwW3aVvBADwxReYKwcTnPMn898cEomxl5nXh5p+86h8ABY8FcSKEaUfA5pxGlU0AgjU0KBL2GhzjNtGJGpSEHTSExZZfyDn3FGX1MirVweGJIQxHnjA7uSi2hqD7RnyHNcAe229mALQch5EpnQq7AOoriRBu+rQ1Ghpw5ZcGEEfayxFJjvpAuFghCsBkzCNNZ6KCfKs4porTtQSiirhZVn0KpMfPU9+bwrO7T5KfD8SYDt1ZNBHwAKPk14QNqx7GoBYfH1sgyzqNTVS8NcTTgvdwDTfZQ+x6c+u7xQwebxj6Vv9yui2PywKu6259fQxMME/B8EKcWh92ML5koRnSF3GcVVkXe/6JfP0k29ECrY1mn9IZG0jVqW2J0FkD5Yt8AEe+FBDWJsHtCbkUNKdgaFEwS9sUWYbhGDnCI99MWcZNmq396HsLMZ2UItX/gsjg00R/Go1LCPj2VPuNmPzP9fAwLp1WrLebLCxuCdhB0v8XssD/W7A9cqPZe8cutM0RN2hcDxDS0Hqv+M2Q7XYECSz5o6+WtxwBq68TJEDcBX10tK58wXd5YqzKhKdjPbDOWh84lpvuDDwlfp7zea/spXcXBFaVME5nHh06ertxMWVgei38XiFCDWgDMPb6SRTgunDcVLJMMgaaT0j5ENAkM27auDD++IgURZsFjvZZ5EMVmHXH7rd2uJyerns6BXZ4PaypzJz/BolE5oGPujr7ibP0qslp42ChBoQ4N28yK9lTYihYuokEeIq/srrcxo5pU9IKrrGa75c0KH3/HrNrDrs6zrPnL2lKHEPgeHXCoUNAruimF3gg7rCwjPX+fHPrx841Kbyr9prZ1X7HPLoY/NxSKiOYKu8KNADfn0TpCFmHSt4Z86bJQT94tMZ/HudYN21Zm9B+XFSpambfT6HdZkS4p5E60b4Jm1TxLJ/cVFo2naQhzgTjEdHtBFrMqXiBz9J+ioc+wVl5Hiz9CpCvOJhVFnYFQ/UMRODY47HhgQb2ZWWupTq1F/EBMqeVSV11HPfZyf8Z9hhKUjppi2CbBDPPkNbjym71LWew6cKjoGkX5dQfkygQYTCBEWc61ZXH3eyarzv4Dii1o7BOrt+lCjJWkqkf0cTmx5vDJ0B9SOQ686WmrEKkzLUc4VR9LmJVDq9IZNW9rngEYjQ9oefCiCt3mfRuoVnl80Ivdzlt2reEvF4iBhyS2F/RIkCD1Ic3PRE98IEdkhO939klMt8EsqVe6qJdh38WDZPshhmzoLlktSr8sqhxz15gRXbVwMs8FIsrybl5+gbMC41G8gJgGU4T3XzlPiilniutyCxndwZY4QzI9qsJn2QgiSJqwIJ3E2g1mWlPs1/+bTm92piXdo017IzsPctPpv1/C+Ikzh/wLT+GTNxc2nNG2CECw56Aek2rhBX7VUXkan4ZbG+MAIUMfJRfUy3HIL+6J8MjoKVrQ1M7x1XpRynhVJxThAMg1tHtuOa5ngk3dmOyPNd+PTh9bDDf+MevTKAXkcEvWe2S9h+Ze8G4PS2lJFyjJO5DqTQCPuBmy8tUB8F3Ou3XVtAPs91VoLBQiNc5m8Bh7FTVMH5suS9daz+Bizoku9Tcrt7sFmRV68KQTiTcT3uM9W8po9yqzb/FPtAy0WlVLjHKBE6eofY4AaguoeNqlCfNduT9x0knDVtspjR2wc9sE36eATVj94sNg12oC0E5ofhA4iyigCRakb7VmtXbguCahaTqAuyWyjEIYoXNiHPAF6pGjges6mZuOJmdOT4HSJ+H74pZ8icRiE47p2hpwbx9mXDqeyuMvPdkP9Izu9SFBimjWhB7IlDlkAWfJxD7j8p1Z/CWUmZQM7h6eoDa8nJAp3c58iGoJjadCq9tcDCTvrxltyxR5Jhahz4780nj0RWh58/8oFwBE+FbifwNmC+6+zs+cOOcWe5MsWiX1kTaMBwn0kLRrNdmIGEu+G9+nEC3bWSH8RpY5iDdylAvcElarnCQBiiEBb8ZFjo9XtjVIe+0HrVA4Sh2GKcN9KXzxMYDqf8whvXLezf7/FASZCRxaqIkzBjRjDwWT2nRLouaq+7PCiTu7WQ33lqKgkE1Y3DWUeGYzP5XHu1tb4XmH5zhQNcgfvEeEKhyt6XyArlj32AX1Yr6xJ2RIcHD3Liq9EYy5acucjIDm6SrLzilD2oBsgufZno0nTE+jQHgyLRvHn+HH0lVh1zt16ZbSI/mUFfzFQWlUEHVCmbmiIZDXd8UBzkzCoXTn0hE5MED4PvSG8UzZRMLflqr75QyCPQplVnFboIxf2fz1Mw/sPikjtOjxUxVM9J8BJ29tOV4tgcwV3sklztctAHiMBOUz8yW152Ooz5/fYt09Xj7DrGpeJ58EELfJbgL/7S1yX8ZHi2VYXH+OQ4y6DNM+2swmwK39YV8EAa5Q89Kjlfq4Q4IKjqW8HICpqPtnESGQA7LHkjiTf0jbgsuOvF+LrkGTYmHeD7RnFeLcoZWyHdoD4RL5DnjQn2u12T+umLtYyMuh6Q+nksGtsCKWlLgVXo8fGxdA9O0lmlGtOjyNGrOKb6tqOqygO9hOCyr4KBdCm7zh5nXNfqIIMDZXjmsuwJ/hpjSSeeEhOTbJP7R4Gi88DY7nz5qTMn5zLIaVr5aS2MJh/qFozGQ+tTo43WygC0Ydhgu2T0U14eawmHNfKtjZK3W81uhS2Z71fpiEDwJx7ZF2/z1RWqiVn/EbfaNAdw2W7TGZswOFf77MrAuEc87voWkaPal4LTsKZ9znqrjHdpwGZmE83rNs+YgsvugTfB5JkbGaDKWCQDlcxs4o8cD8hzzKvGne88S+8SFqyRnEHl5kX4MZ56zgoUpz6G25yzVDix4sh/+1VdHcAJ0x/P8lDoCrhJXqgejecdUMzRx7hjJYJsLjLQ3A0Eo19pnulL416DDc2BMy4lnZr6LGKkgQbnSjJ0blAHJc4uxvHyVURehdFKYCVFQVRZGkiDOwABs68W02eISJnXZakBCt/Gik43W+zfuabSa4nn34wA8dGZa5nIDKqk9DXdqEDmh57uObWOvJjOjCyaiIUl5M2Vrr8eOyIbmXiOa3mqF7L15OJ6m0ILNiu1kQguIDXCugklcG3014Ihfvn+Nxa2fySsNhvIdcEAIo4/vkfVY87Kj6MC9Zy9zzd28phpZ4nLCVPw3Tmj7if1Mw+7/LWXHbiVu7weMKTJmebqiq963dM79YdG0vHa9718Qt2t8s29cT/28QPqZtypZDg9yqU/OYACOKGIAaDrH1ukTIGEJMhqk3j6muwDgqJchODviesv3oMvt1QruypCOcHFz/Icf4uh1BORTHcVhdtXRoFRLNxHq1Zz/2v490fOWF82lCSp672pJsT/KX4k7mUOWTOgbmRBRm1e4eOVKDktHMvM5M94OZph1o8c87a0xQCNvDxKKHBISWm0AbyD2yr9sont6wQadcb6FjSKFutSRBmLgCaWxDMqLNghivdJerPnkFANeafOKssRWE1oYkMZ9jMZj4zZn4U4khcpkEMqEFulCPpHTEsnjetV9OdTiw9xmwVYlF/Jk9ux7xlxaSP8WJczW7OfI+FRv6EEewAG9FZHbuUz0Q9oeWOUHhjzfH8Um1yKecHuRKrAqwLrba6TH999/1jUdL1UUh35PycbwBDwwSTQ7thvKvnMgbIlUs7kUgzhmMZ14Wllgtw1CnlPpE2vKAk7K1oLvXLGl0KwBTQyBZrsZz8BWByKv6gjbvngB+F+HexG4KcMXhwXt0UZDHPgfq40Ie35nN86iv6SMzfAkGZHhv32HXw38jHmrnDd623gcirA36D+ubTi3KXh14e2HcTuDDx55jLXEmaTcwhWDitRJJ77fdwA7SzwasIlIzZlYzjI/LiPjeRCx0x946XOOM64BJB5Tioehpc4+ST/kLnZwU/a8M9rLVL3C2qc1IzmkrI9X4M3yxpxEpKbVVtKx1tKmLr2GGnY2lfDKoxjs9ggaiK4QrecudAs1RUe5qBhUqPrzqqjjBPLXbIkWtVlWe8KBQClXRz9hx54VvJ9D5XMDEf5HcLHUDiINN2VRtK/mwq6O1iR5E6D1FbZ3eGTjP+4N1VVQf0DbgKphfmRUxkmdIcHA6pFmzaM/UDm+puQeFFuPtS1KwHopCljnxXJ/mbyWWVi2JkOPi8oCwoV2cecEcJdWaq355OB1DBLmBOHNiCrVn17sjjCIPWP0CRsBRSfVR5F1GgvZ33fNLNoYmQUY1SZ2UjzlUMccZoBanLTjwnj5bffjFTS6Xpxc15LQ+Q3MgXLQoG4cxaicc2XUahemfnoJKoLWy3ienQPeT7QR/FLxCRC4vo+tepMbyvxxlO5qFVOLjYxEtMJLLtqdshaixLHJ6mC92r+g35Or1UW52/EcgBP83Dgd3BYFKWhtcp921NqXhDwuvdCmuvjFjG3Mk+COYQwWd/OIDj+RjcxdbLPdbzGgfvqgVqgzdrn7VOnLQPLnZWYQZzfbV6aepsPAns8VLvqRWzYRsztDEvQSqJSJvTCqAFbs7VP7/92DNLFLPl8dVy8dY1DmklxWwdyYlEMouwAfAsMzKyUDxMTefCdXWbG6FrkmKxg22nsxzr0asuhLe195hbrl9wR50IBWlvWBzukyJHTFRfDRtBbHRyDLR+QD3ufZaXdnJ3/JrliG3882Dvr7z1E5uueLtrw2dDaweHSZUugUc1HMntZfiNZ6fUeHGu/P47RJHqFSsZWu2WyWeG+G7uNjstnEnz88jJFABhcZZh1oa1T3YOEoOtmG3LhhgfyzIdDZEk7vME5VsI6U3V1OaKKJu3ITC52f33SXzoogBCK+94ADeCNsX7n8xsm65PGLSGkwHlfJK6aVyiGfuiYOxCEcR01EjBtIb+gMm9Z6sTNlJbCNJeEFbMANdtGj2b//BXpAb80GlIisZtire25rCcA/MkwSDkAxo2OpsumpTRwtmKFH6er5hnCk/DU4y7fGYz1/WpuMVb5vuTHAZ5JfDVIcEql1QI+OqoFfCQyUP7ycpwvl/w0NOXPkH+3h9SS0kXerc2vH/0EWPo9saXCL4+wRZ8Y554gMqPQfzDIlA5vd6ZwdO+q99U+8Ipv+okXkf+B0SnPVJTUwP5JCOcSjpArKgFyyUDhQf/gg==" title="Mekko Graphics Chart">
            <a:extLst>
              <a:ext uri="{FF2B5EF4-FFF2-40B4-BE49-F238E27FC236}">
                <a16:creationId xmlns:a16="http://schemas.microsoft.com/office/drawing/2014/main" id="{72F2A435-0D47-6A6B-E949-7FE858C30367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 bwMode="gray">
          <a:xfrm>
            <a:off x="334962" y="1599044"/>
            <a:ext cx="5490765" cy="4845539"/>
          </a:xfrm>
          <a:prstGeom prst="rect">
            <a:avLst/>
          </a:prstGeom>
          <a:blipFill>
            <a:blip r:embed="rId14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600">
                <a:solidFill>
                  <a:schemeClr val="tx1"/>
                </a:solidFill>
              </a:rPr>
              <a:t> </a:t>
            </a:r>
          </a:p>
        </p:txBody>
      </p:sp>
      <p:grpSp>
        <p:nvGrpSpPr>
          <p:cNvPr id="71" name="btfpColumnIndicatorGroup2">
            <a:extLst>
              <a:ext uri="{FF2B5EF4-FFF2-40B4-BE49-F238E27FC236}">
                <a16:creationId xmlns:a16="http://schemas.microsoft.com/office/drawing/2014/main" id="{B1A65001-6B28-BC49-1FE0-71C264882E9C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69" name="btfpColumnGapBlocker286732">
              <a:extLst>
                <a:ext uri="{FF2B5EF4-FFF2-40B4-BE49-F238E27FC236}">
                  <a16:creationId xmlns:a16="http://schemas.microsoft.com/office/drawing/2014/main" id="{BF619389-4CF5-2877-9376-BF4EC2668F7C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67" name="btfpColumnGapBlocker902600">
              <a:extLst>
                <a:ext uri="{FF2B5EF4-FFF2-40B4-BE49-F238E27FC236}">
                  <a16:creationId xmlns:a16="http://schemas.microsoft.com/office/drawing/2014/main" id="{292B2922-37FD-8389-CE4E-124A9742F4FE}"/>
                </a:ext>
              </a:extLst>
            </p:cNvPr>
            <p:cNvSpPr/>
            <p:nvPr/>
          </p:nvSpPr>
          <p:spPr bwMode="gray">
            <a:xfrm>
              <a:off x="5825728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5" name="btfpColumnIndicator377608">
              <a:extLst>
                <a:ext uri="{FF2B5EF4-FFF2-40B4-BE49-F238E27FC236}">
                  <a16:creationId xmlns:a16="http://schemas.microsoft.com/office/drawing/2014/main" id="{5E4969C7-95B3-2AF0-EA48-104739F989E4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btfpColumnIndicator297045">
              <a:extLst>
                <a:ext uri="{FF2B5EF4-FFF2-40B4-BE49-F238E27FC236}">
                  <a16:creationId xmlns:a16="http://schemas.microsoft.com/office/drawing/2014/main" id="{D1B0C60D-69C2-9CE2-AB47-02BCE710E43C}"/>
                </a:ext>
              </a:extLst>
            </p:cNvPr>
            <p:cNvCxnSpPr/>
            <p:nvPr/>
          </p:nvCxnSpPr>
          <p:spPr bwMode="gray">
            <a:xfrm flipV="1">
              <a:off x="636627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btfpColumnGapBlocker308792">
              <a:extLst>
                <a:ext uri="{FF2B5EF4-FFF2-40B4-BE49-F238E27FC236}">
                  <a16:creationId xmlns:a16="http://schemas.microsoft.com/office/drawing/2014/main" id="{23AC614F-BA1D-3C0D-A546-9EA3C85F4932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9" name="btfpColumnIndicator388842">
              <a:extLst>
                <a:ext uri="{FF2B5EF4-FFF2-40B4-BE49-F238E27FC236}">
                  <a16:creationId xmlns:a16="http://schemas.microsoft.com/office/drawing/2014/main" id="{C80048D8-6D5E-38C2-0B56-188294198598}"/>
                </a:ext>
              </a:extLst>
            </p:cNvPr>
            <p:cNvCxnSpPr/>
            <p:nvPr/>
          </p:nvCxnSpPr>
          <p:spPr bwMode="gray">
            <a:xfrm flipV="1">
              <a:off x="582572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btfpColumnIndicator694440">
              <a:extLst>
                <a:ext uri="{FF2B5EF4-FFF2-40B4-BE49-F238E27FC236}">
                  <a16:creationId xmlns:a16="http://schemas.microsoft.com/office/drawing/2014/main" id="{2DEE158E-EBAD-B76C-0D29-B7E21DCEDAFD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0" name="btfpColumnIndicatorGroup1">
            <a:extLst>
              <a:ext uri="{FF2B5EF4-FFF2-40B4-BE49-F238E27FC236}">
                <a16:creationId xmlns:a16="http://schemas.microsoft.com/office/drawing/2014/main" id="{2469C031-87A5-796E-2DD2-A384D5697EFF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68" name="btfpColumnGapBlocker295848">
              <a:extLst>
                <a:ext uri="{FF2B5EF4-FFF2-40B4-BE49-F238E27FC236}">
                  <a16:creationId xmlns:a16="http://schemas.microsoft.com/office/drawing/2014/main" id="{6F215772-143E-37C8-33E5-03B10D82BDA4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66" name="btfpColumnGapBlocker631135">
              <a:extLst>
                <a:ext uri="{FF2B5EF4-FFF2-40B4-BE49-F238E27FC236}">
                  <a16:creationId xmlns:a16="http://schemas.microsoft.com/office/drawing/2014/main" id="{E5F66E38-2A58-83B7-4569-22486A1CA267}"/>
                </a:ext>
              </a:extLst>
            </p:cNvPr>
            <p:cNvSpPr/>
            <p:nvPr/>
          </p:nvSpPr>
          <p:spPr bwMode="gray">
            <a:xfrm>
              <a:off x="5825728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4" name="btfpColumnIndicator915677">
              <a:extLst>
                <a:ext uri="{FF2B5EF4-FFF2-40B4-BE49-F238E27FC236}">
                  <a16:creationId xmlns:a16="http://schemas.microsoft.com/office/drawing/2014/main" id="{87A74407-21BE-2597-05E8-D7EB407E9F17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btfpColumnIndicator333103">
              <a:extLst>
                <a:ext uri="{FF2B5EF4-FFF2-40B4-BE49-F238E27FC236}">
                  <a16:creationId xmlns:a16="http://schemas.microsoft.com/office/drawing/2014/main" id="{95CE792F-9A31-65C6-9C69-9131F5200CD9}"/>
                </a:ext>
              </a:extLst>
            </p:cNvPr>
            <p:cNvCxnSpPr/>
            <p:nvPr/>
          </p:nvCxnSpPr>
          <p:spPr bwMode="gray">
            <a:xfrm flipV="1">
              <a:off x="636627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btfpColumnGapBlocker131547">
              <a:extLst>
                <a:ext uri="{FF2B5EF4-FFF2-40B4-BE49-F238E27FC236}">
                  <a16:creationId xmlns:a16="http://schemas.microsoft.com/office/drawing/2014/main" id="{201E9172-CDB2-DBA8-89A9-F84A32CAD6F0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8" name="btfpColumnIndicator263747">
              <a:extLst>
                <a:ext uri="{FF2B5EF4-FFF2-40B4-BE49-F238E27FC236}">
                  <a16:creationId xmlns:a16="http://schemas.microsoft.com/office/drawing/2014/main" id="{43C62728-398B-5DCF-8742-8C83EBE7966C}"/>
                </a:ext>
              </a:extLst>
            </p:cNvPr>
            <p:cNvCxnSpPr/>
            <p:nvPr/>
          </p:nvCxnSpPr>
          <p:spPr bwMode="gray">
            <a:xfrm flipV="1">
              <a:off x="582572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btfpColumnIndicator194591">
              <a:extLst>
                <a:ext uri="{FF2B5EF4-FFF2-40B4-BE49-F238E27FC236}">
                  <a16:creationId xmlns:a16="http://schemas.microsoft.com/office/drawing/2014/main" id="{F59AAC68-FB63-E632-3A81-AE0217262896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Rectangle 30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jGqWYA6BjsAEOoBh/sxdjbjOIlqW00QkN1B+POn69dvO2kRCA0fuSBYFoyafyotITGnUIttRWRAKVVUostTOUW4G6tNk/dAa/f5doJqzRe/HmvbAcnAxdWmueMgyzxaX3h3SfB9eHN52y4NT7gk7QJhUqVDBLhrauqypOt1nxLoxoSFI5jPFrBRrZMPDKibYoCySjNoWEPvzPoeB3wepnQfLpSIIbji4P+Ocp5dXeiAZBGey6G4aqXrv9iw1xDEIYxKGYbGtSJ1xLLq7L//82aJrz9HGaeqrIESgDW6QI3mRKqo0Eyh78n86bHw22B/ix/FFPg0bowTFkD4vP4D+EhVADp2gqF2YNc0ux9sOawDMPzhUaCJyg4bS811x1WHEhgO7v9914Rjb4WCIRwclGP3cUMgt+Y5TfG7ozmQFlN6z/RFblSY5RpG1+VRU9rqAL4rncYFGpS7EShrTEg/2zGhuhc3rsdJ9N2z/W5nDNrx4Lvha+7zXJsQ1a0Vs+Y+SirOCG1hMW3TGYz9/QNyCdWJbqomtWcR/Y6loD/BIuhZL63AMeMQtDqucE4a4eWrWp8BpX8qJ0iIQ0LVMSekiF8MKb2rIyAsGDADRpfbx5OKHD7JJLy0n+Y+YOm+6B+jSSdFlCVPvDjOCMzYpk6oqyj9ijw/EDgPJbHk/fHGBoiS4gLobaFIM/4StQR+Uh1be0BapvN4V4JlaqFcem3dXcIfUvaDwFyeAJRsb2MIecmLnd9utGKCiPBHNlBv5yTxCX827O4XqH5E6zA163pOA8l1p87HoF443Q4R/3ImehWnAJ3udNnicYfnAcxSVbmpTYjZ9kyXlOYIOcgt/IPoGUn708ffqnjc05CteV/l/M4oS+opI6TyF/iCo4HwAok5MhiiqBwSvCwXJ4ZbNXFo8H4/yXK/Zvu7txElwPg0HnjeQpCZLglbNLiugahk1mvgCWMLAAfIBMFKTOXXAu/9LiBVGvxr9gWRm36iLoiwUVUOIQe/cVBGPKhCUtG9QoHywa44JYy/sAKgUnydr0y/agzb3qIfqPV8/Y0lObtTKNjut9/gbTWUqZ7O8teIuTUvb9Jh/MSXuEXocjRdmwdoU3VWguk1MJtAN2T9GebUuo1WJcmq6k71EWGpgfyQydYPn/ZUMnexxXRl4RxLgZjgHu7QXNE27YSI/MVCJWYI/gdJSPn0RQsLWh95Yfwm69xmGHDqurIuR2ungrO08CYq0peMjrKCiurWEuO0CWQJyqT6nqCiwSUQ01qsf38BCzQj8GnO2fH9a7N8UXiwkniW0sfKUdkp10D2XewlY2/8HHtX0cgqOdv8Ke0ALE/yFi4jmoprySzvowilypWFhmxYUGAhoLTYuwCWOwgDDH0a5Z0JPLEZGzyvWeH45kTlIfYdCB6t9kbpw550+Bxr6/tFYFk3xuHvfy4vjPrl1/jgTvdcNATY5T6l64zPt82q+gvsgso9/bJvtx2vdfvqRK3VTkFqF2CyTIecO4q7vH7hMuUNyKKKQ+9LlKCRdxQdkmqX9bt9gQW9xtTXW4MbF1gNUQR+cKfrweCxx4ImPe4BvDgLl087S6yqxrJFwp2jO0N0g4otShY4E1mK8CVllmIafQLfmbXlKPVpN0e58AIHAkuvCELakhFzHWpJWcW54OFifgo668GF1VUW/eSS8NINirp0pepUASS4C1yoJBCzgo+r9HTfsWWsk2qzGfi5bZlqGXoflDkUmemjmva9mSsakacJwdFVtV8wsAxq2HISddHZaDiqI+hW1gBJIP+Y5nrBA5wTNJ/Uvypej3QNDTTbADhQwSB/Z+wJSXx5VvGX06Ty/elnEfgYgnpkPBQB64bw9hPN8N3iKA5IwAYTlpAAtNw/IHaYjHvVWqe33I5NxKhYHOEb8EmtNN/gTwKMKElPPc+XI4nBKZDbEETkG9lsmkq/U88dkT2Wwq+nHDYatFzNuWBzZCya3+bfUY51rH63Qx0tch/LJUPzCQS+z6qcZD9yW3DInnplguLQoaguaUulAMLEwTVLfYY4gQH04k85bTw4Zbx5NuiSql6fD5Z1+G04SPs/Xfol1akt0DS1ZoGe0MiX4zXFXDgKwr50fJo11UZJxqRAr/Ml4FFPndhKSGjjuyqiioKZVGuC5C/ZAtDTMxNcooEjfxEh1E1X0whoh8Mj2d3EarUczgOwiIPCTKBPbzWFSHN1pdvXjpf79gDrkyz7RbeHAxnnBLhqii+kyyZpaTaaArsWsq2ZeX+UyRj+6DbrhhFLA96XxEvjYIJOsEKqpPOOB9GoPZOVMncZWzsjISBudldbKkuhhgK7UHqZddxpIZiq04uYOZW5151U20ZzJf0Nh/B9xXnx96oPaUaBILCs44Qeajd9OpZnNK0LDgukcOsEo+NGJssoI8BMNO3nQ1Qei//cCHKAM08a5aCwl4N5BX85U+gpj/zwHBnSjIJIbVcXqtv8go7eHIXQTGOlDby4dXXJeEdntR9E/ShIaEnnxvWTS89WpKF354xe28imXdWtaB4M0DeeLrzcYBIyTNS36VEO4AG0Wh7SZWkSURWyhl+cUtvogmHElktbC0GuBfnNgmLmKrqXwcKqDCEY6adgboAfoeBTOyPvwowy9iFtvgcg0lFwXsFL2gk+aoRNw+lghX8Hwuxv0SS7yjaa3R2A28djcGcYL65XqSkZXUIwuWGzN9mq5yvNhYmi4+Qyxiw01YVh9/rfjZF8Ju7gbCozZh7kEiF8UbORtAlJ+EsEfTocZzchi0efEOjAW9nXozKLjIm3dH9zQN9epwaWnTGXkzzxcOlSkpozy34WfngQnrCJ1s5As2kV7b+x8zltX3hNTzT+wUkENskLnqOWgYFZn7uK8CKNmIT4k9BpWL+hSz3BQ3DT1tJpSaDKZLuRLU9Wsf3sdfRMSozE9oHbbPlo1IOtAhZVU03NJ5kFw2Noixb5Z1AOrj917Sre4PoHF6ZmNItgN5kWL0gvMZ7+IxZqXgeuGJrQ+o+RqCWKnqtH+UX7qjZDy+h6n2IoZIhWD2jHyZ0xT5OVxunJk72EzcIaOO7P8rbV5OPCQ0yrO9z4u1XL9RlyFsLzv1MnWAB4QANTA8ns61SCqnyro3kmfxwl0vC3A4xsL6N+8zgKD8NI6A6QhSQppoK/ha1598rhpf43fHa4KavI5lEDcJX8Ck+y10kJzQXiJ2jF2DeaUFSwOBplh+5BwLkC2PEappOGYwAUEGnRf7asd9cHwXT6C8mPW9I5BnoSPSwN5jiWhRjNjO+vB/SPbTBoFDE5fM/EVPwgsqeIWBenXcExSy+Q7C0y1IOS04SFSYrPJwq5wv34YE5FL0X8HFTycHuCSAuHKtDKXUyTkQwfNBCgoO5X5jb4rZpL/sFq3pjoYon7x3goBK39RYoYoyjm0lP5+V5oXVYERo3CKPHMtGblsD+Gg33tQwN3LvLHNSXdPBb9ShbV9xEndKo71myQPDep7PPV4x5lv/pnJ9lnwnwe+h6POSuEJcduU2ajfTBZX1boHZ4hqN6MWJSbjTs2z/s1srLxn1qnZphtqXeXYhHRiDNcYZJEhZrpGJNM79rl7vyFRIG6lCljTQ1Aq8eaeTwFi/QxRXdlEsknOJVwRCqB71RavjkYcx85yaLmw6MUpORktGoN7I/Q3RK6RfMj9P2AXpaA76aI3oSLd7+Iqh61Y2Ah5r1kVGabr4hW+sYo6Ila9VCQ1mNV/59wN6X3IPLWmYmqYWAfAtsL0vxkxu8I3n5GDUD4Wq3N+rizOSe6iN9lsQtt0NEFtJ24P+VsbcThZCoHyv+Pjzi/psSgUzrG5K4ZTlbWsj0cjhltJ83RRwHMewJj1HWWnL2IVhD16AGAtVvpK25uYVX1NoRqAPGVXk3TM4noh9xFauzVK/9MRwfSgnH+7RlWZmSakqOdDlTtVNsYfP3FLX0Xjt2r3OmyGzZweMwOcXwjArY7l2i4RtcIaAuutBiYKh8FrR255xRtyXoZoLFyG89oK60IQ8p00xcAoVj7FUYnQSQnrhIz4mx5XUEGAzjg9HB2rwDptvgjUJ1qyEXG0plCcRzCxOaMpd4DM/bUa5mxkVes+CJXb0b4UNhrKLR+PvS2CguTjI+7oD/UFk1LclHtoODLYJvNhlgr0adLbC514a/Myy/8rncO7HI8aijClgkrK8160phcoBMfbMnFaSDHciZrPWeiMkcqMbUyMZiDrHEVNcO/Va5CkpT/WPYOA5EM9RSv/TTD091B9avV/q5JjRzQd2u93TPJ5iv91dclxB4UYsx3+2An3p67vpbRiB838Ni8XpG3Ktfi7tiz6rb+JDZ/8SdUgNdc0H+VdWd+V9oZKaRYxYUv3//dubR9T857Hi15f3MKYirPqbt684j/DZ0JsHJJoeXl0ujF09UlzydLy5cV6WwYqFrycNrbiVlxaOMn6E7rkyZze8NhtsgiHymmhdUDPGZm4EgAsYF9PrgeBD+4DON8C0QS5Ppx3xPO0aaNs7tlXWHYg/idCi17y1IDJ82ECTTa8nMHagHyu4bFR/b+bMbvUHh2IC3ZWH3xc9zekRLtyF4agTkmHMrrPh6tYS2U3cLQg0PKV9cDyYlnoSp6RjhVIkO0w9iyC8ClWRsuu2XpOzvJ4Jm2ZzrFAOKtVwgITensyFHUowYl8mFc/vflsw8ae1uidHWnL+1CRaqxWRrf6Ea4mh/zevnslUQwcQbR0SSh+fi92EujtF+dMb9vek2oIjF2kD+TxsZkkAy9nzz/od6yOt+Aiz+vd/O8Bc4F5zJLrM9OjKZsvqIdWDSJUWWJIhm3ZRzZ9aTKYmpYLh7HrA3KxVQV6w8htIg4BKNAbC2FI3Eri46L4AJO4JLPG8Vi07uKTRsgwMF7HELpLd6WUsTT7c4YWCGyvrDL3Yd8z3Nuc4/PS69Gp3DV582atu5MTcpcMmnHwYIgzzIFfzX6B83z85P/h4qIw4rezaXFIBJ2OWXmq1A4ByoSHpUffPonAEqNdRjDGL4yhtLctfrC5v2hcZ5AJVhLnH3mThqfFKpt9eNVxBz7/JNjJWl/CNDyP1lEgbKUKBuZN8LVIfHfZfLi2WpSRRpY7XWLA7GROrdB6Av93YYIesCZma+bXKnvW1oq4uBpf0Q9nYRLWeZe7xX2fFAPfTaQAaolrEthojEgkBoTDGSc+5CNWo00bJSinUP293WbWV1Pbm5niQi3hWpkHvjgougFKfUZkdtG9UOY8KYm5VHzH/iTG8vKjRL1johuXdQV0uVuYTG3s5a9uJmwZ2saBZF2i0qsnItJ1uKnX/eOE8ZDab2RgZuBHPRJ388LIh7kQnvkkVyVVi8IGa2lw8BuggbO7kUgo1kjlyo0aaOO05KK/Lia0D30OLqjWgx7+YGD10HKoGgfD3v11Y6Q7uCd1PLmBM6Fnp+md+gyw9bHtkO4YvcJbpDeu3YTe+PToH71wlPKaqsOc8zTUF29j/Jw+9vHRDzcHE1P8bzOYrrJ+JTLqZ1UTon7y4ecRf50mm62+p+UV9p5QZN0QSOeYJGTrFOUMBv0SMpS5q/g26zJUwtypgU35zmH0hUc5RFtCGCkJY2saof8T4UNqpjGZ1Mx/5H25FWWZOYERLsyzy9fTeMaqWOq3S8ctYJaKvope0zr9J+NhlfflkuZKd5XmcsxKSNDfEaW+CiUkTveMCpAZ6zabCTiCt25KRJ08TDOwOgzkbPM+w8kpP8i5NvLcaekqHigqopXDjXiN6IzoLkTLoHdEZfJOuR959pia1YQ8w44Oh99eoUy/GIRWLjZEQFKkNu3zCWwQkZDzV5jgeuBZFTkOvUM5EYPiBeWekqYNjw44AzIhijQQ182s+RVKHS2RslXict24mlPY2TOpOnWIN4bRBzcBY8cH1bQwjwFWtc7coN9eUEaPOATI5LF3s6xnI2S0JbzGdrHnexcErfxxTOKpoyX5xu6q7hdIu5RM1ChHlFp3E8CJRGLAZKwP9oRMZ6p65QAQw4q856Rlgmwjxpyp2tIbElbptb9zUZUCGo/T3U9YhCTZehUrSR81KfPyFscbrLRJPSBQaiduatc9ugoIeewrcaT0zoL9ooix3jsRRRQPQO84jw4BDt30xZaQnlCdz0QkQvzVahIwWIi3EfI/hHWMp/GMzM8SOG3hW2MaFJhzoUjmBlLnukfKyELmnbpnu+OWxHFSzQcnQh9l+3RjrwZCJx+BYE3DEE88Q8yPnA+al8cAEEnMj4x7eYNefgToYJMwtDxLiscjKSUzMIr4HYKxL6pnKV+mpI+Q1PZpiUh7gFj6m4E+RVXsM7dspBwBCw337QUN/2FYJdocXUid1PcSsMPUaAWfjBoFOlBgYDT3OihY11K8l99nClT5jRyneXeOWXLLen8SHzDbNTjf+YyIGI1ec1SHtrscm+6M5BQf82Yt/AungcnDSNSDeqvI4s/uJKuRqQSTDbIQCo6DLDBEm+XcrejS3qAeHUMB+74CeVn3XiZMDeTlT/+rVbzEGfYE0Ih9JTLhI0z2Iyz8xtZ8hnEm1dan79atGe07yaW/B/mgYgxgeUhKvEQOGfSjWEXEatPVev2jXG4ZYyEYTIj1HzgXZdR+cj1cMuJ6OuD8Q9PSCwxke6WhV3bKbCQ95OlPMyMja0W9yVnXV6Ne8sdV3kDMbtMPbG31uE7VDsqB0Cpl1eaqQ6lI3XGn1OA06Nrq3HSXC60EXpM3PNxs1Ur4yRV8WYKUCrqnLmWyqLxIUAElgz44XLII43FVo96rm67DGWt9KvsenxsC4JKICL/aEihnvWcnVCuhj2s/Z89wduT36OJLH8400unBvdHioyuSf8qAwn9ZJxVks/6DknztZxmJHzTTpZnXaBFCWFdJeCgf6wrklZNbjQkqkujylEIm2RFd5XCN+R7h9ysL8Gua+uEJqu3xLHErdRbxfg+FPnw5o8kMiZrE0wIk+jshUQPsDLTfcqksV4O5wPJasnsGXKolQsucDvi5cQ3gayMoH4L1ugPyVlxmRqAuG/gII8bKkhvXYWcuZ/OT+qmkYVVpvQ77T741GgTBF8cIZ6p9a87nXX9azqeDqFFiCOjFtsV5zomTh7i5G17ZP65Lg/lVC7aDXPm9QBb8rWhIstL4KE+njeN/mw77JdOUl3zf+QUNcXpY1Xje/huzLAtQ4vygobR4ll95YRLJIC0zOg9LmVTlD/+d/adC6N90OwdBmjMtlILXMxIi9mklnHdnTM/48utMjAXe5/Mjj99Nxwg9eSGkLpm3dgd/OW5nUse0gDWLw8DQ5hH6fRXhzJmJ91eY7gMtNFCikf1xtv8jMb6ZQoV1UUxaSgAUlX+hUrTaKVwn9dT6a5b3m2rVheDBuW0K3Euv2hbmhrZIj00+uCyKIO2O7AydSXebYrfncyU2buwYJu1f3KGSj9ylQE3o3rh0t00ho+lHA2TA6XjWYRUb6Sdv32LnddGfiqsEtJ2pU4yKpTuuEF9hld7r83FhbfCwWnSXrY1SbjdOj551UtvnqPyjb+Rm3329IE9tHJHODGtwFHQc4M5dC4WRvx11GGk5bqXGNfvO4MOyHtY2lbQl5sFrTtqWu6kPr3822sGptHjf0zUZRmiyxLh5J7+eo1jo8P4mGuoWAjy+yQ6Azzk+X2Yp9WWchow+a6IdUoEwRFYeLlrzamRsXEI+rg7lj0g9ZC+UlmdGbPRDdkY1adcTPj9YYmoEfsGDiHiQPKLhO8e8C+6+fytcavjv3Hw6rsVxbPqYyo1J9eg9vdhL4c28PahFrMm52RG5QJjI3QJGhHosLQjut6OX4RT9lpJSCXsfNAVbrU7tS2mFnLJhi0EVuraVvDKmrWMhe43YiW6X1P3lSjff8vOlDLfkyav/qrUkjBfC5+f6MyB3W//Ei55UTW5FdyQkgOejT06L5sQerl7iDT121Jx5pqziGmkGalPAAZeKKPcEt57ta2C9cwkTUeFsDBi+5hcUb4K2R7IGR/SaD10GZotBiqLDmPV4eEUuezBEFOjk4t8S6r0RVcdHglTmeXdVn0+jRHNBOAsD0ORqAYrnBjgBzdIB7CfFI3dn3qsVX88hRe5A99EtwdRoIaduk2rU7eEes+Ny0wI1qIuz4pRr8lODwroeJSVN+TJMenmSHAjTTzsu7j85+CXuCrmiAfgw8U+7QAtZzCRRL4KrsKo2kOcNXKCXKFp72GulL0y5of8vAX3g5VOKc//V94Oh03AXKtUrhm0fugHnYv2lVylUctFPKy9uuF9wc+jNdYG/UUuFTEWSv98llkcosnQd0JG1r0YEuNOHs87PFjNX/E3/eJ0iMuSE9boXc59NmrV23t7YCEFSxYDmcR1DGVMqxsjWIqsL/57QAkv6jFqcwrf0c6iXFZC/nEK6z4YY9yZd4tRnyyzjd2QzfjDUjayltbiy6OsHvyyRi3bE8seM76TLBy6iUF9E3IoiTSMpSqTy35r8DsqGdl8kGuIahRDr2XJljYSHYCQqlyddpYfRDmtTwuXFx1hTtY2SYmK8R3Q2uXu1F4/q8hQJTLzmLhrw3YuzzfMCn3DcpMPhP0msD8x5yOw27qK2eJ/ipBJJNuwkhmtWuUnwWVtcrej6nXVaIOMqakVKlO4WmP0uluh7WZTN0ACFrf/DLvdMzxC7ZfbggFfdDvoz676jQs62blGKGxeJtW8RxwtHz7PgoADKLFEQBe1QVZnn/VeRz4sIKLPGyEVd9Cm3fPozlUS5Fgz6TpBJ3GufbNrJBW9abM8ErZ73AQAM9Htoi3R8SE3d567LTEuaq8TwK2e6yCso7BCACym2pmvFAX8dtBD5wqiWnaXXPee9dUZpR8I8L5iet8VpVgkaTNI4oKwmf9SchU6s60LTZW2ywcDXgu/H6bd4YqE6X/GTdSLEm5tmWMwYNZHDaVXMGAWucMBp06lBDQfgdywVCsOOkCmn/Q6QKHkAvrGyLXzbrjC8M18xFbvk93mXXU7PLQxxyhwkVa6w/1e308cbSjvwl7kxDuAlhVHJC7xpPz4DzIXT0khifW+krHvwZsY2NVQZwm+BHWgU7fDs00PsOCelOm/858P/aa1fuXzc0EYCAln2fIVl5BZttlNuyW7F7O75UYLV51ninuZyOkLQnPkuA7bBY+zGj9a5ECubQv6UzXU3tK7XD9RFNYNL4qRiRALtf6ExlloaWNML3fI/uE1zmKbzWtXS5LYFaGRVJx8SN+gNpi5ZJ8+6ib3y73cAMzr9a3/p373+x0LV5TNhkcbBbDfPNtywaWWIkcPElHUN8tmITKIc4bQMZS8YIYXsUUJL8IXnhxw9cI/GgGst5cF2l32WQVMUPfwXQVjFQKz3Be/dEvZmpt5fXHoof8jwoezWb7WkFncrP2HkEDhkFyn5ayeJImVaeF57E2XowC5uWLKbO1LN4/dKqQRqDG9aUW3jEolszmJ6AVsKNTk6dj12+wJkcs2t1CVlJmce4ainlDOuvohgR0s9kZ2c6yaFhcwQOp3h+AvhZk8VOMCPq0zvW760l/aZBMHn7S/6Ox1l+tqz/gOYaSr7lFYTuITpYm/XlXIVglvethW+dMOpz4QchZe3hx9I4Qko+M0Xrh1SOTIriVMXOKIkuEFZlb96+gsG7bdJf4roXgzr6SxTiJu7h6q2Z2iJycRru+7G+kv915I7A/gfZZu/e/RMPGGZAutLmXVaPin/7NobNTVEo3M/MJDZBMoxjdnS4D6XYZYPy4TlM0a13Dxzyu41nLX6HmDCqoDdfE0fFf31m9jyjstf97w/zjRdObI8RaltnIH7vtiMhr/ve5GH8YY+2rlY/Q9WNc9+I+FfbumEdip9C+MICC1JHCdxLoLMG8T/pqQqhZVklS4GvnVhI5nw5c3XgKE3rAIbYxkPGx1ip9vxnbVFv1ETy/NrWB2+8SMTC8xJb5iZhwHcvixzCJ9UhHp1tToe4SGyw3/sjO9NZQp0MVSYLiNMeE0m42tLytchMRvgmNtwLQgBjwG8eKkw8rwoGdXGJNqkyFQqnEYFxYLQk1bw5uOzq8JPbmtsrpseZXWOQh07ZyfbsW4TWQjr2jzcJzNyFd+It+RzQeXY2lhro2qoOGe5YPuu3S6Klle3rCqcdjkInXRv4IjQ6MiUT82FNlNvMMT4JKtHAD4lVSzooYElF9WpSqy5wWqF4ZLVFi3x8dCy/pIVOxRcl7MB7RfBaupS8qIYwYX1JGYtpfsefR3LY8DjVStlmI2O90KTdou52PsbjbKh/X8VoKuYa3zHdffHabUcTAUuuaayTrTNZxzhUJs0GHOvjbyojw6YBZI9qmMep0oGrSAWnNaBzaiqTFbJyGLOo040NEHQxnr5tQ8CGw/M9XwyZ4M8bXaxqRDpjH1IQThTbfvYDxZxClP39jN7Qp0goF+UmJUru3T6njrGy4DbWwrMDO3EpwNLDJv4fi7LxO5fOq9Bj40pELI4gtf2jzAk2ayfiuXFXNtI17xDetooHFIri+yHokB0nlgsfx7QvGWq21MPjcsIJkctR7s0mQDDtjrgNuia+tOplLavYYHB/R+LD1quoLrR6EF/bBKcKM+hww9Tylv8xQ6ZtNScyM0orlwV8Jm+BoBdJdobyNtZE/l4tmcrk/18siACj+2uUAL7WjPWV8GurPoSWw6ZREJUGY/hCbWMCrEG2brK3GGyQLbn/M+LXkG4sYEnuvalskLfJCI5jwZuw9hNqjW04SVDbJB4yEiphrGH+PG+Vk2PUGBoPjtN76KWiAh+ldKUqUV6WnQuGyTMf9vHZNnVk6aDXt9W0LPd57DSxjoPfNPJjhQGPWD16OAzf+g5k3ip4eMeRAXJk4T+J4kA0Sr+BuLQ9BqqX7aD38J5PT2GgmPTtxS6BxnRIdkZaxbwPanCdTODVOxoRnezm9dORvLJMemL2rzudlg+Z45rxaAxPHxA2QuneTmjeHmlJQnIr6Xy8r+WC8n01PQi0Li9pweP+uBeDHCQDBbvIVpr1MqzfVFKQH4LL/URZiSnhy2A5/kZmNKQ1cLxbcO1NoYPeFgxCLCPFGrdYpULZTYBSUtMhWgZH8fr5/aKN3xv40+ppmTBXBwdYXT5MoYWb1ghsnZDVECLI3BLprqj0CkA12hdOGH4PZAjmZz7FEnwjdgjQkJu/4W2BDAUK0GRUYaLRmfuF0Y4LNGZIHKat6E42d9kIemhsOOE+8GU1a0zWYf3NbK0P+oeAh3/a4TXSIRfxd3Et57cNyb9ep51NcEOkNbQRVg+ho7nz7R8JxPVyiSkQ8vQHpRA5aolt2Q/JV+3qQbLng6qcbiQkYU/sOw8Ard4EIpf00HOMrhfoAhnES/PJrswOoMOEh3P9ShRb88mDCmiXAoc/mOEruI+kT/EiM1K87FPrXGySGxq9ATTVsDBm/k6HyMr8ONt2L177ZPunJByOaROYwvWsDp2dmqhvxY0QMgx46NzDOjOOGNTm+CWbjGgM2swhUbedi+teT9rVf6vAhGi8NU7pk6wcwNv31/9g6IjqtDq+LwZ9wdwvL8qoYAJ+m5y8+tiUEbpIzSnCIf5cSJ1KyEpkp0V+12xKD/a0DK9UNJAe7JpVqpc1DZo2cIJ0ANcs0FHChG+n9xJWmXDfWwyXWfXiiOafsjT72aDe9bCrN71GeBf1Z4Re8QNG2bqzsKYRLI4MIl8OpEYtsTt5AnvVrToRGHkbSDG0qFCULbp/OgzXEXdbrfvq8fRjpJmmRHBBGOiLQXi7L0Sz7IQGZ3vsTGDU5L3RcpmtnZ4Fe7uvaTK38tB2SRvJv1sV9MsrkW0YqKiMHuk6rkVA6S6Dd6LT2q1VRN8gXEBoNCmR1phveqhnnCDCMOSeYczrvzG66uIZb84Raqt8lqNZCYSkePj2hBj45ka0ifLZ5LSbQ3/iUvme8iGvGBpxyjmbgQJlCXZfG1JBKXou2mTNgrheWOjtL9HbA5wSPs9AuOJWvdKXGLJ8ode9MAGW0Fi+0EOuEsEWFTXE7whTNR/2+PrEZ0CUV+eUB/+OiOmGy8CeCbaE6nWt0f09b0jMCTxr/CyqIQz1G8u4JcS/iQ/ptkHEjPIC0gk6Q+pG38Vs5XmsbHxBAm3llOWd7aQ8VkxF4fHSlP5+8qs3nxw+RrAk3tfrZtkQkVG0PA/YPnHv6DDG8ufR3jR6/v5foNAyveTWDQJIxFx9RwfjdbGeLThbHLAWQyqOTzUnSTFRz3sL0V71fcuFeI4vZ293toUlJS1xCMKaPHDU26LRd7czk1q/ZCbm78CmqHM0A6NjRz0mYm/gOzNp0WbIxBFvbyM9sPIWrvkdSjHbxrlPe7dyIOGKFrNsfv1eACdGJI3qfQHLC3KP7nuu2FsLM/7k0II3wpHekCoJQRHqhRzZZ2mp5dF/XUk1tQ9SYwGMavHwFbnYAQOpzr03Bp9Cqy3jL5UoNoTQ8cSppfQPS/FzynOpEA49A0vCQDmSOX1RUKlcx5C75/v8I5w4jyRg7TfsxzoUHplhJyVKCR3u8JMd5yHmcJg465bwaEvZ5VO5bA/BVFrJKJigRgnll9AJkHo/vMepyJamkxAp4V8bOIt3ryQLgDPZXoDovsqBw2woBYQyJg08QHZFJnCF/8tWAHt9QDzSdF9Bg6cD3VVnRf7Afrfh9y/tJmigjvGycQsvNcyNBLUX/CgqhB8T8ofiMf9dgBaeAAi941QlAA32ksJMxilBWXNODlkpdnO4lsBkpM0njfP14L25S+d4tsVBQLX2fertCU/9g7cP7Ut7WxNvvY/r7cZfW+mibyFHvTRUui9t5dsBTj8ZvlXsrynh8MpmMhE+yD2g06QCAMwBfF4m98axDT/PdeiOt0p7eGVbwRqQwV7ceOhBMbK8EMGVM/2fzry9irUwpl1N9D9TiJnOBMz9FIqJcMyqtRHkjaqVcQ8rSZaRb9bCf3j39nLOQyuLI+f6S9K0WuLtxeLDusI3NMmIZfif795auywBos2hzAImWgaej5cgfRUgSBD147I72cUprgc45/I/4J9HUBE7t9zMK+3vuwbZxq2KqRCpyS4lMGElb4pYpVVHy5iwEEt7RPvXEFTC/RW2MURGLYFP74JTKd+RDBh/gngYsdq0rsq5lqrXrFGTGaXmaDgA5cpWt6L4eiD4QFP2vAu+Q2VT8TJ7OHkssrB+gVvxwApWjUIy0Rnt3OkhXcV4fL/u5JdsZaC64JDmNeeuczCLWA7qfAzaHtEDUT6AFf8Ip/eao0LtqIzXwCbzvt+R3JwvegHkgGA7ZaMGTKVzF8HPJ0WDdVDOhghcnhd+YzK+S9byocVWuBws4Ep5MqXdMxhVzp07KMbF+KvM4BvVH0F1H0Mw2KrDn3+aoixG5YXXKZwn9lQBtY/w5HZOUiBxwzD2JQ/QbW2DijfKZvmMSep2tpubEYayxHPjbxXQy5ovlaQW3JFT+0RkRc8mfH+/99amAyKtA6jFzpe532mtIVCrmLZ7nsk3mvdVUOtO3AFLmg3k5ymTtskECUqNcSVyLSGUQKQDdFfiWrvt89INBJ5vN5ECuutAbAceaYqD7x95RSDjwgf93Il4Z2CQCZvNVfRiCwPEMvh2JuJuHv20cz+JMTNGvlRiTrQUqA9spBhWjvAlWROLR7b53DDGj8gJMaBupXVuY0yN+WNmuKKRjFZJF8T8oWKvMr5zu6jMla6fZZGXfBcZvUcK+PfKBG0DBQyf8Gt66gBcPeOM1D6jm7PjoMAj3+guPIhwKVq1AP8amPEiCmhsBQOfYlc3z1rGBuCeHGR9zOGD+aeKoyqlcDq0xjf9yY+6TfXqd2auicsIZ7+tegcoCP4ucSxlovhaPSDKrm9eQMHkWZl9+8tG55sJ5+7SX8jeiSJOuiKDe3OMrNwpWnpB4xnQti6Ozm24KwDhv3M6Nho9AH25eeps9+UJ+YtqSo2Wa5VMATfHe16oPnKzN85xetXVJpqYal45F6D4V8Ie+W4d1ggK47HMMzCE8IQTK/GeyzBGc2wOFyBxY8RBGl9mLBaifiBeZJeuOvnTRf7rZsGqvanHlUskJ7UlyP4QaqiJr+ygBumUGX2BmAJCbCqZdTwVbMEOfJO/eInG+b+jHkVavje7KBx/uImXmSbQ5N9eiUMadKlQcC/CI54umOiQllET5ihv9riE4H9KD2QX+wYtuj1fy4/B90RHKE+qW7qTcHUI1nrbpEfR4FfVcRDDbiOxydIJWjKou/uSS0OkPlDsN8jJFr5SpMK5mdgaUncfHDzcnrM1iUcx4u/cmndsyqkjQ6+OpbcoM2OS/DOONA99WEmDOBdEYv8GlOHUzCLlx3885RTrq21caM8dHH0eU1dFvPJK0LtKPxFY4/42oRtyW4WgMuPgHH3GpWvUbw9MGQbStm6VjIjxH5y7AeisT8O7d8oKYOUMNH5SvQE1GbJEJqZt80qSVLVlSEC7bd+VMdUF/gWluZRfMWAv6UzatBc1e53D4JuNttZq+CZztg8dXHj6t3fBagLHjrjKeplXYewP2s5rZhi5KTZnsET3K5cYA91mhyZyUe1yhYqjY/7xisvup4FyDa554WfDhJbgcCTTmtDPZxT6zhCQlkmn9IqfcEYTfiF5Xpk4SLYQYYiZwypD1KGguQf1/9i0XjaE8J56hXKMzAos6WBDkYHJnfZsPc6XLXaiGiVPmT6g+E+kSkVSmlDccPvlpaPugKCsE+k37oA5q0WLtPX7QIXhzvzl1HmUxy3TmlQ1fuOR7DksUxL3gO5tci58kMqHMZ020/t3jZBC5qOwz4znJGgWwy3/ZaJardoVmPH1Afl3FKJO6RKrDhl6xDuavxYyqGGkYztndLhA8+dIP4L3+wV4UbG1ciIbYq3xUxo3i73ZL1HqvZAdznBBVXaLtTQ9kyouaGoS/KWNATAAEExzeR+MyVOr5xhbCY1rPuT2bgjH2sT3X0FzoY7BZikcVQhS9aeWgdfqWBC2lnqjhMygu2qWcYxZ8ZGPoAORvH8MKIRfie0UZNO0HLbv110fMGihIxq74kt5fOylIARaz1J1QHNOfrUeH4ipD/NJFAauwrXYMGYPbfzKqwYVB2P9J+ljtnoJFRRgCQ58RLZEAov9DJye1EQK77mlX7deIt9eRgcoYgHHEz0TdxdOxCC/pKxRggBASZcZlWRI5K0oImC8BDHnz99ty7TFv72eE02TwUETgxYOlMKwAvAv05PsC2clG34ojNGuq8DtNI5XGqS6Mok3NTJFe+Nboo59RSL6novR2O04VCu8SQSXdHl6iiIEtXam1YT0Cd/T6viVuDuLSmg77SuIVEKJEc6JNzsn+at2QtfrLZZwqw8zPzsosfE6c0MSm7Pe0CjAveL9rKtZsNSl7NDgUEbtfcDbM66fFXRnS8+fkpB6B1VTQyhzu8v96189SVYA9OAXH8CKnrannUG0oMiSVdoxBXSc0pH9ls+W2N4IINoEXtnkHvaS9nLYf66KCX1wFFgXqIujvTQVrxdctxvdhSV2XnVevnrLPVa4uotgFRnynz/B5ddRe+nld0S16tUq9EOgsRAtiryautpVznuXkQfSPkGbCJH3tCbQW5ndXzYc37fUXMxABHGfRu7lt+75Tlt9ZlELdbKzPFnAVEyzxTqfP+oTJDKJVg4U4TItZi9QgD4jOgun0dlkSMefq40EsPigOPsrg6Vnu1+eDgOyTmr6CgmFeJ+k1F7TLrvGDf1QJs4YHSbJVu0sxWyL+IDdqRJ0vXOu//Fw+7Rs9qVolPJUqysSkYcnGfyqojVP9eAQ/xHkZUVY/9FQdEl+uMqjKkjVwbxOnr/+7O1Z29QCZimxnIdoWTtLJ467JRbi2SoM2LTrBU1Xv98UuZ7+WLVr9o4XDmu1XHtGF6X0sx8cpbiJTVP3cagi62eEDTPSXOkB6eNyvOVkcV3mR6eFOXHyps7w0LHpD6X0HdekUkm4xYCw7cp25GnX4BLPZzrtzrE4m8cRnrLJGX23qhxDkYtxIRDHFm/Wz4aCgIpmmwJ/7P6ge+eDO3o8jpHcfnXlvrUpXKfpSRyS7tNjDYS9OS1pjkOigtdGcbo8vP8zuqBDFdYL5ku8UFFgnhKCiWzK/ecPxCE+XomyPxlo/UVkqDXRUa74ANOr3HaCTc5CaWPrG1RV3+p5CuejSX5LFSWFkOu0JcAkS2kc3rmZjIhMgPf7m5JdyI1ZN2IfLAdRRfv7Xzn9fY78vRNpWJJb6sQy0NgtLAxn/lH8qWSV+YICliRJW5y+PJthcJBZBk+9JgvqEFMu2RokzE92owRbxcDUickEHRbS6JUylhdnbLBdtzWDun0LfWzW8sF5gccwiZ5xq1xHo21zlqmechUgnBUR9EG8NFzb2xBt/B3VAVjTydDzsfg7Cb7lR01Tida0/BkndPFPRUt/Cuxt2Czc8ZmfuqacHsJF88uXapcB16DeawwlLOXImsHCR/rVvFuA55XU0e+apPadeZk1zNoP73SXpxIdJEi2OCHPue4IVjTgjMGfobk2Zo0dXaKYEFf1A4BgUDyK50c4dh1jJySPCYphhSnQ/UR0spnB8+Bn6x4sr4h65T5El+rtnjbx9IuZut92wyIYu7T096qRHVx4Raidj1AXBo/TABevlxl7U5FiHg0xDGBgKpb85amU8C3BduUKbJ3SmE1O++CO0oLz14hl8s6Oq2emhWCJN5PuE3KnESNwile+n615UGhvQvY38CLCe+HyntL/uKZcSvGs6mZCNmwrbq6PUSJquMICigASNz+ft7vT9LDi0q/2uufFeimvoxZ0yY8n9ao6xITD4i4c1zOGDClFX+lUIsKT7TvswgDgNjGSjrUC+5CWLuTDaEaZZRKACZMqCaZIxCAUN7tUfcI+VzT2FVbC2PnyXCHcEc1PBEkEnjV43WjO+6c6Ksjh+wuTVmzwofiKRdaZPh0km94QbQ/TplsxXxr0yKgv4RDIVMj7a72z6gnX6hHJsVNoJy7W651BlbwNRpMgpI3E5+KAYAPgQKmHb/cgbBJRzPuQVDAtrGnC29EVj1pGvJuvv9cjO2Rh1pio02tD9z5zQJDTGJa/bzoIGPiZuHwCRO16dA3SQOs3Y05DeJIL6rZNiNNoHHTTDiNO1um4SEZtImey8FqlbtDGncIP4gpkoIw1k6efkUYIIVUbNTy2IUnlN8NnisCgW3DGAAXI5pc8n5NgbMY3i8cr3dxmVIoKX3jcyIHgb8aW/2uj0hjqn5TB++jK+EVXPqbTHeRfZs10vWiY5WVNEjw/E9QER3LIV50c1SKZp+nBUgt/OzWmOB2PMqNwFyBj84R99xqdWP71jKby8eQvjfCIzKjUiE0HyWSujo12zynsB6sUxn2eumLaAzW6YRU/tFIKyHTIPX+SDMsheesdeo8zCtF0Pp2+Bwi7/L+JwU8i9lDtoR5Kh99uJkvoYz8NBXJFDN42i+vvIppa6wD0h3pA49sVa+sHhjT6mVk2eFSggpzLptURU1xmDBFy0vJ4TnccMJdvptuNcqMKDLKBoHcjh7jMOUnoYbSdvUA8wUBvKB9xwOMujhzUljGxnG6PZJVAlJg5wucoxdre2YmXLIaCx6q9lh/91cFFrN8nU4yJ5hav3mZsqrkkbpuOS+6PnlsR3lLFB2YY8sqSxPS9F4f14C1DM0XPqBV8uvmLj6FQLQyVWwI3kKtIr/YSbfWyOMY4Z0QGxk4lZoiijajB6vDuqj5uwnO1oIsl4dQIIu8bGSxRqZLrI+We7fc7nDIpOajUGUlEQ8YTHPrG27q2zAU8vgPV+sNH21GyMXLXMoa0jccg51ijBIdGfFRqx51jiuKHN3ezkKgmy7ySF8H8Wv1NdYker4Mfm6DHsyQC+2jawGOG0OA4EAU1sLT1tYVYQXhh5JDIJZKTG+xj85qK5LMqSAdhuD3hVhvYrulVa9HaF0oOJAgBvHmVH5TbH0Q7ygS1RQjyZLN3TNvZUWcdHvT/RiaNlM9azRpqnb0mab6/mqLmmMZgg7Id0fHVNSGTHtoIpuROygC/r5diq59ZPd6/u6Yrvk+E5+XdNnNRxdupMtD7SA0ZofDsK2D3yI4vWM7RFt3GyzT24JmbZW4Dx8WPF1pEtISVFVVjoEX0LDiI7ZORRKKsaCMoZvbYmTLTCIMtnIYLsn+aoq8Zxgg2ExADaalCKxI/7dqNgMscUg5eu0lNoLmZEiCet7aWmzgkNfgg4YLOaVoVEuHAenG1/3Unt09Yw/BoN9Jwn0iKom1SpzBLBDWUbNG20vkvKifAHVEN7j3yqPmTYtuVXNxTgvsU+rRLW4DPAwZjIEmnVrlDfyiHXLAn/Hit6iMO3r6KIrpyIxCHyyiFceAZQ4wb31aTen2F0qj5szHCSdMlEoZpLEm0dP0VMrXgHAHdX7GzwAnTq6qd7xzG4kM0x+yE6ywXBI8GY9qPHoDTne22tY990r3WHAqiRPxw9+oEcXDurMVM0Nucbf5iLeHqTXQQwjY/fE301MayxdueB6YQmwHIE+NhcJJ8+/jrWH6K9+8quXkX80dQZ3Icq8cuSyMYnfdlhnvySexmSxdCSuTNP+OfOXYK6rvI00svl8PC1RCj4bL5NHDDZZUU78+kykXpvn9b93/CgF5GyN5tUs0TP9a5gOUGPnGU22HvAmIOi157nprYbTcyOk1jD+zpCVa4ACam6WlOwHNAVskmYbLPs039tLGGxRnlMm5PeT30LK4y+ar912E4W73BxC35Y+zUa6qMlrgkFiPxdzthw8x7Z+EwDx7rqhhoDsAo2AARJy+T/rnZIvNV4bU4eB243EM44nFiriKNLpS+pbFmQq+Lsu+EGwXq+Cq9jgfHAJ8m8i1Uk+MxC51Pr103GLwpoX5+lLEmjZxZjpHnYORCZZJLQMxeNDm/fifDUmLB/HqKgiLe2JTTOJDNRlKE5NMW+tN4XCAHXQs1YYPnSIRlZUXkX7lKn9HVubs3hrZztGYbYpqy4rCatHYRf2pf4DObQo7gLM45tWH3a/nVMekgzKOfwzPBah9dmQnPiUZghgwqXMG11omxX+Tmw9inNv1MzrinYdo6Jf/4mM2sQAiuUWzGGUaCGvjl/dSmnOIGuM2znfi7lv4dkM6+dbNpQABaCaNAAMRXjRDXalGiJ1l/f5m26J5jNac6GL8lqefksFx0NZxsMO8AH8rvTcvpbtn+6+5VdUU5KNHqY17hm9jBLJKzrerCH4LEHgD0LubUfTFjA9n5wVppB2R2nij9eTU4+3j402VRVGqwTRMDXyndttTx2s2pUxPZJ4bJOG1r5Y8n/pURB0pPLZErMgnVGMtMTYN0MWM8L1AxRS1KDD2Do5hPsKdcQxfzieCR6lwy7c+jIB0dSCzZxkNQWeqVkkpTO6L0Zp1mcuow1VlqY8nAsfzgFAX/U4htoFFUaZXUMCEcmn3s/Hp3Upm5L5E74ZKoFqM8faoAHADInDaB0LBQHDcd9Syh8Gh7c+A3OygI0D/SyAlONlDQlKcEFascxkYEaq7px8kKGmc9LVqeNGL9Kqu7gpk5Yc3/5sfjw0//4IiDKkNI5JBEwMMvamYJMtk6azaKux2i6OL5fqMeyWZuCtw8JpSwBBn2zOK2aO/SnB1l1guhW1MHX/106pPQCIn7QgEAUPuUGbtz4LrvQteUxajqVA7R2MN8T2/bey1uno+sutCOiKi9MyRLTRrgPbiWnC+nhlLcAqjLxEnUEG5lGNHHQuGla0ueOjjixBOU2lTPcUfflXUUM/ZeTdh65baZYdJ40LHfBXX5HJEypQ8P6U/PB0nlzCDK8ZUHLNIoGEmEVGJVYXlVW3vd3eR9X8fSfyixGIqNZUi5+5nI7jtHs2sLA8iIFaARvs5iIEaQmGf7Y8m1+zUuDsT4egnygJWy5Ec5Ur63d+fO06XQd0nQc/0p5ujZGQdVVxCv2Nk1N8aUekASomdpCRU1fSZ9QqwEpbEt0Sky0YkyPRrB2UT0vFFsmhMRq0oIPBLuM2rgiicUqdtWBv/iAK7ncyH+lRclB8LgynZXpfmKesyVb7JllAVmmSZao4LYb6F0Cfvd/JinqFb32tCEJQXqAKjgdX+tFsrUbQlvT8D1sOlJYdzQQn6S8VTJgGaxG7nUAsMNDhtvx9YAIK8vPQirujsK7uCSWUL5RRfQ49+vvRSUx3bcYgJ9M8Q4CszqDif9covLXG48aS7IIaJQBf1fuhOFJZZxULdp7bBqf7aVYQIV2GOc/W+T1TjHV/xFekapCcF1HqvkFz7KDykgCb1Dftt3LLsM8Z8cDUZv7/jXL2b884DFL4tCdzu23p+GBUoHoeN48Em1e7gmTNgWqgjWThVbGGZp8NKvvQXIH45xtE+CC3Xsm0oOvwb+oTCVbNr5Ja6Z1sbMHaebhT/EXWfQ7PXi1F0u8+tVW17tOe1rD6zjlYOAjxbYJOQcDneS/zGgMhppJ9w2d2nBvzHn2hM77FZktIfScaZns0rjU7lQqc1oef4oovoRUK+Aene/e/8SbvJML/0hOPTdxt5UAx0oHjgEF5WYJFeA2nSm90ReJ1oN23Mt4Z+Rcpdd9n56/RN8WjRsZucSmF9CK6XffTjvFWvLtz1C4bFSR4GJoKAjnMSYmQcZnMHMBiTc+Gx5J1Zbvrr0y4oSRd0PbEp1vUxNmn4bUFdLedbE0mgDxfzbIG8bdbYgxS1WnvyLe6lfft8y1DJyz38Ppcfyjd5lNtpePjjOI0Kp40408QIc1ug0U5hqIwznb8LeTgDjC6rDrzY/A4xvhz0Zgq5rIrSfz6IdkIW4LM+sdlITRAHEIIOqnr3QrIvREVG3eU2tdH7MMk1O5WP2uQrIMlAQPMW5Vu4MqASX5EyDcNXNK1q12CGZ0tf4Z5lpNOoXrQSGfdKPv333tfeJIPJy2u+9nqsK0Dia5FKS9OxJF2d1qf1KA7wFdTPa1/FtLv0b1kvy7ltTO3AxqCve1U9z+NX4fMlju/cj4tYghU31rqfyicYmDC/LW3vonZyQyYXo0TmjA0CxJYAcmHZWvhidB0+/FY9zAlt2acXmE6jht2cmV7Jk6bp/iZB9JOMWGr5CKTNLW6MPZmYLPZNbmaDxMWEux3bBMsiyolPpPxJIWTqO7XT0nyeXLuB3FTcncZboOematXxTjDs0zepleLf4Xbfu0YWTQeV8KVnTActJue3WipXdv8wLEj9YAD4GEKC0AUl9AhHGEeVkmbs1MZHVVyaVSEppZ/35/HWNkp+E2deoB6/8qSdfURP90XC9jXfQOeZ7JvFja42VFvpSCZcEKyWtDt0OtTAyr5e4/gRaP78x9BrOCImi2uf9B2hndCLndVvYgdl7wcWwz9VUCak/+ozCD13tlvKysCTVQOVaLBxU3MHMuTvs1R1SZwHuFt/l0q521vh+I7zL7IBv5vzjq52kr+xOoHYxvxWtCs4D3APnIGTHXGUzka0FF35M53CHj+nrY21ktgv5KUdYstO6Fio33g806YR1cSDUK/L28yDut5Q3AwOdcOjZ3YUL3nJga/bejRMsCRz/IDZ4kG4h8WXmr50Ovmoe6pj9OarJ8DHA//8FT1i9oRGjxE+otUjHbOKhBgpSBI3ag20jMuOzf908mVQL2oC6f9kWhPeMX5222RWJ5aIEDIoVSR7wQBRaw5TkUH8mZb+fWMk/9eH3ritccCENioP+cyE4eJFA2Xg5j6+xNs+aZ4RxqmWRMPiU2TAavc7g4wcnj5THyTowptrKR2As8PRDAJ+MYiPD4L1Krv6DE1otOqP4jb7NGSdoH0FejoLmrm2nttNvNKgnaDVFVfg3NYguyd6pvp4M0UGlVtCnc30rODyfvT7m63+ztUUwtJcQVNeGVU7He2NTTSudOpznxnEF1C06RWNwLJEIzHjnBdR4haekblVYzMo9n0OkYXagpegr4IVYUD1T0KEtphrk1ZxRwc0s6OTus9ZOjMkCmRXRZv98dxevhr7OPxiyFCdyvi9zc7SkTI98Hw5goC0raga/zZKK3tVTLqYONTyW6eGSau4MNzdZNh0bTIIQRbqcFZNINN34v9yqLxwC76Orqpd00ExAmh0vXLtyJp/1W77hO08HzMJfg4dMZvaaoXDRayy6EqlxWEgY5i0SxIUqVd3i3Vfyb0y4xxZ2piW1/l0nNzrsrSmecQpNKX5HKRKNdUJb2B3haePmKA0kpeaI19HzTeFggdPICo/6pXQmJX8+DOOecrK817jBQgNFNEDDjQJYb1b8RVr/QboDKcIEENBZc6OEgT+N1BH1H1rO9mr1IkoLM3C/BtplGKcUoRwwmN7nm0URNzLQiJOhHJRG48WhA9JHWHAur28HE2e0orZC1HqQOVlDsLQFm86Owomj841zpnsOxS/PpBbZ5gjX8FHXL05CrL2VL6xavF/YFQa8X9EJA3nKInGHpLQXT7m5D+CsIXp1R699A8NV3J3PanLogs+J1Sce2AvYy95nJgJOTisGOdqzHAiLjxXcTRidT9cK/1KeNU7xQC2TvaEa/9n5a90R1mi/RvmQheO8cQO+boaSsbiQlofJHFRgEP2yskDmjBfYKYXr4yGA9/RMQojC0zxs84VK8d79SLs9nbo7+FM/WviiTYZBhDMrihhUTee78rdk2PATlsSIAacHM111SlQPUwpCbzr2VmqxDs1xsVUBp+gpAYXGi571/Qg+vPlIbQ21VESiUF9NlARr6nc10He3GNJkWOlGp+FFe00iAX9WuRVo20MmOrFrbQEBuu6RCKlTtkckVJQKG/Jb12j3A+RxxzpzQw62U2KDfXE9l5nL57A97p19eork/AtjvTs7WmsqWIWZsZXWOOqbl12ckfEokLzpIIoUZI1AnKo9mP2z+5iimqxXDDjgMD+2RIkKWZbAfODArP6ji3sBRlqjeNueJSRhHF9+xY5eCnS53l18y02fruO8bBgDw3kSQAN9yrBLj6llUqU0ml//pzNS/IAu00rFqaHdlEGBsgKUyrYaLdxMJrnOBMMnbXpiOh9NP9YVzAUE78ysp7VoB9DnU85XHYgEeikFaogToaOjc/UQ1mZKxJxfy4NovZf7cmqpnEO9SsmvbKoItD98yIoPV70R9Sz2VrHHHf7S0D0JbLY9bX+XnXrMCbAMBZIfnUaRDkJ0KtF3BU2mTYP3If0nTnJJjKVKFFOHp4ecboSW6RpKQKUkIfYPcxPkr1BNjbVv8zvVP3JZAwwBuO0APr0+ImX5OC3bVFB73djKZgBsI9JFfwuiQOHsAb6PN60QLAyN1cYn9O9P1h8UU5KuV5ESbydFUqliLtyHQiqVoBG+7LWfS9pzd+0MYrAwmiBCOYkYQVmhD8Ha0I/CQGRRAvsOoGlADL9fH+dJ8PikbyrPGFAirVJo5FZHm9YalO79gWQmwYquiEAWrlyUFFCNOHXzypfanpCH66H5E7L4gHtgQiygpsg1tzlDDLKVLWroHfxngwjQqpCg/6//JYq00CB3K7lYs5D8j6ptlZPdYwGNOTb1/r0PsEpQv2mAJR9dlPirWPElFL9ieFY3+UKX8ny+xf1RTvm2TpEARsK+OSvniLZV+B6Q3WiiFV1m8S4XOGlVEl4AUtpLrpHUKueTqGI2/VNPnNbCnJNgT3zDEqDDZ9jwZTCw1AqSWbW+ElTbnGL+YV2a342ET+tRnXq74020q+kJHyt3Xc8W8shFPR8TmUqteN7S2nKtTa/ZO91rbLUruq/EXX+MaXYmG5l2lHwgHjACB2yBcX8M8fHyUplMpfksi2Wzia9WkMBPuGR4/00XCYaZrUawQX4918HTNHMcMxVo1yzq/6wE124b9UmBtKlHo9Zcc/NWELkL8XVnZ2X7RN3/Fe6sE8ZItiA1lVw+6f5pax3ijq7NHJmvev/xVoOUpGoa0EFDrezi55w2U6GoH7oyD9cOuZQ/RCuwkRACmhh83P7eShsFbh/20au06y0DwA4lkfTfSaoPIavhxyMbj6v7AWd6L+cd4GjgxenESj3JEqUA/Zb0sjAZpEm0uTDRrFLS3nOwAmjwwTjUhNNVmKSaweGulZghULfYa7yc1Dd4qWgHlgbYnHNYlj2WzzPBrd/bemIRpi9KG1gFx8Vfr0c4leDLO8/Jv4+vlOeQqFkrixPbdxqn82z4S139TMuyI4sKGNtK0Onxcj9PRWoG5ECx1CqXkRcnv4KXViY1/BfNmOcbIV1TV6QYI3bEyWmCqSB4IjL3HsIsd/dyORmUXx+ikxNG3GN+fuyWA7rhj5OJ2wp9seQv3rFGgIX0tsGHBNUEAI+qSLlN1M7KgqwvXqOBI9euSX+V75JVBcX0KtD2yWAgJ1MYEAbDY/5IhMsVDIrBO8j/EFYwtMoJDUaXz207HQQOy0bhTqzGk9R4Q5oy5Pm735WlOKTXoCjmBTy7kR/ML/z3/A2g2yGElDSGrxHSFuiyH+xlypNrpF91tkxOGokauyYFwAa2sTTbHa6RzY5ZXb9Ft2chR+AW+zwI5+JXuYrc7n/mHx+9M/B2vTmB3y1hnVfeYx8qVc3T81P4hCIAXFUI2xSCkU5Oc6/qlx6x0L69IvPPs+2JptwwKePLfxbIm2/S3k0pC5lWfFVHr7BLEilXXuK74RBhR0jx7DbjB0EToBSqq/Db/Pgsm2H/U72ksNWKcVaj3xyN/t/AhBN3MnxYlJTDnFY+aVheOrExHLjYQb7pFPzeylXpQ1EDMpbU9sQLnVLgGcJs2ec/wI1oAVnL+54riHeK79g821fueUdWVcYu9B1VDnfjU0L6uuCSj4cxMUAx9LUHr+Zevo2/kakroCsbgD8SntCr+ilr5Z0qMkTJfT6SJT10IL80bp9kOG1dFO9WgMc2qGl5bFyprMiRW4yd2ZEjKOwDXptiW/9cXd1zUJES7NMVE55qpA/OxgTV6R9WrQuCsqMobVMCaIPXaHDrxHnxoteMZFjjQHrx3Vy/XuqXv54eB/WkBEFDmmTCcjmxjBzdD1rWQEQKVlwCVFgBAfrnyb+XyKbbxdxoxhhO+1WXOATkh3svRwgjnN0WDiQ6FpmPHV3zPqXwEOFHIqGetrj1FtTf4BBExqqnDcfHgyEr9MaPennvhj1cqsFBNxnE8GsHcmRaFdNFQ6Y7+vaJBMt0fprZr3YiIwvkLqYMFStfb18BVDz9UTcTHNMfap9WpjCskfRqAIl24ngamVvq3pU7aZCU2ae+TPveWyMZ8ZpGElDS+gwxnSDvHbBSMzlRSZZdZi49msjTirUl3cHdU07R81tUglqk1poPmjxQRd/I2RBuN3NmNyBN7GAdqHj5Gd3fJyBsWEz0m/QQc4GP7dU5BhJDqnRdQVcSQGMWLcrjLTIucQ9zj2icwsai2Oc9DG1rsP3Fq9gGr08PEXTPEzIC2WNuer/e6RaFbyAPr5mN9w0VT6mCkNX78EUKeZIo5xQElqde9Cecg7TiaMuBHv7/AqfMPHtqsd8tlYJy6t1TXFE2rtIfjabsjuwZjpNJD6re5tlnIigLB9P10iyeEFUH6/XwyU1u0F6+oJ0qJdaxFJtC2jRWFBQyVy7oTwZeyJOcc7vWcyraYCf4n2h95QjzXVTJAOgI1QvqBl+nfDwRpINlmpSuy/TIND7eGTihPJPVTayc2Y8lMrlb/ivhpa9Y8901nKyut8qLFBHh/eVt2IoyH64O9pFgrEaewqXR4m8Vko7arBMfVasofI1fcn+HTdu4tvwwcf2YP9ymWg73TMkXj+2oxkOyUEBQnlyizdhpm9Y1TeqIARzW654dtfpTusyZHfN5gJ/DThx30XobucoqchW8k5hriTGsohGcMEFa9GZfY9KNf1qQ+OJsyc+T+BLHuaTXsxEoJ7uCDzx9E+MoP8MHhXgKSLXKZATLMvp5HRlXAtzMsmPdqaWGVNNY3e2QHvdx8Rwkb8X6FSlh4BsGVHsNsH9cfZnIkbyahxRXvSXuKIyaaoQS+dFYpl5QLqCCxjZhEh3ERXDJGHdy2dxds7XqdzzDjeIoqy+2WeZxd0x3W6mP3W2H/GemAONqCKmIuwl8F9tiRRbWT3G443xti9b996/8xugZwiwJc/WP3O/Z6Zm7sZG+Zu9mtEpXrKGgHc/AaQHdS/OcDS0pIEP/2V0ILzLqkREP6zacv/1I/jOMa+lhEkamZT/O/19GG24K2jNNoyHdca5SJZAKk/njY0RnHKIbFMzMmeI7489QvODCcbY+RzZlt4t7rZj9e7yRr8Gh6cxRdy2RXULrshgnwCQr5tCnKTAIWf213XtKD67cX5tS3h/oI6aqWzJHctKN2eOZfu+j4t8HvsFYUZDfZTkse1qcV6S1l8xk1wAO9WSi5oU/+vPUWwaxHY9FFr3afZ0NGGR7ROWD26E8p58St8/36aJWOJK1GGDchTEQhkerzH5vcaP/wdHYsTLHYRQJw65mIMZhYev0mkipcAPk1JtuDGBHYsZZqrbuiDUbhOIs3cV9jbTGBUBoKqx3QasbV6W8RXDU/MsScmAXo8GBPT2g6JqeVK/a4fhM5mBQ16TOwftFWiqy3WdFjdSg4QxxU5OUtJBhN4GaNZrzhdZG02VZjqZ2OV33cpbmqzrkDQl5BEy/CapryBDvLKCEhs8zMnT9B/73aPkDKDyMNm11zyHL8WDBIrl6xFtj29i1gcv16mGeDA3fnuZgh4xoBcxXytExkd6veo8MN0UZYg80Xi/hCKyI7TqgU0RmjjvA/s0wx/3hrDBQzcvtgXMaXBM3XbX3hzX1VSgfTpoua15SXlTWc8LEGyBQjFhjHgX6VJiFsOLHkVc1bhuMzb0q9LF/dyXp/cYDJorjizvAtUJiKjyclumqL+RTuaSpfm4BF1Av2SQGVt7bwrZv5gs6Q0ZxffhdEVBaFNFJ9hQZ1+EWX5yfNA4LCZEoAEjnzgd+Qc0ewWD2BvP3934KkPMcIi4sNaRNPHl0h41D1OMUt+STcgzOtA80CwElvlKXB4cyhKO2ne12D4i3yXZv4cNNCv0uHoAv1NQGr5CrOfXNxyc6LZyv8NgjXDKj7K4EMbAoNSw7HI+5KMlJs7oesbfBma/XdHOcvTADvW68+AtyazkAaQiNq31yadBWKzWbz+Z9lJmAKPPdCROoJKVNjUIkcmwydl0Mt9ynU1AcfCVCzbkoCEdpwKQOQCluegim4K4SYrOwHwTXhhNBZcG5jd1KOTpN1gJo0qPmtCwD3QyUiHDMIVjECGrHUOI6qkVrDTf81RfTVBAPISGm1RGdYYK0zzW73/PGf5+REHAfTbcgJMK7PxalYCTL+RbL85tLJcLkDxfxNxtzC+0XqSeRF04n+2Wd+ksNsqVJlGICENr3U2P8cQ7r0eBubKb+AHNbcNK/+cVtXY96uv/ftV2jVfarQ+zA0OsQt0rmKE4XRsBGRZ/tVKqw7znaOfMPcAARP9CKx13dKA8Z5ftSdBjC6IaD3h7ocziy3SZI++D0A/DnphLjLo/eoGMFepAKCPqaXyS62bfBvldBdlg1og8E8quaxz9luXWxAHogRSFdl4BiL+aor/dmBSuPZaXVufWPAvjCKpg7rXDRMYFbeR0mlH4dV9LTRJVuKx+lKoK6n+M4oVYeuXUDqwmDRuByCDp3mwe3P3FBTB2ui2oBURUJ9MuFWjQdg4cWOvtL7TdjwFL9jhaukP5VFdyJjtBu7YfT6PUfthHMyEWz7p47vacRIKqyWBTx52FgfC0jEX4F9xcSibXKC0UW4weZ6EOc4ZX5LIOr36QqkJjZ4KzsVBPFzaj3RvttAledAZevdCg5qmc1IB0bXRb7M2WSWRJUwZQpjAGe5Nm3ZI6JCVLhAUQHfeaR5ZJq9ev/xTYsWZbFbBdpsvlwpqR84fPXO0vmF2zhFSAuyFdpcryeP1f0o3tYyoeGF/V1ZHOnse/YVL73mi/r+jjTX6cCv44LeSsJGBBfwr9+g4i2F4rx/6pJ6YkN8/1I4z5kJjBOQkpuIDUnINW60KelRVtBLTHaAWQOa8LPIl+3/WZwXTPw6lGFBm0r2TN4HdbXUogJywUnZizrkxrXkWkBJ7uqLrUtLjKn4CvKw0EabejsK3MRqd3DOOmQE20usX8ZHHlVEHVsCyNUJVvEdjnD+oOL1j8pNV4aBJD6+pHnDq1EFzUbQDK8qG8L4NsiSxtn2GZRYu9oc9Bq06O3UjFq22x95hFv4EpPJFcQMkJHDCgTuO4Et/WkKjwBq6BbJi7brU1wlVYsdeIoAyaDsolUEERyIg1zNIaIAwRLEcaeipjGtsKKvndDOqNFCl0OzDYu8ULewzFmy5Ud05aJ+HHSlcakLGMPwMIObl6aWE6BbHVKZMf3OmrvvNmH4GTy67McQhtYONmjZJ4P/ZNadOP5/onMvCKeHcBvhGzdnCNjK5+qzJ48M4SPGMBCIDPLtbKvJfLwj97jdblZSr9Sb0LC1hDnf7OCtMPcaMNQEdRqfV7C72WHXjP3FXf0GB2cxCZ7rXD0b537vwIEjg5pWhleBYK9zqb1fEF6uxE4pGlY/gKu7pfP+rui9uLoSQcaJIerha/LL48GPDgQKYEEBn0M9NoOj0uCa56DREOVs4o/kCJUT4PhIFXSKxGHL9fmwGfrr5X/tU7MOws19dumR7O8iPYPR5wVIkmdvbx81N7pe165zrDS/u/f/Ycx/oqNUhlwET7DNq8/fD6PYoaZ+SCqS6bazgFbRlRBDvYkePsEgC+1IV+mZ48TK7j2ip6+qWKHZctrRbgPIxmWb7mylicVrmGYja3B9SN6/bVsuOeTw6MPbGOODTYSKbMxEGB1XjhLZ8C11nyP6NxidkO2zzSnJ61nJT/f7OFXSIHX0E1vWBZ07gK7M/2ttEPuNTqgB+ToO3fUNGudMFtp/1fPpieR6j3A7+/1AWTFClqBPXYEPZ8rtpRFFPkeWKpLZdGEYCXeYKqhYQOLmmfmlwj3o0IL2ivWzaMqejKfqVxNricKX5Cz+IIRM2vzkMgcYI4LpRYZy6GKEBSp6SxxgUkPAXr4g/j6YppVAjYrXa1nFcQ2c/KPwZ4QjJ/2r7XgFIjFnJ6ENODEyw3K+4ICDQjDWAB+PpIKHe1+2LTQ7PY985RGfrw6cRvfGn0LsJCNhD5ARqo/T2fd6ueAI2g6aF9GLQEteAW2tpp57ONMrGNwv7hBm6eTNHjQ1n5ryMrxcj27hM6ggHTi7gKsB9Oz5kSekeGd/8Y5yOqn1ggpsctJzBxEntSI5yfSxulZesM77Y35Zrc8eqYecTaAGjVzuHO/60hpXreryPqDFj68EeQ21Z+84mRRBdVEAAugkPKoCv9W/Mny078x647Rouu5J8I8e7hYfxm7fpkUthFsOJy45vWUVlvvciwv8BC3keEN4khUcbNWS9s4iv/bFprsvWV46S4YPa2kzG67Lt5Appz+8qIw2F/ep484PkHHmPo5lUFOna08YDF7v9FEkZ+VG7MtHjCPNvmCLB5/KlWgUk3vVq3FuI5XgjWIOKtQnZZV1HX6Xe3qTokHce9Mi2IlVt3nlCcXM7/OgBiCBqJyHl2bRKHPU848l/xuvRuFD9sJxkL0mU2biRwuzJiucbuihkcabgBINjghl++cQuhdcjamDJrhZ11c2hwhrNJcsxcE0m6U3k/EJGab3x2XP9g5JnfoqA4gtNezCRY/73eQDCYrgD0Ubt1rK/7sI5iQRZ6B8ylNsH60pb2UZA7+JalGNW33q1c85Jqb63LhEHPR9OBuef9s+ysm7genCWkR22DuHYmxhMOf7iY0y2b0tgJQVXOD+DCRQm5NHIFscRlTzAnAoMJ5IGQhtGWwuA2inloIrTV/6lyTGPx1Y0OVqlpMc8R3JMFaJHLcpFk+/mqXIunfiFnr5LpQIz9Ms3mbCHyO1p2tCWx1nqxvGRI5mh2h/mp5Bv/rs2PrtsnRkX8igTZwnfA1pr+V1ywvbaRh8Fx5oaQ0/lSIlJOVIDteqS+YVp6cqWJwnKl9oeLvcnJOc4Fhi8hUo87RPRLrSoaHQwy09upi7TZD5jtkitzIt14mJ9PBfjtGnNtV7gvcJapDS98xYvwCYjvaprpbjzH10My7sEmjM7EPcisYrfF1lszzqb9V3KIezz0Z8b4zRPwVqH3sdClKyuQRAh8b7Brkb3acwnJJMnzISFVCR8kxQwSvGF/8e0e+VXHq8QU0OiS5QcDZBmU2mpPijVlgmOMORCbC+vGfG5ahu1AmKQ60s47OPATnHFR6l7zhlnM/CG/amjvBBXo5istOlg0ykKmNX5nfnDwQbOpt/YTQwyVX7F/32QeSQqUEZlx70o+EQR8SYysLBfOBQszk5T6JWCy9RLvHU94fDv56SP0YPcETfLMbTZrjzeuFEtqvpx6nCxmrB53n2yM4C6vCqU86PI5R/QBtb4H8iursko3tdHTPUYBqcwEYqYyrni4ZUdZXgxsjIQnpEMrpxsJd7XHHucM/5NUX633b16rkTYM9FmugjfqtwSs/+MHtZy7EZc11lY4/RzLRIWTL+g4OcQHqd6O0tA5OE9wmvdaY6DgJgNoNINBGZmQT9xmhzwyG0FX1cEwMygF6oCwTypV3ENb9QBicvbwXjAbeiFQTzeMQ4Dj0OeqwB1ipIaBQdxBbxzOAo/d24H9lfQISswcWPfaHyUCArA3IDg4sdf+qWmcWkWCDiWe0h/ZiTSrWe94xYRrmtOe2+KhSWUv3PQwimPvw1dUlMGIm/9VPFOb1232wluFBkv94+99JWtXTo/ANu0V6XLbvap7awSKDS94nTszYi8V4Hg/J2EkLiih8Ud7pid/y7/xnFJvv8HJ0aAGbAbDFLEN5m0VmwaAVYVho8U9PSEy31ZD5V18/S5dflF2v4FM4cy4ltUhAMt6ICtZ0XTuGhCD78A1IDSDLctS+ZN69Nej0arCPYHWXmgYrsyKgmlmav8Qr8Me9jwf9B6JHlbhwKyONSArH6kLxgVeC0jcKfz0aAAQf+p+gkgkL6v0mT9PzrE2ZQZqx31zQtRnzAjBV7W6t0M5Bsm8S9Z3ZcII+TAQAESjsrMLxLBIj6NV3PyYr89TVlixGNvRSW+4gMk6guZnrxU3tDBhT1apPGSxab6VNGOSrTBoRWlQ4S+jf0C+zFpdq8auvsvAn8D572RzNyqF3bPzvZSdVVozfNehrxSlDOHZ+1XPVt9D1T48FURxJf2C1EChDXNwtAGS5aQaOSggM26CHmMat1+LIbDmpeoMKK06WYtrLjYrSMFLa3S03M2t2mzfP3tNl3igx5XG4bx1wbhS5fjKKS+EaXwTysnELD0ZqNJ+hIBopLWQg1BfSoHD23hZZ5L2w4g767F/cIKgd8Z3vePJbwUlpG70LVIyUxB2N6MZIkdz3BpUKp/gy2ytXIxPVchKAM/vC8hlJzHPvvgppzbYr2AtBPZuMPERY3IimmyBmLqTTSPCcpF5YLuOMjBgTw+cgz7NLZ3zoCSyI7B7JAg92SVOGpI+vR9RN1qnECCEjlon+e+pADAgmbgDR9ECIKeA1fOd7gsHxYYllnqy04nXwn3OzM/pxXMo2VLsCKc1iDYUwEVuXgOjIvaG/V4uHvTeqbqgMFGMluK2Fq/+DYREv4KDh4edJXtm2ryTO46OORGbbbATJb4my1nQT6lXB9uR07Uuo7YRRI1pVNFZk7PP4t7nVY5ontDcVN85OQzpQrA+3pT/AYd2PhZKW51FNzOUrchAWcP4Lvt2SMABzjSXVhlO9XCKmL4GD+CwlMSfVsZFbiG7oYt51JeVUCHYBLDQ4odBGOkBiwmEdObjTyRnt84rfiuVYsmD24BaetiftGYyspt4oYzpzOwJKDj7C65g0W2N/5rUeYaLaxv15qrLcPOTmgxu83JaaNu/VsGCMYOUDQjUSLSJDxo5AD+w0alxwp41Kvkz8mZ024YP9gd4r3Dox0gZqHd4hpGCiDwKTPOKN3jlD8ITe8CZNFngf2ehy7iOcGuAgk8yto8YTcyE07G61IeQPFbrDlxv99YDHxY2YYPwRBoeEzQ2Cr7iG+59LQ/L7kx2PXTMc/0wNRXguBAnuQQHoOHzcqwn1+QH25u3ebSQ81GnnH2ozV+9ohM4wJoc1yzQCKl4GKtM2CYbwhSER1aj++JNlGSe04hXfQ39SuauQgKfuPWsktzhAl8lZp2Ev1Z1iIuq0jL+c67BPdzAHpoFdeBRPk7FF7oVBlkgAR3EkWZ0+EM2YuqUFGJgmzFtWqXr+uvtz302/aehkh4gtZ6atVhbsgECm6YNEYKpoWigHfAiDrwqQHpPTi5gumzu6XS5op4FyqNLVIjPU20NbSLU8/Z8OVH4VLjM+6V2idlMWn33qUTt5t1n3W5IbqxcHzzCgUp8NmPAnwYL8so/zIbnV3E73c+nkCMC4jjICGmZCDZJp+F+41aSbae8rsFDzlAc5IgUKml40vB1NvMrz1tAhQ2u3L5fQRSllyEGzGYxXEtPHKPXicmK3CKc3jGOaIC1w+RYGCWKBVprwA6rtL9gAm9cYSsW9jHnspEZC5x4AOMBOyBD8cc+qZOiFzyWCwLUuiknO88sKYjPv69EDeGzVXXba9ABTO262r5ukkELNYKypmQdqm3UGpt2GCy5VCkfQgh7ecYTP0p8v78v79veAycthOeUl5mzE8A3V0AfclqWDIiokKILg5d2X+fDcSF+xK+hcwQT7J4eOTv3XL/FVCuqJ9lo3c2g3f/V4sTd8Uk+Dq4D8KcCGvKyxLVLfnJH7N/b8gajyt+QbqYZAYQo1DdVM8YqoxN3xpd2kYkk2T4Kz9DQjY2UG/BcLHzzqwL1mxs/nblq0AZA6Ry8CGz3MYUZvHtzM+ouMez+VPvCIqSHsdj0WQMM81Kjyk3GiyOQuI9xBImHN4AnJLxDLXoQg+2gYlN1P+wj1Y+MHJeWcId5Sp+DR+FNQxgJ0TLRJ5Tfi0Tbt+tNtykClq3/L5DwrcNjJWlsFa7SbUhuNwPbBTMCiLa0V9XLxFJJi0t810zOvFohqLt5ZaG4zcwJKryJ7KTaq5JTGdagVeSMZhD2Aqm6uGdLZKA5bf3M4ZQPLc/mmG1+3/DFTD3VKy08nCTkKfVtZ8GxP5WmbhonRzudY/DRwqs2RmEaYAzazfr3I9Oh4+DRv+g4hzxzryUPrH7j5Uu7ZrEkLIEgw0lRbusCAIVpha3pQLk8ImPcIOYTXWYg7/hI07pTOObp+6jMX8YrW00I9dFVBf3bQ+HG39nQRRqpVrs0esrFSnjpWV+7vHiWdafyaNCutZfGIpeVeeFKCwKGaoHfKhPsEZ8Bb2bHQHqFi+kT2Ih6/wy5S7buo20tC6qfihGZ/QNRPL90T1Sw63YTekM+enaV7USUD8PmVta2/XpceEtE30oMPPht9SNrhs1UiEWRmUYZPo28wsciOpA7LknC/NlRSfeWNkJ5BkMBeItOSxv/sILuZLRU7aZaAlqgrYO+dnvnIfJawOi1x1USKOJg1IXjfCvsGeAsYGY734suNJrL58R0IM4FZ2+K9cONoBMDXQuhTolqSDBtrrz81kXU+TLjMq9F764oAbedlt7nERFLyWTNugRXc5EKy0IcTYcWFKy2FIn78k2MI3IvDjQS5EcWNXWfgnIr3r+5KDnzNivx9+VNZmikXKpZoYA7n4AEF4rrESvvCaXGbV4ON/IQ7Yyh4U8J6Kx9iIwwvS0VxAWLq0GNGedSf2x3yqGCZmzsadmkBuB06akLoaDD0kb9Q6OkrafRkAl5wfOWa42bEF4EV3VR9qWQMA9fpWe5ACHSdiBTObmp/2ugPg9u8L1KQMRJSuNEZdDeHDOFgE4VcHyPCsS/xB5XaTLiNAsvDHBEToxkOVJU3pTvTJLLWwI9+2EX6qqvFuc0FDnxasgf7UlUHZP55eVSeCQM0ynSX73Hoq6rnajzoLvgxuA7p1PKqeFfKC9VCASFuMfvkXt2Eb+8AqYQzM79dgk7y6SSOx7hzAcjsyMbYI5uZ+y/qBrUEUQZj2zmUlO4CP0b59Pm1zssT5fap+eWU83/FN0be5pCttwUmIDXRF56JonA3BwBS+EmJgNc/G4FFv3URFq6K5XI2wEgqgB3WW6IqYA/Vc+FeQ9xuye6+2Y/YrKGExvB13vWvaJ9lZsGUXNYHKn/y80Z67zOG06FP2cMPQxjtkPGPa++0ChtbuCNweorojMhWg4AKo83uLVZlRjBbXj9ScFlzpnuNE8R8bjWgpJhLjgFO2jMw/nC0SPUN2C5RhCDZYMcWr2nsvD4YJMScbr7NVeyZm4VjT9F0zwq46rnFFzNIkvvN921CbfSP4xBcol22MLoWXcOfKpYmQa/1RJRuQ5k1dYlghx3miiVyITX7ridVwPplFWHwZiCdOxsoYgYtP3AOidRfOoBZrfglKRMMp/WCzgrFo8XSA+GsY0AiETRq7XBB6gXBGXHZ+4jwtqV90LsgzwnJkaeUkJwlV2/WTB+V8JnDbkI+ibnb75sXrKIoH2wDb6gn98DIE6I4gFhMq+Ytr/FGlBAgu3fna02qQo0xP+IYGEOGz7+bBpdfousHtCNfQPyQkgvGiQlazPtlFAe8P3SqYS2TRnSplLuBJORq3URZCcNl42BsoD7JiWgQqPeylPj5iCGwdHFzbDijJIJJ/yYa3yiHnzGQcRfigzlRA0uRlSoAj4wGaYL2TD5nhGF/fprZPhalCwguYwjRWdKQ/6kNUBCNCibh5JvolwWYmdYjjut71XxpwwulZkqlacS9KpSI50VDVKTglBle8GRrafNsvljVoJZd65FozehQdEieILzb/fQICtumBny5LhwvQ4vRZNfU7/7K/jNXR/A9Dc1soSsuhxHKFR2Gnr4cQE3kPXOr7AIU6YttzPvVH5BfcK8TdjpizjXokBCru/1DGXJtUiU2MsX5qCP35NDBpdVfmxttJ9BTmjgKdPvl9LEOmjMjoFmlxQyk9dRoq8bR8EZmuWtKZwxJXkMUWRwv2+LlcTjp/CWpipg6sJDkTLL04JJml0IC0hopGCH0zEiA51DzkMdo2WrjCab61mmdrNWrvK6hriqN1i9bvW4g+wS8HNrX9k0RwwO82YLaGitZisJwYXD84J6cwfnag2t5WW1TOtY+ZN9xGHAq/+yWSkJBcy4Uw1NyYRw8v+lm8faR6XiHxWj/DF8FUip7noj5w8Hhn4E7F6/JNoAhnNfXoC0Oe6+Ovoa09jnZN278GA/2hdddenVe3F3Y4HvauNCh+7nC9AELw7x7XYIUrdPvTJ6U2Pc2uS7z0YgrPpg7jme6eBwJyhPIsM3qTS3LQnt14GEc2RR7kY7VeHBcSvcT4VNPDPqItGJ9gJJA67bWgkuww0YQJu5POPDSKqiStj70vWWddk+zB2Cs6hjnEZgWv19rzRQ/3zvByImb4jobGkh4yuwPO9NEZ+Znd7QHzUe1RZdzegbX0rQ5AZC8SUVhV3RIVbXMliYBnSHBvMrQZ+W5OVyUeReza/lhCBXNYIY1fD8XpgASMPZidBThnvqmUpszh1oKSTpB7pQ+Czy5boPJeohwElELysx/C8OTTjBZn6NDQp7RtAHyIVI1I84S/Tq+cAhfIz5SFaiASx5wuunJMoHB6x8kVxLtxoSRI7uCPIeNY912Qvg5z/SdQOMyBKwySVOc/BIlfXCbLsaH48F7OWg7ZAu5dSSYZtac23wLEKTV+WyeQk771TIJ45Z8BssVd4556rdB0aDwmhJ5JlmmyRXAecl7g1DbuWu+EXOClXejkc4EY/Genvos2hfOoMVdv7DIEwPgnvx8R/m7FVelsjI6j/cF2UREU+RFg+8g5HZlgRYGq7dVZZWHB90Ke7ltlPhOXoalBfsOYY8OkQqnJClRJbx2qGme3XzkRav/BdkfCdRq4KEYk9mXiNx1ay57pzYJyPf3O99ktF8HGTkMOOFOsb1M8IjosHuDT6DjgYOrDyy68Hgues0LIdAUL9SFUhYoGm/wbQJpQ/21ZnMt66ob8UtzSb469egRWRImVjPno2Pnpaie/VGpba5XFEBQ0zjUOuMrQsFgRVsOr6krPTMBECAorOIBoli5v2dHi/CTTQcYT8wSTgca4LjRzn406XrNIHDYPLNjXjnu+y8mxX1fj+9mlyLqIunNoOEvcBwNJY8vB1y1PeHy92d+ZW4zKteQVSOLwdF+eh3WTmrtUXPqMho2RW1eVz9LCyCw9xmlJqniOVGGEkHLJY+hrDMwvpEcxQ40wqGXx0CMPzy6azWMtUG4MqCywMJ2KKQyFzPBhvwB7QFZ8Q3aso7jqpUVW8yZJHhvcle/ylkJ0U1wPTCOHHnJ/AHUzWD11IqM5MngWnQnAZR1VzIgURzg/4rieoprNtpq4sGhEOZpExxD+AEXNfAe4UP4iY8e98s0pRVmquT9SBX5A/P8wfD1YEZa11w7JQQNQ27iKRmKnc3jhG61o9lBOBhZNwHd8e60z8xawS8nu69E0Hj/AH4rrNk2kbjNZG29fsyWA1bE/LF8Kbn0K/uyIbl6HZ+ziUlWrAgK+xO/DbaaGyq1QfVs2666GNgtf+viaV54xFC72ozR39MftaMT36S4OBG4Fgk5EgI1McQi/7h9Z+7ViCHC5DLMi8uf6fYdSRbwSGsfc+Xa7zkce1v6er0Jxh6jf9Kmfdko00DvoGdRfzqIwB/C9Qfj5P+lN1e2A8VuWdAKMTpwD7UsE7G2CV+6pxxfehKKtsox20QUXBTioTJwPcuBy1LSGilfVIYR7GdkFphmkAVW7eocF9JnYVskNy29xlESp4ZqjdiPZEhQef/0MlcHSUNdQkEBZ4lF4TkMLC5VIV3AiZpg2qs1RZhnWzDUDDXm/vOEWWflFn573cZFgb+aaYem1U/FflNbmUIkotWcq/S6jndvTojaYAvP6Tpbtk9hlurgZK3s7G3fR8NwMgnMJk3+FXnxgiAYJ/NejPt1mD4xYaM4/qJ/Po7iv3FW6mCdgpgVzyVMmy6knhptBPYGSW1bVWasCO34D9n0L4dlT1EKadXPDQVJ/JUoHzcuCJI6mcpYW0CRPNsYNk8v0KWQBDiZOZlt5MquLdd+/jpIW6xSgdGKOzFXqxD1/hQgLpYcyqupL+HgQD3BrMGHtd0U/z3fUF0eSeNmMlbYZBMsC2k5w2wmL9/+ncJ9+GkR/rjhjn/4mPqXscT2VgVzIvKwjVxEqPjnfRIhKJK1DKCSL2VuIVkmHM739WA8XuINyZzjt3JWF8jMD/67JlVSW327J+0vpfd9Rd0sI9OGL2OfMNnX/LNLxPwZh1CkYkgW2R7xlU/vI7E3JJkjduzJMzoBTlVkCx2vZ8XH6FGMgZx00rjFIckrwJ8fEJ6oLBCIEuepREbIDo5Sw6v1c7ouX7SZM3LYJO+VLvsyWmDROXNc4lOXzu07goupM53sXQmPV3Z2KbIHsEmCFmfTWR0j8gUOr74itMKWhPUIHSlcWRZA7gXdL/oBwjnfEHWk0GnWkVtlLHMCEIT/WFRk1QADnAxp87R6HgKYMvcgSTX8xFPk4B8bzCnIaGJca3EfRpO6Q8adVyL9noWS9OBtR0BhOYPK556072Z5ATrF6y0zWa/ZAUX3VQGljAK8s5Y29Qq0gxMdPZR3zHwIkNmt3BXHFkaR6hxBzraOGVD0PxbQIMXBgNMIoOpGbE98aljUvmxZfaGs0r6tfXrUkmfxqAEbS6umqupczepttwqgexAJtAV+d38FiDGmdR+IfJXwlcMsiaPsQD5I6JUUXWEtzaEdWT91ujOIdOuYtL4Y36vuoJRAyWUtH8ZQ6hc8IEcZSbIEKOYhfPrsGktD/KiT78dKvyEv86O0ySaEvQ0kxhhnoToitjGYq9z1XUaobpvGPHZ/mfteYRaS+qzv436XnjUBE9N/nOoFcOdBb6HaHiNQb2AZQw0LdFMhzi5JJuu9cIb+6s9dqFkVTdKvnO2ZCNP+voIvxsmEX2UOayTg9Nu5GwRdoY7Lbz+fxA0Oku5hXr7DbccUX0BXmQPDD3dnV80Ut7yHNnbXM4mVXEc+b/jfSnzsbBDbXTZg0q1Hi/UxcW9CCg+lJfSEUbsEVPt7EqtFQm1UasADfBL7AJA/KXVLT4c5ol/q+3zb2B2+VmQn6kusa8PxdbMbz9AoLtk/37/C51hFvjbtCBxVyAQMzQU4vz0NOirEOPCs2/xVd8loC9gS5TfDqcFF4OVG6mAWSY0rY39E4Q0biv2rixgbEtuqxh6S3zFkV0Q7cHJxrvBI/zkgM0wE+VksBQ2TTk34iTdhHkmmn8irgg73HpEisld//IPV/36auGkyEen8eo5xinGTNB9MFJxbVbkynPOMYLlB+eR+gMUy+Djwj6Uom3PVf86L+Mp8m/kZBzyJLBSPqvXJNEX8v1+2UkAM+XbYOBkJblmgwuJaDU5J95544VOAMZUZX6WtB4Y5R5BgmSU3/CdOMpJXwezg403fwlxPL1tMUh/h0rYWcb70w2tKGyNMdozklTtglc2HqjTk6GbHq4mvRKPx/Bv+kMCSY5Gde3uDOs7vxCYjDJPgVPCJx53/tAVPQSQxzazfwWniAze75OgBaoCwaBTloFIa9COhExulDCh0vBoxyqF/X1Wd45bAsJpDyPm/bvoRuMi105TyJayZMMJOA/2UUyFQCUVEOJJrpa68EfUG94pw8qGrtdQiTCoifYpa5sdi4ht9/9Sj/UP8GaJZulE9pzFByfQDshguct+nHpAVWjhUGqaXWChf0SptDT124EQY02yx6KETgTAPXAG7XAztFKeNcsjhuGe2kbf+b9JSI7oSbtUuCk6imcGfKlU26R07GkZ/hq64Akjb1EEZXeobvx/3F612KO28HhCp2daTZBTt/ZWd/uoMy1yLu/Hu/WuMJ9EI2b9h43Sxr1HhgwJzi2bTUZV9S6L5MRoOgtXn3YtXzQrVth7v4pYYFwB8I9OXFTGdecl0ldwVPOgXRGR+jQb+snK4cZ78+gaWHXd/Tj3DszaFuJ0ark+POs0yvVIw339hDdmvwqsYv9/sgD4wwC599PqcPaO8nn/VsmnzIW3rZ722IpU4q78fQdkzMkDtaDm5wbAm+ZLS6DGMDkS4iVBg9dNe7U/QUN6VBvB3X8MH5pjgCbHpfelNYzl08Rqcw5JojU21V+r7NVE0bg7wQ3tjpAfGLEEwsIfQnrGaMCRzNV18+lW6MEKUqdsBTZ7b5Qen50UBl4/r7iAa+hYmcyKHaFSmY+78ajgH7l7IG1rCytRHNqQ9vqqoLuonccFii3i77VRCpygLb+SPkL14S/bhUJVsNW7T4yXs10P+iQNxgDJz3DO9rZmB7qbrloB3zVks+/uHlEyTKllPaARBnv4H/S5E9YR3wbQsRu2B5vR+8DXwJoniSoKQVDKSeLDwOZ1ApnFLPMIZf/BD6pgYjD19Bd4LXfwTIKIoJGaMpA/rV39nEfiFTdVb+vDDwUjYVRXDenqQPy/57fBQKJ4Hxsv/CLvdn94Ue3783oRjM2tMt1e7QZO5bh7kGWZDx6JEGrV37NL7cbm+pc2moFNLnoIHOWDmrynh4Nua2Xn1hJBVv5dyNxPIz1h2BMVt1AMApKUCfMFEh2aY9hvu2qBOvlDx12WZcgN9FB9BrgiHJwEaEViVvknXrp/eWOd5N6vkst6Xz+at8Aa5ImkMIBXBZ0KheF2jIkI/SlTF2tIIiJJ9LbjKDMp6OkiTqymEpAb+ls/PBmZ2zxU7kBDmRE5EsiLMQiqKZg9ZUK4uhL9G4mphV1Xwiu8NrzngtXlOfTi8hgXMUqFH25HquS6gynvJMx6T0boxcf40r5MHHCcJ0GLNHJjHv/fOVqnx2X89NllpFVWP4ne1U6C63iLF2/HeUnmv4ylnoMGjxJGnJDQvuAKS4Aw8uF2+4XTX4wmSOWYWnNoK8jBP02gXfW1UFXTcCMMbITBMTr3/FUjgh3Rjpt4LxTsTIDFzIgrd0sF2kvSKU8FfvGcF+cMxS9QdqufEaJ5yHwRefoi9j1qaLUBVS+e4eSQ0q+1CPvNMEmkj2cIudabny1ws9le6FjPD6iYIOozitnd/Og1bZ9OpAVUCpP0fmp8ChI/nN7tfxWnY9c7oL4x3xxIVedi7DW0XQyrzMgLbKW4hip3lCFfjuATb+oBkXtslC1HOPa/qTCd8aeRsDZR3mnmRrtjs9aiLM095xuvVcWlcuDU/mLPYXlbxrnHsACAUTvxcuntzgB/gVKf1nGFbHS7X055NUAQn1vf3gbW0nsj65gDELA8TOIzQS/a91XQKi4RyxNQ7hpMaUI0nJDzUQugE1fANG6ifoN+jPRuSW4aprjUo8YKljG14NT8AthYGIvgOogRCSxI3dZo+mXOWiFYoL4Mb5C5l00wI1U8QVmNN28RLS7/J6X1ru7zroxZmf6hkVJEdTrVs4N2YntXage9uEaOMuSyQZbOYPLqafdzNRr9bMB/eNR3/F7NBj4THFJQx04LxRUpfW5GwFQM3rzqC1P5En6rFUftNHH0aM1bGv6jeH4ldflzaOvIRrTJDXTQfa6XevygbYyWBHL20KMz2Z3AcpTFD3rryTPBZP5fdsAAxwj4AOtx9/yHUOogP0XUm/GOSdfqRa6MTjXEE6XMioE1bYoz7Lhp+D0F3TyE+dE49+cVSMq8UxxGfNi1dMg3sd+Cj176ojlnGbw1jTx7CL8XVOJDgycGuA9iVsPLApYdpyutkA540Quy2sRGBTelNnD8sYqC/+QJNzXX1jNVirGV50IM9K0Kgrz+VvG/OzM/6eFvN+yaIEXkKyrQHKdELW9aQFnZJgEGS004Up9HSfqy2EuXzzJRINqSX5T5JKawrtMkPqy8sH3J6xyYMsc0Yf9GNW5ZGELbTx78M9ami5fE48SMdG1keyY325Q5dnRXIDaKzLi6feyhcD5VV+D2mvKWABUXhbAO7Wy+lpYiIg2722Ro9QmTcIgePMwWCkWHMkmQwrY8zyHL26V14ExgqA6QykURyB8pRdzRNWHfZCSicTi0046WK0ZjpsvUVknpSJUiOQfXPMBsCuPTgLZcaVKgE5MCBl1fNJitDyX3KaX3uq+2a1ubHHy8h1odkRGoY4HddH2+IpwDJTANU1peDHgZI2nlRSk83hzBGVTLbk1ebf8zFC87Z8UqOGSOs3Puw2JHHQ2PBeHxcjhJiudRKXCUTDwox1ee6gbU6srze1sipPdrk4IdlIE7bGdsI6+siKg68Bop4/D7dhmBJm3+iDku0Iz1skIkzj6G8lbOC2dYHm63HkuOWZ9Z80a7UinGX9ERbUjwf2J6fwyhtyNydnzC/acpapcf+47o6hDbi4D2ZzL0CfFileCHBfoBKXP0MO1uilQ9RV0bps8ETNv47ldSUF46O5ACj8Dr9W6NRuD6DrsSyCpYZM8zb10sTE37EydKpL7SsIlPlrS1uyGezLnqiqVp9v4euPsp984Ob1K0x6r9K/lUUvbefr3ABrGHEyCwqYxi88ikD9uwMc9aVZcp16H1guR36D46mngySrHATGwxxVC5kbmvIXj9CHEDMxxRTEaRg7/7hRY7pE6czMS/WvOZe4Mssx+pk38KUAeI8v3y1kNfTb+nBGqktQqKGH/hPyexRqo50uNAkNTVewd3LQ6mOGnJ7toLNCwF8FbFdUjZPmlZwjrV2oOe15hkm1z7jMVCNMpNTCIG1B5JB4kIQXmpg70Q5wWXO95rGlV99xjrxZX5rC8+0QjjThiGJ2bxkNNJX+CW+yexjsUOT0Zf5o5TeUhvpAKcitO4N1Ds/gBRIdidHthrhQ7KWJHRcmekGqtGbkX2sFmV3wxtmaVn75h829AHNpeQ/H70kNhZMwUDqopqV2FBW1reLSl0nsB7uTtr1nFTIie02j1IC76Jz+nT1/pchrgbjQP5AvvWxJ7CAEp61A9qn0gAszCHER2EZL3Q8rb6r5fXZ6atW6c7YU3k6dTcet8k28TQDLMsITrK4H6+BiwWHRIC9L3xyxI6CYrawdQZvae+3x91zqBXX738bx4mFzdd/y6CrDwbI7f5Y8AWmBzxfW7tA8QVZupx153LD+5aLerSbPsRD7ACdf/IIy0r/XhKwF+R/7JYGHr/d4/igUqcz0ASi4qtEIIMmJAvr5XPotqUX/yMH/Fl+ChUIqu+EpqQUrPYWIzqFJ5S/Pc4hoNCZ0Dpg+GC5cwejZiaPygKkU15bVEKsJHbIlykkI/EY7eGD8OBAEUlYk526eahfrXXXPLUZ/JEggnRMyp/oWFePYTQc7AkoTGs8cuwL/3KSMRX7J6Eq6zJzgmdNFmQrvp1THJ1iVoYEbrpIzxsr/NuoYdx4P1m/yJ18sjUVtiIdRpacAmJK2R7ua8N6jebUdaFPtJVw4oJyxB3KdnH9aYAeM2nai5fdwjbm0qhYZTOhdDpYfBdSy/pEVmqeOEvBClxxwpUkRFExdOTjE/BjaIRTrjRcuL0Oad6SdEPwkXCkaAsO07SuKYaEKDRIOYc1I+yOLZiLhiv3u5NhFhXuk6yxaKBIVi3CD9VJR7a8GHF298nt1HaP7qJ8uJ7XGPHjUIyGAZPEPA2/wP+Oo/20xBUAlq2VzmLd4RdC3TJVyFVTk+W+IJBpIDnpkKdUjCp8cx2xWwVGui9nJJCOtprJ02IdXm0QT49R09epRP/KAClXUKCEmuZKEEcmUtu3zq4HRyJvRlBN9gjA30jATfXIiCQ6WyH8DlwbA6dkvJypozbe+5kpVyoBFRLnD44J1BRliimgnbezRWq0Tk99cwVJ3XEbUCrrb9+7ljHl0BDNEofna0BsA3dUzA892nLXux2QX8Y9fe+ju9zWI8te03KgM1ODf6I8FO3qm8NEp+gzxKRe4pp7dDZWg1+7uU/epYTzckTGMUOHvR2ZknLd+RbMTQVOYCEhh8Yr7id3GZLkNiCbVDGAPaNJpqouMEDXkC5gZ6OBmTxF1C42ELP1EavXCfCdFi2txO11tdNIoqDP7iPPqrbew9CaZJDgu3UamfWOroG3T1yYbz78fC5jd6XElxkpvZ4ASkAEyxPXzAPJbm1rS2cnYyCN7rmJ1zURlw1xdtXgBQQEl7os3KVcEvkt7cts8i+Yau7fwxrfCvookBFZqEFsHRPIL7VTJQoFY5606K3HZtlnbl+YG36kcBWMfDhUrGj0jWEZtcSloZjx1CJ770NHXxCR9FdXUhE6TDzYai4LsUCJHYk2Cg1Verwr+0ZKZKGoyEvEidK+idLjeHvK5ud39UnCXBQDkBwSe9p8njEcHvnOHbibdWsnVDa8DlspMY2VKftfmY+TqIi2+4zuDrSuERIz/EUgjkgKFWYw+X7URSVnDbpV9PJ1qyx9yE5RCVL/dC6H7vkmFgX1EDTi7/i5QCj9WMlZNYTO2Km7FWyrzyyK+FF6IMYPrZyHkLUmKaRtlSpx4yUGIoYQJThcHDhIu6nnxSx2L3Ley04d7r3MVjx6jUk1Xm181XtytFSrEUnipRryEpoeIc1jegGgqJCw/WIskROD/8S5v0gkcC/9Rn0vPfjRS2RdpWWVbsRaojvTg0FA12PWNk7HYF0nz8ZmNKYy3jvNGKQTaBkgMU+GkFe7c7TSmtf5ouyXFpwnsNzJfqdZnWFjBQ9VJGkumUPuEnFfWq9g/nKO4NxOraZ7fSR5UY+PnwicolXR3N5EiXTjrmgPI9OKjTS1iSSUldcXA+4Na1XShR8DgvdCuvCDjSUCmVIFj18u3jJdP6UYYcTTWrH6bD7myIY+sQSB2j8KXEiN9xthnw12L6bHF/UK7dnvijxo6gn1FVmU7SvIWil0EH0Mae/XXtHFAgls09vyoo5tO46CGR0luvdqdNaPe+UIOl3EbckzAEGYy76BjTK5COLzPRjjaWcxs36MtlHL7W9EIyTPEJojW9zdArmvivnJeS/75EIdSHSJ12hRR3oc40CBpnvOQdg18xkKdz4d8JNeG7mpIeu6/6k22GixHulO8g5wIm5nno5E6/puOaF9d9JHcFKkiD26bZVKomovKeoaf33XgbvEI9UXaB5gUes4W7f+8GMz3w8jGLEWjG9c7lLFTZeHGo/xFRP3jaakogk1fokSayr0tg/AKDHYu2EpcP/hTEYZzByBa73BNdb3YC5TTAbTys3Ys/SUzYfDM66FFDj1wDjk15KmpEtv+y06LfOMAF5IbQDNGXAGUckyKJer3/sq3eefOFHaN2T/GHSQN37j4jPGIFYID+on/2RFwmYnMDCr/5O20A4s8K5ZaYNmj2o61EEiD7Ov1rB2TCo4LmJDHbn+XUp58ze2HUXQUnRfgJd8W6w81AY3CdZ1vi/XcwVM34TXf7vHSA0kTwFtOs4Ru6QqW4C2L1Vj24Gop/dw/TqvJugXw4t4M0eMum0tS9TdaOfeuaXxL5uDJ1RbYzrIcZWzx61teI7Wz5eyNzoivjcVzJzUjF5i0O3n1fKjlimXx881E+duZj1gPnkpc9p/W+hbz+IJsbZDLc7XCnXQG0WMm95EtxPT9COQdMzCK8rGx2FtOxGt+kuBsSZakogVlv1k020uW0sbMb0K4c58fxrD0cRXBdrYuLyir84KQPEhhippvVGO5ssoJ9qHlMNCluqAzC6HlfFturGJnqbQg91pNb85FSFH4JIV3d4ZHEGJg5wmEY8vRwOmKoNMZ/7LMSyOeQJ67L8VaU3uAcptphvCjM4KAHfbtqWFbJdunzspfwObc2CLYMJZjDWCghp1YSEj0IsdW6aYYp3839LpaSySZvkIaXhBX9huHOfAADnxuYc2kOIr4yQi9mnIN1kzjLCOS+MT3artK/CzyPhSj4cDjM4VAGfeOS6jYW0r5Ks5lY1WTwpaR3e9A+pXbpmWyrNzBrrInAfb0uhW/75GaH7WlXw8pWypQJvJqqlkAyCQKHD5TzF0A3qXwIscOM2BHvmcRY0AKjSh1zkaWuRJaZWbNt4GfYU0FY1fBaCB3KnfwNv0qeDR1kinDF3vuHxyIh/CtVXYUHwlxLogITMlS8TYS8DRw98mteECknzTzxdV/zdrwe62TWF06rg8j3KisgEWzmWLrCKSd3GLvnifII9UjGOWdaRraKiZ6UptSInzvpHtpR2dgiG5dHQ//ALQxI/TQoknIo9o5a3cLZhGyJcp7hpvBPvjXG7dTTMjiLhVYpl4SJCoNzUc1uZm0CLHNE8zC3Xc5wLt5AOEnbOhQD/Vsnv3wEL2eqKGfun//YrMZikQL50SMb2yXik9Qutq4rDStzUeOLmJTYWfXDF0w/miAWQSp0AeX7ZFYPEkJgZIMhhzErSemLE/hNGTM5Q362CGUI2N3UnaqqOpM7dEpi26ps1m246TXrVPbJsA1XHwxfliXmJBCTn1jUsNJL2zRk5De2F/sfT27kka/Crzp6uYCCPVQPinBX2CEZ+6mNmQeDU2dLHDO2tkt+hPxTM3hLnNGVLgQ1skKNq1xiUwaJq0d/mHq3HmzlJN8KvTxn7wr8ubSeLtC3y+9KgTKlZk8I+x4y2QE+Pqr3LrBOYKQc0r+s2xm3UO2p0YrlDsS3BwW8J+4jgbAPRw5oN1JJCq5jsWoCxJbKuuLGb+IcRWqen2bzhBcEC/iqQLx/ldXL+Xi6zxBMt8pdNB4zATekGwrwyDRfuwzx9n3wiVOHxtkMvuJSTljEqDGr54Dx9fQ86/CyxlBHGS95+Qk3zoQKnOSCWFAwS5rF9U49AvNKXpkBJaaKCjp/DPLKnaQ2IyrBxHDRCobbPtqshWDzaCtMzbvIJLlry6sLx29wPZZDWGwrz6bBUtcJ5YZAvOzAQQdcu5fZbJHCPJPcYiHXUqms15hkHxRbtIiE95b5CzUXGuhVstbGxj3yyUA+qh23K4+rHhcfFPLz5TkkjC7ZBY+OmJ99BYpQ7i7kzajBAZMJGilxlUPpuo+T48dDUS6I6V439vLDiHT1pjQ7n1z6PXa3BkwkRtNCS1JKSiDGiQ9NPx0d6Wfe7AMbxUHD+mVKil++RAPNE7umQ+b883xAmyvDvPIzUMuMCFB7pKr5HISsDLxtvGprOaPKdRUkyn0w4n7SWGvOw8+04Num0SQ4zTNro90vDQR8BOARsv5BMHhO0nguuvGXMhcwg3c0h0y3UFt0zVtv8SqZwYTO+uLhmwKk3dvJBsjzEkjLDZyhhYVOJlt+SJesdOX7OAesDtLT6RmH2FsobQd5RR/2QrAeGkMf+2YNje5sReeD3W0rFYhU8ATAnp5lBIg8TqAX8NiWlxIHJZWBQB6OyNs/K87CJqOYJYLS/MniGqeN8lJx5NC2oergzuYJfzSYGvR68PUrA3Ddodj5oO/3O8T9rD6vopx+AeozQDhLrlDOkKK2qK0vExvgtHLOw+9r785avxSMK95aJ4I6u9M3n4pUkLXBDKgAOMJqnp+FRh/SAEYPP8MhTxRz/A5k+Fsv8rG3CxsKyZiwE5q/YrstIejzhoJOK+CJzOhEES2XHasAt+SPSipyRg7Dfaqh2HazRusF7uAyVDogt+HjsvOrYAMdD7MB9ovNSwOofT+cVAZGmdnMK3gABikaP4cOPilczeUpfF9/skLklZqDfxeHLMG/CGSQbuf5ysMOwyjTPThh9KmY2Q6EMJdGhrXRrvfo3/hbdhEOTXm0ERE1qIg+na7I6gODJijHOaAVdyB6Lse6tYTXioewMHXc8mr2dQJD/1mb44xYhFTDjO/bYVQXxIkBcVeaq1C0+VflQR0sWI8wZx1TxgQKPerjjdPue+qfEJxtuveOKXpZOXmEzD1F730EbVxTeElnHPR/Tozj4SKqb/UgDILyMdi3wrc8PgCMAMdzIJqXNACmrG96UoAORqpe2HpXx+MyntlJXfYaKArCwaJ6mMtwObC3sz8ywsn9ltJyMAbGnSFS+rdyEZA3zXOr1fcRZvfJZDVS05Jy45t8dUvJhwsRY0In5Ojk5+ZsZs+AUwadomD5gBfAehvPIEYJ2mIoGnRRSpVnt9uzHzOHEZAUmt+fqP7AkiFVNpdaBEr+B9BfI0GFNSZMPNpKMJodm4Fv4od/gT6vXQeWYoKR19H1k0ABzBL9HqFQQOaK2ym+LxzqDd7xuqEJhh8dtc+yj3FAvzXegzpK5DSKkKOU5OPGBYjrzhaxSldx/WCcrxwUYnGCL7WtTzeB23X3OmnDhbiUIXIw04SYCkmRlKi7IEMbwsy70k2Cf2UX7b8DdFumHQQjrnNbrCppi/FCXC2dvnHyYytUfhgRR7xvdv0tpBHxwhv9wo3h82xTE/AENs/1+zorVk9Zg4owqcIyzS3GCXNAQH7CrIiB8l8VXltEPT05sHV8jrSHirMnFq8W9fZilTSMrggPgdgb5RjmJXEc/qjB+sQjkULaSSnPqf+C0wphizmq9jWCk5lJiVR04b+AAHzEWezz7avwKmAnK7noqS5s3XaHB/emaemwBzTKY1TqAtgrMqlcmFotE5XP4hr8P2nI0jqtbBcb22iUPuZBQ62vKS4zF34uWLCATx8+kPdH2hhRWpJ8FKE8Ol8bixPAaUqH3PcZTg7bFIY3A/g6iCWzKctiBb9jGv4Y/D1VMGkqn5NJpbi2lMZjeUzsIiIbDoD72wJdu98M0duDf/y8BsIdQFG8LFBEXL5NU6tDn6t7tLFr9HFzQ1nK8Qh+0K6B8q2qLfifLGMFaBsicHl4Cpg6RW3rxWFoptz5JknnaDDk9Woyfqjy0QgmmM60nPVlKFIoQibgDZ3jY+282UbmMxrcPQb1SjkVOXvDSEdPyX/MmcPPubjoomPM7l+63Pd295CdBIXHdykA7qOfWvl+w3P3KE2+fYmxnio1P2WBBrRR/Ir6l5irsW4Sffsr4w25ycdE/ARIyApOfad19+icnRvGRYavzV265A3ibsGWTWZ4Z6Fq8sodfEODdYmh/toHwVoy8TlAqgVWXtf/F1EyIJfxvaLyKzCPd29eeTWMg80+xshuaIJdLoDL5l3NGIT457/safiV6rgbB0lmEEjwf37eh23eMq0ap4y/oaAo9dwH2ZnuKhLvd1DzU92SD55qZxF59t96EHi5W4B5t1j8XXvSZaViPzodkUjGG8gTTiCpJy3pyQivlfTptIVgh7Jq4XQSyeZzyh/tKY6zpjc2xGuBozHRyCdHgKrvPowu8d6fhCgbkJgS9jt8TRh8ZSdVcLnjrTEesRCxjjAfsN9vPVEAqKuazyAHGlC7bxsTfRba6orbijgG038kVqA7oKoG6oNAapJLQuY3XHIqVUgnI+utqc9w/sOg07mOjiKUmacjuLLOb97pM+s40cKd5GTG6Z9Mn1PIq5SYpMx418yZA8FoUYTDdSWoLd3qOz9bhW1QfmKdmV9Mbve5r56QaH6rw/SJNFaBqbVToXDg8LxuHMre9Qmk/dOvJbwA3+7aP5UQLmvyzb0H6dMMKFIKJOqBXBC9FXrf5PFwfLYpvyFmVC8sWSm/xD/w2w6amLSNCM2JF6l4Eo1ck/LLpzYWJ+Rnkn91F0+axJXl/nVDHrZ5xacbv400DFqsOBqpxglKvfvVM6jEH99yJujRNWwFO+27njU7SNgCl6jzYb2iuj/2p/3rzqyoweJBec2UgXcepEjUjdPz+Knx45s2R3vRY7YQw4L9NMOWHNqBkfjwdYF2TzeKRMRtjcDohRoZ0ySOxzB8y7B4TiFfIGgrXD6JagtXikEcEDIf4eLKE6g8KiXWj/IJVmLA/84GiAh0pT2gd0TMGGfqumxY7QvJNI6WkLwzFGSyX+4rSrZUqXrLBw2ov90TsQbumzKt8Zu3G3HS/Z4Ft614X+ydnAwafpDWis+XL8fRDo1j6f98l+6pY6KOIYP2b8fyJgUyJYfRuy4c8lUmezYdYcmKfmdrYJq5wvm5Moo2jZwwZpzECSpVMstOduaQFYPZAe9H8ojIjawtltdarLZLGTPoIOg6hKfvzIXx2OwESx9i5RHXax47cg8M62g2jvmDqf7efLVuRCkiKaEcvlpmGuThAKpI2/f7mhmTXvrXJg8QK5DbnCxT40okJhlvTNn7A0h2OK+ZsrqIOtMQIlZleyq2NNubzCsjmjjfIbCV27Vgo+cBdCAkp6UeGXtKSR/9Bzf4xiCdfH3sO0H+K5tqHSmtpHGWCje28P+rHTrrezQQF1p/PXsMSWyTMpRkGQwoTGaBzptU9h9uFHg/cFyDlA7kJC5hmU1uZRF/TXD8t1IpH9a8gGzi289WYr2hP+ILYGlc8fqzQ6pCuJhnXsREhr0rE0A1j/ukHyjctXXI0AZ14gRfSsXyCysnyjZyfADJMwLWTi0yf0TMcsskryPjIPh5YjmtG1xbF8j45vYL9Ei3NFIxuW7xJ8Kx0WfHVYj6h+llK+0kJbU/BAbrouPzyM+CRpd4N2QCuMin2mqfVBR1fuwh/UT9wemWMGQeXQO9l/sOHtDiYOeyOpv1H5hBEoH3JaZeUOw/mpYwXiMvI4Quw2AQVyBm+H+5+jMXJg+woRqEELSSgk6n74lYo5yttYFM/e1uOQyvD2BAbPmQBWy3ejPzTH2ksh5zZzLzYdqTS+9BiZCAKxPutK/wRcHEy2SpYXwSbA2YvsQrXJUmfJqdFPjzS0ErstPW7Y9p3+2rBV5RGBwbQIBjaF8q5zqc7ile38vJ3fmfPeqpfSHahB1Wakc/xJhrhy5ehm9IZCoQA2v7Y1zPjKfJ0MYwcMmKSiVdws3RJpa6VOBcqkSSqQXw7nDDvY7NbpzdDBiDRS9pkIz6OjiCoWhduJekYQGjz59tgZkmKq/DyjL1F81yv9/PPWP8qpeBNcQB7vtD3O8b2X1pFPGYpLsKV67FnO69h93EB+1thdC0MJymeG6xmToO7CKHDVCvEKPn08YashMYyKpPAVKaqQYOjRJnBOgpdxs3OAY2st1WOU7XhSST2lu9e+7tjW+o4wxWdfpW5RwU2V+XR7agdwA94eUZfnwT6HI52fIh3nCrNGDEM3ZBSlSYnhSd82hzaYMKCdyytuDTJm67tkHW0fgR+gtwS/X9cJIPung0XTmhwlvofwbXWiW7g1KlDcLCABoeXiOHW1JNpTaGtcScmvDPGDo6h1R/VB/pprLgFqRxqJA+40YDfM0xSl6SkT+Uw/c3RaXpDvImQcsqOlu5V6/b6OQ4g6zhRRG1I/CVy+8fAChxFqCDuTUmqGHCDcqWOMpYI5FD6QvYQ3vjqww1llwYn4AF15+ZQhyLZ8TWsv+nfw/PRDCuKjv2HellMhQynUBeDBTNCYbbeleSgxCd23OYDnvvpbPFkZH8ar6f0RDszprP/gdt/WmuwnhL4df7fFbSLcwg7DUcSH8Xbiiw/5GKQXf4V7C2NJVPZ/j22+ViGVrv1QVinNOB7L1NhF1c4HPtXKjiS0/NoU1ACMoZ0RGchqAVpmgIUMtmE0pfjwSLxi6JH3WbyIw3kuhMAU1xyhex+JxWMXhjgftG2zumMjIqP6K9e9keaGFjnTE2meJofBZOUA/Y3WLXO6MSkEilb5wMRKbguZ/g4Mh9h/2Q0YONcLQXa3K+eHE4gI3uiRGItxCV6K5jSAuS38skaDMQYGBW9XLJWIEpkqnUFYRzK+Gy3omE6aSY4cV3qE2poSw2aa85MWGN0x1/GqMz7rsj6YoBVov6oPaaX6PLBqnMuTGivWrS+/ZnXBTAfKmhA82LZN94BIdNxga8GvNW0j7VBRt1OmFlUmHr2ipbpzUWke7vaGQCrpUhnUmEYLglYmh8TUjoUSJdN3E0QTWTfTOJPoSCs4kmJ830YxZ08nVtwco3StdK7ynleCo4VpUYUxd6e5uM4UoOdBI4HTk2SPkd2pv9RonwxhqOg0bw9zKyaLBjx06rkUaqCX0LA58s7L7HZApF0+yY4PgEXTbnUY+wxPzYYX6ivuBTtb8/pjB1YLrylhgzRJpNjjtFYNA10zpGBhDVhe8eeEA64HeEyf+LMFgJdIJwsADly5LJy6AwJ50UxVnducRoO5Un5bBoDuZ/1DJQZYrLGP4nN7/uWkxyLxHgpUqHRsXkqaZyzkvJeo/0ssLQLei4kNJWuDbkEAfVeCZDrMqUQ+DR8ENIUwLQbOrWHtaaGsDu+Tt6FR4afJSAR6UzfkMvxWV/K9cpPK9UvulTBYNfbLebIkOeMxegWaJLMC2AdLcEFd4v2hRivY/MBAeXsY1ySNOWs9Vf1/S1r1hK1XAZX5Rpa5Z3XWgGsElQwy5NFfZ5T110v16l+ePbiUrQS1Q6jq0dh/oGkGzVDMYAwmrgMj5u57G91/4ZqiWcHPxP5UVG+jBr3kj9gQYTEA7xb0qRMyhRKE+0Tj4Mg1Vsa3daNFxuzcnGj+BIxoPD2j7WPWGm7UC95rlF/Wrpm7MPl6+WTZ6KRDsqyWPrr9fo1heB/pzT//iXOSdO4wxYWQuppV9bCvISbg1dCGwWAMEPikYQwmwBf6eIMG3R/BCl6AZqFox4o5h2jp3flv24CEbXmuK/dVRiAxDBPTfk4QQ9jI7z4YWki+qVivq9Sv2BHdiwlzMYMylDjF8KSxJ9Eu3PsmZ+XnqTBljyWEP6aAuy1rnb8h5/sGPiaVqR4r7KoYo2aAwbGEIhmSQXWA8F/kuoJiDc23tHMkyjInHykZKXXEDqpD+0drZ4UfdbbYAgGj1NaMHrZOjAlXpgXxOO8QG//E7nMfyPkyf4VVsI678fnZ1oogo8jLoreDdg2dLNS2KXeJbv4GYCrN1V8r2xZH4zYQMeF95LO91t7z6hpunY34q1IuCZs2KTLgmk1RZcyrpCdg+e5FEIuRmP6GqgE+TlC8Y53h6uq/8Fy345WjxTmTQuLUH2Logj0BpECGnSxDh2k2YPkEJjvS2LaH+fSKCqKCY9ItPmYcWX9QphoCLKsbbEs7eIbY6ZlnTK5AppcxDdOC0+U82gxZkrmPy/VSbNaDa5X/FgEsEWcYQpoIvk7035mRqDiy02xj13Di6pm5GxxzLbXc4sZFxNNFttRo5o6gRxa5rDNLTdRndrWJviZf04dEhayZjhmOz8vlIPmjOt2JEGYkBH/mN3HYyAbyKqhfVeWGpE+J75C2wC8Bg1APG2irMpjj82LyCAjMBhJo7kEzriN0cGNVhSW+C663WQ7gBeydnyg8I9wS9+owyu4L39P9dwRFUfTftkW//3Y5CKELEfx8P26shkrX+Z9OVWYpN88z0caVxkVKPXb2DQZxBCTtkGDZS4cPJAIQJwkxQS77SEpe/yQJznM4YGh7sDGerp77yZgNJ1Y9m/PjC5oMGvk6DK/Sahtv4GnB+/25c1coI7zTE6wRhD7ke2ne+7wUfWTow+D9v1i3S++pXwck9mfkuce4x3xk96a5JpvgjBuQrwQpRGKwc9u1DlE4z17ArY8gFs4vH9qYEmkL4i4/mlkg/99HXKGQL/W1wwB8yvo01VL9l0RtlfiBt4RVFhuUVMOeSNVruxXUEoxBkOMNr7om0VT3/ZICVXgfywdVRWz34aaf/z3MwsJcK61eJr3BcLuREAmQjpWFXTnym9Fm3DGmvcFRXeIoWwX/bLtR9SNFsxJ6kyNk8ruWyytcENqlfvJeHJNDaYpPqovMW6UA1Ix3DISqGrNAfT9vdTkxNbCLtoiIMKM+VL7xGFljj3IgoXATX++AEHQ61dSTdBQBDkdgjgbxZFpiQg/FE68O83SRCQ00EsbWloW9mRRww7aAC8JX16jVK/eUsVtLKK5c7/fczbdvtyQUGmdxDNZONSALxFW3a4SAKS8jWj2B4bFcZKMYQ9B8h7JgsbwlO0Vzk/A0N/6kJAsAW80Dr/O3cDsLTHURPbNV2aUDLKiKebjyeFLJo2XAtKHpTGyhDOrXtQCSxWgCS9SB5NNBBBaH7hbcQa9S9xUnAn9Zgb2KTaZJlv/1xK+OB0Q47ksYbxu1mu+IgoZkExrcT1f5O9jgDHnCJdweunFNoy4N56UHetN7EZw5P96eBHfJZ163tS70KuibAueCx5wRF5snPekbeq45XqmSqIqEglbJYmxeHApQDmmjGXb/wysDyIwtoIFCQbrj1x3Uoy+zActW02SkLgOUoYwIlLMxyCNjp5zd4G7XeTVPNulT6D3gPc6A5Q4exPndzsYkUjhP2i61Cx13VI8v1ENTMI6fkmO9K52Pe+WZWKgqQOrl6CFpkag9DrP+qa/qeL513KSxI89zbTg+j6QLm6MqMVyGmNsZ7f3z2P/+ppR3rhc4zMhQDLbHSFFCA0iwLgGI1zVOTdqYPNWagCql1UvBOdtZGp/AzD6wulCEVeqv/IOnhB7Ozg3qV9NjQzqRqxXs39C8SMp/KFpGb1qVnVfw003+F5UK6sIFtQZuaMsyKFMLKX5k9Qr2MUyJRk/tQ92RziXoFfYIZFG0kO3WxhLGhfoGAzeExM55/VPutmI6w7J5jfi0brbQzjAIC7qXuBD3/RTj3kIV3MSe4Ap9/IZSgXzy1K2xmzqFjGRTLQ5TzFp8V1E8OE/qJCW+5yiOfO+8Lp4BOzRGOJ7mhovRpYDYvKGnEyFAeR8QstaU4hKyCh9jjjEJHnptdQNcmr7cXLM17ngehn860Zs4gBCqWcmVQTikJ4Rtug0YdRIBuYqw6DVk25v2GGAWm/LeQVu3LuVeSnvuIDr/uabGxW7ObqdXYL1v58HwpQTH6oX/gjJjRErJ6f6pYvOCVjmwZBgmuttlvDYhkCYhCubV0g4w909IeCeag92rgI6ux4V+7AVX/63Rg9PDxnLvBmQIPAhSJf9/DmTkVjwaO5KYO426Q+el0mZ5ap76m+JN3UD2rput0MEZHv+6Na7HwBbTh0mDsx43qkMMO1qiGYMGfm+IWMIzIhjEyUSsHV+83KgzId6me7Nz5sS4izDvgw8AjDPfgN3KzvE6oAUcIlMkn65GEdlg2hf/ajAmKh7bY9QsHpzjldHP0Ds+ipCL8Md3gd4x1+yoSPW91Eh3pr6BTSvGsEwhCTz74unJzKuiryk6W0dZu6E+fAcM3FOlO8c7I5M9Y2wceABuFmFBYOcxMePGczWPljpllSG5uIMb8CyVjr5E2E0/4Lim9tfX3qrmAg+4s/gMpBYP4MKHBUN5peMs2lbzu1lZ1zc8o3Mbt7QMbe8W5SswJCFGaAA74Gpm6tX/d6NplmNXMPNHvIL1Zi0OpERM2HHIfXeVktvXmlf2iDyftnl37XCouPQuuIl5UxAFMusCpAbXezUqRw71/9m5pLK82d6U0Q6XOXSL+jJCoePL9+BfPyBeVDanTJNlhIvGsSNE5GXm77tQzCjw8bXrTrS4OrcwPSNrcKDm1eFCMmrs/lslWMg5k3toUMlROUzlo3zUpT0F7u1jEm/cy56IVUVXatsGJ7974h8bOu/vi+lpu+72CHRq4exgevkamtSdZzI2F2GGaaC/kFJsS6w+R+JymA6kJ15xM7A8Ac8Azcq7SUotUXIErNBfkhtbBOKVcAfIyXAoXdsAvXCMrJeqzXxOJRrNUr7l0ICIao5n2NIBxz/xHvtau8tO+/vfJJUIWC9PFi81qy5lJmZIONKDg5Nd6DuN+BkTc0XZniLCQTUaMtgt09ks+uVS3GipN8zpZi8JIrjCMYmY7rvpqXfDCHFOJnMcUY7THkHc8jcbgQWObkfnbBE6nB/waLSgjVirYI790mjYWXON9mCo0/rgcaGuNWa/XxG77BWZT7HFrJl8FtB4WYhjPjY8TqWTCygbVTf0yAz2E0nLVtZhgwQDmQe28SxSmDTXrVfxduo+t8iSmpLhCG1qZya3grg7urfxoTwmvhFfvHjuWQRvN7hMQePH9KkkEqHQIsICpGuNnbzm0SXS9sSxxlrAAvE/DiCgLHeopk3x+Pg4UCUFvNvKFjKfdFYRZcG4+P6TMUo1BfQ3Zrk4D4AoLZd6E4oPPGA2OOJ7vXzGp9BihGPeR22l0Kbgyg7zru4a82QuBsP5ZcTkErpDBRK6yQxHOUQzxgTP/MtNSzepsbA3YxQnSbWRVdJEQGdqnPiMstALYLA/qvm1Sv4PQwvJzFHjTdfS9xOSHsX7Hv2FWy/mbfpztdwuXQ4IvRN0r+GBp/h635RVIDrZmkGHmanyHK7RS+xpHwRuX+VJlRvdcuLUIflnUX5IkLFUf1wS+7g0220aCL/TStVlpSkcNpPealW9fjfHzpQ7gUhgzwLm514UtSk8qVuUbthv2MER15cJs4Tt1oChovPMKwaaz/ZyzOUMNy58TDaSHKowXaI1iqM8TcouEaOAkwcTnY0qozIwtqfCC6Hbmx2NGiiBlLHm2sjvUkFsEqow3D21MQox73VChuRYCOrGfcsQ7xJ4b7TVDxWeclQFioOHBUTTn8lbJ6XuZdYfWfxrY/6dp7CibmPcGDHXV4HdyORgqdfu1rKWQn38HCj2ZVngbahpUkOmH43GYyzmNv8306OxPSJ6nMFPupaf/2xOWCp2giXQNyImyoyZU+q7toOdSic0PtmWHZc0ebfXaz0tf2tRkzedMpZjIsPu5Gn3llazY20m70qXa/AbMbOoqlTx3mhwDPL7k5lfU0cleuV5X1WdXw6IuVYpOax+90m36KohELmIycp2EHdIg/0gWUMUFm3LoeWNAkNPdnk1oJVLIWGYI9FamZCPk8PAmmOPKimwqAVvvnMeSclfFNxXwseQJqWWqhzH4b7RwWCzAaoa+EF4wuem0/wgqbfsyYxg1UUihjqbBLqGXXHGEz6OXRn0j/R5lDg2KC/ZV/1Ki+jI9Z4U2hyXpcXKhkAVL0Mvju5a98HegkWMw0ULyrop5BgBp8hnW/GApNgGOlkyG1/gawnRU9ZGqcondE0Y5LnwBd0NDopLvbCWHfDHuSLyE6O/xu+THDNAQZZwkSqwvJn/DBITYBiVXCiZr8efuHaGsLv/TdjpGliXp5qHbLtoOv2G5zCdPKpb1TgB500k30vYXOZSWbEqMMccPaaj1xCSqPJIP+10dZKiQCKUGZ8xeWnG54l2vjyeakm1BWgOy9iXbJnqL5LtXaAvLUf78zYthX2T+jdiByEeY+lSklWWqcgyUyVSJp3vlZq7UQRU/TELSTqb8FVhUTe84ZYc09xQiAJr9MtEMAnWgYxOiZt/4BtwfnqIzLJ6YwY7y7Zb2tEb6hFrq2mIx+m+eEQr+143aYXgQqEXOFaVxCldk2ogc7E/6NwrCIii32RvmcOzYj9wdzN3g2agcrJ/vJKsNXvuafROoMo9ymKcIyuiCiMeeHQRoNf8CWS2ukXfthuf9MzQKBwCvbO1bQfY1fPwqIN8q+WXqlRyKzifgp9IYoAn4/ccOOeC5Q4n7cKiOLcUhK5kaR/0iASyy91M30jfl1bprD2FPOLYtIqAuC3Ihd/2HT9yimP3zR7hUgYZ1ZpU/Y/HCu9iPxVLLaLD7VxizyFnyf0bE/Mh1NRtSGurgXR04u+sZsRl7auSQ1Fn+npO4XQ19OSzjXywFpTEAv7pZTkzoNvgO3qpJYQUpTNf9yNPZy4LEx4Y92BKCpZ49mr95jHOdAhUGvOa0cbfDy4EroU/ovXo/3IHTyE+DY2ZJmKFBzvvQCdeypCHgTwMIzU2EWYIISYMzJjvItrfQ7/8l910sxYLVLTqSapBYQgdcmv+5bDxvBVwbN9KonRAqZ8edf1V/+lfbvrNjtxoILOhL5mdRzqhs6MaWLVn3Km0tUjUXBUfDS3QWLnOgnl9qAznlpWTMT688nZt8i4eaKashEXYiPErBWmXfmUosF3um5nvm+MpnALqG6H1OiKUssWSrExkfHHhvMSd6aWhluzISSu3bhZvvpo9TntCJlI4SnSKCtsSll34c1HGwIa6eP/7fLhidLQKWIkW/3UrHMj9iMr52EAY0E0LLNIU5nFwqNLzwnz7CeyQRTZDbFrY9ky16J2CfbyVRJIKdTQMwJQZPBnatvO9W1bAvFubE+J2N49LdcRyEJZEI4DWfMM9FZkZUQNMlj73nliWHhk0MOtubmrVMkPQzXkQCRB4u58TxTAnTq022+q6r2W6UauiMJz8+iioziXaB7F8lkK50CsenzzkH5ZXAx5rJw7r3VO9Att86YeUgk1kG1wJ3SD1GZLJXtg7fZQ5IHCWaOE/9vD0/6yJ62GR8fkgPYul+7qkcBud/aQf29ap3UQAQZwM/hbR6Irenx9e0e44mSomQjxsPOhkJlbI/rzGDi3AxxxUEED1da/RGqfL8NK6HbiaEEFoMpSqlndrvjJof/a/73VTrxMUrQ2z6+6mLYJEMU56LccYIlrE4gpIBPC1njMxsJ2acAHe5qyK/Kl0z4Lr6sDy+FsTGAnY0Def9SS0wLbS28ijibYePTedW7ZHNo8bnyBa4KqnSRj1QC6WsRC2Ocqvfxxo03yUIpSuLpwHwNRWb30SVZs/KmVXiLBgaNsK4yHWEyNP8rlqWZLpg6sP7NhQXTQ9cymSraUOMEqGjGd59cT7V4EVrhATX3Yz29r8TXrGuX0vdeyZhhULFTlViewMbHwXLBUcOwxZ7QTxROTCRYN+MULG4aXQEP+bA4EKt0X5cBoQSDK72IJXonbUQ6lNK7Ma6o1KZL1BNNgM0oyV9nKvBNeK6SHwGxecDm16/8dFQMhFzkT6/9sL0u4cLmKD06Omjhje4Xy+WBvNqygy7VwY/LVpu3HgllIZCjTOyEAxSDcw2jyoH20XSeGqzj1ow1xbC8g1/n+MaVqFhSFjmkZIncIvb4T5e3tEwZMQ3es/2YCUebOfZB7dDQDoXCdpTNPDwe/PwihvUIYYrtksUXgsLxzdWp1CU/oeRlbG8SDAoa6d8E7aZEbtFgq1KcqvIvSs82gJ3UZS9gEvjUhFXcvkUuNoWyT0kpFtqVpPNk+d8kAFi8Gb0UtdluG7VG70xVufYzqWRMdxytAEgynKP9oNWltqIRNe46Ty/xObWCxWfqNAW3HfdC/jwr2EWvdykOJTVRE1nWpTMyH5J8iTF0IpIAI6j+5z/w1fLP9wyTvw5oF0J8UyH9wK1cby2FLYhc46NvX6cLrERDJrGtwbXeXArHK9HD1PW7xzYcaj4K1ILiR6ioyFfhmYcUcKLXonIRXGdQS0Tb2SNAR22IpprGO9IiTGeX/REutJobN/DKF7GzEkEbK3R6qCiONiXDwZdgEVCEj/EcDWS6O4ydRBn0RtsXIROHokhLY2yTNVlat4D47RuFMWkPuIdUZ3MRVJ7RgsV1szqy4pfthvCSZ5Bb0VXn9jTvwnULoZHt0c/rx/U/sMaOCvV3Lf3WE4SqXWfqJfoKPY9Zb1gTf3lMQjOmQ9e42qqIiPNYE3ypMYP2laUv7b5TuvcbWjHZY3uOnNg/XbaHDZA+XwT2UcVE7UrjcTix7RJdZWZtY2OgNOMxfOTzIxrK0Q5FxJ+tiNq3spEN208QarHuJW9mRMLpJX34Q5Z86hVcD1AR9WqZ5pxTLJzy0dYH4sbvL1FrNHhAX/fyolhSroy+fB+sDiyFZ8Qimescvbrrfr681Ur62D1NL04R52B8Pq9n8vmXqu+2fgqFeuiwuYgTi9XcS92UCyAxL2GVU9e05klnqpzQ2mfpPDamcL5W42bWmH6mi2MIN04TmYHOQZPDGIsABbHW9rdSoZCIqpb/ntDY4GTdJkju+DPWU8yC4kfC4XcL7S8+wyfItIHb6NYJ5tnJB1NNr9kmcmnNrcRDDH/MGzjoLu/C7m2buZkJkN6o/mKJUpCNfTtY1ktsvRCNJfghN4uM2R89tJh2RwjUUszg6UQvxEYhLzbPitNNq9p2XeQjxIDc7OT+dVdBF72qxFOZYP5mnUlbLGpXiDNPM8KeHyiQnoEzTwiZhZjI+LN9Hk3lWh+BmULd68qi4GbXFFfOqeTEiG4bE+zc4XivRaumlQnb3YiHbKwVBmoMRVhre4hRJjP2sPLzXpT5bWbz3aCh5rKzFI9w4MRmYQDV1LWwjBnl5dYS2VkXx0F0cgMVf2+q7MOr0xltokNDSvzn4YXayUEbydzgG1aAhNi/QGE/854Gp55MzVlTIWpAfxK1lpjYq+Tu6OhhYIY6jKz4W5WVEbxYmKh75LHj80hLNEapEuKGyjB34VtAjzUiNsisZlDqDoJ/BBl0W4aSbnqmPYGTFHZMbF4+KXfbNkv/VBRuV4jzue02bj1RoZE/7m4/4mms99VQURbK0SvuSTQ+MJdO6dJz/liU1n79kBm07l1sP39QBp38yFsmjft43A50YqLDYzBDVi3/xeU0xDZTsFhZ3Ykcsn+uHlqllhEflyNG/6C3VuCmC2Uf+yicznqj+sBvmeSiWhyXKqzalxyf8rnG6EIf/JpAmggIeXhVNILzcDDpfg5qOeZuP771gfvV12Il8tVFOJs5v2+zGolj3Uv8xJElnLrkBnDGEwpctLUsxdmcLXKLH+xdT9s/3h51vnTWqnzdG65CJpx4m3PS8BUTC3QvPwbbOSmrtHZP/0c0sGs91CW18YUv1ff+JkknqewxakjEvN3Um0Eetpx9MSIRtVE3A2C8YZ+zWOCDogw93GoyaMHXsFEniT5dFwxxauFrQjcZ1aNY6DJtUUOyqfswqkrYZ1mg+7Aunmv9nIxjx/KIxpb1SfRMyZ9h9vuIeLvtdkOEYcYdU/X72aZeoX0nWlissJpjZrBCFZD3kcpRgcqVuujpF70F9ZwlpzCvRf2Wn/bSz884I+0TJK9pEZg4JTnGgQPIiUCo+tkzxAiCd1FaVyzoA+vNYn1YrwoRx9Pl53/UxmBO3nhWLkaKM2bjXR6dQFa75cvc+Y8DSPSDBVXoV0bBZNLJezIHa9VmVhCw9WZoIv+OdG1EECdaWmwaLCUY64DL/E2i9cocZiq1R+en0scRA5gYUmdPUtDmm2+Ap6AHqtKbvwxcUp6xXsizMbffi8ylhkNc1xY8eO9Q2qEDoknRyqTSbzYgJO614lwDUSGjkEEHdAuDGbzOzFdMoJXv5ta2GQS2rtUOuMvyMMNck+ALlvyumS0EI7nPA9p+nrF13ae35wJW06774cCLO0tYFTK9nAF1MIdsMIGu9aT9mbsZZkBTh5k7KP38TSBchEqrI32CoK8DjExC8+j12BV29HLao+PL3a+yl+G7XOCLurOoh4eRakMOhS5Fr/a44N5iudN6HLZMM5MgNbjSy7Mish/HKsVLIiko8EKoFlqfXvCaxuRzUQ1IXSjFExq83Bf1URYypA6taQPQ7YBcTNNMV8NY1HeG6gvZzKnieRJ3vu1T3q4LDFAsltqE97wYJStKA5ijMsHQ45M9SzsB2Rt5yw3z760AX6Mzc9+7/8rSkma97yeBAxpgnsApnrdHfBUASqtMnIBhq0I2SNjoZf6uEK/3NeCQcStUgW6jtasrBwyzYxNwVfR61FzDknLfVK8i5wVBhBcHFvF8hfuO9pr2+xtdG/xWAJfLg+p5qCY0HJhxZrZ16FoiWYWdbEnkjPs2c/AD3jf3/1J0EhKQg9v5dQ/Iw00nA00anxcv5seAEH7EYhPBkIMY1MHa+WnNoqovAMCZb1WvqTJOr1YPff9Ay4sFOhze0eUxgrBmdVBm2JNKT0+AhNckKk3qnfP1qXgfaeMXTEoCA7/2Wqeage9droabLep/jerwWMlpI08oCrPn4BfWHIPySlDmlxYOS5x2X8Q30jL8HsrPMqQF+d7WT3s5+u7POqXqiaoa1lVUI3/Kzb/cqFjgYLEKS+oe/ut2fW17WidAF73FvwJQUC2bHpG+ZdIfwAa+/+7Fw+JCEoPVI4sIBScAiCYs9YN4LWGHqIWKwcZdHg4+EYNbEfqDaIXBglZ6xc+uCQ+bT2vNFuBP9jIfJr1m2r4qmVku2bJzzGyVGJp34ZRJHuVRmld3dcTmhQw1VeSp66cUg26rlDqvooZdPNFzpTCPcLYWCBBti0+UNRefk2sFPdaeaYppZ870ehe0okFDUyuU5eMQWPn52coXg+Rwj5c6vDB9l8oc8rRKCUIWPKZZfLH6ScFpy+1v130G/eup/VjpohZGOSazAHK7MvA9wvTRlhWVKrBufXF4uXuAMn9O3GQpfBzU2u/GxIo19xZMPGMt1KlOqjfL+zspL6NCIwTjDVhbWRxZaovW3PVFJojf5JExvUJjeglhA5YsUT1ikyyywWWvTBKf+HoZW+CKpkZ9XippVW1vwxUkUGEu+8V7Q1drFtU0cUzpXbkfr3+3Wd3ZnSvzngeksDiBopwijj9iZWRw/R46Oa+He4hPFwvU96NDQV/yWKLD8JWO76Ejf04tEU5vJ777H612Up5aMdH/Kz7RmhTjJS9YRjZGJHm74h6gPFtlCUe7LBqeadFIqP/fjP8m7fPNzv7O1o5TRpDTvH0ZVeBsvlpghinDlhuWx7FKedkXdfKfje3i5kt5tu4yly8HNDQ7IRbUzHG6lSVDe8kyXV74ThDJKUNV600j3j9VDrzHX0h8RAc6nEviqcutxw0ZP0Wa53j25CJIffhUfuOEZbIVvmmtbnIA50dYRVUTA7u4qEIqGPL5RY1whBgmIv8qKfFNVw8dXdQx1yHJZQNLJ7KPTiA0qE6nR6jPocYPv6jVT9AC1sDbJ7z6BuPcwCxqG42rrX8QkgPWVJ3nyTQyq5eSNd7DelWQgDlfg79LI8DceoIpIRhUNpwXdu/W2YBriqrnLkBSGvuC/EvExuER9Z292bgK0aKd2xpVLE+9UyY6BOvhSrcWogbKDINyR3PjPhKPY2ikQ9lhPP/BmrLq5veRU4B1d0EvkLao/gCYtEnJmutPz6jv5rX5lnNT7vGNeWOFGEHhmJabT676YTOlQ/RAVoG9w52Sw3FI1G7EnauQxmSOEMw2nRtWG25+guFxymOjtWhMki1P7xUgvgbwJ8uvqi3ElFZo31UbEsD0hp0mIlGXYQAANcPjQASiwDBMNO86tlRrwLvVbDqjkjbq8zTToCSgAyJqiY7Te1H7WTQiNo2kLf/Moo80xq0b/f8dotZPIi/oJj2KH/FioeUxQgSZuh4iS92xba0BEjy76ypjUUQXT0jGLNKOqG8IF4nlGTCAgB8T1LcVAiilUUZzWV2a0xKLC+TFTuKD6+5CN5eNaqiXahl+t/jITZvwhX12GqTUVf3rTQVIDRz9U1vSeZd36n225T9qFKTspc1iF7KQw6VsF6CfmBwo+bLixbU22TqTwJdB7WKFMBVws/XPCvdKnGrDF0sVQ+Kr/6+2IAM/HnvzRMYRYhvWIy6FQGsESZ970w6R5IkPgjtvSK+xc3gHec/mw4adipfZxJS41U9T5g7EeDMxm46lsOT89Epzz6ZTjuWKnijqpc4mYvoOq3/tsOfyYQFFlKJOQjMKvtycMRRRPJdaFSWcw/i0RMuBYJQxwWS9RfOW3f78IFybgNB7BmCs7ouGMIqoSfN0G7HK2jS8yHS7kNADtaSxLzhPYfoodoeND0IBNuVy398iCbY5UgXsZouC7o0lkPkKIMC2mx7OfFlG9afetAhhd0ymSinDjGcfl2eqajj2L+3hH0By47dv/aAPAIvV8AI/QXpQGk0miWhLV/BM92GWT59NhJq7ATZ1zLMh44JJFAtFMDxqflZICpCqzcbGuM2TuZayKyftdiwepp1qBV9/tAdBrKyVt82yqrdQ3ArM8Pl3zhmzPt8jbFweceXZPPGW0NSKFEmZi2QkWcSmoCTy+tUwtgBMz20dPf09cxJ0FC2ojTkqz++2emOEmfRKVT0x0vnbXVDtiBETGC5+1WH90dojfkTEcdFLbhYJ5DLM9rPkbDULV33Kz9FfQfIchdr9jAVk/PkryJyQsyd2ibkNA1SRiGWsjCt9YzX6ET4NSnoiMgDMLE8ljy1YT9aa6hmyAOtC8LgEDZdgJUb81v3v9SxIzslVtfJOnS3h3a2yQDxNw3YLlPbY308LV7wKbS1UqnV6BKZrf5X9xpKwV4BeFFiGmDgmSTIJ/lZFIFnbzfAc/Rgb/6yZM7NFyscN9JNKPvq5NfFW6rY9cdFZnTYCTimjSEI5eHiAmAjPztAS15LndEsVsKILkJCL9yPvK40eYLewRVOX0bDSJVwIHqQm5A7A7FlA8fnJxq29mVlwgTBewTaT4W1LdRa7XGfQV/B8o+W1dJC0jtTcCfZlI+D4OI8qyUhHeg4f5SLbtYF0yXbeMEggEMAEqX8b6U/A9rj6cKCFIquqDxYIMpOTYQClHB5YKCuNOrZbnBdCPiH/aEDKhMvReZzKhhX1x95srAE2TdD5ND4K2ce04I9BgJTI735PmW1wW2YboQKKGfWi9CKuiB5uXgMpnQlV9B7O9z+UxlujWxS8kylt+QnZqB1tQrV7eXLAxwlW0hJExEuq7fWG3E6LuyTreEJcXMNeHgsIxQo+ECX2f0xx/PUflCuOBraTTZIlULeyjuyptdNLS6Qn1wvu/Nr8UYtsCBDC/uIm2PMkPvz+x5YRLOBKE5XaveWgnR0Bv/NnDjxh0sqyGAiU0pUHYdke7oYXEF6UJ+4ee9stKeG73K4T7y0rvt5P1C5CAZr0U/ivRzDVUI4Wt0glEa2kwlGofuKF7/2hFGQ7xrq4EGRMzXGtdhCtrU+dqcOFkg/uysVZVXSnuzX8k9xcezzS2lpavZkTsjKmsZHlTeKZGUzu9drX2cUJtzyXxWEks/6kQXlF9sFxvGa+L07mimlnP4G5SG2XjQfcpDk4dFXVE7d9B6Arn0+EsL4Qcgtb/TY/2cm/Gf4fCpiPwWRsSqjKzb9W64DF6roGJ7M1F1PwMPnide56+LgWsC6jhcD3P82fKMlUXnY2YM3peROXQmy7SDdzuUoqdFodHgubWZGetRjaAXzYgm37qzTdR2XTXshIAMHxpFmd2+hyZgyLpfw/6xv6MsVzL/GP+tek9ZnVkargCWkHPrNO11aJaycST+/pbadXy7OwBpnDJnLY1coFQsz3H1QiXeil7SMctBVFahEm/OsnGhWzGI0Xxdbq5eSF1Nz4GIiI8nmJLTzLroNcwC1vM4xfLsWxV5BTI29aox7+LALKYt+qzshbhD24ujtn/hfQ9vJKqgtKELbz+RvrF1XOlrAN9gBbvWKMY94gtuS6+ZQpOgLFD5l4n/7phkDv1g0/tt7VD9LCkQ+swgqHv0w/+CjzcPIaqyBETi4t91cT+HXzRkeEAoKHix2yvwKePDg4b+g0HKdOXzJ7cvwvXhzX+jvT6EaBskvb/hVnTp3aLSzOScnVNygnjbymStrakUrlBzMjlkRDE5+FsR4fJxek8tLGb4Sbqt/ydv/2BnY7KkX2E4DZQ9u4LylLEtGzE2MCqNu6bTT7J4/CgMlvWb8OwVV57mVuT3NwlpnosdsUdcfgmzgoYx+b8DvKYjfopviEaQ/RsUGLdddlSwE9Pz9tBYRW8EI6qIQLPF3qecqd60OU2O1ftpR71jENR998P83Vs9Ybf4mpuFy9FdS61LwOwGiKqIs8svH9vY7wBdy2GRR/sZdafuifA/bXkGoU2WJMOGiwIEcDyzrh9yDMFn99TmJpW0Kx4pTDAjSAxSxxxj3QrLw1BZtL5Nwx9CKrJ/K0GMxsfPDzP4SUc0qq4PszjHuucj9x0xbNLbF757U4C9FiaCi3oIv9wBk3LbdtBZiiv8QrPMP2Z73YksJLBRdYW3k2qLSukpuf4QR6hivB7AcLtL0kkYUrtjYhENFHgsw7fyyf7aERPEYvUFxfthOf6D1wO0syttdkXoWaCWG3rrVEBaXnuFL1MqrF6wPB50LPAi/Kw9iyaGkmm7TD1Qm0HMSaO7yjvYBYUeS5EXAU8yuxSFsxQMlvDcLESlUDXQjUThNvG9JJe42u0NFqEI0sxaMSYCYzF34jWAzwCLTr/1e+wu8fjBB0chJUr74aLQX5P/UqGl6SF/G04DmMSUv5o/Tr1juSwUGS0TT+9OYI889YTXO6XmK8ab1w8xtCUqxCeuX/mEDwOQVP9eP49qYBH2PE1FTz5qQcjqLWjFjZCEePnW3f3Db8uflhbF9WS9+OptamO1EGHIfArrIiGDenHX+4gIAzREkkqt8lAeTiXWz3W7Bf5wocvqJm5ciqmeCap7O6vjb38lr+5gEzfwrWmXJlA7jQ/PupVP1KmSmu9ougOeZJntNlm1tg6i0FAFKqj8x4F7QXToQDnxhO13/bh3u7EG1pdcZC5HEIir5AbJFf6Xp20bPp8in25AnQ8Eq8HG4iCAUru31ctoh4d19ivbPL8oib2jVAsdZtivWJ3LLBiBFzpZl8YFasQtGwwRCQo2oVqGryXHcnCddsYz3HNICNy1rB8v2h3nRZJcIS5qLMJdPsW1VYuUHu8yXW4ij7s+cLzi2vFaLzdyVJ1AOfxxROHWC/FSNjbaHHHzlh8nrY9Wj/sjp9uS1v7ICy2Sln9wqoKfF67VLldRWMUDJ1fe3J0fL4x5QYL16xxOWpirbf7hujetfzFON3azP0/snMwNK8YQyWZ5nijYWrd0D2CpXlo4PmpCKpofIbP5o8av0AeyvPRK+TlwofXlbjGquux/zCif7iat++WXJm515jHTQAJmNXkGSp7F+8x+2ZYNYQO0PPfaiEgO2SblEKqEAGFVB/t83evDGa4lUX8IG6BWZiYs05TS82Kudgxg7bizxO09MWiWuIFtUS9VePvQekVp0JB07gyWIVbggGJfwSxE6AErMFWPB2/k2wSGtbdbr3iNNpy//lZVen6jFLiQqU0TrfOih6dhGJnwpzVxcy3+aVgA3MP9lyH4ZC9HDRjkyE3/SVs7CSxSTeDw5ywbLoUD/bbkQM6C9Kf1LaAzZfhe9nWmI8iJR62sUxuA6lNQgQWQJTQijup6Tpry7yEuUJ0WFT+1lJbrbPrXINoM0Ips9g7CmHTsVNodGrMQfrEuR8dHkEotrq6v29nguWZsoiA/aJqKm+j/wdvI9QLnZzHlOjf2u/T+81Vz5tzBJdkt3Z7+RJVepZ1CAEHlf/Bava/hA0VpJ+qy+dCo2O0wclYYJkyCoF48VTRfUpHJxvVCvtzOk2YObI/tVVNMEV2xqoX6fVUwWCUEBWybW+E9oEiFsyCms0ynR3ucY+ov4OYEAxTPe0ljXyB1BADYKZk7T26ioTgWpJNVVf7Lmgl6L/VGs7Yc1xi06bNFqhzT4U39WoJYD906nKqxUDkuZ+o3iTD0L+JMNWgo+zndZBxX6Tu77UTVA0M28dQjwXhuplV7+4q5H40Z+wa6MA8uKTl8PjBiPJWdo2EviSlDYNLL0jEHYdnPSJL56dRuLgHV3toFUszJItWIRI+Lb5ef3GD0AMhku86JIBLZj+tn3EAl9Sx7iQL7aOteR+IYCOCUlLYk+f2YyyTMnlyRs5rVcet8L7bKMH+6qYj/zWNk2XgzIFIKBLvaiuSRGbHrpXSwtwe3upfx1/mDh9nVYuKIcfl0dNBKV7yiKMMiEEqXCH2O0HMiS6KXJfgWr8Z8NZue/NTWr2zaJFhspeKrz3IjalgK7wFl6fTS7wJigZ2mA6cfOAvbQZ7b2/hK5sDhU7ZtGVK3RtvSjQMfIkQm1AYRW4HHBlVBHB1r8Kd20wcbHVWh5q/l/DVBzqJvP2bSxYeWryq2b6IVxNR/Er4liJCfbplLtzjT/jzukVb07FddKamEs2B1t1/AtW/YzkhOP/m2Eghy/+CBxwvJpUI6EJuXOHeYnGzxV8EkYAngpJNc525l9qvZTPiOjVpAEAqQpb2NgxDabZwAg6fHAjShYUvzoHYZTrEcUNSxE/ZEMhUIkjH+xgeUQ5HUg5pibOMQ7DOBSZz5W14Nx7NZY1FlglshEjkcoZEH6MZPAjgDcwz/ZXe9L7zsY12veMnS+FdIH4yo+gefukNs4Uch9jr8hkqPKUedlLD/cJsVJyPje14k2UvrS1QaaivysDX0Phz1y1G1JNEg7xXU1qVZn4ibGxgg9YMVnInwzjiyWxlGz1/In9do1EthGarvK7xaURVwGYGIhMgiwjfo9dIczQvVRr1OwVuYvsu3WwAbhaG1rVdsvYkepl9bNNzlT/KvSMF5REiMcMwwJTdMiglDWczz78bGMwQT54YWjJHCfBPO/t8ZPsSnWw4/S2NtEas5rRMO18Sv+xd2uNz1AtHC6TFDf+KB+oS9RZ4tGsxFOmdvwXj2/YlQnW2iKpRyHNXd8PFbo7L0qkdr8AS/nn/F5Am6ST2ZKt7gTTluatG6tvpbN0Rl7N+/kGwxUc4Ur7j6UynxVf9wK0u09MBeULJ2sIY1/klQOpzMYwRoH0wESy6/CLkJYnPAf+o5LmL/1gxArBg31E7tAaecAnbc7etj6l64OKV81LsZasYpWbB2E04XxH2pJvU09GH5vzGk+N1JQRXrl5yIxqt3W/KgqlYz4wMSjUDoyeH5S/rKDBIw9JIQhybIezalQcfXQnBoZZF2/SwIzat/7QFQzlm3zXy10QC5NF5bqMRYKOlhLPQPH2/bGL50Jq1CoZom+4MNyqqPjXoFSZyyMCvXOkHC6/HO+2+K/depX55/hf4j/Ru29ZNlX/We30oZ0Rfb3HpTiDqGhS5EiLcBKSxrHM4Z7w60mZRX4cd5wA9WZHyGgWEAi1tDnro7z5BgOkrkd7jgd1Voyx3o/DOi04s0mSDCZZFjcfaMs/oSSWeeSNX2JSF5QDlbzRGsalHKsU6+H6HxlmuSQaxPCqb4S7LD3ywesKlibG0FA6FdmWEtpAuiKQywYYTTDsSTPRY2ZZAziKt402MWMMxoQ+CkSDsbkqQVo16b8vt+vykk0kQz2WlMxqxTPH2QvxMMBvdRcZcCZC+mKS6JEwNTjsrblM3g0dOD/ChU6U3mCUzYgYTkq9KGZCKmz4eJuuuZgJSc7GTPTy8bGH3W34WFWyrhejq961OUqZRN9GdkAjytaxM8lRj0MSeJZdfkLaPkXAltRYd8x/+ENY81jYrNEnXpUePjKb486GRKBnMQiZfj+w/YSWAWyNQC8mxuT7jLf4xYusJELfT/hNkoU3rvacS9NHz+T9fHtgb0YDin+DXmzfcR2FWSfHmUkP9Km95rplWhFb8z1IiSI9d6qx2pV+usumRdyi4zM0UReEt6ur11nIdVp7Cnh8iG6px04gu1oumIQM1CPB6qSIY99AhfRKg/sg85VIf+5VGWnyNvTUPjbCwRjoWMWqndtuZ1zw3yokGMOMudyGwbqbcwpgDEpCInRMVY/Z751PZ1pAeMh5C+u5Vjx2KlTIzYb17W+7oSgYBLsupA2N+h1OcMy4HEBkqA0TkyCqyuidYehDjHRI8Op3e7cICoMXuHhHVFMixJCFFdbxWu3mvHfGapDGwRGMkggWP688bxeR4pPD91P30WdaMTnHXvGld1wJuMTh9J700Lb/Rq43uMorQbVpI4KNQwPH0xSb9bgKMmyobHkkTk8dWBbz0+C/ag9D7F0jiAhnjXajWSPE8YozxnB+yFeTpkFjCK54fQrRd+c+DN/Prto2pK7FrMbx3MNQdqf8IyQj91ryk8/yEK5XV6i+WB1gmLi5QugSQ5S8AbkO0wSo1b9HZgJPcuIWkkhieGlpyNF6wV0LaZoRh8vRvFHQpf4LJcDpqj9GE/AoEQMas8tpiQg30a+A/xH4tn0sdJ1kbf/kaeZW92MpQCmmkhC4PccC/RLZ2un7E/IESGO3eXpaOA6OZkjuW4n84WjN777hKYAY62J226LjgRZCSJ1BMazss3bvhjKUf46AEVCX4puuPbfC/fbJslq/l43z2DpyfsnF29hGZH+UMSaL8af3k3N0KRCTG34Tn+2jtNFy75dkqncaDtjv1iGl43dPGTX1S4cCmZoQZ7WGziFbQ8iY36Pd0ZeTBTsj2e3Ou+GutmHuJVZO2s+CnRKODNQJmNUk7smPCVjEbGY4ts1GaVhnOXZAa8LWp/RH8kOSfK39hounmwpwNOGvSl/5I56x8hZuzYf6mxsdNcQaVmhwXEyXnkBn+b7H6GmniNfJ9bW0RhzfdcZGpzFaBxjaMl+w6qpyNMkdnKTmZ27UXxCntKhDshG47O3l1OmXk7lVquJAgKroewMhQY4nZ5K+Hdg4shSBVtJV2e9+OkB5nxFpPaNjzebrmkvkQP3Xdh64oR2FnT7ErxoFvdKYEypF+MjB7ClSVHo2dPQolqOltRKF89zUwDWNUKqmg8jp1AuB7ZjRpcsPeXkSkBXkd8LlRuNFQe0ydm9EwQ9uEjokeotRxgqij4VzbHuZ881k842stpJZCiAKmq6gU3k9WzydwfGaK3os7+2T0MYopKgks/2+vkn3hB/A4eAw8Nv8jjPtPqQts3x+iYbWTGrA+evzmC4iXTAZpWfyWiz/ve+Y82fFjaWx+jE4LGPSX2xvFSB7qfdyxAmY1kluefhu9nejSTInELzaR/iKmgD40wwaycKqnB7dHoHEDShBMwPcfdFJmgb5NcR8ww7pL13X0fTjHUUgo3LEtruKqdUQrSkEw6xrI0NfBGk1RVz2L4sxSfyqA8RurH7zfjCx1KBbrsAqY4sXm/ypUaupah6z0Z0LtRWkIojGF3DcmELZS1m7k6/oQjfj1THdM5UaVQJUv+Kbh6ZW4iLamOyqplbqW3zw0tZ1BpGDbPTJhCOZ0+bH0lDNX/zEez4d0iYRT55qoN2PypoBDeAfuLktbgYmODqg+oQmR7j6SshF/Dzj8GfGAI9Y9ahGju2nAsja9UhSHtIZ2trvWv77HuV8a13ZXXLjv7N5bCn/LkETylthCbO1WClrcdcOPXtEbIuk1I0d3cgBv8vhCkhWGTx6bFzkRywqq3S3BGLleT0Y3HGrkZEb3npNG9Q4IJBA9v4q9WbOafntDI4fDr64Je+xeiLkcR6xqNf9kyamMYvQvkm8w65KmU8zA/V/K/7ohGLRiGoCGaRj7r5n8psEKuAWyQgdPiv8N5dHADC303VGCiePd5G+nlTdZOPnK/dzYjnvW25hafc2YXXZ56uu3z1Rojs2HtbeFJwgSH621ax9YZCbtnqZgdh4xL0rLh5csm+CNzTb5FLutoUay/1USn6UMKCvY7iFXcf9++5xJX2N/H1CUIR+kDOekGbIbRgYVAxvGRfK2x6NWB5+YDv3/iDlWCn8ccpnYiQw+/qTH07CFMQmeoLcQw6P5K6Ii/N8kVpGr3vxc6MqPmTDHeV/k0nzSkliMylDppGE+BDJ3pGYjYbllYgLgo0H0uY9tyyZyWhCoIJueeg/GFIUoikbyXuxjOgbzVHDG/p30wd27RfttV5gsnOos5ZyCAkZdGqqEQlQuDmg7jMHREhrDwvyKiKj1FTrQ9kBbvTy2iur4HZOwE6IOJzPTkFdBFaYs6VZ11uvhT2vk7V9Uhw+tc7xaDQJXF9iU00Mp6/EkJ1r1P02RrnvJB67emSIEy7i0u5My+qLI4Wk6wf5bHckQ072gnWWx2hKr0Q0PB+nq+cy7sWUkw/NZw0ogNIIYSlodujSaGQ95RmksfjMP9ek7kCAP2EthbHqKEecTagdRig6KP4p0vO33lm2FHrXdGVC1XjDclCaE52F4x3N85bJHaKRIuNEwqxFTHz3sGDp0SrnCUjaEM1odGXzDFvu5fWv77fQ95eZzYR43214bV90WRHWuasG4eAaR+prGGDh2pBTpDJiPUWzH630wRtPHTGjAWARJ+WMyNbw70B0L5bSRomPQ2tufixK5fp0GXXX0hUq0YoAFk59Yq4nNRIKBZWlnU3NEH8KdX6KfEes2/fEeaEng09cvrCBprkqVZrLPK7I2F5yu89yz+kRgeR6uu9NQFtWlfjnXSIBBXpU4MlMNhrgRHp56fzdRnd0XzIjOTMK55+JAenFOIqwikNRRP/uj7WhI4nhEQtNs2yOmHhMBqKSspnpY7eTCNv/dDeLXVskAWgoC1Auy2kiocGKvBd5jt6jOdfn+VXVqsKPBr/p0JZGF0mWwSiiFQ2zio1A8ZmSGlGMX3DISHmPLFnwID5QBbx2HzMNIeAFTCgvB1dGLdHuAeZ7L6Mgxxo2xDQY0AzFzvoXWtkETvb99miJ7LzpbIhpHXaQF7lwL5K1wXAEchhF5rgQLVGBx8Egw190NzKHjOApmvyywAJ8vljWxZrkdE2XrKUwytQKOnWr74eg/9+iXgi3nVwJZnhc6edfsJPFP6mY3Mv7bng6orqN502CO3+PmKygo6PEMrXCNONdbNw36LwG+MOKtcEII4MfzZI3kl5Hcg6jBqz8SCamZAGZ13fiV6rAGAdKFIe9hp8vWoV1d/D8NSc1TYjssCqi2u5OzPvxHwkuiBmJgyXI1ansR1lo4X6p8ictgK2E8h0F0vKs+pAIMmfkwqPD5/k+W8pb3UXmq3Bc3WOAl7cP86JjgWyTt6sfh/08nt6oxLsayiW098jKBhm5O7tOudxXJn63W8F+/QguVCig2E3729D87+6cqnrKIRh/Dwae5s7+D0Mme02h7V0rUXb9+ayGdak0EN8OlU8T6SQi1olPF/EDwSYVoQhAJiUkbuBjAnPpaJ+15ggiDRbqQHbbBwhKC619aa0PgaAXywoDje18l5V1dbddgnW6fd9no2Bfd57R+F01IleMT2gA4YiW4QjcBCgxEEwDx2j9nbhoLOyvMRni58kXHT1MUEGtSOBmDJ/GP6gJqkZe+dJ/rSR3ju6rBXowo8fuytdJURVbtLKU5iNRU9fg23WhdlSCmJCBH0kBeL5QmVtsNJaKLGEgubhDoj+W9P401HX4jaL1j1MS039kX3hiJwup1xKNM0TVgNz5BkbAuGEiG0l/A82QJw3J+lGRlbaZZsDwN3SGoHmOwzmobP5CrFUbCKjE/0hO1sXXxGUwQ22Z5W3OFKvIIo4g6AdCqVtb8cL+VBM2akKQ1CxJ4usHI/c8wYJxOfEhv4S2YaGz3Stm+KTqOOboZDIR6W/IavB8Wwujp7naJU1ucCi7haXmnYpjO13VmorYisH3CbxxzZV94KJFB/Z4jp/2rVyEfArp5H2oafFxEcAnpZ2odFzAv6sm1/NxB7zhucFv7c876J05vKVSVN9Cm3JM4jfd6w9H79zPoyQ5IrOjorG3hfKMHeb/oXP1nyQ2YqWlUiU38KZoG0Et9hKFSTFAdpAczHgeKT5gYH6mjL67S3lT2hd2x0j8BeT1Yhe1vdRFtBDNwXWDkDy6w9BFG3oITTIVp1CpAZ7dN6TdvtF2rLKkkO5yn75GuH+KCCwqCfwkmrcP81otBBFIiDJ7ZWw4OXRRJII+f6z/UqoIWINFZbdLSvckDqIK1nkaZBJx5bcDkgGFNzinDhE45TFcGzevfBuEdSKeyNBjw7rQtM7WppbQl0zG+cbZooL46QPZ++/+kxykBJlTfAcLN4GUyxY0VWiSNEnoj4KKVDHhbLxWAM7urgcL2gDSK4fjaZ27845RZ2v9WSAoh6jQgkffEIOGyMYo4rY7nBykg1MFFn1e6VOpE7RN3+KRSExr9rV2bvsb9HJaw/uGKELp/hdvdwAKyDEJfk8fo0KnYNXslwKmLAiR8aFmVrIWVA2/17K8Lf+0IMTY6zIC7RgfdW0ipf1a3uA4GCBMh1oNZUagJ27zHVrIyQGfx1SX8rEwkLST8JPB3zACyuTZRbe94bMpEZsCN1PexE11nCMjVQ5kI2vX1G61tHUcw06lHRuosxNyigcINIC1Ny8ebRkeot6JOGm0T9xTArdMX53lNKbNv/IpMVIHBOh3qDSKomYSyPvFgbsinoDF+AYWHYbhVtOQfY5BL4lsFZS1TTTTA/YKBT+rW5STZ9/1VsHKM/ubtC8c0niQzxC7T/0ZuDQJAE0pDWWYTSKxxRDWcekAlJgM+jqp1Xy9N0SpqJITmNPVxFRTjE9IYWi5pTQvZSHwrIhzp2vAT1y6ywnueqKR8/fUKW4eXSHLawqv5EqPA4SbNF4HuIjDODbYwSbVcYnugqh92UoakovWPTMRMI2RuwUOv9FG2u1IZoXRvkTW8W/Ch5BuH8oVgP6Czi3mEAJV8F+43+Ecfi9D7ckmoq6XABJcB02wEGXd1Vvyug+BvEBvHGsqW54ZolzIJ/EIma50FYjiodoE8UZ4IkLUl8XE0ffCvaCprrzbywGAPyq7d/2n6FMpEWbJELkhYI2z/2gRJ2GPG/wOnGKmW/VpiIOO0U9RuwP0eyGX7vrL9ZY/abUuYOoG65x1Fk9qMxXXjaXXL8Jq61ey1lQEmJ6HmC0XZ5ly5F6eZsvxN7hnFU6qrY9Ryf++wN2nslqvfvFM/rBFK53jro1I0CPG4kN7eZEnTIBFv4SStUjuS/c2e3ZxWLkntFMyeBr0Fd5x6NJqSn5wj1kh5dNBgdevGqL9Q8FmpYaI7L8cf3yPAdUKHCZdtEtkp+1VZDtUroUssGwLUzvlOQAG08RNHPiaoKDZAtCRL0tGj2Dox9+PpqPrmv4cvk/Z5XuDoZ9ak0jV+hDM9FCEme46u7bNiBtUzTvfYrpqS8HE2jUHxJGm9e/aXg6rCFJUXPuhh+fUkaTE8LtY1tTMzlhRFid0dlrc674QMKncroE5FoiDzBe9X12Ym0rkw1DRPJBHazHSVn5ZV87z9/dS5MAyKfwk49IoqWeLkvN4IbALAc1hDPiFRsl19sKkYS7fEsd8PTrUgH68H4BZ2TGWRkTpbsHR9DPXmoNHf7XaJxA0dDX3Yes7KXQEjF38wDHanNhiUQu5v/d55f05/qsDiAnsE1vwdNbL3W5Hf+GIuH4ia48YPxKK97HJxrokinnb3vfdSNBuEUSEIq7uAf9qyJ/XZGhkFK9TyfuHCS1NCwtXlkdHt/eY/U1sHnurLbUNyWzYU2nPTMnOEqNVNaA4ys+nv56zNHPC7hTx0kdPdWkdXIK/MQ0VXLUfxl+bCOwxXWTcwhy9NgoToKKToqg6XSUxjuDcDj7OADCcOXKx5BBADAw4b4gRSbL6MLgGD476eYoTki1icRs0oMk0/m0SAzXdudO0zq3Yt9+m3PXOo/VWHfQAFACmcaGKHbtQCYhAcwFKccPjsS2CBihbwj9uWdYlqHMp3gNbA6elHMEg0lNP2ZH3QReohptCZW6fWE+YG7eceY52WKvGKRprXe161zhWzpIN25gxOr/UqauBtb+ahpc/kF2MHqkNMk6wy2XxK7hcBxBmnWTokYBy2aVIKCXST6xf8fAA1U/v/v7U2+3GHHuPIpY0p4/Pvnh4rfrjNy15NlQXrAOW/+Up2gMwaazkr8uqiyLW4p7iXIiZTmRnD/veohJrBgRaJo9ZBMiBSUsx70RxctuGnJdHcyCt1O6W47/A0ImXSDLZtmmA8fFBfbzLEtGWEfPmDtfsCNIaQdFcmBYmGLp7cuipUMtqsRwByE6xUxeyCSt42+wVGmVzKFqYHbCdxxMlDkbqvYv6cNaYZ6bqiMY6R2RErgxr2+anLO1UVZfvlV+d89yBJMHPM7qMt9up1FWrVICdtCvI3t9gBAr9iAhBRW2l0TK5vy34JweyxE083W8t3bdKQ23XM4HVwoOJYsipj3GsM2MBBHyqDrhgcYsxxjCMIUC0az7BYQdVg3dgo30chXewFK9iw9ClwALksvxcXPgTH7n9N+oIGzapYyFadX3xh8RBJcxQZjxyP4+M5Ioe9PxISGlHbYP9n/0EIR7GluYBxbW9S3Ihl4fPWCDW3xizC5fX71M/6Qe/TilosSFNPDpBQObgFtTtKdyXOP1z2mI7dSF5l/fMwHnILEZGmwek6mnlVmxtvgUKs39YlgpbthRYugtbiEWrCajnrvLiI/p9GdqtZtCm3R7AUCE1fZckU2HHPs9xuscrMZ5+fkxRMtcOkMlKGWJgGj/IznrrlqNI48Yx4af2LtUUPX48jhcg1koelPmi++oPyOpmFoDFp5AVzQOUxGPaALudtMlYlOiTBgKZIW1GM9mLdQexnAJOcboiT9RbAKrjQMGqYEXEG4a1axsinaxU4DKs7+C4c5jXxWiDJAa9Odt2frLcNUHVwI0ZiD3U6k+a6j7laYsi6ICoXsWpvkXUHRjywV8LBWUv4xGVMtl800wyFdxb070o3g1NkS98WTTLR5ildgMv9gfcKCmuJs/iduHlsLq27kPrAOvD9FT5YUEueYuZeGHTe9WtFEDxpehmHRj+df/ZFAH0Oigxt5xostFRhF7XwsHlK1qa1ImEQ12KuohsWkpjZk64x0pGGQyEy44gPYvrYnLUjI/v3bjINWcZ1SD1ljb7TzFShaPlJsa3mbbKb+Rxee+VjkazGFdE3zLALfbJJk4E3TxelVnvlcFFZ6o18tJsYHD4XXAeyqReAGckqw+a1vaUP7Pc92X0mrZD7osWf5O0lazouorUmOPSn7/SrHMw+PsxuosSZNFlRzar1/jTc1MCdlBGWkkEs9ih2d/VWgM9KkSmbV+HxBxJ3UrppSE9SJRVr42DFa+utHl7gX3G6Sg1KKF2WU+e0WXWhfp/3hV9LrGyy3stTxESvkMs4dhScb39gs91dYpZjy5+MotzCJPM1fctB3ijUUlqip9uwUsbPEzO4XvDKQV4AQGZj+XbyjA6fhMapSwhFViJzPTNJ2RW8Ju9xsT3qNvSi4HDnzj2Fbkyq/GYcTkIwXSJhnPt4kp4xIoqPj+ZItsgF7x7JXboBrK8LDoHKtkHOT0QhN8CQYYZGSQ9H9YY/yz+mvEpTeqvVqpO3RlwqU2V4x1+Ma+tlFcLTfoZ8Ev9IYN/CsA4kmn/hmg8KHxJLQBVulGPYT0zRO0fjXZGfP5PnkIBr2TOkNb6uqRpBs2vY2elnYPPwdg5caA7Zyi7hUqJGVbaF+oMsywSAidg/MUexqe/acgBtnIDuJRuuqVT+/WETujAMN0fGTjbajxRl7QLyrRYv1WnqcbcJ0itH8T0gSMnhsUI3UeVhTnkGOMV098bt77u00KifHjfPqotXZjjps6OrlryMTacWR1tilwL+bimQ/Tb5iGIRD+pMdTKlo1aoUFF9tGiWoNctR65BMbl5h0QKjJ82vvUDlKOF++gV4aRmjEdpYczdB/XODV1KIzdKiEXhTh+dMOjnu+XMf42BWzv7ULewdAI3exqgHyhIBrX//ATUMQglxq9IEheGsk6SOb9X1lVqN8+73sGs4ezinUIpax8br+ICf2w64Mq+9UAwfCwKHQdfDdh2rHtjQqNUbaTPWFWX4w/fabLKFf+EpgHcqoijKmZEo69TDrznKdZFbwREy64tN8FDm6zgmYi1IuxqK/kkUUlNYHld00OcE68gUJV72L6ulFahrhlHkuX3crUKZFaAhcKElAYzCChLgraCVU3/WI5dj9xeQA2sAHKNarFaJkjR+p7gYYSAwuybtQBSi5mbheIPv39v3z7oapjrKPlvs5Sl/x3YZFG7A2pTR+OCCJmZ3Ra9WE+Pfpe/2pVfQGUmBb39FC7HF04QLMdMU9TwMe2pvj6HLkZXO9y8L8zIpAbwETJ5Bp3PasuJ6sFVAb5NbUf0fmzQsTwyODNMEcT5q0Ps4oX0nl4gpVsay8A2cBY1poHenn5n+akkcSGgIjwVSsguKEoTYf53CZsW4CUoC1qdUJYtftZFjkGluYODhKBOUn+b4ogJxmAgCjdtCj4l4t4/YnpmeNomEGgYNo7so0eAOD1sP8QHyaLI/g0SOxdK0rapvglTvKdjOBQzj1FKL76PdrU3l4DAul8sY1VKA8uMMuHi5d1KNoBH713cuZLw0xVGOXzeN5LP0KB0AqthtNfi5F2uWPfsxo+gl44vwZh5K7myxlP/lyWBmhjf2OOrjttEomKsybhfBFNJTiWb0Q1kqAnrUd0/NxETL3sYcKspba2ARkhfAAPRdYP/mB1L41OWH4iyj9mX9NBzD5RX1hrXPfjQ3iuhCdL+0Q+sKaTPZMi6ZhBd7NRv9xbF+Zln/moQili5vz1nlILN2PRw6DIR4JMtCt41DsAdgQbRrAXow1Ah83OP0KVpF5Vg49clR0NHehcgso4YyRpPWFuO/iz16Z674uvhXQFncxIDRBTCEjNxzNagUfpczfJCZiIlCkoBedI+om4My/VgrKteOL0mgStXmSC2q2pQw0snSDHLOCc8mmZ4qoP2OAYQqLgh65cy4wgxJbcNgkrg9fay/6Smpw9zVQnQKmIwdFxnLAK805flXjMBgrLvGJkVa+c29OI5uPYoBofFb67HZihZcGR5yCEQJpyy3YtAAGEhS76YZMwWmwr9nNy6E8GE41jr0Bq7PIrK5/GQzR247tky8lC0svpR1/KKeJt10ISYI0dG4D0KBxcjllRN98m74dyYXJoqWjGKJr9J9bv6xKNoLHMyAzRrA0mpi0dY8GPWHSB2Kj1IwnNgCJeeyxQhXXbywKQlCMdrOxvglQ1MHSUjyY54fvFSWHXKUklqYlaOFUVvoxSk9jr0EApb8VGq204FLEEdmkmwoRncjdbVu9OJz2K7sRJkOSgqIJw7n0dC39yFJHo6i3xbEzt26XpkgVnOgjJscN6Rk8VBWi6piLQWSjj0PKtIDYNVLm/K/exFeKylECMTXObu+nf9x/oA4l7OcVqbilxC63RjIxHhlmHrkxpFdwTd0RUVU8JMEolHODkSKh4dmM+Re3wcTX+DSX8hZb1eGFvLI5NljaeNXd0v50pDEMsYiKq9WiJA48ixGE9IbTr9bBwrCVMG45xY78hUwBDHz+9VHcZkcothLYl/b1hZDBr7KUoBKpNaqzTHAWs5RtXBAMkZ52J2AYcu/1TXH5lrvdEVUfSuYGB6aOXD4hNa2KYQouI4FbQ/RHGTUD6MuJyK4I1xGygYsBCZR7oCA6KWFhmCBl0H9DMvCI32GzKPNa4fzLXTbhhIVCoG4RZX5Q5rFX3Tjrv3oSnHGlrsg2peKZZvIGJZf7TIYsTLGxnxosXLrVzNQe7PYDWbKbqoKGVPuK+SD+EWW8GeK++p6isGolfV+4BYwWiLHKyNx3ozxQ/RDR5cDfRI6JehhOoF91WYxTfQia2yG1LnKZ0hVvdwtr2cpyx/dUY/KCcD0iACAwYLMZtZwju/zjykTmkW4aBxdUeuY3HVmitf/kjmLtCdfYoZQ==" title="Mekko Graphics Chart"/>
          <p:cNvSpPr>
            <a:spLocks noChangeAspect="1"/>
          </p:cNvSpPr>
          <p:nvPr>
            <p:custDataLst>
              <p:tags r:id="rId4"/>
            </p:custDataLst>
          </p:nvPr>
        </p:nvSpPr>
        <p:spPr bwMode="gray">
          <a:xfrm>
            <a:off x="6390696" y="1607720"/>
            <a:ext cx="5440766" cy="4845539"/>
          </a:xfrm>
          <a:prstGeom prst="rect">
            <a:avLst/>
          </a:prstGeom>
          <a:blipFill>
            <a:blip r:embed="rId15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b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1" dirty="0"/>
              <a:t>Demographics: </a:t>
            </a:r>
            <a:r>
              <a:rPr lang="en-US" dirty="0"/>
              <a:t>Website 9 sees strong engagement from 25–34-year-olds and a balanced gender split; opportunity to strengthen appeal among Gen-Z audiences</a:t>
            </a:r>
          </a:p>
        </p:txBody>
      </p: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1775092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1931611702500629 columns_2_131989508005190946 7_1_131989508015426342 13_1_131968953442330782 15_1_131968953640384281 24_1_131968954512020041 9_1_131969528283625217 26_0_131987879336486040 12_1_131989508015581765 16_1_132470767004752368 23_1_132472446058439024 </a:t>
            </a:r>
          </a:p>
        </p:txBody>
      </p:sp>
      <p:sp>
        <p:nvSpPr>
          <p:cNvPr id="15" name="btfpNotesBox562984"/>
          <p:cNvSpPr txBox="1"/>
          <p:nvPr>
            <p:custDataLst>
              <p:tags r:id="rId5"/>
            </p:custDataLst>
          </p:nvPr>
        </p:nvSpPr>
        <p:spPr bwMode="gray">
          <a:xfrm>
            <a:off x="327477" y="6336981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Note: LHS chart is sorted by the highest share of female visitors; RHS chart is sorted is sorted by the highest share of visitors aged 18–54</a:t>
            </a:r>
            <a:br>
              <a:rPr lang="en-US" sz="800">
                <a:solidFill>
                  <a:srgbClr val="000000"/>
                </a:solidFill>
              </a:rPr>
            </a:br>
            <a:r>
              <a:rPr lang="en-US" sz="800">
                <a:solidFill>
                  <a:srgbClr val="000000"/>
                </a:solidFill>
              </a:rPr>
              <a:t>Source: </a:t>
            </a:r>
            <a:r>
              <a:rPr lang="en-US" sz="800" err="1">
                <a:solidFill>
                  <a:srgbClr val="000000"/>
                </a:solidFill>
              </a:rPr>
              <a:t>SimilarWeb</a:t>
            </a:r>
            <a:endParaRPr lang="en-US" sz="800">
              <a:solidFill>
                <a:prstClr val="black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7CA15AF6-4A13-2CEE-8C2A-D8D48AD1549E}"/>
              </a:ext>
            </a:extLst>
          </p:cNvPr>
          <p:cNvSpPr/>
          <p:nvPr/>
        </p:nvSpPr>
        <p:spPr bwMode="gray">
          <a:xfrm>
            <a:off x="9578672" y="6298569"/>
            <a:ext cx="2284903" cy="2877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25EA628-F67B-FCFE-DD3A-4866ED1E3954}"/>
              </a:ext>
            </a:extLst>
          </p:cNvPr>
          <p:cNvSpPr/>
          <p:nvPr/>
        </p:nvSpPr>
        <p:spPr bwMode="gray">
          <a:xfrm>
            <a:off x="1784680" y="2312721"/>
            <a:ext cx="430543" cy="2803189"/>
          </a:xfrm>
          <a:prstGeom prst="rect">
            <a:avLst/>
          </a:prstGeom>
          <a:noFill/>
          <a:ln w="1905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b="1">
              <a:solidFill>
                <a:schemeClr val="tx1"/>
              </a:solidFill>
            </a:endParaRPr>
          </a:p>
        </p:txBody>
      </p:sp>
      <p:grpSp>
        <p:nvGrpSpPr>
          <p:cNvPr id="39" name="btfpStatusSticker983020">
            <a:extLst>
              <a:ext uri="{FF2B5EF4-FFF2-40B4-BE49-F238E27FC236}">
                <a16:creationId xmlns:a16="http://schemas.microsoft.com/office/drawing/2014/main" id="{37BC9187-8392-50B5-9463-4B7B96270893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102664" y="955344"/>
            <a:ext cx="1759136" cy="235611"/>
            <a:chOff x="-3097003" y="876300"/>
            <a:chExt cx="1759136" cy="235611"/>
          </a:xfrm>
        </p:grpSpPr>
        <p:sp>
          <p:nvSpPr>
            <p:cNvPr id="37" name="btfpStatusStickerText983020">
              <a:extLst>
                <a:ext uri="{FF2B5EF4-FFF2-40B4-BE49-F238E27FC236}">
                  <a16:creationId xmlns:a16="http://schemas.microsoft.com/office/drawing/2014/main" id="{90FD9815-62A1-C173-8FC4-181D6EC44E96}"/>
                </a:ext>
              </a:extLst>
            </p:cNvPr>
            <p:cNvSpPr txBox="1"/>
            <p:nvPr/>
          </p:nvSpPr>
          <p:spPr bwMode="gray">
            <a:xfrm>
              <a:off x="-3097003" y="876300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38" name="btfpStatusStickerLine983020">
              <a:extLst>
                <a:ext uri="{FF2B5EF4-FFF2-40B4-BE49-F238E27FC236}">
                  <a16:creationId xmlns:a16="http://schemas.microsoft.com/office/drawing/2014/main" id="{95A94EB9-42C6-3DC6-489D-0561643C0DE7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3097003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btfpRunningAgenda2Level600372">
            <a:extLst>
              <a:ext uri="{FF2B5EF4-FFF2-40B4-BE49-F238E27FC236}">
                <a16:creationId xmlns:a16="http://schemas.microsoft.com/office/drawing/2014/main" id="{B9A9F3A5-1F2C-CC5D-5210-0678F2F16607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-1" y="944429"/>
            <a:ext cx="5099404" cy="257442"/>
            <a:chOff x="-1" y="876300"/>
            <a:chExt cx="5099404" cy="257442"/>
          </a:xfrm>
        </p:grpSpPr>
        <p:sp>
          <p:nvSpPr>
            <p:cNvPr id="27" name="btfpRunningAgenda2LevelBarLeft600372">
              <a:extLst>
                <a:ext uri="{FF2B5EF4-FFF2-40B4-BE49-F238E27FC236}">
                  <a16:creationId xmlns:a16="http://schemas.microsoft.com/office/drawing/2014/main" id="{AE38542E-8E5D-B8A0-17EA-275AE214A0F8}"/>
                </a:ext>
              </a:extLst>
            </p:cNvPr>
            <p:cNvSpPr/>
            <p:nvPr/>
          </p:nvSpPr>
          <p:spPr bwMode="gray">
            <a:xfrm>
              <a:off x="-1" y="876300"/>
              <a:ext cx="2486479" cy="257442"/>
            </a:xfrm>
            <a:custGeom>
              <a:avLst/>
              <a:gdLst>
                <a:gd name="connsiteX0" fmla="*/ 986067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86067 w 1816204"/>
                <a:gd name="connsiteY0" fmla="*/ 0 h 257442"/>
                <a:gd name="connsiteX1" fmla="*/ 931347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86067 w 986067"/>
                <a:gd name="connsiteY0" fmla="*/ 0 h 257442"/>
                <a:gd name="connsiteX1" fmla="*/ 931347 w 986067"/>
                <a:gd name="connsiteY1" fmla="*/ 257442 h 257442"/>
                <a:gd name="connsiteX2" fmla="*/ 1 w 986067"/>
                <a:gd name="connsiteY2" fmla="*/ 257442 h 257442"/>
                <a:gd name="connsiteX3" fmla="*/ 0 w 986067"/>
                <a:gd name="connsiteY3" fmla="*/ 257442 h 257442"/>
                <a:gd name="connsiteX0" fmla="*/ 986066 w 986066"/>
                <a:gd name="connsiteY0" fmla="*/ 0 h 257442"/>
                <a:gd name="connsiteX1" fmla="*/ 931346 w 986066"/>
                <a:gd name="connsiteY1" fmla="*/ 257442 h 257442"/>
                <a:gd name="connsiteX2" fmla="*/ 0 w 986066"/>
                <a:gd name="connsiteY2" fmla="*/ 257442 h 257442"/>
                <a:gd name="connsiteX3" fmla="*/ 1 w 986066"/>
                <a:gd name="connsiteY3" fmla="*/ 0 h 257442"/>
                <a:gd name="connsiteX0" fmla="*/ 1146368 w 1146368"/>
                <a:gd name="connsiteY0" fmla="*/ 0 h 257442"/>
                <a:gd name="connsiteX1" fmla="*/ 931346 w 1146368"/>
                <a:gd name="connsiteY1" fmla="*/ 257442 h 257442"/>
                <a:gd name="connsiteX2" fmla="*/ 0 w 1146368"/>
                <a:gd name="connsiteY2" fmla="*/ 257442 h 257442"/>
                <a:gd name="connsiteX3" fmla="*/ 1 w 1146368"/>
                <a:gd name="connsiteY3" fmla="*/ 0 h 257442"/>
                <a:gd name="connsiteX0" fmla="*/ 1146368 w 1146368"/>
                <a:gd name="connsiteY0" fmla="*/ 0 h 257442"/>
                <a:gd name="connsiteX1" fmla="*/ 1091647 w 1146368"/>
                <a:gd name="connsiteY1" fmla="*/ 257442 h 257442"/>
                <a:gd name="connsiteX2" fmla="*/ 0 w 1146368"/>
                <a:gd name="connsiteY2" fmla="*/ 257442 h 257442"/>
                <a:gd name="connsiteX3" fmla="*/ 1 w 1146368"/>
                <a:gd name="connsiteY3" fmla="*/ 0 h 257442"/>
                <a:gd name="connsiteX0" fmla="*/ 1146368 w 1146368"/>
                <a:gd name="connsiteY0" fmla="*/ 0 h 257442"/>
                <a:gd name="connsiteX1" fmla="*/ 1091647 w 1146368"/>
                <a:gd name="connsiteY1" fmla="*/ 257442 h 257442"/>
                <a:gd name="connsiteX2" fmla="*/ 0 w 1146368"/>
                <a:gd name="connsiteY2" fmla="*/ 257442 h 257442"/>
                <a:gd name="connsiteX3" fmla="*/ 1 w 1146368"/>
                <a:gd name="connsiteY3" fmla="*/ 0 h 257442"/>
                <a:gd name="connsiteX0" fmla="*/ 1146368 w 1146368"/>
                <a:gd name="connsiteY0" fmla="*/ 0 h 257442"/>
                <a:gd name="connsiteX1" fmla="*/ 1091647 w 1146368"/>
                <a:gd name="connsiteY1" fmla="*/ 257442 h 257442"/>
                <a:gd name="connsiteX2" fmla="*/ 0 w 1146368"/>
                <a:gd name="connsiteY2" fmla="*/ 257442 h 257442"/>
                <a:gd name="connsiteX3" fmla="*/ 0 w 1146368"/>
                <a:gd name="connsiteY3" fmla="*/ 0 h 257442"/>
                <a:gd name="connsiteX0" fmla="*/ 1314682 w 1314682"/>
                <a:gd name="connsiteY0" fmla="*/ 0 h 257442"/>
                <a:gd name="connsiteX1" fmla="*/ 1091647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415672 w 1415672"/>
                <a:gd name="connsiteY0" fmla="*/ 0 h 257442"/>
                <a:gd name="connsiteX1" fmla="*/ 1259961 w 1415672"/>
                <a:gd name="connsiteY1" fmla="*/ 257442 h 257442"/>
                <a:gd name="connsiteX2" fmla="*/ 0 w 1415672"/>
                <a:gd name="connsiteY2" fmla="*/ 257442 h 257442"/>
                <a:gd name="connsiteX3" fmla="*/ 0 w 1415672"/>
                <a:gd name="connsiteY3" fmla="*/ 0 h 257442"/>
                <a:gd name="connsiteX0" fmla="*/ 1415672 w 1415672"/>
                <a:gd name="connsiteY0" fmla="*/ 0 h 257442"/>
                <a:gd name="connsiteX1" fmla="*/ 1360951 w 1415672"/>
                <a:gd name="connsiteY1" fmla="*/ 257442 h 257442"/>
                <a:gd name="connsiteX2" fmla="*/ 0 w 1415672"/>
                <a:gd name="connsiteY2" fmla="*/ 257442 h 257442"/>
                <a:gd name="connsiteX3" fmla="*/ 0 w 1415672"/>
                <a:gd name="connsiteY3" fmla="*/ 0 h 257442"/>
                <a:gd name="connsiteX0" fmla="*/ 1415672 w 1415672"/>
                <a:gd name="connsiteY0" fmla="*/ 0 h 257442"/>
                <a:gd name="connsiteX1" fmla="*/ 1360951 w 1415672"/>
                <a:gd name="connsiteY1" fmla="*/ 257442 h 257442"/>
                <a:gd name="connsiteX2" fmla="*/ 0 w 1415672"/>
                <a:gd name="connsiteY2" fmla="*/ 257442 h 257442"/>
                <a:gd name="connsiteX3" fmla="*/ 0 w 1415672"/>
                <a:gd name="connsiteY3" fmla="*/ 0 h 257442"/>
                <a:gd name="connsiteX0" fmla="*/ 1415672 w 1415672"/>
                <a:gd name="connsiteY0" fmla="*/ 0 h 257442"/>
                <a:gd name="connsiteX1" fmla="*/ 1360951 w 1415672"/>
                <a:gd name="connsiteY1" fmla="*/ 257442 h 257442"/>
                <a:gd name="connsiteX2" fmla="*/ 0 w 1415672"/>
                <a:gd name="connsiteY2" fmla="*/ 257442 h 257442"/>
                <a:gd name="connsiteX3" fmla="*/ 0 w 1415672"/>
                <a:gd name="connsiteY3" fmla="*/ 0 h 257442"/>
                <a:gd name="connsiteX0" fmla="*/ 1567957 w 1567957"/>
                <a:gd name="connsiteY0" fmla="*/ 0 h 257442"/>
                <a:gd name="connsiteX1" fmla="*/ 1360951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567957 w 1567957"/>
                <a:gd name="connsiteY0" fmla="*/ 0 h 257442"/>
                <a:gd name="connsiteX1" fmla="*/ 1513236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567957 w 1567957"/>
                <a:gd name="connsiteY0" fmla="*/ 0 h 257442"/>
                <a:gd name="connsiteX1" fmla="*/ 1513236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567957 w 1567957"/>
                <a:gd name="connsiteY0" fmla="*/ 0 h 257442"/>
                <a:gd name="connsiteX1" fmla="*/ 1513236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736273 w 1736273"/>
                <a:gd name="connsiteY0" fmla="*/ 0 h 257442"/>
                <a:gd name="connsiteX1" fmla="*/ 1513236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736273 w 1736273"/>
                <a:gd name="connsiteY0" fmla="*/ 0 h 257442"/>
                <a:gd name="connsiteX1" fmla="*/ 1681552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736273 w 1736273"/>
                <a:gd name="connsiteY0" fmla="*/ 0 h 257442"/>
                <a:gd name="connsiteX1" fmla="*/ 1681552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736273 w 1736273"/>
                <a:gd name="connsiteY0" fmla="*/ 0 h 257442"/>
                <a:gd name="connsiteX1" fmla="*/ 1681552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904587 w 1904587"/>
                <a:gd name="connsiteY0" fmla="*/ 0 h 257442"/>
                <a:gd name="connsiteX1" fmla="*/ 1681552 w 1904587"/>
                <a:gd name="connsiteY1" fmla="*/ 257442 h 257442"/>
                <a:gd name="connsiteX2" fmla="*/ 0 w 1904587"/>
                <a:gd name="connsiteY2" fmla="*/ 257442 h 257442"/>
                <a:gd name="connsiteX3" fmla="*/ 0 w 1904587"/>
                <a:gd name="connsiteY3" fmla="*/ 0 h 257442"/>
                <a:gd name="connsiteX0" fmla="*/ 1904587 w 1904587"/>
                <a:gd name="connsiteY0" fmla="*/ 0 h 257442"/>
                <a:gd name="connsiteX1" fmla="*/ 1849866 w 1904587"/>
                <a:gd name="connsiteY1" fmla="*/ 257442 h 257442"/>
                <a:gd name="connsiteX2" fmla="*/ 0 w 1904587"/>
                <a:gd name="connsiteY2" fmla="*/ 257442 h 257442"/>
                <a:gd name="connsiteX3" fmla="*/ 0 w 1904587"/>
                <a:gd name="connsiteY3" fmla="*/ 0 h 257442"/>
                <a:gd name="connsiteX0" fmla="*/ 1904587 w 1904587"/>
                <a:gd name="connsiteY0" fmla="*/ 0 h 257442"/>
                <a:gd name="connsiteX1" fmla="*/ 1849866 w 1904587"/>
                <a:gd name="connsiteY1" fmla="*/ 257442 h 257442"/>
                <a:gd name="connsiteX2" fmla="*/ 0 w 1904587"/>
                <a:gd name="connsiteY2" fmla="*/ 257442 h 257442"/>
                <a:gd name="connsiteX3" fmla="*/ 0 w 1904587"/>
                <a:gd name="connsiteY3" fmla="*/ 0 h 257442"/>
                <a:gd name="connsiteX0" fmla="*/ 1904587 w 1904587"/>
                <a:gd name="connsiteY0" fmla="*/ 0 h 257442"/>
                <a:gd name="connsiteX1" fmla="*/ 1849866 w 1904587"/>
                <a:gd name="connsiteY1" fmla="*/ 257442 h 257442"/>
                <a:gd name="connsiteX2" fmla="*/ 0 w 1904587"/>
                <a:gd name="connsiteY2" fmla="*/ 257442 h 257442"/>
                <a:gd name="connsiteX3" fmla="*/ 0 w 1904587"/>
                <a:gd name="connsiteY3" fmla="*/ 0 h 257442"/>
                <a:gd name="connsiteX0" fmla="*/ 2056873 w 2056873"/>
                <a:gd name="connsiteY0" fmla="*/ 0 h 257442"/>
                <a:gd name="connsiteX1" fmla="*/ 1849866 w 2056873"/>
                <a:gd name="connsiteY1" fmla="*/ 257442 h 257442"/>
                <a:gd name="connsiteX2" fmla="*/ 0 w 2056873"/>
                <a:gd name="connsiteY2" fmla="*/ 257442 h 257442"/>
                <a:gd name="connsiteX3" fmla="*/ 0 w 2056873"/>
                <a:gd name="connsiteY3" fmla="*/ 0 h 257442"/>
                <a:gd name="connsiteX0" fmla="*/ 2056873 w 2056873"/>
                <a:gd name="connsiteY0" fmla="*/ 0 h 257442"/>
                <a:gd name="connsiteX1" fmla="*/ 2002152 w 2056873"/>
                <a:gd name="connsiteY1" fmla="*/ 257442 h 257442"/>
                <a:gd name="connsiteX2" fmla="*/ 0 w 2056873"/>
                <a:gd name="connsiteY2" fmla="*/ 257442 h 257442"/>
                <a:gd name="connsiteX3" fmla="*/ 0 w 2056873"/>
                <a:gd name="connsiteY3" fmla="*/ 0 h 257442"/>
                <a:gd name="connsiteX0" fmla="*/ 2056873 w 2056873"/>
                <a:gd name="connsiteY0" fmla="*/ 0 h 257442"/>
                <a:gd name="connsiteX1" fmla="*/ 2002152 w 2056873"/>
                <a:gd name="connsiteY1" fmla="*/ 257442 h 257442"/>
                <a:gd name="connsiteX2" fmla="*/ 0 w 2056873"/>
                <a:gd name="connsiteY2" fmla="*/ 257442 h 257442"/>
                <a:gd name="connsiteX3" fmla="*/ 0 w 2056873"/>
                <a:gd name="connsiteY3" fmla="*/ 0 h 257442"/>
                <a:gd name="connsiteX0" fmla="*/ 2056873 w 2056873"/>
                <a:gd name="connsiteY0" fmla="*/ 0 h 257442"/>
                <a:gd name="connsiteX1" fmla="*/ 2002152 w 2056873"/>
                <a:gd name="connsiteY1" fmla="*/ 257442 h 257442"/>
                <a:gd name="connsiteX2" fmla="*/ 0 w 2056873"/>
                <a:gd name="connsiteY2" fmla="*/ 257442 h 257442"/>
                <a:gd name="connsiteX3" fmla="*/ 0 w 2056873"/>
                <a:gd name="connsiteY3" fmla="*/ 0 h 257442"/>
                <a:gd name="connsiteX0" fmla="*/ 2209158 w 2209158"/>
                <a:gd name="connsiteY0" fmla="*/ 0 h 257442"/>
                <a:gd name="connsiteX1" fmla="*/ 2002152 w 2209158"/>
                <a:gd name="connsiteY1" fmla="*/ 257442 h 257442"/>
                <a:gd name="connsiteX2" fmla="*/ 0 w 2209158"/>
                <a:gd name="connsiteY2" fmla="*/ 257442 h 257442"/>
                <a:gd name="connsiteX3" fmla="*/ 0 w 2209158"/>
                <a:gd name="connsiteY3" fmla="*/ 0 h 257442"/>
                <a:gd name="connsiteX0" fmla="*/ 2209158 w 2209158"/>
                <a:gd name="connsiteY0" fmla="*/ 0 h 257442"/>
                <a:gd name="connsiteX1" fmla="*/ 2154436 w 2209158"/>
                <a:gd name="connsiteY1" fmla="*/ 257442 h 257442"/>
                <a:gd name="connsiteX2" fmla="*/ 0 w 2209158"/>
                <a:gd name="connsiteY2" fmla="*/ 257442 h 257442"/>
                <a:gd name="connsiteX3" fmla="*/ 0 w 2209158"/>
                <a:gd name="connsiteY3" fmla="*/ 0 h 257442"/>
                <a:gd name="connsiteX0" fmla="*/ 2209159 w 2209159"/>
                <a:gd name="connsiteY0" fmla="*/ 0 h 257442"/>
                <a:gd name="connsiteX1" fmla="*/ 2154437 w 2209159"/>
                <a:gd name="connsiteY1" fmla="*/ 257442 h 257442"/>
                <a:gd name="connsiteX2" fmla="*/ 0 w 2209159"/>
                <a:gd name="connsiteY2" fmla="*/ 257442 h 257442"/>
                <a:gd name="connsiteX3" fmla="*/ 1 w 2209159"/>
                <a:gd name="connsiteY3" fmla="*/ 0 h 257442"/>
                <a:gd name="connsiteX0" fmla="*/ 2209159 w 2209159"/>
                <a:gd name="connsiteY0" fmla="*/ 0 h 257442"/>
                <a:gd name="connsiteX1" fmla="*/ 2154437 w 2209159"/>
                <a:gd name="connsiteY1" fmla="*/ 257442 h 257442"/>
                <a:gd name="connsiteX2" fmla="*/ 0 w 2209159"/>
                <a:gd name="connsiteY2" fmla="*/ 257442 h 257442"/>
                <a:gd name="connsiteX3" fmla="*/ 1 w 2209159"/>
                <a:gd name="connsiteY3" fmla="*/ 0 h 257442"/>
                <a:gd name="connsiteX0" fmla="*/ 2310149 w 2310149"/>
                <a:gd name="connsiteY0" fmla="*/ 0 h 257442"/>
                <a:gd name="connsiteX1" fmla="*/ 2154437 w 2310149"/>
                <a:gd name="connsiteY1" fmla="*/ 257442 h 257442"/>
                <a:gd name="connsiteX2" fmla="*/ 0 w 2310149"/>
                <a:gd name="connsiteY2" fmla="*/ 257442 h 257442"/>
                <a:gd name="connsiteX3" fmla="*/ 1 w 2310149"/>
                <a:gd name="connsiteY3" fmla="*/ 0 h 257442"/>
                <a:gd name="connsiteX0" fmla="*/ 2310149 w 2310149"/>
                <a:gd name="connsiteY0" fmla="*/ 0 h 257442"/>
                <a:gd name="connsiteX1" fmla="*/ 2255428 w 2310149"/>
                <a:gd name="connsiteY1" fmla="*/ 257442 h 257442"/>
                <a:gd name="connsiteX2" fmla="*/ 0 w 2310149"/>
                <a:gd name="connsiteY2" fmla="*/ 257442 h 257442"/>
                <a:gd name="connsiteX3" fmla="*/ 1 w 2310149"/>
                <a:gd name="connsiteY3" fmla="*/ 0 h 257442"/>
                <a:gd name="connsiteX0" fmla="*/ 2310148 w 2310148"/>
                <a:gd name="connsiteY0" fmla="*/ 0 h 257442"/>
                <a:gd name="connsiteX1" fmla="*/ 2255427 w 2310148"/>
                <a:gd name="connsiteY1" fmla="*/ 257442 h 257442"/>
                <a:gd name="connsiteX2" fmla="*/ 0 w 2310148"/>
                <a:gd name="connsiteY2" fmla="*/ 257442 h 257442"/>
                <a:gd name="connsiteX3" fmla="*/ 0 w 2310148"/>
                <a:gd name="connsiteY3" fmla="*/ 0 h 257442"/>
                <a:gd name="connsiteX0" fmla="*/ 2310149 w 2310149"/>
                <a:gd name="connsiteY0" fmla="*/ 0 h 257442"/>
                <a:gd name="connsiteX1" fmla="*/ 2255428 w 2310149"/>
                <a:gd name="connsiteY1" fmla="*/ 257442 h 257442"/>
                <a:gd name="connsiteX2" fmla="*/ 1 w 2310149"/>
                <a:gd name="connsiteY2" fmla="*/ 257442 h 257442"/>
                <a:gd name="connsiteX3" fmla="*/ 0 w 2310149"/>
                <a:gd name="connsiteY3" fmla="*/ 0 h 257442"/>
                <a:gd name="connsiteX0" fmla="*/ 2478463 w 2478463"/>
                <a:gd name="connsiteY0" fmla="*/ 0 h 257442"/>
                <a:gd name="connsiteX1" fmla="*/ 2255428 w 2478463"/>
                <a:gd name="connsiteY1" fmla="*/ 257442 h 257442"/>
                <a:gd name="connsiteX2" fmla="*/ 1 w 2478463"/>
                <a:gd name="connsiteY2" fmla="*/ 257442 h 257442"/>
                <a:gd name="connsiteX3" fmla="*/ 0 w 2478463"/>
                <a:gd name="connsiteY3" fmla="*/ 0 h 257442"/>
                <a:gd name="connsiteX0" fmla="*/ 2478463 w 2478463"/>
                <a:gd name="connsiteY0" fmla="*/ 0 h 257442"/>
                <a:gd name="connsiteX1" fmla="*/ 2423742 w 2478463"/>
                <a:gd name="connsiteY1" fmla="*/ 257442 h 257442"/>
                <a:gd name="connsiteX2" fmla="*/ 1 w 2478463"/>
                <a:gd name="connsiteY2" fmla="*/ 257442 h 257442"/>
                <a:gd name="connsiteX3" fmla="*/ 0 w 2478463"/>
                <a:gd name="connsiteY3" fmla="*/ 0 h 257442"/>
                <a:gd name="connsiteX0" fmla="*/ 2478463 w 2478463"/>
                <a:gd name="connsiteY0" fmla="*/ 0 h 257442"/>
                <a:gd name="connsiteX1" fmla="*/ 2423742 w 2478463"/>
                <a:gd name="connsiteY1" fmla="*/ 257442 h 257442"/>
                <a:gd name="connsiteX2" fmla="*/ 1 w 2478463"/>
                <a:gd name="connsiteY2" fmla="*/ 257442 h 257442"/>
                <a:gd name="connsiteX3" fmla="*/ 0 w 2478463"/>
                <a:gd name="connsiteY3" fmla="*/ 0 h 257442"/>
                <a:gd name="connsiteX0" fmla="*/ 2478462 w 2478462"/>
                <a:gd name="connsiteY0" fmla="*/ 0 h 257442"/>
                <a:gd name="connsiteX1" fmla="*/ 2423741 w 2478462"/>
                <a:gd name="connsiteY1" fmla="*/ 257442 h 257442"/>
                <a:gd name="connsiteX2" fmla="*/ 0 w 2478462"/>
                <a:gd name="connsiteY2" fmla="*/ 257442 h 257442"/>
                <a:gd name="connsiteX3" fmla="*/ 0 w 2478462"/>
                <a:gd name="connsiteY3" fmla="*/ 0 h 257442"/>
                <a:gd name="connsiteX0" fmla="*/ 2377473 w 2423741"/>
                <a:gd name="connsiteY0" fmla="*/ 0 h 257442"/>
                <a:gd name="connsiteX1" fmla="*/ 2423741 w 2423741"/>
                <a:gd name="connsiteY1" fmla="*/ 257442 h 257442"/>
                <a:gd name="connsiteX2" fmla="*/ 0 w 2423741"/>
                <a:gd name="connsiteY2" fmla="*/ 257442 h 257442"/>
                <a:gd name="connsiteX3" fmla="*/ 0 w 2423741"/>
                <a:gd name="connsiteY3" fmla="*/ 0 h 257442"/>
                <a:gd name="connsiteX0" fmla="*/ 2377473 w 2377473"/>
                <a:gd name="connsiteY0" fmla="*/ 0 h 257442"/>
                <a:gd name="connsiteX1" fmla="*/ 2322753 w 2377473"/>
                <a:gd name="connsiteY1" fmla="*/ 257442 h 257442"/>
                <a:gd name="connsiteX2" fmla="*/ 0 w 2377473"/>
                <a:gd name="connsiteY2" fmla="*/ 257442 h 257442"/>
                <a:gd name="connsiteX3" fmla="*/ 0 w 2377473"/>
                <a:gd name="connsiteY3" fmla="*/ 0 h 257442"/>
                <a:gd name="connsiteX0" fmla="*/ 2377473 w 2377473"/>
                <a:gd name="connsiteY0" fmla="*/ 0 h 257442"/>
                <a:gd name="connsiteX1" fmla="*/ 2322753 w 2377473"/>
                <a:gd name="connsiteY1" fmla="*/ 257442 h 257442"/>
                <a:gd name="connsiteX2" fmla="*/ 0 w 2377473"/>
                <a:gd name="connsiteY2" fmla="*/ 257442 h 257442"/>
                <a:gd name="connsiteX3" fmla="*/ 0 w 2377473"/>
                <a:gd name="connsiteY3" fmla="*/ 0 h 257442"/>
                <a:gd name="connsiteX0" fmla="*/ 2377473 w 2377473"/>
                <a:gd name="connsiteY0" fmla="*/ 0 h 257442"/>
                <a:gd name="connsiteX1" fmla="*/ 2322753 w 2377473"/>
                <a:gd name="connsiteY1" fmla="*/ 257442 h 257442"/>
                <a:gd name="connsiteX2" fmla="*/ 0 w 2377473"/>
                <a:gd name="connsiteY2" fmla="*/ 257442 h 257442"/>
                <a:gd name="connsiteX3" fmla="*/ 0 w 2377473"/>
                <a:gd name="connsiteY3" fmla="*/ 0 h 257442"/>
                <a:gd name="connsiteX0" fmla="*/ 2486478 w 2486478"/>
                <a:gd name="connsiteY0" fmla="*/ 0 h 257442"/>
                <a:gd name="connsiteX1" fmla="*/ 2322753 w 2486478"/>
                <a:gd name="connsiteY1" fmla="*/ 257442 h 257442"/>
                <a:gd name="connsiteX2" fmla="*/ 0 w 2486478"/>
                <a:gd name="connsiteY2" fmla="*/ 257442 h 257442"/>
                <a:gd name="connsiteX3" fmla="*/ 0 w 2486478"/>
                <a:gd name="connsiteY3" fmla="*/ 0 h 257442"/>
                <a:gd name="connsiteX0" fmla="*/ 2486478 w 2486478"/>
                <a:gd name="connsiteY0" fmla="*/ 0 h 257442"/>
                <a:gd name="connsiteX1" fmla="*/ 2431756 w 2486478"/>
                <a:gd name="connsiteY1" fmla="*/ 257442 h 257442"/>
                <a:gd name="connsiteX2" fmla="*/ 0 w 2486478"/>
                <a:gd name="connsiteY2" fmla="*/ 257442 h 257442"/>
                <a:gd name="connsiteX3" fmla="*/ 0 w 2486478"/>
                <a:gd name="connsiteY3" fmla="*/ 0 h 257442"/>
                <a:gd name="connsiteX0" fmla="*/ 2486479 w 2486479"/>
                <a:gd name="connsiteY0" fmla="*/ 0 h 257442"/>
                <a:gd name="connsiteX1" fmla="*/ 2431757 w 2486479"/>
                <a:gd name="connsiteY1" fmla="*/ 257442 h 257442"/>
                <a:gd name="connsiteX2" fmla="*/ 0 w 2486479"/>
                <a:gd name="connsiteY2" fmla="*/ 257442 h 257442"/>
                <a:gd name="connsiteX3" fmla="*/ 1 w 2486479"/>
                <a:gd name="connsiteY3" fmla="*/ 0 h 257442"/>
                <a:gd name="connsiteX0" fmla="*/ 2486479 w 2486479"/>
                <a:gd name="connsiteY0" fmla="*/ 0 h 257442"/>
                <a:gd name="connsiteX1" fmla="*/ 2431757 w 2486479"/>
                <a:gd name="connsiteY1" fmla="*/ 257442 h 257442"/>
                <a:gd name="connsiteX2" fmla="*/ 0 w 2486479"/>
                <a:gd name="connsiteY2" fmla="*/ 257442 h 257442"/>
                <a:gd name="connsiteX3" fmla="*/ 1 w 2486479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86479" h="257442">
                  <a:moveTo>
                    <a:pt x="2486479" y="0"/>
                  </a:moveTo>
                  <a:lnTo>
                    <a:pt x="2431757" y="257442"/>
                  </a:lnTo>
                  <a:lnTo>
                    <a:pt x="0" y="257442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8" name="btfpRunningAgenda2LevelTextLeft600372">
              <a:extLst>
                <a:ext uri="{FF2B5EF4-FFF2-40B4-BE49-F238E27FC236}">
                  <a16:creationId xmlns:a16="http://schemas.microsoft.com/office/drawing/2014/main" id="{E1E2AB8A-1DC3-AEA2-C646-C55789D7C128}"/>
                </a:ext>
              </a:extLst>
            </p:cNvPr>
            <p:cNvSpPr txBox="1"/>
            <p:nvPr/>
          </p:nvSpPr>
          <p:spPr bwMode="gray">
            <a:xfrm>
              <a:off x="0" y="876300"/>
              <a:ext cx="2431757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Web-traffic</a:t>
              </a:r>
            </a:p>
          </p:txBody>
        </p:sp>
        <p:sp>
          <p:nvSpPr>
            <p:cNvPr id="40" name="btfpRunningAgenda2LevelBarRight600372">
              <a:extLst>
                <a:ext uri="{FF2B5EF4-FFF2-40B4-BE49-F238E27FC236}">
                  <a16:creationId xmlns:a16="http://schemas.microsoft.com/office/drawing/2014/main" id="{71BC1ADA-4D81-B6C8-AD50-4FB471F6C5B7}"/>
                </a:ext>
              </a:extLst>
            </p:cNvPr>
            <p:cNvSpPr/>
            <p:nvPr/>
          </p:nvSpPr>
          <p:spPr bwMode="gray">
            <a:xfrm>
              <a:off x="2351636" y="876300"/>
              <a:ext cx="2747767" cy="257442"/>
            </a:xfrm>
            <a:custGeom>
              <a:avLst/>
              <a:gdLst>
                <a:gd name="connsiteX0" fmla="*/ 960419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60419 w 2313135"/>
                <a:gd name="connsiteY0" fmla="*/ 0 h 257442"/>
                <a:gd name="connsiteX1" fmla="*/ 905698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7 w 960418"/>
                <a:gd name="connsiteY1" fmla="*/ 257442 h 257442"/>
                <a:gd name="connsiteX2" fmla="*/ 0 w 960418"/>
                <a:gd name="connsiteY2" fmla="*/ 257442 h 257442"/>
                <a:gd name="connsiteX3" fmla="*/ 54721 w 960418"/>
                <a:gd name="connsiteY3" fmla="*/ 0 h 257442"/>
                <a:gd name="connsiteX0" fmla="*/ 1120718 w 1120718"/>
                <a:gd name="connsiteY0" fmla="*/ 0 h 257442"/>
                <a:gd name="connsiteX1" fmla="*/ 905697 w 1120718"/>
                <a:gd name="connsiteY1" fmla="*/ 257442 h 257442"/>
                <a:gd name="connsiteX2" fmla="*/ 0 w 1120718"/>
                <a:gd name="connsiteY2" fmla="*/ 257442 h 257442"/>
                <a:gd name="connsiteX3" fmla="*/ 54721 w 1120718"/>
                <a:gd name="connsiteY3" fmla="*/ 0 h 257442"/>
                <a:gd name="connsiteX0" fmla="*/ 1120718 w 1120718"/>
                <a:gd name="connsiteY0" fmla="*/ 0 h 257442"/>
                <a:gd name="connsiteX1" fmla="*/ 1065997 w 1120718"/>
                <a:gd name="connsiteY1" fmla="*/ 257442 h 257442"/>
                <a:gd name="connsiteX2" fmla="*/ 0 w 1120718"/>
                <a:gd name="connsiteY2" fmla="*/ 257442 h 257442"/>
                <a:gd name="connsiteX3" fmla="*/ 54721 w 1120718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54722 w 1120719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54722 w 1120719"/>
                <a:gd name="connsiteY3" fmla="*/ 0 h 257442"/>
                <a:gd name="connsiteX0" fmla="*/ 1281021 w 1281021"/>
                <a:gd name="connsiteY0" fmla="*/ 0 h 257442"/>
                <a:gd name="connsiteX1" fmla="*/ 1065998 w 1281021"/>
                <a:gd name="connsiteY1" fmla="*/ 257442 h 257442"/>
                <a:gd name="connsiteX2" fmla="*/ 0 w 1281021"/>
                <a:gd name="connsiteY2" fmla="*/ 257442 h 257442"/>
                <a:gd name="connsiteX3" fmla="*/ 54722 w 1281021"/>
                <a:gd name="connsiteY3" fmla="*/ 0 h 257442"/>
                <a:gd name="connsiteX0" fmla="*/ 1281021 w 1281021"/>
                <a:gd name="connsiteY0" fmla="*/ 0 h 257442"/>
                <a:gd name="connsiteX1" fmla="*/ 1226300 w 1281021"/>
                <a:gd name="connsiteY1" fmla="*/ 257442 h 257442"/>
                <a:gd name="connsiteX2" fmla="*/ 0 w 1281021"/>
                <a:gd name="connsiteY2" fmla="*/ 257442 h 257442"/>
                <a:gd name="connsiteX3" fmla="*/ 54722 w 1281021"/>
                <a:gd name="connsiteY3" fmla="*/ 0 h 257442"/>
                <a:gd name="connsiteX0" fmla="*/ 1281020 w 1281020"/>
                <a:gd name="connsiteY0" fmla="*/ 0 h 257442"/>
                <a:gd name="connsiteX1" fmla="*/ 1226299 w 1281020"/>
                <a:gd name="connsiteY1" fmla="*/ 257442 h 257442"/>
                <a:gd name="connsiteX2" fmla="*/ 0 w 1281020"/>
                <a:gd name="connsiteY2" fmla="*/ 257442 h 257442"/>
                <a:gd name="connsiteX3" fmla="*/ 54721 w 1281020"/>
                <a:gd name="connsiteY3" fmla="*/ 0 h 257442"/>
                <a:gd name="connsiteX0" fmla="*/ 1281020 w 1281020"/>
                <a:gd name="connsiteY0" fmla="*/ 0 h 257442"/>
                <a:gd name="connsiteX1" fmla="*/ 1226299 w 1281020"/>
                <a:gd name="connsiteY1" fmla="*/ 257442 h 257442"/>
                <a:gd name="connsiteX2" fmla="*/ 0 w 1281020"/>
                <a:gd name="connsiteY2" fmla="*/ 257442 h 257442"/>
                <a:gd name="connsiteX3" fmla="*/ 54720 w 1281020"/>
                <a:gd name="connsiteY3" fmla="*/ 0 h 257442"/>
                <a:gd name="connsiteX0" fmla="*/ 1449334 w 1449334"/>
                <a:gd name="connsiteY0" fmla="*/ 0 h 257442"/>
                <a:gd name="connsiteX1" fmla="*/ 1226299 w 1449334"/>
                <a:gd name="connsiteY1" fmla="*/ 257442 h 257442"/>
                <a:gd name="connsiteX2" fmla="*/ 0 w 1449334"/>
                <a:gd name="connsiteY2" fmla="*/ 257442 h 257442"/>
                <a:gd name="connsiteX3" fmla="*/ 54720 w 1449334"/>
                <a:gd name="connsiteY3" fmla="*/ 0 h 257442"/>
                <a:gd name="connsiteX0" fmla="*/ 1449334 w 1449334"/>
                <a:gd name="connsiteY0" fmla="*/ 0 h 257442"/>
                <a:gd name="connsiteX1" fmla="*/ 1394613 w 1449334"/>
                <a:gd name="connsiteY1" fmla="*/ 257442 h 257442"/>
                <a:gd name="connsiteX2" fmla="*/ 0 w 1449334"/>
                <a:gd name="connsiteY2" fmla="*/ 257442 h 257442"/>
                <a:gd name="connsiteX3" fmla="*/ 54720 w 1449334"/>
                <a:gd name="connsiteY3" fmla="*/ 0 h 257442"/>
                <a:gd name="connsiteX0" fmla="*/ 1449335 w 1449335"/>
                <a:gd name="connsiteY0" fmla="*/ 0 h 257442"/>
                <a:gd name="connsiteX1" fmla="*/ 1394614 w 1449335"/>
                <a:gd name="connsiteY1" fmla="*/ 257442 h 257442"/>
                <a:gd name="connsiteX2" fmla="*/ 0 w 1449335"/>
                <a:gd name="connsiteY2" fmla="*/ 257442 h 257442"/>
                <a:gd name="connsiteX3" fmla="*/ 54721 w 1449335"/>
                <a:gd name="connsiteY3" fmla="*/ 0 h 257442"/>
                <a:gd name="connsiteX0" fmla="*/ 1449335 w 1449335"/>
                <a:gd name="connsiteY0" fmla="*/ 0 h 257442"/>
                <a:gd name="connsiteX1" fmla="*/ 1394614 w 1449335"/>
                <a:gd name="connsiteY1" fmla="*/ 257442 h 257442"/>
                <a:gd name="connsiteX2" fmla="*/ 0 w 1449335"/>
                <a:gd name="connsiteY2" fmla="*/ 257442 h 257442"/>
                <a:gd name="connsiteX3" fmla="*/ 54722 w 1449335"/>
                <a:gd name="connsiteY3" fmla="*/ 0 h 257442"/>
                <a:gd name="connsiteX0" fmla="*/ 1617651 w 1617651"/>
                <a:gd name="connsiteY0" fmla="*/ 0 h 257442"/>
                <a:gd name="connsiteX1" fmla="*/ 1394614 w 1617651"/>
                <a:gd name="connsiteY1" fmla="*/ 257442 h 257442"/>
                <a:gd name="connsiteX2" fmla="*/ 0 w 1617651"/>
                <a:gd name="connsiteY2" fmla="*/ 257442 h 257442"/>
                <a:gd name="connsiteX3" fmla="*/ 54722 w 1617651"/>
                <a:gd name="connsiteY3" fmla="*/ 0 h 257442"/>
                <a:gd name="connsiteX0" fmla="*/ 1617651 w 1617651"/>
                <a:gd name="connsiteY0" fmla="*/ 0 h 257442"/>
                <a:gd name="connsiteX1" fmla="*/ 1562930 w 1617651"/>
                <a:gd name="connsiteY1" fmla="*/ 257442 h 257442"/>
                <a:gd name="connsiteX2" fmla="*/ 0 w 1617651"/>
                <a:gd name="connsiteY2" fmla="*/ 257442 h 257442"/>
                <a:gd name="connsiteX3" fmla="*/ 54722 w 1617651"/>
                <a:gd name="connsiteY3" fmla="*/ 0 h 257442"/>
                <a:gd name="connsiteX0" fmla="*/ 1617650 w 1617650"/>
                <a:gd name="connsiteY0" fmla="*/ 0 h 257442"/>
                <a:gd name="connsiteX1" fmla="*/ 1562929 w 1617650"/>
                <a:gd name="connsiteY1" fmla="*/ 257442 h 257442"/>
                <a:gd name="connsiteX2" fmla="*/ 0 w 1617650"/>
                <a:gd name="connsiteY2" fmla="*/ 257442 h 257442"/>
                <a:gd name="connsiteX3" fmla="*/ 54721 w 1617650"/>
                <a:gd name="connsiteY3" fmla="*/ 0 h 257442"/>
                <a:gd name="connsiteX0" fmla="*/ 1617650 w 1617650"/>
                <a:gd name="connsiteY0" fmla="*/ 0 h 257442"/>
                <a:gd name="connsiteX1" fmla="*/ 1562929 w 1617650"/>
                <a:gd name="connsiteY1" fmla="*/ 257442 h 257442"/>
                <a:gd name="connsiteX2" fmla="*/ 0 w 1617650"/>
                <a:gd name="connsiteY2" fmla="*/ 257442 h 257442"/>
                <a:gd name="connsiteX3" fmla="*/ 54720 w 1617650"/>
                <a:gd name="connsiteY3" fmla="*/ 0 h 257442"/>
                <a:gd name="connsiteX0" fmla="*/ 1785964 w 1785964"/>
                <a:gd name="connsiteY0" fmla="*/ 0 h 257442"/>
                <a:gd name="connsiteX1" fmla="*/ 1562929 w 1785964"/>
                <a:gd name="connsiteY1" fmla="*/ 257442 h 257442"/>
                <a:gd name="connsiteX2" fmla="*/ 0 w 1785964"/>
                <a:gd name="connsiteY2" fmla="*/ 257442 h 257442"/>
                <a:gd name="connsiteX3" fmla="*/ 54720 w 1785964"/>
                <a:gd name="connsiteY3" fmla="*/ 0 h 257442"/>
                <a:gd name="connsiteX0" fmla="*/ 1785964 w 1785964"/>
                <a:gd name="connsiteY0" fmla="*/ 0 h 257442"/>
                <a:gd name="connsiteX1" fmla="*/ 1731243 w 1785964"/>
                <a:gd name="connsiteY1" fmla="*/ 257442 h 257442"/>
                <a:gd name="connsiteX2" fmla="*/ 0 w 1785964"/>
                <a:gd name="connsiteY2" fmla="*/ 257442 h 257442"/>
                <a:gd name="connsiteX3" fmla="*/ 54720 w 1785964"/>
                <a:gd name="connsiteY3" fmla="*/ 0 h 257442"/>
                <a:gd name="connsiteX0" fmla="*/ 1785965 w 1785965"/>
                <a:gd name="connsiteY0" fmla="*/ 0 h 257442"/>
                <a:gd name="connsiteX1" fmla="*/ 1731244 w 1785965"/>
                <a:gd name="connsiteY1" fmla="*/ 257442 h 257442"/>
                <a:gd name="connsiteX2" fmla="*/ 0 w 1785965"/>
                <a:gd name="connsiteY2" fmla="*/ 257442 h 257442"/>
                <a:gd name="connsiteX3" fmla="*/ 54721 w 1785965"/>
                <a:gd name="connsiteY3" fmla="*/ 0 h 257442"/>
                <a:gd name="connsiteX0" fmla="*/ 1785965 w 1785965"/>
                <a:gd name="connsiteY0" fmla="*/ 0 h 257442"/>
                <a:gd name="connsiteX1" fmla="*/ 1731244 w 1785965"/>
                <a:gd name="connsiteY1" fmla="*/ 257442 h 257442"/>
                <a:gd name="connsiteX2" fmla="*/ 0 w 1785965"/>
                <a:gd name="connsiteY2" fmla="*/ 257442 h 257442"/>
                <a:gd name="connsiteX3" fmla="*/ 54722 w 1785965"/>
                <a:gd name="connsiteY3" fmla="*/ 0 h 257442"/>
                <a:gd name="connsiteX0" fmla="*/ 1617651 w 1731244"/>
                <a:gd name="connsiteY0" fmla="*/ 0 h 257442"/>
                <a:gd name="connsiteX1" fmla="*/ 1731244 w 1731244"/>
                <a:gd name="connsiteY1" fmla="*/ 257442 h 257442"/>
                <a:gd name="connsiteX2" fmla="*/ 0 w 1731244"/>
                <a:gd name="connsiteY2" fmla="*/ 257442 h 257442"/>
                <a:gd name="connsiteX3" fmla="*/ 54722 w 1731244"/>
                <a:gd name="connsiteY3" fmla="*/ 0 h 257442"/>
                <a:gd name="connsiteX0" fmla="*/ 1617651 w 1617651"/>
                <a:gd name="connsiteY0" fmla="*/ 0 h 257442"/>
                <a:gd name="connsiteX1" fmla="*/ 1562930 w 1617651"/>
                <a:gd name="connsiteY1" fmla="*/ 257442 h 257442"/>
                <a:gd name="connsiteX2" fmla="*/ 0 w 1617651"/>
                <a:gd name="connsiteY2" fmla="*/ 257442 h 257442"/>
                <a:gd name="connsiteX3" fmla="*/ 54722 w 1617651"/>
                <a:gd name="connsiteY3" fmla="*/ 0 h 257442"/>
                <a:gd name="connsiteX0" fmla="*/ 1617649 w 1617649"/>
                <a:gd name="connsiteY0" fmla="*/ 0 h 257442"/>
                <a:gd name="connsiteX1" fmla="*/ 1562928 w 1617649"/>
                <a:gd name="connsiteY1" fmla="*/ 257442 h 257442"/>
                <a:gd name="connsiteX2" fmla="*/ 0 w 1617649"/>
                <a:gd name="connsiteY2" fmla="*/ 257442 h 257442"/>
                <a:gd name="connsiteX3" fmla="*/ 54720 w 1617649"/>
                <a:gd name="connsiteY3" fmla="*/ 0 h 257442"/>
                <a:gd name="connsiteX0" fmla="*/ 1617649 w 1617649"/>
                <a:gd name="connsiteY0" fmla="*/ 0 h 257442"/>
                <a:gd name="connsiteX1" fmla="*/ 1562928 w 1617649"/>
                <a:gd name="connsiteY1" fmla="*/ 257442 h 257442"/>
                <a:gd name="connsiteX2" fmla="*/ 0 w 1617649"/>
                <a:gd name="connsiteY2" fmla="*/ 257442 h 257442"/>
                <a:gd name="connsiteX3" fmla="*/ 54721 w 1617649"/>
                <a:gd name="connsiteY3" fmla="*/ 0 h 257442"/>
                <a:gd name="connsiteX0" fmla="*/ 1449335 w 1562928"/>
                <a:gd name="connsiteY0" fmla="*/ 0 h 257442"/>
                <a:gd name="connsiteX1" fmla="*/ 1562928 w 1562928"/>
                <a:gd name="connsiteY1" fmla="*/ 257442 h 257442"/>
                <a:gd name="connsiteX2" fmla="*/ 0 w 1562928"/>
                <a:gd name="connsiteY2" fmla="*/ 257442 h 257442"/>
                <a:gd name="connsiteX3" fmla="*/ 54721 w 1562928"/>
                <a:gd name="connsiteY3" fmla="*/ 0 h 257442"/>
                <a:gd name="connsiteX0" fmla="*/ 1449335 w 1449335"/>
                <a:gd name="connsiteY0" fmla="*/ 0 h 257442"/>
                <a:gd name="connsiteX1" fmla="*/ 1394614 w 1449335"/>
                <a:gd name="connsiteY1" fmla="*/ 257442 h 257442"/>
                <a:gd name="connsiteX2" fmla="*/ 0 w 1449335"/>
                <a:gd name="connsiteY2" fmla="*/ 257442 h 257442"/>
                <a:gd name="connsiteX3" fmla="*/ 54721 w 1449335"/>
                <a:gd name="connsiteY3" fmla="*/ 0 h 257442"/>
                <a:gd name="connsiteX0" fmla="*/ 1449334 w 1449334"/>
                <a:gd name="connsiteY0" fmla="*/ 0 h 257442"/>
                <a:gd name="connsiteX1" fmla="*/ 1394613 w 1449334"/>
                <a:gd name="connsiteY1" fmla="*/ 257442 h 257442"/>
                <a:gd name="connsiteX2" fmla="*/ 0 w 1449334"/>
                <a:gd name="connsiteY2" fmla="*/ 257442 h 257442"/>
                <a:gd name="connsiteX3" fmla="*/ 54720 w 1449334"/>
                <a:gd name="connsiteY3" fmla="*/ 0 h 257442"/>
                <a:gd name="connsiteX0" fmla="*/ 1449334 w 1449334"/>
                <a:gd name="connsiteY0" fmla="*/ 0 h 257442"/>
                <a:gd name="connsiteX1" fmla="*/ 1394613 w 1449334"/>
                <a:gd name="connsiteY1" fmla="*/ 257442 h 257442"/>
                <a:gd name="connsiteX2" fmla="*/ 0 w 1449334"/>
                <a:gd name="connsiteY2" fmla="*/ 257442 h 257442"/>
                <a:gd name="connsiteX3" fmla="*/ 54720 w 1449334"/>
                <a:gd name="connsiteY3" fmla="*/ 0 h 257442"/>
                <a:gd name="connsiteX0" fmla="*/ 1769934 w 1769934"/>
                <a:gd name="connsiteY0" fmla="*/ 0 h 257442"/>
                <a:gd name="connsiteX1" fmla="*/ 1394613 w 1769934"/>
                <a:gd name="connsiteY1" fmla="*/ 257442 h 257442"/>
                <a:gd name="connsiteX2" fmla="*/ 0 w 1769934"/>
                <a:gd name="connsiteY2" fmla="*/ 257442 h 257442"/>
                <a:gd name="connsiteX3" fmla="*/ 54720 w 1769934"/>
                <a:gd name="connsiteY3" fmla="*/ 0 h 257442"/>
                <a:gd name="connsiteX0" fmla="*/ 1769934 w 1769934"/>
                <a:gd name="connsiteY0" fmla="*/ 0 h 257442"/>
                <a:gd name="connsiteX1" fmla="*/ 1715213 w 1769934"/>
                <a:gd name="connsiteY1" fmla="*/ 257442 h 257442"/>
                <a:gd name="connsiteX2" fmla="*/ 0 w 1769934"/>
                <a:gd name="connsiteY2" fmla="*/ 257442 h 257442"/>
                <a:gd name="connsiteX3" fmla="*/ 54720 w 1769934"/>
                <a:gd name="connsiteY3" fmla="*/ 0 h 257442"/>
                <a:gd name="connsiteX0" fmla="*/ 1769935 w 1769935"/>
                <a:gd name="connsiteY0" fmla="*/ 0 h 257442"/>
                <a:gd name="connsiteX1" fmla="*/ 1715214 w 1769935"/>
                <a:gd name="connsiteY1" fmla="*/ 257442 h 257442"/>
                <a:gd name="connsiteX2" fmla="*/ 0 w 1769935"/>
                <a:gd name="connsiteY2" fmla="*/ 257442 h 257442"/>
                <a:gd name="connsiteX3" fmla="*/ 54721 w 1769935"/>
                <a:gd name="connsiteY3" fmla="*/ 0 h 257442"/>
                <a:gd name="connsiteX0" fmla="*/ 1769935 w 1769935"/>
                <a:gd name="connsiteY0" fmla="*/ 0 h 257442"/>
                <a:gd name="connsiteX1" fmla="*/ 1715214 w 1769935"/>
                <a:gd name="connsiteY1" fmla="*/ 257442 h 257442"/>
                <a:gd name="connsiteX2" fmla="*/ 0 w 1769935"/>
                <a:gd name="connsiteY2" fmla="*/ 257442 h 257442"/>
                <a:gd name="connsiteX3" fmla="*/ 54722 w 1769935"/>
                <a:gd name="connsiteY3" fmla="*/ 0 h 257442"/>
                <a:gd name="connsiteX0" fmla="*/ 1930236 w 1930236"/>
                <a:gd name="connsiteY0" fmla="*/ 0 h 257442"/>
                <a:gd name="connsiteX1" fmla="*/ 1715214 w 1930236"/>
                <a:gd name="connsiteY1" fmla="*/ 257442 h 257442"/>
                <a:gd name="connsiteX2" fmla="*/ 0 w 1930236"/>
                <a:gd name="connsiteY2" fmla="*/ 257442 h 257442"/>
                <a:gd name="connsiteX3" fmla="*/ 54722 w 1930236"/>
                <a:gd name="connsiteY3" fmla="*/ 0 h 257442"/>
                <a:gd name="connsiteX0" fmla="*/ 1930236 w 1930236"/>
                <a:gd name="connsiteY0" fmla="*/ 0 h 257442"/>
                <a:gd name="connsiteX1" fmla="*/ 1875514 w 1930236"/>
                <a:gd name="connsiteY1" fmla="*/ 257442 h 257442"/>
                <a:gd name="connsiteX2" fmla="*/ 0 w 1930236"/>
                <a:gd name="connsiteY2" fmla="*/ 257442 h 257442"/>
                <a:gd name="connsiteX3" fmla="*/ 54722 w 1930236"/>
                <a:gd name="connsiteY3" fmla="*/ 0 h 257442"/>
                <a:gd name="connsiteX0" fmla="*/ 1930236 w 1930236"/>
                <a:gd name="connsiteY0" fmla="*/ 0 h 257442"/>
                <a:gd name="connsiteX1" fmla="*/ 1875514 w 1930236"/>
                <a:gd name="connsiteY1" fmla="*/ 257442 h 257442"/>
                <a:gd name="connsiteX2" fmla="*/ 0 w 1930236"/>
                <a:gd name="connsiteY2" fmla="*/ 257442 h 257442"/>
                <a:gd name="connsiteX3" fmla="*/ 54722 w 1930236"/>
                <a:gd name="connsiteY3" fmla="*/ 0 h 257442"/>
                <a:gd name="connsiteX0" fmla="*/ 1930236 w 1930236"/>
                <a:gd name="connsiteY0" fmla="*/ 0 h 257442"/>
                <a:gd name="connsiteX1" fmla="*/ 1875514 w 1930236"/>
                <a:gd name="connsiteY1" fmla="*/ 257442 h 257442"/>
                <a:gd name="connsiteX2" fmla="*/ 0 w 1930236"/>
                <a:gd name="connsiteY2" fmla="*/ 257442 h 257442"/>
                <a:gd name="connsiteX3" fmla="*/ 54721 w 1930236"/>
                <a:gd name="connsiteY3" fmla="*/ 0 h 257442"/>
                <a:gd name="connsiteX0" fmla="*/ 950801 w 1875514"/>
                <a:gd name="connsiteY0" fmla="*/ 0 h 257442"/>
                <a:gd name="connsiteX1" fmla="*/ 1875514 w 1875514"/>
                <a:gd name="connsiteY1" fmla="*/ 257442 h 257442"/>
                <a:gd name="connsiteX2" fmla="*/ 0 w 1875514"/>
                <a:gd name="connsiteY2" fmla="*/ 257442 h 257442"/>
                <a:gd name="connsiteX3" fmla="*/ 54721 w 1875514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1111100 w 1111100"/>
                <a:gd name="connsiteY0" fmla="*/ 0 h 257442"/>
                <a:gd name="connsiteX1" fmla="*/ 896079 w 1111100"/>
                <a:gd name="connsiteY1" fmla="*/ 257442 h 257442"/>
                <a:gd name="connsiteX2" fmla="*/ 0 w 1111100"/>
                <a:gd name="connsiteY2" fmla="*/ 257442 h 257442"/>
                <a:gd name="connsiteX3" fmla="*/ 54720 w 1111100"/>
                <a:gd name="connsiteY3" fmla="*/ 0 h 257442"/>
                <a:gd name="connsiteX0" fmla="*/ 1111100 w 1111100"/>
                <a:gd name="connsiteY0" fmla="*/ 0 h 257442"/>
                <a:gd name="connsiteX1" fmla="*/ 1056379 w 1111100"/>
                <a:gd name="connsiteY1" fmla="*/ 257442 h 257442"/>
                <a:gd name="connsiteX2" fmla="*/ 0 w 1111100"/>
                <a:gd name="connsiteY2" fmla="*/ 257442 h 257442"/>
                <a:gd name="connsiteX3" fmla="*/ 54720 w 1111100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2 w 1111101"/>
                <a:gd name="connsiteY3" fmla="*/ 0 h 257442"/>
                <a:gd name="connsiteX0" fmla="*/ 1297051 w 1297051"/>
                <a:gd name="connsiteY0" fmla="*/ 0 h 257442"/>
                <a:gd name="connsiteX1" fmla="*/ 1056380 w 1297051"/>
                <a:gd name="connsiteY1" fmla="*/ 257442 h 257442"/>
                <a:gd name="connsiteX2" fmla="*/ 0 w 1297051"/>
                <a:gd name="connsiteY2" fmla="*/ 257442 h 257442"/>
                <a:gd name="connsiteX3" fmla="*/ 54722 w 1297051"/>
                <a:gd name="connsiteY3" fmla="*/ 0 h 257442"/>
                <a:gd name="connsiteX0" fmla="*/ 1297051 w 1297051"/>
                <a:gd name="connsiteY0" fmla="*/ 0 h 257442"/>
                <a:gd name="connsiteX1" fmla="*/ 1242330 w 1297051"/>
                <a:gd name="connsiteY1" fmla="*/ 257442 h 257442"/>
                <a:gd name="connsiteX2" fmla="*/ 0 w 1297051"/>
                <a:gd name="connsiteY2" fmla="*/ 257442 h 257442"/>
                <a:gd name="connsiteX3" fmla="*/ 54722 w 1297051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0 w 1297050"/>
                <a:gd name="connsiteY3" fmla="*/ 0 h 257442"/>
                <a:gd name="connsiteX0" fmla="*/ 1474982 w 1474982"/>
                <a:gd name="connsiteY0" fmla="*/ 0 h 257442"/>
                <a:gd name="connsiteX1" fmla="*/ 1242329 w 1474982"/>
                <a:gd name="connsiteY1" fmla="*/ 257442 h 257442"/>
                <a:gd name="connsiteX2" fmla="*/ 0 w 1474982"/>
                <a:gd name="connsiteY2" fmla="*/ 257442 h 257442"/>
                <a:gd name="connsiteX3" fmla="*/ 54720 w 1474982"/>
                <a:gd name="connsiteY3" fmla="*/ 0 h 257442"/>
                <a:gd name="connsiteX0" fmla="*/ 1474982 w 1474982"/>
                <a:gd name="connsiteY0" fmla="*/ 0 h 257442"/>
                <a:gd name="connsiteX1" fmla="*/ 1420261 w 1474982"/>
                <a:gd name="connsiteY1" fmla="*/ 257442 h 257442"/>
                <a:gd name="connsiteX2" fmla="*/ 0 w 1474982"/>
                <a:gd name="connsiteY2" fmla="*/ 257442 h 257442"/>
                <a:gd name="connsiteX3" fmla="*/ 54720 w 1474982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54721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54722 w 1474983"/>
                <a:gd name="connsiteY3" fmla="*/ 0 h 257442"/>
                <a:gd name="connsiteX0" fmla="*/ 1652917 w 1652917"/>
                <a:gd name="connsiteY0" fmla="*/ 0 h 257442"/>
                <a:gd name="connsiteX1" fmla="*/ 1420262 w 1652917"/>
                <a:gd name="connsiteY1" fmla="*/ 257442 h 257442"/>
                <a:gd name="connsiteX2" fmla="*/ 0 w 1652917"/>
                <a:gd name="connsiteY2" fmla="*/ 257442 h 257442"/>
                <a:gd name="connsiteX3" fmla="*/ 54722 w 1652917"/>
                <a:gd name="connsiteY3" fmla="*/ 0 h 257442"/>
                <a:gd name="connsiteX0" fmla="*/ 1652917 w 1652917"/>
                <a:gd name="connsiteY0" fmla="*/ 0 h 257442"/>
                <a:gd name="connsiteX1" fmla="*/ 1598196 w 1652917"/>
                <a:gd name="connsiteY1" fmla="*/ 257442 h 257442"/>
                <a:gd name="connsiteX2" fmla="*/ 0 w 1652917"/>
                <a:gd name="connsiteY2" fmla="*/ 257442 h 257442"/>
                <a:gd name="connsiteX3" fmla="*/ 54722 w 1652917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54721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54720 w 1652916"/>
                <a:gd name="connsiteY3" fmla="*/ 0 h 257442"/>
                <a:gd name="connsiteX0" fmla="*/ 1821230 w 1821230"/>
                <a:gd name="connsiteY0" fmla="*/ 0 h 257442"/>
                <a:gd name="connsiteX1" fmla="*/ 1598195 w 1821230"/>
                <a:gd name="connsiteY1" fmla="*/ 257442 h 257442"/>
                <a:gd name="connsiteX2" fmla="*/ 0 w 1821230"/>
                <a:gd name="connsiteY2" fmla="*/ 257442 h 257442"/>
                <a:gd name="connsiteX3" fmla="*/ 54720 w 1821230"/>
                <a:gd name="connsiteY3" fmla="*/ 0 h 257442"/>
                <a:gd name="connsiteX0" fmla="*/ 1821230 w 1821230"/>
                <a:gd name="connsiteY0" fmla="*/ 0 h 257442"/>
                <a:gd name="connsiteX1" fmla="*/ 1766509 w 1821230"/>
                <a:gd name="connsiteY1" fmla="*/ 257442 h 257442"/>
                <a:gd name="connsiteX2" fmla="*/ 0 w 1821230"/>
                <a:gd name="connsiteY2" fmla="*/ 257442 h 257442"/>
                <a:gd name="connsiteX3" fmla="*/ 54720 w 1821230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54721 w 1821231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54722 w 1821231"/>
                <a:gd name="connsiteY3" fmla="*/ 0 h 257442"/>
                <a:gd name="connsiteX0" fmla="*/ 1989548 w 1989548"/>
                <a:gd name="connsiteY0" fmla="*/ 0 h 257442"/>
                <a:gd name="connsiteX1" fmla="*/ 1766510 w 1989548"/>
                <a:gd name="connsiteY1" fmla="*/ 257442 h 257442"/>
                <a:gd name="connsiteX2" fmla="*/ 0 w 1989548"/>
                <a:gd name="connsiteY2" fmla="*/ 257442 h 257442"/>
                <a:gd name="connsiteX3" fmla="*/ 54722 w 1989548"/>
                <a:gd name="connsiteY3" fmla="*/ 0 h 257442"/>
                <a:gd name="connsiteX0" fmla="*/ 1989548 w 1989548"/>
                <a:gd name="connsiteY0" fmla="*/ 0 h 257442"/>
                <a:gd name="connsiteX1" fmla="*/ 1934826 w 1989548"/>
                <a:gd name="connsiteY1" fmla="*/ 257442 h 257442"/>
                <a:gd name="connsiteX2" fmla="*/ 0 w 1989548"/>
                <a:gd name="connsiteY2" fmla="*/ 257442 h 257442"/>
                <a:gd name="connsiteX3" fmla="*/ 54722 w 1989548"/>
                <a:gd name="connsiteY3" fmla="*/ 0 h 257442"/>
                <a:gd name="connsiteX0" fmla="*/ 1989548 w 1989548"/>
                <a:gd name="connsiteY0" fmla="*/ 0 h 257442"/>
                <a:gd name="connsiteX1" fmla="*/ 1934826 w 1989548"/>
                <a:gd name="connsiteY1" fmla="*/ 257442 h 257442"/>
                <a:gd name="connsiteX2" fmla="*/ 0 w 1989548"/>
                <a:gd name="connsiteY2" fmla="*/ 257442 h 257442"/>
                <a:gd name="connsiteX3" fmla="*/ 54722 w 1989548"/>
                <a:gd name="connsiteY3" fmla="*/ 0 h 257442"/>
                <a:gd name="connsiteX0" fmla="*/ 1989548 w 1989548"/>
                <a:gd name="connsiteY0" fmla="*/ 0 h 257442"/>
                <a:gd name="connsiteX1" fmla="*/ 1934826 w 1989548"/>
                <a:gd name="connsiteY1" fmla="*/ 257442 h 257442"/>
                <a:gd name="connsiteX2" fmla="*/ 0 w 1989548"/>
                <a:gd name="connsiteY2" fmla="*/ 257442 h 257442"/>
                <a:gd name="connsiteX3" fmla="*/ 54721 w 1989548"/>
                <a:gd name="connsiteY3" fmla="*/ 0 h 257442"/>
                <a:gd name="connsiteX0" fmla="*/ 2149847 w 2149847"/>
                <a:gd name="connsiteY0" fmla="*/ 0 h 257442"/>
                <a:gd name="connsiteX1" fmla="*/ 1934826 w 2149847"/>
                <a:gd name="connsiteY1" fmla="*/ 257442 h 257442"/>
                <a:gd name="connsiteX2" fmla="*/ 0 w 2149847"/>
                <a:gd name="connsiteY2" fmla="*/ 257442 h 257442"/>
                <a:gd name="connsiteX3" fmla="*/ 54721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54721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54721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54721 w 2149847"/>
                <a:gd name="connsiteY3" fmla="*/ 0 h 257442"/>
                <a:gd name="connsiteX0" fmla="*/ 2318162 w 2318162"/>
                <a:gd name="connsiteY0" fmla="*/ 0 h 257442"/>
                <a:gd name="connsiteX1" fmla="*/ 2095126 w 2318162"/>
                <a:gd name="connsiteY1" fmla="*/ 257442 h 257442"/>
                <a:gd name="connsiteX2" fmla="*/ 0 w 2318162"/>
                <a:gd name="connsiteY2" fmla="*/ 257442 h 257442"/>
                <a:gd name="connsiteX3" fmla="*/ 54721 w 2318162"/>
                <a:gd name="connsiteY3" fmla="*/ 0 h 257442"/>
                <a:gd name="connsiteX0" fmla="*/ 2318162 w 2318162"/>
                <a:gd name="connsiteY0" fmla="*/ 0 h 257442"/>
                <a:gd name="connsiteX1" fmla="*/ 2263440 w 2318162"/>
                <a:gd name="connsiteY1" fmla="*/ 257442 h 257442"/>
                <a:gd name="connsiteX2" fmla="*/ 0 w 2318162"/>
                <a:gd name="connsiteY2" fmla="*/ 257442 h 257442"/>
                <a:gd name="connsiteX3" fmla="*/ 54721 w 2318162"/>
                <a:gd name="connsiteY3" fmla="*/ 0 h 257442"/>
                <a:gd name="connsiteX0" fmla="*/ 2318163 w 2318163"/>
                <a:gd name="connsiteY0" fmla="*/ 0 h 257442"/>
                <a:gd name="connsiteX1" fmla="*/ 2263441 w 2318163"/>
                <a:gd name="connsiteY1" fmla="*/ 257442 h 257442"/>
                <a:gd name="connsiteX2" fmla="*/ 0 w 2318163"/>
                <a:gd name="connsiteY2" fmla="*/ 257442 h 257442"/>
                <a:gd name="connsiteX3" fmla="*/ 54722 w 2318163"/>
                <a:gd name="connsiteY3" fmla="*/ 0 h 257442"/>
                <a:gd name="connsiteX0" fmla="*/ 2318163 w 2318163"/>
                <a:gd name="connsiteY0" fmla="*/ 0 h 257442"/>
                <a:gd name="connsiteX1" fmla="*/ 2263441 w 2318163"/>
                <a:gd name="connsiteY1" fmla="*/ 257442 h 257442"/>
                <a:gd name="connsiteX2" fmla="*/ 0 w 2318163"/>
                <a:gd name="connsiteY2" fmla="*/ 257442 h 257442"/>
                <a:gd name="connsiteX3" fmla="*/ 54722 w 2318163"/>
                <a:gd name="connsiteY3" fmla="*/ 0 h 257442"/>
                <a:gd name="connsiteX0" fmla="*/ 2587468 w 2587468"/>
                <a:gd name="connsiteY0" fmla="*/ 0 h 257442"/>
                <a:gd name="connsiteX1" fmla="*/ 2263441 w 2587468"/>
                <a:gd name="connsiteY1" fmla="*/ 257442 h 257442"/>
                <a:gd name="connsiteX2" fmla="*/ 0 w 2587468"/>
                <a:gd name="connsiteY2" fmla="*/ 257442 h 257442"/>
                <a:gd name="connsiteX3" fmla="*/ 54722 w 2587468"/>
                <a:gd name="connsiteY3" fmla="*/ 0 h 257442"/>
                <a:gd name="connsiteX0" fmla="*/ 2587468 w 2587468"/>
                <a:gd name="connsiteY0" fmla="*/ 0 h 257442"/>
                <a:gd name="connsiteX1" fmla="*/ 2532746 w 2587468"/>
                <a:gd name="connsiteY1" fmla="*/ 257442 h 257442"/>
                <a:gd name="connsiteX2" fmla="*/ 0 w 2587468"/>
                <a:gd name="connsiteY2" fmla="*/ 257442 h 257442"/>
                <a:gd name="connsiteX3" fmla="*/ 54722 w 2587468"/>
                <a:gd name="connsiteY3" fmla="*/ 0 h 257442"/>
                <a:gd name="connsiteX0" fmla="*/ 2587468 w 2587468"/>
                <a:gd name="connsiteY0" fmla="*/ 0 h 257442"/>
                <a:gd name="connsiteX1" fmla="*/ 2532746 w 2587468"/>
                <a:gd name="connsiteY1" fmla="*/ 257442 h 257442"/>
                <a:gd name="connsiteX2" fmla="*/ 0 w 2587468"/>
                <a:gd name="connsiteY2" fmla="*/ 257442 h 257442"/>
                <a:gd name="connsiteX3" fmla="*/ 54722 w 2587468"/>
                <a:gd name="connsiteY3" fmla="*/ 0 h 257442"/>
                <a:gd name="connsiteX0" fmla="*/ 2587468 w 2587468"/>
                <a:gd name="connsiteY0" fmla="*/ 0 h 257442"/>
                <a:gd name="connsiteX1" fmla="*/ 2532746 w 2587468"/>
                <a:gd name="connsiteY1" fmla="*/ 257442 h 257442"/>
                <a:gd name="connsiteX2" fmla="*/ 0 w 2587468"/>
                <a:gd name="connsiteY2" fmla="*/ 257442 h 257442"/>
                <a:gd name="connsiteX3" fmla="*/ 54721 w 2587468"/>
                <a:gd name="connsiteY3" fmla="*/ 0 h 257442"/>
                <a:gd name="connsiteX0" fmla="*/ 2747767 w 2747767"/>
                <a:gd name="connsiteY0" fmla="*/ 0 h 257442"/>
                <a:gd name="connsiteX1" fmla="*/ 2532746 w 2747767"/>
                <a:gd name="connsiteY1" fmla="*/ 257442 h 257442"/>
                <a:gd name="connsiteX2" fmla="*/ 0 w 2747767"/>
                <a:gd name="connsiteY2" fmla="*/ 257442 h 257442"/>
                <a:gd name="connsiteX3" fmla="*/ 54721 w 2747767"/>
                <a:gd name="connsiteY3" fmla="*/ 0 h 257442"/>
                <a:gd name="connsiteX0" fmla="*/ 2747767 w 2747767"/>
                <a:gd name="connsiteY0" fmla="*/ 0 h 257442"/>
                <a:gd name="connsiteX1" fmla="*/ 2693046 w 2747767"/>
                <a:gd name="connsiteY1" fmla="*/ 257442 h 257442"/>
                <a:gd name="connsiteX2" fmla="*/ 0 w 2747767"/>
                <a:gd name="connsiteY2" fmla="*/ 257442 h 257442"/>
                <a:gd name="connsiteX3" fmla="*/ 54721 w 2747767"/>
                <a:gd name="connsiteY3" fmla="*/ 0 h 257442"/>
                <a:gd name="connsiteX0" fmla="*/ 2747767 w 2747767"/>
                <a:gd name="connsiteY0" fmla="*/ 0 h 257442"/>
                <a:gd name="connsiteX1" fmla="*/ 2693046 w 2747767"/>
                <a:gd name="connsiteY1" fmla="*/ 257442 h 257442"/>
                <a:gd name="connsiteX2" fmla="*/ 0 w 2747767"/>
                <a:gd name="connsiteY2" fmla="*/ 257442 h 257442"/>
                <a:gd name="connsiteX3" fmla="*/ 54721 w 2747767"/>
                <a:gd name="connsiteY3" fmla="*/ 0 h 257442"/>
                <a:gd name="connsiteX0" fmla="*/ 2747767 w 2747767"/>
                <a:gd name="connsiteY0" fmla="*/ 0 h 257442"/>
                <a:gd name="connsiteX1" fmla="*/ 2693046 w 2747767"/>
                <a:gd name="connsiteY1" fmla="*/ 257442 h 257442"/>
                <a:gd name="connsiteX2" fmla="*/ 0 w 2747767"/>
                <a:gd name="connsiteY2" fmla="*/ 257442 h 257442"/>
                <a:gd name="connsiteX3" fmla="*/ 54721 w 2747767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47767" h="257442">
                  <a:moveTo>
                    <a:pt x="2747767" y="0"/>
                  </a:moveTo>
                  <a:lnTo>
                    <a:pt x="2693046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42" name="btfpRunningAgenda2LevelTextRight600372">
              <a:extLst>
                <a:ext uri="{FF2B5EF4-FFF2-40B4-BE49-F238E27FC236}">
                  <a16:creationId xmlns:a16="http://schemas.microsoft.com/office/drawing/2014/main" id="{6960A722-2544-49FD-4E6E-2E21E6D58742}"/>
                </a:ext>
              </a:extLst>
            </p:cNvPr>
            <p:cNvSpPr txBox="1"/>
            <p:nvPr/>
          </p:nvSpPr>
          <p:spPr bwMode="gray">
            <a:xfrm>
              <a:off x="2351636" y="876300"/>
              <a:ext cx="2693046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demographics</a:t>
              </a:r>
            </a:p>
          </p:txBody>
        </p:sp>
      </p:grpSp>
      <p:grpSp>
        <p:nvGrpSpPr>
          <p:cNvPr id="16" name="btfpColumnHeaderBox830211">
            <a:extLst>
              <a:ext uri="{FF2B5EF4-FFF2-40B4-BE49-F238E27FC236}">
                <a16:creationId xmlns:a16="http://schemas.microsoft.com/office/drawing/2014/main" id="{66441FAB-58BB-281A-8297-A8F4C3F1191C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6366272" y="1212936"/>
            <a:ext cx="5495528" cy="559753"/>
            <a:chOff x="6366272" y="993372"/>
            <a:chExt cx="5495528" cy="559753"/>
          </a:xfrm>
        </p:grpSpPr>
        <p:sp>
          <p:nvSpPr>
            <p:cNvPr id="7" name="btfpColumnHeaderBoxText830211">
              <a:extLst>
                <a:ext uri="{FF2B5EF4-FFF2-40B4-BE49-F238E27FC236}">
                  <a16:creationId xmlns:a16="http://schemas.microsoft.com/office/drawing/2014/main" id="{F2ACD668-F131-273A-38C3-12C1DA3B01F1}"/>
                </a:ext>
              </a:extLst>
            </p:cNvPr>
            <p:cNvSpPr txBox="1"/>
            <p:nvPr/>
          </p:nvSpPr>
          <p:spPr bwMode="gray">
            <a:xfrm>
              <a:off x="6366272" y="993372"/>
              <a:ext cx="5495528" cy="55975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600" b="1" dirty="0">
                  <a:solidFill>
                    <a:srgbClr val="000000"/>
                  </a:solidFill>
                </a:rPr>
                <a:t>18 to 54-year-olds make up ~70% of visitors across brands; Website 9’s largest audience is 25-34</a:t>
              </a:r>
              <a:r>
                <a:rPr lang="en-US" b="1" dirty="0">
                  <a:solidFill>
                    <a:srgbClr val="000000"/>
                  </a:solidFill>
                </a:rPr>
                <a:t>-</a:t>
              </a:r>
              <a:r>
                <a:rPr lang="en-US" sz="1600" b="1" dirty="0">
                  <a:solidFill>
                    <a:srgbClr val="000000"/>
                  </a:solidFill>
                </a:rPr>
                <a:t>year</a:t>
              </a:r>
              <a:r>
                <a:rPr lang="en-US" b="1" dirty="0">
                  <a:solidFill>
                    <a:srgbClr val="000000"/>
                  </a:solidFill>
                </a:rPr>
                <a:t>-</a:t>
              </a:r>
              <a:r>
                <a:rPr lang="en-US" sz="1600" b="1" dirty="0">
                  <a:solidFill>
                    <a:srgbClr val="000000"/>
                  </a:solidFill>
                </a:rPr>
                <a:t>olds</a:t>
              </a:r>
            </a:p>
          </p:txBody>
        </p:sp>
        <p:cxnSp>
          <p:nvCxnSpPr>
            <p:cNvPr id="8" name="btfpColumnHeaderBoxLine830211">
              <a:extLst>
                <a:ext uri="{FF2B5EF4-FFF2-40B4-BE49-F238E27FC236}">
                  <a16:creationId xmlns:a16="http://schemas.microsoft.com/office/drawing/2014/main" id="{AA182FCA-E4C7-03A0-AABF-0BAF2C3EC440}"/>
                </a:ext>
              </a:extLst>
            </p:cNvPr>
            <p:cNvCxnSpPr/>
            <p:nvPr/>
          </p:nvCxnSpPr>
          <p:spPr bwMode="gray">
            <a:xfrm>
              <a:off x="6366272" y="1553125"/>
              <a:ext cx="549552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btfpColumnHeaderBox599825">
            <a:extLst>
              <a:ext uri="{FF2B5EF4-FFF2-40B4-BE49-F238E27FC236}">
                <a16:creationId xmlns:a16="http://schemas.microsoft.com/office/drawing/2014/main" id="{02093DBF-F588-1003-3F6E-1209C3A20495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330200" y="1234796"/>
            <a:ext cx="5495528" cy="565217"/>
            <a:chOff x="330200" y="1023780"/>
            <a:chExt cx="5495528" cy="565217"/>
          </a:xfrm>
        </p:grpSpPr>
        <p:sp>
          <p:nvSpPr>
            <p:cNvPr id="20" name="btfpColumnHeaderBoxText599825">
              <a:extLst>
                <a:ext uri="{FF2B5EF4-FFF2-40B4-BE49-F238E27FC236}">
                  <a16:creationId xmlns:a16="http://schemas.microsoft.com/office/drawing/2014/main" id="{6C2F3D42-C7CC-5B48-2BEB-22F9CA53947C}"/>
                </a:ext>
              </a:extLst>
            </p:cNvPr>
            <p:cNvSpPr txBox="1"/>
            <p:nvPr/>
          </p:nvSpPr>
          <p:spPr bwMode="gray">
            <a:xfrm>
              <a:off x="330200" y="1023780"/>
              <a:ext cx="5495528" cy="55975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600" b="1" dirty="0">
                  <a:solidFill>
                    <a:srgbClr val="000000"/>
                  </a:solidFill>
                </a:rPr>
                <a:t>Gender split varies across brands – Website 9</a:t>
              </a:r>
              <a:r>
                <a:rPr lang="en-US" b="1" dirty="0">
                  <a:solidFill>
                    <a:srgbClr val="000000"/>
                  </a:solidFill>
                </a:rPr>
                <a:t> receives a slightly </a:t>
              </a:r>
              <a:r>
                <a:rPr lang="en-US" sz="1600" b="1" dirty="0">
                  <a:solidFill>
                    <a:srgbClr val="000000"/>
                  </a:solidFill>
                </a:rPr>
                <a:t>higher share of female visitors</a:t>
              </a:r>
            </a:p>
          </p:txBody>
        </p:sp>
        <p:cxnSp>
          <p:nvCxnSpPr>
            <p:cNvPr id="21" name="btfpColumnHeaderBoxLine599825">
              <a:extLst>
                <a:ext uri="{FF2B5EF4-FFF2-40B4-BE49-F238E27FC236}">
                  <a16:creationId xmlns:a16="http://schemas.microsoft.com/office/drawing/2014/main" id="{B5640C49-1DA4-E94A-990E-E4344CD4F118}"/>
                </a:ext>
              </a:extLst>
            </p:cNvPr>
            <p:cNvCxnSpPr/>
            <p:nvPr/>
          </p:nvCxnSpPr>
          <p:spPr bwMode="gray">
            <a:xfrm>
              <a:off x="330200" y="1588997"/>
              <a:ext cx="549552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9" name="Rectangle 168">
            <a:extLst>
              <a:ext uri="{FF2B5EF4-FFF2-40B4-BE49-F238E27FC236}">
                <a16:creationId xmlns:a16="http://schemas.microsoft.com/office/drawing/2014/main" id="{1649F143-451D-46E4-4ED8-3D70CD2D54CF}"/>
              </a:ext>
            </a:extLst>
          </p:cNvPr>
          <p:cNvSpPr/>
          <p:nvPr/>
        </p:nvSpPr>
        <p:spPr bwMode="gray">
          <a:xfrm>
            <a:off x="8851197" y="2312722"/>
            <a:ext cx="430543" cy="2803188"/>
          </a:xfrm>
          <a:prstGeom prst="rect">
            <a:avLst/>
          </a:prstGeom>
          <a:noFill/>
          <a:ln w="1905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b="1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013525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6" name="btfpColumnIndicatorGroup2">
            <a:extLst>
              <a:ext uri="{FF2B5EF4-FFF2-40B4-BE49-F238E27FC236}">
                <a16:creationId xmlns:a16="http://schemas.microsoft.com/office/drawing/2014/main" id="{C083F7CC-AE09-C0DB-B2A3-AAAE9F6E7559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14" name="btfpColumnGapBlocker658988">
              <a:extLst>
                <a:ext uri="{FF2B5EF4-FFF2-40B4-BE49-F238E27FC236}">
                  <a16:creationId xmlns:a16="http://schemas.microsoft.com/office/drawing/2014/main" id="{2820E260-1750-4A49-A83D-5CD9C0FCEED1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112" name="btfpColumnGapBlocker451157">
              <a:extLst>
                <a:ext uri="{FF2B5EF4-FFF2-40B4-BE49-F238E27FC236}">
                  <a16:creationId xmlns:a16="http://schemas.microsoft.com/office/drawing/2014/main" id="{0BF1A5A6-2B73-7867-8FDF-0C8B02A1F0FA}"/>
                </a:ext>
              </a:extLst>
            </p:cNvPr>
            <p:cNvSpPr/>
            <p:nvPr/>
          </p:nvSpPr>
          <p:spPr bwMode="gray">
            <a:xfrm>
              <a:off x="884376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10" name="btfpColumnIndicator647292">
              <a:extLst>
                <a:ext uri="{FF2B5EF4-FFF2-40B4-BE49-F238E27FC236}">
                  <a16:creationId xmlns:a16="http://schemas.microsoft.com/office/drawing/2014/main" id="{EB5CAEA1-BBBF-F87E-BF91-8BBC05C4AA1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btfpColumnIndicator506736">
              <a:extLst>
                <a:ext uri="{FF2B5EF4-FFF2-40B4-BE49-F238E27FC236}">
                  <a16:creationId xmlns:a16="http://schemas.microsoft.com/office/drawing/2014/main" id="{38DC9100-1B97-1C37-0AA8-2477D46A128A}"/>
                </a:ext>
              </a:extLst>
            </p:cNvPr>
            <p:cNvCxnSpPr/>
            <p:nvPr/>
          </p:nvCxnSpPr>
          <p:spPr bwMode="gray">
            <a:xfrm flipV="1">
              <a:off x="938430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6" name="btfpColumnGapBlocker829828">
              <a:extLst>
                <a:ext uri="{FF2B5EF4-FFF2-40B4-BE49-F238E27FC236}">
                  <a16:creationId xmlns:a16="http://schemas.microsoft.com/office/drawing/2014/main" id="{81C869ED-5D2F-A1F8-83E2-53ED62CDCB05}"/>
                </a:ext>
              </a:extLst>
            </p:cNvPr>
            <p:cNvSpPr/>
            <p:nvPr/>
          </p:nvSpPr>
          <p:spPr bwMode="gray">
            <a:xfrm>
              <a:off x="5825728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04" name="btfpColumnIndicator174143">
              <a:extLst>
                <a:ext uri="{FF2B5EF4-FFF2-40B4-BE49-F238E27FC236}">
                  <a16:creationId xmlns:a16="http://schemas.microsoft.com/office/drawing/2014/main" id="{A10DB74E-A303-2331-07E8-F589EC8CFE24}"/>
                </a:ext>
              </a:extLst>
            </p:cNvPr>
            <p:cNvCxnSpPr/>
            <p:nvPr/>
          </p:nvCxnSpPr>
          <p:spPr bwMode="gray">
            <a:xfrm flipV="1">
              <a:off x="884376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btfpColumnIndicator860149">
              <a:extLst>
                <a:ext uri="{FF2B5EF4-FFF2-40B4-BE49-F238E27FC236}">
                  <a16:creationId xmlns:a16="http://schemas.microsoft.com/office/drawing/2014/main" id="{AC76734A-AC66-45A3-CB78-171162768AC4}"/>
                </a:ext>
              </a:extLst>
            </p:cNvPr>
            <p:cNvCxnSpPr/>
            <p:nvPr/>
          </p:nvCxnSpPr>
          <p:spPr bwMode="gray">
            <a:xfrm flipV="1">
              <a:off x="636627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0" name="btfpColumnGapBlocker105556">
              <a:extLst>
                <a:ext uri="{FF2B5EF4-FFF2-40B4-BE49-F238E27FC236}">
                  <a16:creationId xmlns:a16="http://schemas.microsoft.com/office/drawing/2014/main" id="{6B6E5066-C531-1986-A88A-B6AAFBF59DD6}"/>
                </a:ext>
              </a:extLst>
            </p:cNvPr>
            <p:cNvSpPr/>
            <p:nvPr/>
          </p:nvSpPr>
          <p:spPr bwMode="gray">
            <a:xfrm>
              <a:off x="280769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98" name="btfpColumnIndicator437978">
              <a:extLst>
                <a:ext uri="{FF2B5EF4-FFF2-40B4-BE49-F238E27FC236}">
                  <a16:creationId xmlns:a16="http://schemas.microsoft.com/office/drawing/2014/main" id="{7DE233AA-34D9-C41B-2836-54E8ECDCC113}"/>
                </a:ext>
              </a:extLst>
            </p:cNvPr>
            <p:cNvCxnSpPr/>
            <p:nvPr/>
          </p:nvCxnSpPr>
          <p:spPr bwMode="gray">
            <a:xfrm flipV="1">
              <a:off x="582572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btfpColumnIndicator736391">
              <a:extLst>
                <a:ext uri="{FF2B5EF4-FFF2-40B4-BE49-F238E27FC236}">
                  <a16:creationId xmlns:a16="http://schemas.microsoft.com/office/drawing/2014/main" id="{2E2D625E-B763-0E9D-A8B2-CC07694986CE}"/>
                </a:ext>
              </a:extLst>
            </p:cNvPr>
            <p:cNvCxnSpPr/>
            <p:nvPr/>
          </p:nvCxnSpPr>
          <p:spPr bwMode="gray">
            <a:xfrm flipV="1">
              <a:off x="334823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btfpColumnGapBlocker178602">
              <a:extLst>
                <a:ext uri="{FF2B5EF4-FFF2-40B4-BE49-F238E27FC236}">
                  <a16:creationId xmlns:a16="http://schemas.microsoft.com/office/drawing/2014/main" id="{F9823235-BCB3-B9B5-6EDC-78AFFD3329A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91" name="btfpColumnIndicator730941">
              <a:extLst>
                <a:ext uri="{FF2B5EF4-FFF2-40B4-BE49-F238E27FC236}">
                  <a16:creationId xmlns:a16="http://schemas.microsoft.com/office/drawing/2014/main" id="{F478747D-DFA3-D82C-F08A-0FC75D158382}"/>
                </a:ext>
              </a:extLst>
            </p:cNvPr>
            <p:cNvCxnSpPr/>
            <p:nvPr/>
          </p:nvCxnSpPr>
          <p:spPr bwMode="gray">
            <a:xfrm flipV="1">
              <a:off x="280769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btfpColumnIndicator183320">
              <a:extLst>
                <a:ext uri="{FF2B5EF4-FFF2-40B4-BE49-F238E27FC236}">
                  <a16:creationId xmlns:a16="http://schemas.microsoft.com/office/drawing/2014/main" id="{D68534D5-0C43-74CE-33D1-97C555069DC0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5" name="btfpColumnIndicatorGroup1">
            <a:extLst>
              <a:ext uri="{FF2B5EF4-FFF2-40B4-BE49-F238E27FC236}">
                <a16:creationId xmlns:a16="http://schemas.microsoft.com/office/drawing/2014/main" id="{8357DE09-F104-3598-0F74-9D25C5C20A04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13" name="btfpColumnGapBlocker393310">
              <a:extLst>
                <a:ext uri="{FF2B5EF4-FFF2-40B4-BE49-F238E27FC236}">
                  <a16:creationId xmlns:a16="http://schemas.microsoft.com/office/drawing/2014/main" id="{E6C04F04-882D-708B-0715-57B4D3184E54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111" name="btfpColumnGapBlocker348920">
              <a:extLst>
                <a:ext uri="{FF2B5EF4-FFF2-40B4-BE49-F238E27FC236}">
                  <a16:creationId xmlns:a16="http://schemas.microsoft.com/office/drawing/2014/main" id="{67ED441D-694E-0BAB-73D5-9B26D014C492}"/>
                </a:ext>
              </a:extLst>
            </p:cNvPr>
            <p:cNvSpPr/>
            <p:nvPr/>
          </p:nvSpPr>
          <p:spPr bwMode="gray">
            <a:xfrm>
              <a:off x="884376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09" name="btfpColumnIndicator469642">
              <a:extLst>
                <a:ext uri="{FF2B5EF4-FFF2-40B4-BE49-F238E27FC236}">
                  <a16:creationId xmlns:a16="http://schemas.microsoft.com/office/drawing/2014/main" id="{09871AA9-0428-B8F0-4063-29EB14F57EBE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btfpColumnIndicator945999">
              <a:extLst>
                <a:ext uri="{FF2B5EF4-FFF2-40B4-BE49-F238E27FC236}">
                  <a16:creationId xmlns:a16="http://schemas.microsoft.com/office/drawing/2014/main" id="{BFA3BE46-3611-F193-9EBE-2EA0A52E0D06}"/>
                </a:ext>
              </a:extLst>
            </p:cNvPr>
            <p:cNvCxnSpPr/>
            <p:nvPr/>
          </p:nvCxnSpPr>
          <p:spPr bwMode="gray">
            <a:xfrm flipV="1">
              <a:off x="938430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5" name="btfpColumnGapBlocker823105">
              <a:extLst>
                <a:ext uri="{FF2B5EF4-FFF2-40B4-BE49-F238E27FC236}">
                  <a16:creationId xmlns:a16="http://schemas.microsoft.com/office/drawing/2014/main" id="{C0814C94-AB54-76CD-90BE-1573AD2C8E04}"/>
                </a:ext>
              </a:extLst>
            </p:cNvPr>
            <p:cNvSpPr/>
            <p:nvPr/>
          </p:nvSpPr>
          <p:spPr bwMode="gray">
            <a:xfrm>
              <a:off x="5825728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03" name="btfpColumnIndicator164813">
              <a:extLst>
                <a:ext uri="{FF2B5EF4-FFF2-40B4-BE49-F238E27FC236}">
                  <a16:creationId xmlns:a16="http://schemas.microsoft.com/office/drawing/2014/main" id="{AC5DEBA5-8E72-4C30-12EE-C399C05E8341}"/>
                </a:ext>
              </a:extLst>
            </p:cNvPr>
            <p:cNvCxnSpPr/>
            <p:nvPr/>
          </p:nvCxnSpPr>
          <p:spPr bwMode="gray">
            <a:xfrm flipV="1">
              <a:off x="884376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btfpColumnIndicator986765">
              <a:extLst>
                <a:ext uri="{FF2B5EF4-FFF2-40B4-BE49-F238E27FC236}">
                  <a16:creationId xmlns:a16="http://schemas.microsoft.com/office/drawing/2014/main" id="{93C39C7D-EEA6-A4BD-10DA-D80544272B13}"/>
                </a:ext>
              </a:extLst>
            </p:cNvPr>
            <p:cNvCxnSpPr/>
            <p:nvPr/>
          </p:nvCxnSpPr>
          <p:spPr bwMode="gray">
            <a:xfrm flipV="1">
              <a:off x="636627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9" name="btfpColumnGapBlocker933680">
              <a:extLst>
                <a:ext uri="{FF2B5EF4-FFF2-40B4-BE49-F238E27FC236}">
                  <a16:creationId xmlns:a16="http://schemas.microsoft.com/office/drawing/2014/main" id="{378EE1C8-806E-A8D5-4C50-7771EA85E5BE}"/>
                </a:ext>
              </a:extLst>
            </p:cNvPr>
            <p:cNvSpPr/>
            <p:nvPr/>
          </p:nvSpPr>
          <p:spPr bwMode="gray">
            <a:xfrm>
              <a:off x="280769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97" name="btfpColumnIndicator343260">
              <a:extLst>
                <a:ext uri="{FF2B5EF4-FFF2-40B4-BE49-F238E27FC236}">
                  <a16:creationId xmlns:a16="http://schemas.microsoft.com/office/drawing/2014/main" id="{BD97202F-7EC4-AF47-D681-EBCEF76AD765}"/>
                </a:ext>
              </a:extLst>
            </p:cNvPr>
            <p:cNvCxnSpPr/>
            <p:nvPr/>
          </p:nvCxnSpPr>
          <p:spPr bwMode="gray">
            <a:xfrm flipV="1">
              <a:off x="582572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btfpColumnIndicator556032">
              <a:extLst>
                <a:ext uri="{FF2B5EF4-FFF2-40B4-BE49-F238E27FC236}">
                  <a16:creationId xmlns:a16="http://schemas.microsoft.com/office/drawing/2014/main" id="{DAAD1431-CF1C-A47F-CF4E-1ED6266FF6F5}"/>
                </a:ext>
              </a:extLst>
            </p:cNvPr>
            <p:cNvCxnSpPr/>
            <p:nvPr/>
          </p:nvCxnSpPr>
          <p:spPr bwMode="gray">
            <a:xfrm flipV="1">
              <a:off x="334823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2" name="btfpColumnGapBlocker752866">
              <a:extLst>
                <a:ext uri="{FF2B5EF4-FFF2-40B4-BE49-F238E27FC236}">
                  <a16:creationId xmlns:a16="http://schemas.microsoft.com/office/drawing/2014/main" id="{0044CAF6-6C87-2794-C11E-D0D256CD8C65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90" name="btfpColumnIndicator356755">
              <a:extLst>
                <a:ext uri="{FF2B5EF4-FFF2-40B4-BE49-F238E27FC236}">
                  <a16:creationId xmlns:a16="http://schemas.microsoft.com/office/drawing/2014/main" id="{6572F611-4B24-296C-0A76-2C67D954134C}"/>
                </a:ext>
              </a:extLst>
            </p:cNvPr>
            <p:cNvCxnSpPr/>
            <p:nvPr/>
          </p:nvCxnSpPr>
          <p:spPr bwMode="gray">
            <a:xfrm flipV="1">
              <a:off x="280769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btfpColumnIndicator458876">
              <a:extLst>
                <a:ext uri="{FF2B5EF4-FFF2-40B4-BE49-F238E27FC236}">
                  <a16:creationId xmlns:a16="http://schemas.microsoft.com/office/drawing/2014/main" id="{B0FDAB85-B7C8-6086-E3DD-4A1F5F95B6B0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50" name="think-cell data - do not delete" hidden="1">
            <a:extLst>
              <a:ext uri="{FF2B5EF4-FFF2-40B4-BE49-F238E27FC236}">
                <a16:creationId xmlns:a16="http://schemas.microsoft.com/office/drawing/2014/main" id="{7F737721-E740-DD1C-DCC5-02A3DCBEE65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0155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84" imgH="486" progId="TCLayout.ActiveDocument.1">
                  <p:embed/>
                </p:oleObj>
              </mc:Choice>
              <mc:Fallback>
                <p:oleObj name="think-cell Slide" r:id="rId16" imgW="484" imgH="486" progId="TCLayout.ActiveDocument.1">
                  <p:embed/>
                  <p:pic>
                    <p:nvPicPr>
                      <p:cNvPr id="5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F737721-E740-DD1C-DCC5-02A3DCBEE6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ctangle 53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z2dD7pS103gZfJ6l4USC3jqtWOPR/ue0umjYEY9KlLthURXCUyUuZbmGDPUXB2idlVQc+R1c0j6vNnMaKvr/AghcgjyTjoGcS2U6lyGcWZbvoYqQsrFJ5DN1RdHsB5gZU4BjQJ6xKwDUEsW8X/QQ4uIPkrhyjIfLLN7ZR3puqzBiN1rMnctBA0J594at1EN5QJYMsPufr2eabAYzIDriNpy1GurybA3KWqcTPRKYh436jQqOHiPaCJtAtzpRgB7Igk7tw7BcBhai66Lc0jpyzFEK/4NRoFF+cso+ThI1HNgDMZbpFoCsJQtilLqk9nQPGX6RXGboCTf8hOOcHaKoTUKF81dro10jOa8Xb8mBGZAZ+Iyl7KGHMy03+9hVypQ0OJ1eMgEd7G4+DmkRofMPfh2eD9JuOvzYqKLvZ5xZf+E62EsqyvXc/AL9vWRXUBpRDEas6KSSf16aqsmRTZ7OJDZprxi3EqygPXqi3M5ntsLcko4IRWv/vTNj6z1V+IOhcEzFa1xfjFX+iAgM6an6XAKdDC5Ranaj2L74kiOfHDXkfWbRjmySmWHOU1NmBi1yiEHL4T0y+49vgEx8ySJOdXuWZET9TwrOaV9B7rplmx+6qo+lMOdupi4QLblPjkJ3T+Z6j/48U+8tWreCTxLcDgMuctSEwfiAwIZAEUWuaykZ9p435eoSOmbO/tMpFrnDCA8aEW+6o7vFmafHZxRuUOmG4bYCMsYnTsNfSHwKdw25yr3a+mSF5WkI6B038na/Hb7UXOjfIxQIOP/fxicf+I6a7SgWfPEMsRT0uV11wbRvF6+rJPsqZRfCD47YUvcaig99or5NNoq1cteQLuUI3qsN1nwivVEuJjU9nwhxcNbPEjGry+vwQw0HckNJAohootHp9R56Zctm91ia0j6yWKr5InjckHbGCgbF2TXhfY8s4fYhBcAB2X42KtSLuPZztWYQQmjT/DkQBMbFGKRbPmUYr7fyKXUkFIaBEB4MuXutgBa6GxJrUD8U/VI8UK6LUYiP1IJZCHVEP4QqYnULJzJm/8ebz+vDCjqgoF4eZBYGSc6+00uib46FUhWxJH+VPU4WdTtkU3eABTF/vFpaVeawujq60yvTe14atTJMCpSCmlFANQIwvXcuKsfEAgWXjqOiAhh/8cq4umFyY5Oz2PO84FCKAq0yVt4xWdTJ1Y79cKB5MYPkarrP4vKo0kTLL+3iKJpNXHMw+gV2p1GVXlJjqfwu65qExElK5mjOnSxM83BT2SQvpvAy0CEGvinPukLYBVdhx5qucxWJ5WMLahsJRc/CPqT7dDRDGJuB/XIhOdmxTrfvrrwIhTU9vBuSvUB1NDAsJITQriA3CZ/bWYMNCHCV28WzMMUPLCAkJKIrDbuq1JqkaXsrB4qLE+lXQN35J+H71MQTQZY7G+tvgoq3PLrocAuVTsZz/dMgf0OduBTo8WKfgXD5qe0RI19QvJV5rQXpQHGMynfwiYbyHXKI9Urc0OfHe82aa+cNiojt0zLaMVskiYrD6n0MxxtX+TSrOVjWXakBmkwYgdJHYqSfZxtEY+DgXGQ76Tc55ezPUrFSK2TDIsaIH91t8IJfE1m8ToV6/2Y4hEY/TdnTrglZkyaKrtt380obFyxKuqlTz3jKHOkRU+9+Sor7Bb4LNXPFLk00kW1k8CLv3812JpVpVgoSlxhFwA1JEE5g25mtimEDl7QFDVzYDpc4vbHkUD/CNnJSehKC3EE8xPF8NhuDcFUl6WOAGt1DrYq195SM9bkbC+G4a6ey1AKpYLOFObOozljlCR4sqvyOfhwP+BmiMPcvZ9xow578Z8mZ8+cqVo8/CEnI1GXGviF1Tm7Meo6e/rVS2FErEyFIFkOcM0y+7chCfcdTJCMati7u2maflsFuoOh/wM9eF+cMvSTIUboZjCRbMjAdpSRbWrA0u659ipRwdYt78G8Wup/U5qJFEGqLSd06FhrDTczPYbdYr2F5ENcwsXX0qqddCzYdj5yXrvWhI240FDCleDszh2APGQiGsrO0RxRwd0PQ+ZAEdrWwK+8Nk5SKB4mJMJ7PFkj9pCjNWcrCDtG1k+5PBGgoh9Yg4OKD3lRECuPf1Z/Y8+6QsPu0I27ZJO0MCLl37mx4GB/o/xKnFlcMRDnI2ewICKtw09GDPl2gGPT+0+M5Csqby6POTyhw/57OOOup+kgs4UhmNOQvsaVF5d6/UCfOBbQmMvttpIF+umYoBM5gvhd8xLQe2lD4Y7pZ7D0bfY5oWVwp5hEdXv+pvPyVbxKuzHC1jzgmv8qXgtXRQHXR/iapb4321Vr9AE/jLbTOhZE6HqaxnCvp1Z/pOldR/g+ETlUrwTqC46R7PRsJ3Yzx6a977Car6lIMexdEcdFPpjvAkmeHDO4AdFHDjXSUOBwp7iwLBlIDDAWlj85TNYoDbAMqyYt2ZClvUtDSL/sx/pd2d8EG9BVvUvZpJDQOUU4Fi+F/Yw/NeVi0NDEePQzbqAKQ4tkDESNejRIef31H+1aJ75ce2/SbgrFUGjv/NMZTooUXeM6mhJns7yjIRd4o8Gud8rYCRs5ICaJ+BCGP61ANfSP/ay/XVAsmdrBGjE2ts8Frv3ryUHpGX/8nITEGgSCb0jTfQA2ZOBmCG7I1SXGUrAV233BjuGWTuaDKyZA2Lyx5v/z8aDUbtrClg6dYEHZqq+kLyRwbatDYs/ALsk05NK8ltdL0JRINUNQRhn946EPqZ7yV7yZ+PkcVr8mrhkEbVfQRhrnSfF3aB5LnSn8m5FHmx73wJROSvaJzUry3YNVr1qzHZzLBgpC+QqIFco8J7RVp+BXGRuFx8mHBmPZZg4OT0VZUWrOTlSeyZL5/Uwkml/Q5PuT0nbDbjhSkD3u0fVd8KgBGfgHOQKlVBxsu5NgZ+hL8WuwOxX+/N41TycfxRTsbD3lerghtpyDrViz0XjyQ0FyRKmwACfguzQd89G+zLXOR4ZRKLa1/UpW3z6eEsBDpKF3Ni+SiNry4q/MVHzjrMrfnxhB/+7mGIMRZqFmq5nzKp6ToSy7SP0n7rJ7HwlUDzwtcQl+seTTxIKzM7COGTVxGS9joy7Sl/MzhUiBklp2ATx3AsK6+H7iOqRRI31bIrplyXgEAwMhlSb1fiwO5G1+LXElobNAbKVbyPKOkH/A4kVUyk/c79EuzNrMxq5Xxsl1sGq6RiHLqBa9eomy/xfFQ78n0CnVFQnfa4iuIy7MOOXMkKeUvdAGwhr/cuB3APHy+6srZiK2EdViAL155VPAy2VKzrtTjqDYKY5nJ+jO0qT/99FjFrQq6Y68CCcK0ZcLXpiHZyOgHDs72SXILDMreBEEJ44PhgyqO9r826UDOhyEFcWc5S3KP7Bc/0K6m1xbLc3nStxEFKc/4vBrlOHjDqUPN677y+2orDcas3l8wfJbQzhLr9MNoHt2Mndh5EtaWc8Q9VMQYtgQ90k+PEfx6nuAfgWWW+562WAT441iDn4Eo8h//C0+PTTuUQabHSwVE/rxJD3dD3wCA8ELB9J/Y1LQQh8Lt/4I8c89QW0VD3z8TIJgFxG18tEzKWclBo7/8G34hLLSDtGmahs1wK4bWv/p/D0oqIBo3tFLjYs43SIvuztcyskWd3ndSgfLZSbSL4Su79xB/eWvDP0z5aLKGLa7RkRsJPBaBmcBN7lGG4yzYG2mZogboNdNxjuWRxCZNs0lSlkWnuwT+TeapnxdM8dOCtD2hL719exkziBhDCluCfZVv4CJGKFSaaDDJIrSUluR8h6bBGssNZTs23yUEeCOSbpDi+B12pbeOAN3HZ4RF0xgE9U27Rl/WqFVJv5gDH/uaIgXvI9RujQy/hGJypkwSdEKFvxjt/VPuy0xshEPB7mMM9H7pfomwjkZqGGQWTXz4AJH1o7HNZzqdG88BtqIc7IUwsOCx1r0v9u/r7YANej2gxNR66ZVoNOTSZzpMAVmP8bXlKytN+uOv8rbINFhgNzXAx0J0Y/qVcwr4ca3/CJodjO9Mi7qH4ql1oX2VYWVLxu3sbRuIbtbEfvNhJ9jBV2UH3/KggJE4Ov7bDuJwRLTIjV5HKzJaB+HrvfTJyxNGSrOHu5OYmI2IHd2VpgPPGp2XmmSGKQlPbCi6/EtpeKnv8P9Pee9bq2HB5EifpYADUWFBFbHslxae3+BvPSGLS4qXaWIUze34Er0MDMVlRdWb029MWJeukJGwlvCPJQBGW5+DPHiy13MDk2ENypT/ZLkWR5VcKfnv+n2ldpiWZGKNgzw6lLBcyDmeqM7noR0RM5VspQCUhD2svEak+xlI5TcwJRvMz30e5IrlDr2NsOmchAtf9SR16FdwSdK9Y2lQpOmicAMRldihgAWhYhS2lC+YUWW7jBpD8ZuqxlbWfQhgtS6xXxzbhWTzHRhMehYRKForeeZWgc22BmKMIf1ndL9aTX/lFG472XSONpp46yH8jzH1PW3w0Q7IL1rZ2r5LP+P29T/quQEMYnIwoD0hT3VxJylqt2JbKwjxf3N6uOY6FhHyPo1kq/XuNirVEPycMU8E0nABxsPUjaTQK3VTFCIEhsS+ZyyJj8/cMmcDW1aauiAXcVbf8Ce9leFcIaZu3kvGtMPNw8PnlYGAH9J9GLV8bX/3fS3DAQHu/qywkxwwWud0htRmKBC+uqNux3C//EJMSixoxit36unUSeSW9r0AMf4cQGIRum5wE6KNgaf+YH5pmr9m4kipjThpXmIe5FVcYj9lsr5FXlBHveujuVgjBim23CIIdr4vc9R9HKkzCB7m90aDdiOnK8FSh3e5xgGBs0hGsqalSXLzdnxtPk8KDUstmyw1dqup7MXWSOB32k3FHBTDetPSh5LVLqOVM+QKNzZ1NlAqTWrDBU95mdFkMdwEvgA8tu1wGR6jmSE/ZKVyw8hnkNzrdJ4MJ0fFP5paOzNnxUTa6xrMCkmeKgve7EdEeLULNvOFUU1ieMxqllCJYdW0PWK5AVUW0DG2Dm1ynfchIIFfjFJRsiJ62YLlmG5Xer4XJMLd8f+hy8wVcLegeYNsZl5mcMkbG96C736tq8MWUy767dykU+u5Sc4ZHeiNVA1PzR4TESsmz21Z5mZFlinL8r4dzaO1wS9LWiuq6O3w8YkMeJUFCu/8GVREpy6j+N5D8KSaLEenDcP8OuxQgs1F7wCyKFmANbtrJc6Vpco1Iy1fRYbsYl9LgbiuhjXnjb53dDXvHTk9mut3u/nfXrcOO8kkZV54DHb97pX+JsN0ovcdzQHuiEaK/XQ5sTLL3F4gfgK3URmGR974XOBt05diJELoj++wut8Lk6mfuiBqPtwD1ro4HuZSu4BRX77bw3A4GG8V7RF8/UGl7ZPMnghrQV1ScSObvyUFMRpm/aV38MnxuxxoVxNsgoBqdbOoWRdkVD0mCR4RgxLRLNuc3rm+heW0FWeI7cIyl8jQh0hVHzzQmEpjrDmi9SSF7HqxmF8LBIcFQfZ6NA4Ob19pQaQGBuH83gAe/k2hfiKRQ5l4T/gdQVGyJ41W2Ssbgo1mPLO99dwKWFh+sR1Hh+n+IDj4da6iewkKBl1AB2ZajWeeR8GRQZO6Ubyd7gWHzU4NUuFQqwep58RyFvKoXroF3qMvbGZabGFF2Uy3JoGi7R5vFMX3nT4jllp+2ZAB/Rxu9FHUMMgdONeVSVfZbtlUd/NqjJ4bVENvvIjr0yrYN9JAo8bvfmJIKDBENxQ2AwxDuzpqBAoaQQy1u828LNP/LhSac/VOXtQ5KSPCXSZgK8FqXBIVAWTllAf2fAgllRZslUI/u3acGSOUlD5iDhK69XEi7bwm0/RObJCX96vfDnRzoOapsQ7mqWKWTQuVNu23MHreia0TxwRrsW8DAP6XDSQaEq2r97qXoZDYWZhSH9YHXtZJull/RQH5l1BXrmlYO675eXq+klSR3M/fr+IEsKVRppc9ho/bG3A3YXgZxEYoesmI729ehMjivWxbh19ADr3OIRbFooa99Afm03NpAFtlDBDVAiXv5Qu21UvA/o8hELqB4rZ9dikpCoUmalb4hW8WbA/cK2LJHKHwxmgMw4vFxR33wD2j0tTTBO8tlG637x8L05eFNRZjCSCBFFUvFfWOrsPAgkLLOKmJf7EJ7s5vhJeFFs6nSIk1MHYh6XPVg2iZAEhqVkLgxB0vy5nFeg07v9z9sZq3rP6Sj6XEyUuqJMAj3Oh50rz1y0Qvp3Zktl2iZ091FD/4AdhsgjlXKg3wOC3jcTjPA2m7TVUUbA/mrN+CNuxq8eua6xBlDbQLiIO69ixv1AptaTSTTb4fCAlg7eOkrY83+rRHjG5cwOcUtRJqhivd47tMLtx7cb4tMygkZ1L2NedVrcSJrjCHw8dmkgeTkkxWZNvXWLmYmRG8pdMrQNvWzCoyTb0Rhq0W5jARpCrihis1yDWzlc8fcohqCk7EvSrHnnchzFVfjWKV1pPQsvfHeonqbMAkzj0glG4IROfAhEOOefsYQIVEOhbAulESn/C5zfKORAMSifX1kbL+dl1IBcTKkVXW5EabR7oymdqDtHrCFWbmqSJbF87axxXpSbLfTKcMLnWYc1sycUz2WUhzDc3fV2aOzJCWOANHoldyBYuWTW+l4UlKFmmVSAuJWMcBq+TCz6pW1DKFOlOiaB/UypekaDuJa+ZhAFoRzBMsqkE0G13Gb+TAoO4Ws0LH5U38RD8SdzQa5MB86BWHQn2svYEpG463dAMm6Ider0kJTQ5pwMREJzYg///Yb8SFBobujlcocHSUQnwj6iQkjsiPhtYjLWNJ0gxORc4N6goyV6ESL/F6s2uMov9ixZbvy6uJP5QHsSZI+sSLB1iHT2wdVaDOo6fk2U630+aRvkYWbIK39TD7rc09QNogpclJ56qrxEpOmpBL340NNqIgXPQac/RDTAZYEMQ+0lU7crq055erD7i1i3B3WHI/RF7BDbJLxAgo3qRP6dmlUc+gWJUUvnt8izcZKBDXlTO363V+qyhRSutIDgDIhWfhs9B0khWCcGQJ6njyryRXk1tkpco1OL7bmxo0ZeU/fpGAulFpfSceu+frnfmESt9cTNrqnM9d87MQfUEQel2GcYfi9M6AU+fhPtuljA9TDMbRZU5ciL084l3Q4SbnN6+CRMwOqZkq1xYcO7f4JsCPqezBPXZ3x+VvobiytkgA46C2tEcrm591Twh7op6cLGGbv+Yn2WnvOgjyk4OJnm3qIi1/isBiU8Jkb3bVclUTILFbWSJPi8mLEII3DJI78irwQ9i+JNm5Eyrma/kBFbYQQTxr3DNrM3hcrE/fo8pd6EikqFQEa48wFxL/V4vZMaRFcCv7WlDoJJFhSP7iOtpLJYtcx5bW3E3YwsJJ3oalxkdfaTBrVxunK+xMpwSxpTyhKrpRVj5DbOFnyDzV1qb4ngKEelAviXfr1WOZ1bk0nqNMWqZo5i8kwINWrXXaSERTwPrPmD7Rc/6D880Wl24LXUQ65SmhQW4edMOXX5h1cJzfP5ABsPKrWTWKdZP8qVXCpSqJ8onZAPaAu1QorykKffpLRQNzi0W4qBYnJ5oIaF0LwkkGWCa4jLyRWn1L7+eUsjBIxKiOVeMfhHyQCib0ngttZazLUWghcg2nc6k8dD740rqFjjFQfFw5C0S6vqPKpDAE/IZj+65p0wlYqKOhGI2kp+blAHSH6XZshXzXv2CdTu5fxDarp4v+9Di1HE8Utbc0TIw8ZvchPNHM/dxRLi3p9W9QD7pZFe+M3z1blpOSMVgoGB7c5gQ15HB1QXRmrw0GBUH7u040PEquTWMCVdm6TjWBzp7GRmC8GYhU9hBu3+TrI8I+CFd9GiSk5PZp3wKculnWLGhks9eNLDY5rCKCcSpUi/dpLECJA0/dvBxCO6KYuH6d5EOYeG+Eo1UiYb7DV5g63tPBNSmOcbA4JbowPSeMSCnTNdwG7MgT2N6XDJdikhF4qfcEuTHWme0O6icmFnWim5iUC6tzY7SPm+VkMUJf7n6oK7vaoTSHvuOU2zX/JsuU7WvVOQlYFF1tFRGjMKFg2liyG8ZwteToT/QboIVw2g2euxghMh8X6J6pPsEUChK5UEXN8hXsInxD10gc9AW+cx0dTqdwE5VQsyMDkzXWVvLOAcDCXz03Fdq6kzv9yv7gTaTMLmMpaNQ1NX71OGKIs2h0+O2ZyunFHUyKBa/0MHlSVpzRkYJaQXn0aUoCiXrYqdzY9UUM3a4eiYIedUxvvqP8aGAm6iWa46pG4/i39mr42cOcl77NmIVpFOrAg9YNnvc7JaEV/zdCRrB6noFaqupZFpy2QnQXxqbdlIt2CHV3ygbVYGV1yaxzUR9jQI30i6Vyb1fP9xmlboXoGToomEs+xtn61zgupX8oJC+BvhP2sntmLnZl2sKbOy3bQS3n4ry5zyprdXxlCB6SOEj5rHahE/7VvLD8CqEM1cG4R2w09+vq9vBdNv8N30nzUcGrvARThzhCjJww6i0GbbETZkNgYOaXh4KE/NPX88s2+q8AmvxGJfwQ2mGwZ3iQCT/DJDD1GMnYWaqGUl9JvsdCQSMud21ctB5lYZFuzaGhsfMDTc86HWQ1dn0RRAqZRB9pd4Ar6aLYFlgDuRRlWvtB/RRCuAPqN6KLgaYmiztodMBEQVJFzRiQxa8jMVb/yqrG97m0BCIj405DHFNS6NcDB1Y45Dxco7f6XiQzojFwuOMDxKGJQg+hLAjlZ9Hz8FSM6xyAWxaiU0k7Iizs7eBqf9rZntT951d3DRnV0k4NZqt6CtH8cPKrJYlFKzrOOEL691ROIQ+9+zk+QGvRGS2EApa9kxFD+Irbo03FqE8bC6NOepM+NSzhxeOwtbK0ZFe/V8H/6EjxrbFJ/VatXFOA8xx634oya1bzMRK7I6smw6+sWxiV07biwsI2MrDeiB95znm0507F0lJlbMdX//9FjBR5BQ5qgM0Xcg2vWiBinqGX5LPa44z+RIVjuRFyEKp5X20rowf0WsxpwyOcPTvzZj7Ezx852Jd9TOC4DAh7X0mjtfwciDsfNtsFeqQvCmpqRqAMeToQ/AaAy6j7l015ONlA4kue/z9xhAFhByw/7XhHy/H8QGpr0gcj9xou7bHaKURXZ0jIOAlNeCCDoUbhLpMPoQCiRy3GR/QYMV1cl1UkGj+BFncF0Pd5TVXEkfbBvGILukfJXSfQwn555RGt81mcSaiH84rG1CEMqoSSEvF6wWrMRxpQZaOFXjmgRzR/j19qLnlPT4xtpDkRe7Cn24z2od1jJM5dxv4u67FuE1s8YwPKaub6y816bgVdXm+tBs6KfdpN6YhD9lkQQGy+ZdqrOJJ1ORv9lQys4ZiDFY0yYkwI7epcg7lCdaykUyGpaFsJP+6Mkc0X0SQJ0RPlTpEKVot7GiUTzbi/bmT12KCxhdOUugdpGtZu4uJ9s66hLIbrdKlHGD9qa/xCXF2O8RSroVTUyUE7h4sytzeV9cjWr1xz2dlBzRQBQDczMRe3AxZS94p6TJlaMH3+i0+krnaUgMtuL/q12GqjF3OE1HSC3xkjvEzlLfFkAZQnWmhOWK7hdfOUEQKVWg/KbbEeci+2oG4QTphtf7QYk5sNZ+CbsgHGAWGn+qyFG16j9Tbecw3TDLkRQauTUf7TW8DPE6ePr6EqA0FuZiyhQjP/EXCFr1Iqy28pGbBfAlg68Gw4x0o2iLPomhec4ItVSLs1cy7xwRxOH67Mw4GsZm8YLmNGasYsVRZfPUsHWxt9D9i650YzFWNxDEyX2t3u/h65q/XFfAQa2aC1DNIApTWT9F1Q41FbdQpl2LsMGce51lO5AlrgMl5wZQAkoOY4mD3AhENhx/EDjuNe0ng30jFIz1Uji1F5w5o/rs05tVGY+REJ87OU0WsfycflnTrwMetjInFztiLPvLzLXjlAuqP+O/3UgVOFmrJqEls2wTPX6FSPz71fQeeOtVDSomX0OgAb2UJrVRAPfVM9yZDUMn6vuIbA21Jq/Nz/xtYyy3iel2m/Grq6KYJQpA/sBwRhlxYBfbbOxXfPILzvNtq4jbWrl3Qrps/XB5Cz4L/W850laL4dj+P0DalKnlaFT7W8jRxvKn9TD5YqCwULDLZlZ36tFjpcVvE3QH8nDFCnt7rMMtncD4twRvGPfJN/Qj5HeeA2cmrQ8DZO4tAM3uuDrubRhyduK85LWgfQLobWFSTvViCLHjfO26IqtdqKIl6jyyJg+zRm+/kw+LEd4o1txEWA31aZ45AwsYy2isFB1hN4fo8+7ASwpJm2Mo4IDTgLuy706VZ61pEjPDzEvS7RcTs9dC6LMh5C/9La1vT2i2EY9fJP4rvfTlW7jcpnAH4UGeP2h5tPEMTwOiyqxFPRVLSccdabKvNF7DbBzDs2Lx4CU854Lgh4m8z2jM9L6WOuOrtfT6gcsMMeKhUvTeITX2bQA2RcehgQpcpiPm/Jlx3Sm4K1Ntqt22sUWIIaj614Ngt/RCbE70OG6wB89D43i3nFPXMBQEvWM9/erl2I9nyp/Ax7enT9IKrCBLl2Ki3MZGVdXgy/JVx6CfZlShb6o2860X5xYTi9uxMewePBy9A70lE3CPCNbp7K2vwXQPf4UD3B4pQnlo6XCiZWAOuRjHGludiE98Uo72mwNwrfQy2VjFBWXdTmQ5BDSwsHvFTlLhTd+VAzTf0r/0G9Q6HOESznuAH0etQUCjaVnoleVSuuA+FBzvvMJSh4aE2PA1O/Hu0FJYJrSpFTqwu36wzwI4Qvh4sWtnRCVyTlndtDpnrRZV5Mq8qOi+r77blcHivID/w8A+4rSSjkN0GOMuEtv98YqkwWcu2CXsg8ZC5ENkxtWnC+ns8BpLKjkIKLp/zHH4XD3crZZj/FXod3KrCLLYusHjLwhIeJSmBGYOXV7jG2mPwwpR7oNx6MwM0I5ajvA1Mmu9MOblKO29/tcMLJDaQ4aQPmjz7C72wlnzl+5Au0ADkJjkcdv+kPZzfyVc7vWCcHY6aJkFeIY7HlsdvZJwxroCTspDilfqrih5H0Lu2fdCHrPy78/QUIlOLrZY9xi1WfxHeMmGFDE42zVXgL0kqHGWQfsaGzEiGSqYyCkb5g5PY4dlwclHfr8pNapSa13Oxmym++6FZrZEygduEPNRsEB1rUWrDXrijU3KA2FAr5VvTJbeke4j/33UACeyodkQx80akOEnpIOCOO2ddE2/vPwR0/uwGwu+QqMomSQjD17k7biU3MRte000woMMA/+360TkyHIKcftgDBtKxYAJ/jSDwUZjFSzyCYGF2WKDNZ7OcdXRimvtErzpisjBQrSrYwd0MPCJED7rlVFcKA3HO30GgBBsiP20oe2r7PICgb+G3ow/GtkedSFoOPxXdtoox5jgt3gguGiEOTw1Ch4EvRiLkWR2ojHEXOHFKmzkAsDVn7CRXQ5QQ/dU/olxF4tz1C8CU8VmUfM904fLyo1blVuqcoD3pwYuuvza+xxoRQj+5bEGJTzN4Du68J1sIl4i2IplGEseLdvIyiceWqJjJnhD2XD4S/5WySycLlXns4JO//825vJQg2yiimx0IlIcm05Zyyt6SOvURxAH2zLX/a1SYqXWJmm7CkNjiB8zSlch56coU0Dj/A1qVhntLJzvvq+eSxW3/zuUGyw7IhQ1mBjQFyfTwjbKZl+2RpoBCAWBHpv+My9Hup2HJoYV6Ctb73DyqJAtASOQYx/WT8SqG83SQ30efaIqhGFMeh3vKOrtxBkBPqUPdWBPAW3BPFMtz6K9y8W3MFjUG36ZKtMcKRJ3t/EqapHjifunSGXBcW9cuUAhFACXaAKiN9kTIBYNdK6XUMgI6cdGNGlPLqSBHsnJYbcVd9TjKQrCJWyjE2tx8bOJlfpXtmHy2UmDRjXdzs3Xo95EUnj/WHBLsp2HHU52Yx4sokVINPSsmlzIefedIakhur2tTxtm6E2D8XQw0LDx1WkM3c9ctfbVXVKMHXJhTkKqbk0ULmMzjWePjrsoRHd7cxHZTI8QSN8i7/dPID+WjebfSW36tSzsKQodWYPXkybBMKS9DXm1FVo8n0RU3rrEdECuI16BXQnAYrW34nEdlJfFlElRaAY0XXDnrIf8LBVgsuK88PEVIQ4HXx73926qFHRJdeLe4q7AEqf7jS9EtEJyAPx4Tpp6ahuGY1zxuA5rff/wv4YfUQqapIhoeN/aMw8aBflA6P3gJ0SNeMl4VUMbtGZ0V+NIYarB8aCnIHtujHNoAMPIKe8tE5EPpu0endCdpbQwixW8PJCf7lMHeTWUn4rjmTTeLbWBmA4yIxEMNnqHVIltDOSiRLCPp8hWNJ/UDDgNge1ktdRVnGwc5JOBIdxBiidLzNR5IK/2Xjh4fbpZFCvGbg6i+Te0y5D64PfQGFtV+ZPxMWtY1JmHtA6ZyvDN3Or8hJoFouThmL61UTcNV1BnFJo/UXxyvw84+f7xlN6nERxGs4Upp3E/VGjv64wkHssUqz6DYXVLvKdVAUcVG6nN0KWR8tlxLD572FJkZr3BeHsj+N4oSWGVZm3d3sLAWl4Yv4SLQRIouMh3wENxudwkBNajbrzQBKyb3CuypEGL+bpmEUwo5dxkpOZICWhlwe2GZchoRa7rPlqQ7ZvjkqbBlDM5oHomVAEFVS60rrHPqhcTvpcfDRA3fYH1ze3V+n/63ep7kHnHqoitOey99yy/r7nGI7Iv0bTJ3bOtn1UrvdX/8iUWho3U4yXzYOHmcQvNPPrku6HVkXlc7Is6ubvNHNPz9SdhMW6FfTEjD68w9rhKTk5r1QDo6axLLuS5HskGU0444G3VH7E3FeVpYW2Zm9tYtoYjD87jonfxtgRzVdJ3otT6nXWF4IjVPN/qnKvBds4vqshYbHyLqJsuEiE4bbTkTcm3KBX6tFbh/xabnqMKTs/do5fi11AyAm3OJ0EXd0zG6P/1m08dVEtSMwgjvnWuH0Va0bcOzWFudVap3ob3p6D7qbEco0vipofGp3B7I6WoOxHHibHwZ8XRQC7jmqg+I4aEVeTkqPXrufno9P2xgZMZ7x/tHwNGPTR/qIrl72ei6CvS34Isa/sT/4RX4RrmYTQVW4iPVm6m+rWFVYhKdfrukZ9YIXuKkRb6gWSC1Cky1cb12VMS+gtecU9tg5AZwCnU40WUZFxndLfAs6XIHCTVRFt6zz9iOB75ZbXeJx8IWLskPRaU2TzCnctq5aStJLy8lPSIG+How6K6M5JfYln/Gx1f+ODQ9i1P/QJPr3kMbZ3Fd/LJSmY6R+2M9Z9hIUD01TdToVTK/Yuud7FE4Idxp6Ng7hdWO72iLj/UtJTQnzjLrJzgqNDhOZKee+jkd/8qTMnGpggAFwzXKh38IiVh7flMXMhPkiCvWbvjcfiyYZLs+BHc/3CQZgB6S1bvrJMgiFMvIf7h9+ty4qOlrknyxI4mp035qoUxmfTXbUCnFq8jjfWqqw+hr8t74C7vRnG0SYsfqSX0VFSaQQYJVAkpUc4sRroSD1ylw58JoKnO63Otw9vAF4jumw+aWkjBSEe/a2M7I9ZTaWv8I+RVPg7Bjuv2TV/SXXnhxajEUTbn/64XhJ3J9lYOnLMaCPIMXACyOicAkj3KoFjVXLZUCOCNn0wEJt845udF537leBG2jEhsWMEYzoonttJ9J7GbBbIE0sh/HJQgqkdkbtrYxvrRP7EY40iLHb+w9XeIo+kpzzaSyuWON1JHoBRhYm2wyYMlnQ9+Dr9TmYrVkRoBhzvgLWXKnAJd61fbtN63piw4yp++cP00dyPMTuYFOaLhoEZ6LV3XI3gL6oW+NMWKh8j1abNsLai7TzoR0sk0xWjrY1zGgLxmWrs7NBNSTckfbV8DhhBryvXSEL11Lxwxas/YeLaKBZnFfDuk6OfePubaH2BFKcD6+UdiPkqMvC5wwCbxUqFt1cSascU9aHCDRIUzwbCal1R2n4w5zSDpVNfQyZ4I+U/S4QK5d+A9WweFDoovCUbHJ1QjMdnBuUFaTKTS9+QgK5VJUKf27V1UAzFge2bDq2P8J5rUYrihtaovi3QJjhkydy9oXAtRP8MfDLsTrIB82AmY8yWmD4E5DkaWaLCkq6+fDKDpKlzEVdsHJYIG+PoJxHhJJs58sUuBLZLrAFfbqU9tXNnfRtG/CItCnmlM7VWgxqOq6owRgP7WuzPuoyL99WzGDRvthrZpta9w5b/YY21q+GOTS8HF/3h0T4gIVIXobsB3GnzT2fWDj/g49G4FG6od5+t3Mmc1BDLThu1wTNu59Incx6uDnDDBlmJr9RuwRkJcnkd/MmRqBI3S4kgZ0qyJa4oaTzsg55A/y1AjJfJh6X78YCJVOnHHrhSrDpfwes/tP9fGpejSDqzARtV2Y3E9e15ytPuqd/sacLkWhwKqr2zlma16wpnBFno62StFNgcpwbMwy2SCYK2TIUfTRYqTKQJSqRk28/iCRmaPxeIhKzuv6OPbYPVqQWaJb7WWuIVhlZ5/fa6dcir+3QEsIxh3yp0csYXpzVPu8lm86PJBpKG0YemU/NaWgBzbjvTznxGOJ0pU5g8zs2Gv5xGmgrz08L6zDcdYsA+KXMkYuB9WHP+96x4jjknvL0J4NKk4DLoo+1Aw3gC7CVUbn5n1rLmRPKbqcu+7A0VTUsUgkxttzqyvcfF9p1IEWD2uY2jgmyGTvgzV5Q78Ahsk6uzfOy2rrSIwOOn2YOhYw7AdrbezBn1zxm//mr1JXpfp1jpP5eBvgmvg/xlpjBgspyyVanKx5tlVjq+306XGZU1QbiGX3optD0LQeYatHOS9VXjQKX3rzdfuk/F0dOtQBAW+mIT5Ks73yQSEzL/ShpfYsRLLtNvlqr8qWnLtWGoxd9kODD3SXuKyY3zdAX/sUyeEwb0dgcsYmJV7zb9Ba7YY+Os9VE//ZwGn7XbLxwV1YvToiRtes24VrxUqUfBp32yOBQJr5E5R2QdC9lIyZLSWKOTXIv3Wo6Ms4AHVmlQrvyWrbEr0pnIyS5Cph44SNrZgohf6rJay8JK7HhPfi+1nt+JbiXKR+6/ANW2GYTsZKGWyl1fZtx/9HOV5aBnxWBMkdhMe4gSlZivmKMYeFQFpFCQ5w62NF25kyJwADailBvkHjfVCsq/oiJjbylmNoHlQhfELQBShfBn8AjWJrqgESCm8+8/tRdPg3WDy5dtgZDIPnSeLJwoTxe3R2vobLkx3sxh3MEacRY9Vde27ubw0MqzKYkQ/e+K3dhnCkSVspzVpA7iqUK4FX3HrwCetlyFr5XBufMpGkpDZSfeVR1fjQN4/j4ZKW56vwMplpApmZhmvuKcdSqCyr5y3kb/nGL6q+aNlsrK8+60ZUi9BGitsP6/nqq+9vjyvi90XA0NV6IGjGfw5eBzXdObSbOpWe7QZwWf2Zek9WBsfwgz6D2JPVBzifPG0z4tqU+bfigwlMreRmUvpakDJXiaS54Yyg6l8PhAWrXVV902mO3SWgwH7jhIllV4WtY/J5Gw5E6sGhRxFlfo75CdAVH9MIzfH2b0XrpIZzfHF61hqnWmGRpnKSNjBlGwm3ZdBro7in4dlvIOj8dSQQ2+zv2PesjV8koBH3GLCfTv0omgX3opvADaFkAsYmO06ob0cewFJNTJu/i6fVnuJBr0W1SpjTAsMZ1bojjADDHeI92WS98gV1GcjWbrEqzarJC31+Nm/ue7oC7nROLhvsHER2eYO/UwK5XVlYh+2w6E5/+X3naPK/+UmlK10Mq77mrmMsuk4xDuhRUt9jC2C+370DBGf5QgCT9ShFxGisLYnqN7tQVa+YwutX+n02CGcN5TnPwSPY9MjGK/E2vtK232CLohlHXMvrKpLR+ZZNFAbZx5h+DTAuDKMAI2+tJqQh93322HRmuUCvx5NO9SK7pBCYOkroYJDYkxAsrL8fa7lFPlJ0SSC7vci/egR3xVXrXFwQKCqcnrwxs/goHL8/vCM/74dglb7z/sVioye5FTMxKhx88PkGqAk059Q1YA+jp0cjVyijLnpsN9u4HqfhNB1t9BsnCiJwqBF23OB4eD4MyFwXIqmZ0QViRbBgU6o6R9ksGSZOvnWW5UJaDWGJcH0q12yr8LofzQ8UFs3fKInzCJnfEMixyD3kxt0UT4UUoL0Sy07xMNuUWpq14kJsUU0YCBzN9n1bmg1GQQYqa+IDdygfYUefjCPxUIafXV5jlOvZ9vtIcZFOZk8tWD/YIdMg4haAeQSdmQNw/mZNymF9F0js7XNyabNMIKpI++3Mfen90jW69e0kPjuhUml21MciUShG3fFxxYCIzXfFa2dqcDmsWHKoan2hG+z3uw5YaWI+xIeasN4TEfwXaOHrO4n78ucjTM1Qj2u8m3/sWy2YgywT6Y9WzKYTtm3TTEUaUu7us3q0qFPcE7VgEsf+iIBKy5dYhx9dSoM8HvpOHJCufKYnAk9kLOPUVqBGjX5SVoBExRv4a1NvzC7/EBN7a+txObDPXU0ty8gaw3ukdp17lfk5Bi9B9ptmwxdpXfLVU8VaeFdSgGPrlK4oVf/i7xYKGVvjkuWlC+qlUS8HnFWFDZNfv8XW2M0JicHTXMeyJ0esWjQLPttJ8k5XGWTxGiqMNAnlfu3CuErrUQioLOTtdcgErLKrlSXbcEdMY9vANp/NFjJugIk3AJO+0J3iPHLenN2qeyT1/J6TXOD/RhL3P7UtlJl+wIjsgi12wqBqKOjQ4lwEm55TJxKwMxMTOTFxjswU3bMDzGEnOUkobOkpo8B27736bsvzbz0BKxtoAwD1QP5mdN1/mdsUGWPL/ziui0Rs1yXyXljMyFnPX/BzCmsOONIDneJkDgv+jcs+B2A+GIj2rPICnDO3gQQQSMrvGDFTPbGWdsJHR2eddW1bkMgAnsHl0aq0edpEKeC4iFjh26KItCurOXLMPmMR5e3Ibbg7dhc+InCIheRpbK+E/6MBku/e4DqNEWaxuwAY1Hzp8pQvNGugm0h0WkVZ1ltcexdAfu7e9TxliiaMx0nn4o+/gJZ5F4ukAzE95ROrqBgpmRG6dHZGyxiT6OQFTRoEP8ryLBfWBmB+rA2rGzURqdyPjaTvqcuSQBufO1C/h1IQotpOh3Wwurvh7EazqQgpj7S+rz8Ntki6fm5HKjqvpgMSMT+B5THMIivmAyWwX6ECewPMomwZMvPQv3ZL+UymnHuaVAxG+5ktvX8wtdbfait2Z8YPBZQmGvZ0bfQKBIeq31//GtBprxhZYs422zhxbS7BVhn2cR5k1bKJEQmRqBCAbCwdPMJe/+Vb7bO/gzwRATlz0ziVxomscvpwPfxkdphAjW3Y50IXhrhtsvq9RqbWmM0ovl4ZV/yL2rODzbyEOYPcI/V0AGwInVRvcTk1BofDbmaqA3gSclk9e5dOoooM3hSlDz6SZB8WxMV44xCsT/45mMc7qJy5x6uA01Gj0NbcosSlU4qP7lxZ/cGrBT28/xzKxEvyVdNbK7UWNSfO0i+8T4gZLNheDnGZGAjk+QfYeGzAebSav0Qan+OLjqxMP9fkOdPmfb7i4STn9cGEq21QODz1u8AByGvJy3uz0u9ZynrHjh7tx1WS2L0vkbdS2iTxorZdHLElrv8A96ooXF3eaqyEvv+hz3dCwtzV/6WQTDAYDoxnfU/2RWOxofscfmdgXOh8gG9LAOdCXu4U/E3qH4mWk4bCILqffi8bPCXHp+Tqa/FFtdpsZBrfvX036aqOXLyQV1HbP/od4Y95Bf9ICvPHAf/TXoOJ8uB34z/Xm/Pwymiv5WkuW3hapXqdLjvYe83yheFhVaFJrCi+mVSNhVYqC2/qQwntrfBFz6yNddwRtnMPO71tLHT4C6nR+jcRJ1nc8bFfwdgMkgcAEYdJ7go9sIC6THNJf0CdPFKING+P9yykduYWInxpkcOoOfVM9RnicwXwohtbQsQWw23IRTyzYrGmSONluxVLwn8ih81vhJ4yaGxR0tIDqm38Aq0+B09l90IxCbvVynA9jAHliPx1ZX9GvhJyRaH9QclZZkrsZeDnTLL280jOs3Dw2uR/TuLUSV3Cs90l37I6vXJrK71LFYCp2FeJGcIyp11hPjP6TBaGAmGTsCM4sz/R8es2i5f/4qMtlJ9U5SfB2KsYLQQFqynoBru9bvMhD+N+GqWfwWHErOVjdApm5ItwJy+Wt4shCbj9BJfgNzjjhb4mdTNcPKgLMWT28BGSWqpJ0Op+dp+yRilIx9IKbRdO7m69eCzwq1+r7t4qcR9bwQaHcksiA447fzUEnebGRW7BklFN4BwCepQcQ3HUsmd92XFUWkvpEURpceQ4Bw6Hz3TKJK9J+ukoPh48itfehPzDfl3Qi6jbnIj7ulbdJNfgzxenIIcllnFZGw2m5zX+f9pahrjsa0e9njbhKo+N52cvjyx77TSPrsoKgsT2NlbUkLfthQZLgmFjHtIhUStiWkLUDmbNt8LuE/sOsvQYXSuiYqszujzGg8q9Ap+cjM9q2wMD/5z9J3/8mDrpkvyW5ndMHgsgB+g9jrHtKma1FTYnlNEljBv3iKgzHJuxOipT5kZ9uayzggF2NN1YnNOS8t+ZtzKEwJV7Thskfi8SKR7G/KQm0GsTmSH2+Tef8lq3UkGExBVi/uSGUq+DIlZn0se30MmkIXQvvsUluf1GlB9sK0AC6fiHbxKcX8gCWRsD8psLUfHwD6W8B+RoFcxGnHYXo2lJzd2UIADCEMKun0tEtxTeR9sxtHxFfFVYTdRH9T6MyyXZEMWscAJirgSyKJ7rKMXFzLDjhBVebMug9dd3O0EqALeRHjHBAkYrvwsScGFVlEsVv74Pd4R874uu0kwshILj94wIuvnM+N5iAd3b09tboddfzJ63Spw7L2CgpM90zhAbeegBA1UuIrHFLfZtuuSVM85wTVdXsOYfnmb80bi5wk/rgRJ60oWZdAj1FVkmEcOhwImtsgTSt/6wdne+Bv69zLTdzfu4CD0H0TCkRNozQ44xxYw8V+k1MAYFVK8aaW7wY6bT0GWpFD4UDqzQhAFM7lZ5STk7e/NOvhOvOd+EBka/jelK5fHvEtOx1F2gAKLq6daLdknMaYYZIyX0UeIxCPiLsZ+Vfk3bzbRW56xckMGTXWSqL0bwalFIo6drSff4ERvU8sjeOj45u0UNLlj/1zc5HF5bCSPtLv83Qmv6auhCohD4OBXpOmj8fLyZwk5AoiXy+TAhMKBeOSCuu5oKV+ZZgegIZU36OkZPNO8KDxOJwKzH2Xcu8i4U6nQHXA58eDZZ5apbAKS4ksIYlMQ/C5J47Onw9uyEL1uYmxxiQ2zyM4omeE4pusIflT0H9CYfWeLbaG/KM1ATyxzj11HvQPbgFTkBmm/C2ffLap+DBgx1TyO4iAYQP93F9EFZYgUEzhhnYXOgVEgvl2FLnBqaQJ/cKm664tACiHH43z4c3s4lDQOcbgE0wYvhUy+iW55eCy9Ll/hM2keCtwdSMgnlZnBi4KgBZIG+Za00hxO766TMjvzXLxTY2WHp5WIhfcw1Ae+YDoN+gscpfI6dPYejW7CD0YI/ep9Uhs4ivLh/t+kwzzdwsvNWoKG56cgqBIgL1D3bC03vmdmPi1fbYfwZBML2imwa9klxFy7RR4O/+20bTsyXzUoesDOBH6vKyLnRR+XuaBetm7mGdW3LKjYBaPX+FWgPZ1KusRgDe/nN+qGV4TtuzMza8NjPaag1G7WW3JWe91XOhKS9X9MsjlRnhC9eDDFcEWZwseWe1mAU9VKR+5Hl+x+tsmsLAp4lsJANogg8kLhdzcrFeEnrIbhUoPgesKPSsnwsgwq+Z4GqQrbY+UgH/3B/5tYUIDXscPITuPqVSrRyi94RxXFZE7SsEXOj8w7OlhESTRW5YeIMlC2WZ+glXyRgXZ6mbmb3mJyAmGRZDUoVat0VZfpCNvgcvoQz1X9cOC+VWOE3Z3A+d8zevZOwz4vp0OaHQHOpqbXGaBvRLrh4EOFVO33ajeXaOAK42SreL4xk3CQt82c2PgRQUJcuL4YuwT8YuywXFpWbsAYjNOJ0iCEXf6hD475yiRWnDD29EGUsQ5z0YDMppFDnE3smsYOjrs0+WpRAuDyvR4KRxySJC05SW8H1HKVuRXc34TmYLrqcOFCq1ik/pl5w/o+JNmPRMTcnYqXJiE+/KjVFB0zWnOVBaHJdBJq95eN0s5+XMvvb2To6ANJ3J1vrSx0DWniY/c01bkNK47qgkRZ9Dd9wbIvvex2NN3FOIcY7oVsPPI8JM3Vg/4fgbys/fdLmtpcxKoLFwIRNuuRKtO0BBQjfWRgNWNN+Tdf5Qujwaw0C1gQIzqXqEC7dL6Smujcng71wOyFWuYWWNRm2F2YxSXZ0+ruK+rWas9dF22d+a7G7DemQ3P7FMLNbO4hpwVIN2iseV3vkSe/dtG6AlWiKv3kOwGmiHO3VG3gpEM9vUi+TIX4APM59BgOtQYbxHntQM8FqbIpG3K4jnvkextPSUWnjySPOb0zjNCVv4CqdRa5Ag/NUWQvmgyu/Hw33b1ypNgkV9p6J74v5FWeH+GW3GRNk4vsM+MF6UDU17sdUhcCbbnPNcIw+w8TY6WaAIQVr13mInJ3IU0qRZpjnTWbKh06Z7+9OP9oigLwmRnDlaE4AGC1mpyHnSJAM6JxCjE9DbfSIQ28Is4atj0YMLex6KspgXQ4V697bNugsizi+ljoSRAVu/kekpmGFsZrTHbqFmMy1vcua9BYbodHnN+C8ERl3A2zbzp3xpF098XIOYXUaCUzcKKom2sIbVwyZ5zU/ayXBPYQAa3gFPgdtXVWRG3SxXCAD+8K3+jDausf69Obf6vaCiUdHKtSnERQAmA/EflgleFzWzImOJKtzsCfkqhNNfVghcQIJmktxh+U4PU6a08+Y+fFk7cz30NF5ws6i/0AdfvXKAiJsymLkA6PrDv5pKSciWCOjGTTT+hvZu8CIX337dr1ZrMORkEFRUfxA53OkLLeKdcKJwnwUhC908vnKFLVAMJyS6sLOYoplYQsef0guwcTaJ/G0H09wQyuLgyaHnTH4BeSMqfcKswfld0xf6DIj0cquu/vwPPZ93FQP54R+grE69NiWmRpxkdOa9TdtZwRirC/qZxUc0YBZ80yAa/PscoyZOdXZ7jvkF4tYtl0vKP7O7mGNmydhg/Z4cVgywlwpqB8LsLdRhnCgOJlUCTNaszSJsJRTCdyyyEGGocu04y1PkxXzo8b4xo5vgvyMXr675syP0oeh6oYkgUTEKclTQ2hr0pKaG91/PACwdEPbuauxFTLVOC01NrzJ9KA30zkZaMyZdPAwxGcvABH8j5xekihWguAP0CRPj1lU31ShxfHMZEIYKEeMK9RIZfdsfxroJC8DBupV4jUU71Ofmw4dh1pQAkNMbjo5hvvxseO3iPbF0B/0opNQfSjWONbbPIgbFtP8y7hp4CaDWgVhkeHeSYYMmTa3eGFcUIx2M6gZ7CJm4c/exbGNdFwNQYdceFq80L2KtmvRT/rwp37G0VGT9rhEcYz7APPKzHce/2E5lHODOv5EW/LF89NwPNInwiA1CeQULb32WDKNfP9+p4w2xGyd7Bu8gRxkyN1MgUL9xjC7E9Xx9yapDTIpBoNc3AUyuGYaDQvRmAwIz88wJMO3t8KCyimWt9dXJJTvIebjUZeEFNP3BeakxvW4IGFqYOlnaq5UW4vBFoRDEqfLM6NiGpPQVi2qNAH+TClAESWmyMr8UNxyyUctf62psoeMsNFkTgmNeGgqKIFTN3M2VxpElk8H6bBO1fWMAHSyG/oUNGWBZARsqnJaUBFnkmPFRvzLCt+awiBRHLBeN3onjL+lsZHPwqaH1n5x5eu11t9HeTA1tzNq0mIMnQ5m73Vyf5vjB05rtJeBJYwN5vXfLxRIlt5wwXHwNpM/c8doTK8W+baImkTNbq2NTuMkzAsZbsrdKRTvGs/ZMR9oWIYPMNk2BOSLFvkQ12D+TosUqBzWzN9BfjuG+YFS+2A5/i0rfAeY9spVS/x0z5wVoPHZ5yhcD43xAJQGZUGpchiHOurnpgFBDmubz0BSMYK0Uj4OXFxb7dkEl01JJ/Gv3FFQ/50qpT4KA8/f0RHf7ERtE++m+OoqMJbRHfmHX0ePAx76BwW6WRoQ0SWdoy7Y4JF3T6Q7vswqIFr7USESU1NueYa3Zqj/9fx3/NMr54179tjP9EtSo23ED+y1ov25qLtVCCj6bsMxzp2SDBmB2LA/oAcv0zCzCjkohdXSIaxhs5P/Xne1GJNkyjZxL5lhWdCE8oN9pA/CCmtWly8js0hOE5ENSwWOhqdO9oFavDiCqRZDP7IQIFdynqGjFJV8QSTugCRdzl6mERNdBUpjOZ1Zdwv6DIByzlizFf8zNquxvkngDa0Q0BM8NSzBRpQIhY5f8f0xa9yJYrIe5jXGrOwCGLZBabMbe2TyXOzbVFx9I9MVcU73gytbMld721mzlXDOiPqL20kar8u7rT7GfeIEX3QaybwxSVPRrz0MgE3fY2bAtLArIbAYcqAnT82gPWS21u7AcKZ9A52alOH1Pz8gJHIwTyvup3DTUkm/RtR78HJm6/clYYDw20iQzrqr27L1kyhTBPehmbag22RN+SdeYvIzclchBg38QxeTFs7FTtgCM6tu/OSf54Jq3GVM/+mMXIrG+2YP/kh7GegsMnWo+HnQww2em6Fg7gEJeitU+l21Db9PHpw03SFnaLbGBsVCMCuFRzewlIoC56lQw4uXAeAjvCEcYHCQjtx1e30WHyumvl3tFAe5jj2tfnX9bxFiM+lQv7uFH/BranutMiitP9Rj+m79wQvoLT9k37uoh98aZN6Qf4E14RLaj9OEpr2kRp65xlbKFbHhAXwSQPbxp48JzHG8QyeT6sPaGlbE8mRucIezJMHZd7cGv1v7ESG7/jis0YvFNVNPxDAQVayfMGq5s78sI2VmnxJK+4M/kkz04ecx7rC+SzPJ9bWmAWXlYB93knkGQ8ocCPPOKSRJB04WNaLRY9cu6eUNt+afvY+MR9PxAdMMr5Ma34ZoVi6f5pP0KCUHKxA8GSS0IkamNL26KX5uJRsMq+IiNcTkae4x8vkXayqgQJPDjKWaivkwZ6EjgQge4Gedd0ZD9FmN1RK5Eexm+2rhf+NSsteUwUO97gYVBohyfBC2VQAXCfp2f89pMKhFYkaMw7dDGNHsIGHzNTpYvA2B8H0/9tT7Q5T1yyh4iNrdotJ69G/1pq1T8+gi+qW6rSYJ6OApFgsl9PQmdWlqDc29TEPKCLcliHg25gIa5LQR9C/pPv8ZEDzHJ0byO8K6s34osmRarAsKrdUfRp3NL/+FixLX5tSygJCivuitWwkEtKv14uQMFVBrywa/mJ9RG5R2QwkFjnt93XbFTq+9/Mm9K+ANbWPhETZheVdSqfkqz5TCZcpbpDEjKwGYIuwgHWgA7g1mWAAb2OTm0/byX4q1pFF288j1OxEEsTNAoNcSux/yn8kBEgi1Em0Ffw7w3hgEoZGWzeh+9zMWE0C1bnRhjgTwgFWDdRtiVcD/htDYR2QhrECwoeYIk+dzM6ia0ImcIo+6Mx/3Hnz5awaA0CpDGvYin+uLzWUhTfuDerFHffbvXcC7LS2H6nJTV04EDd3oC70E8wcScxbwtwQLU/cl8Ht0u+fBeHmbZ0urdw+5wppeq8fruFs0YDnXnK2AxWU2ze9I+gUoHF7A/VqdkgzhzG79u2CovoZFtimQUA6aFeaQtCLEiAMzUu+mAEvZmjNsEd006XYtng2bRd3YjMhAlHI6TPuE8pWfisGP51Fb563Y14xx/HKiwz7mdIriOubOsspN4r73tuNfRKK3YYF8mco8mVLAlwZLpzbRFXon05rMYZNNRIeKaQUMYZ+l1bc4TDpaGehyL1Mcl5SlSSYb9+TXl0XLYH4PEuNCcRIUhsFpMBdQFOz1h38AVnxYamQ5lQSLPTwBZt0sez3LqvYECMsmwXCrmugf878xY3/k2baWwI0sB/AwM+MpIgq/Wbcb6qHA36cBwwFz4h5AlTvqnUa0ZDbCwyVKhfnXxPynvB7TwExXs1+cKt/tqeD5Y+wv4xq91ruYQmiaY6F4E+mJGGg0GslWpXlshExhktjb21edgBzPCC1puD8nTdjkcCz0DjJi2sq/uthG1yzjhfMpVG4LLgU4GczxqZ2UoaacJWxQR4TiKW7nGus5Q4opI5U3uKjv3x/ot7hK+o4uJw96Gt09X1hy4wXiTfIAEPb/8lSZ0vMOMfoJ+5g4bAsT3n093+BX024sT46FxWdYA3802pGdPGlGjohHyPgugrXQjwrBRRQF/LYjUzqNrE4mjNMCNmEewqlevwes2v0hbc7emSFVM/m9iS9qiSrceq7adUkY1Z6B2dI0CQdAfcwMiD8A2Klid5QoyagECgHEWK5Wlc+B6HGl45rCs8jD5LbbET+987PDkE6IXm7+2mEx8kMlLbxOkfqTRK+yulwTrqCVIK1/oggjK3rxAGF9L8wpluUaIdn2oDU+FbrzisthC3Ehuy522/FTxFSIwL7sWVkJuzavzJNbT03fSbSY4HZwGmCDdQKgQqzlcqkafrdaBYWQnAyaxOKDK5kboD5PkbNewB0bHjgI4iaY4qDRqvHVpCVoEojYTvJqUo4ouht/rMWDJ7SWnonc+5U98BMMusiKlaGcr4bxTO61ZL8dCg7AKSNFwKGAfbB864fLlDtaz1UaSDNmamZiwIny6o9YlqNnjBYeF6DPOJ+bYJHg39PcQ4n49gMr/voWgwGUKf7ILtpQlgWkiqNg5YeIc4dijFRCJtXHcusbsKG0GWHb+cJAedMtKKWIaXfJaDtGAGFO7sZC3krUj9W2r8K2CfRBVY9YOwcfOPdeBczhwQxeGpGTcYM/N+cStBOLZ/NDAn+d2Ny56RkS8yZr9vjpF8+QLnJ00qpCd9TyZW8xbQEb9gDM8mZDwcP5RSadwE3hTVSfEviASj3bmMOYrQW+miTlQDDXesaGAaH7o67P26VOBTu8+TiLF6LhyYYQZUPqWjXNsv9U37S3ApxrskdP/QuTHFge6neIt/b4vpRvfc/4e5snWrnmIhD8HcqF5hKDf3jDNxtLq3j8p2xB4CDcpPhXr3tuD/gIlzF42AzJWKwfz2U1/Y6+EuOeBossyLOa4tELFnoaG1/agbvt4TUoE6dBbm7akTz0BqbAQcy/J+WqwQVZgZhZV35VTfLxZ5MkbKfMCOFfiYrzjoar54DwvPQYf5Uag89mPbCExAXXUx01gDdL1JW5o8aVKNT5f/egqxzarXh/sUMynIChd8gxAAEsRtXG4hNRlxLX9q4oFpCmTaOpqvmwvgJ3I+99KJ82RMER8EkFTetXA09iSR8S5OcZEQgDyhkls0YSd++cHdSAsSlRcBmY2ctvuzvd7NVQ9zhP+2+Nabhw8VK+5gHFwVZIletbNuHgjQhchL+1DuSxfdNwwoNAVmY2wwGQ29PtLeJxqNyc+k6qMQpumRBfj1BROnABvQ8LmNwRnQgktFpXxwpo5OVeX6zk2wXuGbbCbmDsY+QIEq/SJGHAA0moCsUA3NG0wo7EOJU3jfR1biplmlbPcjyGwxey2Vw5FAbWvPd1pySD0iBANj2uu0RDuu+V2c+NScyIiYmRC9PC4b3NBSvRzXox0s3zkUI6FAVzltYCWHd9b7pqabbJXj3nIhgVDWhoAMPaIxDSAliettpNFkniECpAUu9E+sc31h46sSHngRLucaVC/jMY2e90mXQ1ofjZw0oJbFkZQ4/3fcU6LKuJrWI9GrMNV/h/sU4lg8lvQnEXDK26rN8UJIosxFi09KBRaLp3bW30MH8L60rtLT9lRQCzVV0zskD4ErG8Gb8nVZSxARsXFadk2D1u9yHfIG8GRxW+Vjhu0VGBULhlvyoJTzbm3pEDmtE2AWc15P+cn+oykWPLXX0ieKXBuhc/d+DbymKpjz8cczvgfU50vDQRSzMk9jfy+70ONxol9dbkjqkVBRfVWNGRSi0MHyK7wqy+E5cNQ0/E8W56phhCsa1vC78RGKigXDLHfrKRP3q31DnOgzX+E+eIjict+o/4hJGmfkHYn9K70jRMqs75WvHliIcyY3ALNOop283ar7l+8YzmmnmiFVnC4EYV73+JrLqd91wkNGIoY1KQaMSfOUPFwfProX7YeZujN7z7l2fW4yckSPChUXKO6Q+QGCAu6SEnVuJzne1irHKVZM+lI18uWEST7q4nd7ibVlPK0xM/7SirX/XomT124LgiWAltxnCVWjTsh4MgGLLb6L8KsZV4IFovfmlmSW2U3NMThX5TW1LYXVa33syExy2E152YpIjlh+mkCUjjKN8eKOrkIAyM9HmogvqBJnJxCMRfxKfgH6twKhMjxRks8mPCx1oIPZmCnCwkROti7vsiQKbr8KEKv4HssYpo0wIHxSrz7ol8HHM1CRQ9WRhY+YXPq5JuzETKW862QRsXc/pMWkr9WcCUMD/VQag+xbGkUf8b0K/3Uss2XgdiDOYIvXuhUY+SgXg7SHscjSs+95pILQ6NG8wZKshQhOoN9Aaz3xujIiXpyQ+lJIApO2RmllrCsNB6NZwjXK9qEKpNKe1r4O5PDoaf13bxTmvTIah0E7HfxJLwgvfIE+HhQfV0sPaPkw9Hbxs/4X6pDI2IPLgSLHHExIPJfowNE62gDSGcOWgVJ2tw3IRjfyTaTRRZIG7qeSjMHbbQSQhpmR8Y7mrfK8N7BZcMZujlDCTv9HtfZ4w80vK8BTeXfFaV1YBPj4zxZDRiy0gYu9zPtep6eGKFWylknv7Nk9tiHMYs14qZloIGOnfFMOmmzVjHgo7j8hjZXmRFvjRlsNR1Nzn5F4HmdwawrjUQ7PH7RUbEeqZuu1ncZpFjBVJp/7LR5Li8NQOZrGpdXn7Fh+LRVZn91UJW2SWPOWYqOw7ghRjoZJNdnDqGkGb/nd1MHHSyj6LKa1XKaqXhV49jcklarDKsCuPfPv/Nn8QJMOHJeULZl7DUDbcQLZhn2rreGgUz85RgSF9piPmRRLSRJKDbkWFGjmVtvaiIRXQVk6vEe6odVVbeJwXkqTCRoozC98DM98ybkNuzY6ETsSpspXNECO1WY7lE88DHKl9yiDhKxhiKFX5ZfwXRlaeeVOuKswhinW8uZAqSx8PpZKB+ynIMYJcHmnPRR9is+0wlRJU49q2ZPUhrJpD3rBMz3HomCUeR+mMI3OgnLS7SVZ6trqioiXAShs6uyOstNz/5ANoo3hVfSRgp4MwPPuNIF9oX6++Jmo5qKEV4lOlI+lsIcTFzq0xNNnjNSreFKXN+ov+KtM3snyUsTrhwpI9S/UqCJIS6cVMmV2GLPWFIpwmqzkM3VGGHUbJsl+VsSfN+SC2z29cITQW2QKm5ZKMnNB64jgGePqAArvFf+o6jimGN47/vwwjJA95NdCw33Gz4zmhLqeRPijDO9X1/CKmcc/xm+5EHx/A6HaEoHcXfpahbhGSBDKb0rxvVc0KqU3YZF79BAUfSqFhBKBIrP860yIxu43cA4LHxkxLzJZhFRJL5eMrnoGqRPYnaGBofPnu77BurYz8TvyZd1FV2AduVvNYn4ro5vmeA6ffKpjF9okOM0utov0HnhGsbPS2nmLybT3BRCCXt2TWqmKp/tcXVyjXlokQBeRcqB/NQY3Qe1w8pbnrR9b3nkVoJF/CJYE675XJYc1OYJG1sxEU6wl5o2ZB1JiHf6LkbYkOiIKpyyAZEZIYzBk3ulm29N9xnOkR0FSH4FoPgnAnLozh3yEL76bVk98EFTbVVOest0rNuR5GvUwdwQgN+N+RImnv/k+jFxnuzLVPFUnm2uOXWpVEckUqN4HOxoo/lKnGyVJD+CXxtq5Z9fI7sYrw3wNra/uPSXO+kJxsOG7LnBhRBqosbZdddITSPbokFfCzuLm6wV1cb6vIvsOq3d8FWheEFPPDqTt5lYiXbYfWJJwykqzpM5NJ6rthx/SFoLbQWLQWzHcdUsCogP0a5Ktvb3ohZ++liTcY8/6/kiq2sM0fyAvUCltQL5MQtz73ZSG5HzVlsuWkUPyoGoWqahuHSreKnbBPoNS3OUT6Q5MdltO8QyKV9p6phmqjratOFNemCgmoGwbLbMTKhwxJF7VgugW2sHvHmfWCPeJqlWcZ/utUyqdJlr+ayzC0PeEyDc1Eidl8dBFm77mSRc0qLWDAQ4Q48fcyeJoMYqaS3rCujn6uNb5yU+T45OJwOcT13t/YevqUpPZk0RPQErGGyFqbDXKyHuaV5ynJZNbTBqGsZsFwNIDfrHne5nrjiC/jkTRi65AX4fL5lEUfkKhxqqRuewL2Ppm6/BQgTN+VqyEuczMwhkgaPSstMYNEHEtjVumqWvLen8jgHVvTAqdu+/5Mjt5AAVsdh/hzNIyDFt21T+7QtCDZ0obNV/GWik9cg39+L2ndXtj2wGvxnvxcBPuGqs4knIkGZDUBG4iueppQOennhMmVx+Voofv666WIPNO73d3zNenw4L0VLhqUYHyY4GGnkIj2pTgfUGRzs22bzDz9gu2RXUHr3oVLf4+T9dYUzQCuAtd/dmHwpY/vNz5FfQHshgINemMxXojr3pGS9rcuLr4dyifTYigFka2mEje7lA0cQ4q9z9b8x8MQipvbKKnM5DJ1YKgTKRcr3uMCtdElTHPayP2yJIC2cm/4n9oQaOBuLrlgPfqPmVyHuKMQ7LntMcnVzEvdbyvQLN8IE8wKYqqVR50BRkED2oSkT2ePvGiSFqqZASFhxSPBjbEZ26DGT5K0S2W9G/uiUefDDMAsZvyPN1uN+nAuM3xZG2au7z4y0kSCW5a1GAaD4OFJEy3wCL4Pav5ktCvwrGxQbU+ULacANzh4eLbKgVYQ5OeFSedJfFoRkqWPsLeSmPLTZGf7lKV0+kVcTQc7vYIUKd2wYmTSsVmNV7XJtqTxhzs1FGuiFFvfdIwzELTg4NMJnRpklkde54xMcTPwCixCupEjIvKeLJbUuWuIQbEVRUsnH/CYVRDGJfMeUVuYFHzJRAmEoc2kZsoNLraVKRQLTjYiEk2tCk6DOe50hpbG/0cz60EAf6xOMOPXvPIfZYaSAtswnHX9NNtiy9+QEN0sQeaF3iDtltLxukjhRK/tiEWMqOgLylVXczHbgwOFGK88mDu2oTfyJkB9DEYzttS4J/+QbICNSf3J5CdJgXFaR7zPo+s3LgeLm0epI71WBGHzVbxeZQY3DXkBMB3bT0VdtExsN7xVv/COR9dph41xkuchWeNllr+cXuecwriN3Ni4L92v+23SXW0PzlN8rjK1sCXBLCbNQKUbnx06YzoV9R3wQ5BN0SdriD7+UKhB+JPAEYwK61sG+WvhYymfmwm+Lcaov+YtsRvOJBjKZIoKgXA+J1I3dpxJPXru004OQ3BLTkOUoi9bhtODiTUSxm8kMDkIyEFWSDHWdw7i1LRDXWAmfNBtSVCh3+t160Ipp8dUJzdouhIjYTBJ1Eldw0IcU4mCz6vkMjrwBUZEIntEAsujJDLLpXlMZbZKHRNAGf04dQw6wq8cfZh1/615iN78G/RaTRxIP6HnI6T/W01wML4F+CU8ehwGpbn7Hm1jkhbD5uCdILgm/oWdTbTVcD7sNR4iGdCz8kvBBYUorCf5+rUbBVbBqC66O5VUuokixzfNLn4XruaLeRxgnYuJrGpjhzesMw7He6LFoegXMmYkXgdnoZw9+2RBQJYvq7umhgOOS1aVEqosgAdHIV9gqfqlroBPd4Rijsf7LdjZ27ixvIo3M1xBWdBmIpbM4rktouMK4+IE8ArDpQbYQIslurYGYXNtA+JSa3Z/5+Q5VY3x5gw32TppauathNBCjFGd75I1scrZvThn7/xvkrI/aAm5a4rbCmt3vzHkN+VSVnrmnqV4ihFNyIWo9pqXW+64OgOawlb/Zj3Wy5x+bCE4UPWvtfvb5wpv9/od1vJbeBOV+spV2866ICBxDH4AOF4rK6dvneRqh2/nra2uEu8xMLDdb7GMiBhhV8HAxdy4j+3XITMVw+OwYc5foGODsNMlKquGlPQAsxjtNUXyNC+OVxswQIu0TJkb95JkN/xlz7FnK8Kp4/zsx/E7Si5zqB0Iz7b/kZfLktuGw8DTvVx67pb9XDM0jR+AWP462tOAc2pST7pdLv+PDrZzUDLwMYSK9Y/So8wZEBHIb3knEfOrtsBg0dmGO9q+/dr5CJetfsDQGqxlHdpIAXfybi1MlDEknx/b85w5B/umKim1kTmUeYGCUDanChYVHgufF780Be9g35fswH/y7/kzjeFWjl4rCv+n/UBTdjQ4w2A3UETJeJCoqJb35OYL0u6IfaDibcz1nvUhqZpu9GLQoamXKLfQXQ+EukHZ+qOhe+w22mDH5UPnzjzoiDEsWDcbpoEeZibtQQqqbRyjDBt3bWZnMxltOoZzR2Ka+m8+mV8jiWNVhqQCwzWYYO5UvqnitvAFXa2QvfPzIbBVNB3xXvnreCx4vj9aJdtAAlvfcnu/jFPnVgh5A/ub2KZJry/mRV/pQGg3rnKzYOW2V6oHFX1HpwyYfc5nb8vh7mXFBM+t/n+8tbNR9obQeSi+9f5/DnUIIPdQlr2YN9SZBpoaX/WJdO5m63OWSYQu1MJwHN88O+8srhwqMr+dXhUSY84obWYUKrE5riY4piq85ezKyvOL8tLWCmbOQk3uCqiJTcZ5DPQRVub95qQ0eeKZC9qs4J2wbbwtlbgyxLUZYjLcMLgWeNXFPsH93GfDnMpYPSaqJaXodoC6NG8M7qMs/j2/deVTGua4aVMaKlgbcbOPPlm8f4p7HESTeYT9S0CFLQ30/EH3YIP+05ZYQXi7U2aKJgra5X8Twhgx0EtjUufzXOz8JifPvvQgMlzx+PsJfIocANewkydi6f8afkL08rs47LNQRzaf1pv4FOX1a00ZD+Rr+Wl1xZm7nrDlH+q0aj1UCWcfZyr6ojZU869AKJKgmv7q39XJUezTWeqAQ24uCb26lIH2UX76pAbxJF7JWCSjviAD/KnSUSvkYMuUBSAkcxart/oYO84nwMw6n0AHMXJCOYxlUyU2LMQxMnWIZ9d0eLunSxxj9nYthKtIZZiv0vkvbTLbIp4AFoSJ5gEQHhU2/Pdx6sSc/h/irYD3Lvzx8F+I90k7gJd4mBlyjZC7eXwf/mIBOcpUeZ557BX/TtKHzWfoAqkXSqvcIAhLAzHlrwgjadW+pYN+gKsvtpk+bFY9Rx6ldDh9qAAFPpjtVUWtPVjCCb+l8inIRSrMDh4RJuL861k5J6PHLRZuuWWfjkzcNrqlMa6jYSOiGTUNRSvTV41kkw4A3DdZUNwzON3W09eEwqiYnkI7BlpJDK28iAbPmZHFrNMiVV87MH0+zSaDWWTDh+qmxAP1nXHy1dShyobhEFevowO/+KtRSQ/0Kc/Tvr3t8Og2deo0lpvWj0LdWhWBMDd8yaRoqmCZzglre8wL4eNIhDFYeSWTLE2arlaM0MaXN5uR+Qr0933So8ll+wjUIFQ+hiYevC5h2sRk6hW5dkTBvUHjwO+c7B0+s+yXPTVT1+oQ/U7CV4L1eosK6rKrYtPcrcFX0A8ccZ30VJnR/lzvPG/0ztjJWVUmP4V+0gLvt02aNbOXO9Ha74tytvO5GB07NwoMhWq2mMJWwUvaRdpQ4pAZjl7GYslXaZE4GngOY0rWTfYu6ByAdHuKE1PgOLetWtNjzdI6A1OMYI0paVj9hPrA4QNXHAqyKQ4LfI0BuLwZvtmMphc0FRApD8yGThnapszjMiTeTtmTlHWi4/Cb4aiOvVlgoADkMJnwL7bw7F0y7FC7MkuKXPhSCXkTVmRuNRIOb5WOdiVxxWm3dzJAmQ3V/6B0GIGgeiPJhGpZXfzLTdG81N1HDYVuhIBt04tFe5ec7iffgKgbk2/CaLfvB/jFjIkzlOls02RAdsmX4uv7x3JSe/eoDpYsjtEjT+NQm0OqiTeh5PASgWKaxO2ZmFH2wFwUe5STfOyKwZPJcTJ4y05IfKYbkVf2iij43Rs4cHv9Oo2t/dRcnbns1GVSavjiv6ZNxHFccFylBGcamiKUT9zO0Vb/lwgRYOPZCaFPOrMUOCSD368zQCabpV7JlrYcoU8oy1a2L8/YpEMacgBV1sAnHHvLafGzPYTjY6Lq6S4iflJowmssc8aKSnfixzjP4ZiCfJYbiESwH0ZBW1XomHbWyin9EJBmw5Z1KV0OVz6R5ZINV7FfYMdE75+//6WGYgCtT7iuCy/H4RZ2fqJa8HZqHk6N/kO6fgLt5DY9Af4pjsD9UCiuHG5KRCBDv1Y/JAbjkLvVRprj/CjLqwsCjGrQAvmk4aFfXp+DlQ3mMCMix4CpzadeGkCvNoQbhY/zntdkPh1h9exw6MWul2JdVE3VWUruYEPBD3GUCVZl3+yMJR5s4Me5Va06xyL9bRDZQAC1l7lMyjzMzz9swPDM8nwzbERm0tbxXx3ulWFLTxmbsEwlvdZRzexP5bSHjRi36No5xENLzYrWWRJLLiID1jyQDv1MZ47USuwtcpmGRR6PCtBK3MjUcujionIOzq5eufiT7t2swPaWlIJoQOwKrwJhZAzLjZvAtVQEo/FMDf56KraNXvDmXPjy2zoS6pT6NyJOmzNU0KaAS7SxnkQUFB9e1upquKq68qLhwIxGs9OZDLeG9I82pifsweVXzSdUAxHWJ4O5wOYpwpQQXUlhMJK02gn0BvSa0i2TZCv+3+EkvBuIFZ1ITsJqYhXbQbvKysZT9uL3CQhCOAVDaHDdkqdyZjwoWN2ASKC5DIJ6VC2Cfo5SbFQYSNQxw6WF7hfMZAz5QnFD7C/KC1EM3WFFzJRO/tCm0N/vbE5+JPVt8OT4tiP+GaY/YgegcsSY4wrISOeR05vvttJXBHnaWRUkw85VRA7BeEGetD5p/cy2xjaMX9dTtzFADDvUJrZXGbyUrVrTZEAIsKD7ZJ7tza7fgDXApQ2HLdX4MkDQASa7SHsF6PUwQXJQ+6K+sy8Luw+YwAw37du5TFty8GJvCFOr5OWEtzZ18hoRlF8njup3KSr6yh6NZrVpjGgU80wFFMcn1RyaMzEUqstgIaOQTxrya1U5h0LaT1MGCsVKUsmuOjFw9GRdDfB8Im11xYKlmePmhb/1c6l2Hk3Gh9WfbQ1VQnbw99foaLIzAnjluEpX9kpU/AS3R7XbUIIpNIuNBR7T6a+JhE/63D+6dK6fft85/uqlLgcw1aX7yYngwErqTN/YWRfcnbeGitezepUYmnkXsG/edOCZyx3W5yd/+MGiY6wqJfKvN7qvJ6grzlhMoEO+f0Sw+HYqiLzt6MuMtzuGTEsVZeKVRo3WULkN/xUFh0Dr1ctVQgkZlQiOLDtRDoSqf2BMDUOpRILKilA5SXvSZtydNelGbGYpNEfaau7mlhOQ7nNKH/NtuODv5a1yiIbyepGksHdP1pjWhkU7NYS/3ytaK86QWtwt7BdoGNcqqKwnd/e8KH+LQuJ88RsZXpLgyUF6aEdl/n1Suf9Oamq7REpyh/AMZVDJ7pe42F3gbp2DUICCLKoGgI/lwU6RcBdS2YTlPAKCAdjcdZnd49N1YqzV6yNMeo4sratMeONLad/HGMNK+cXyxk9+Lpr+M1UMMhmk8fjQ5bgPPYhL3cVikr0KYud+2GGhUn65rnvGRVRuQahFrE31fsekcVdvRkmgksu+zcKPfeMtaz2IhX/3ZRkeEwwf4S/dKygrhD+nD5aG5PvSNbO8S/CCa5lPtUp5UsCMOpSBGW4fQynU8VcUn3PcaHCAJo42M/STDNC4ff5ZW3MjW1IsADyfOmILWt9KFH9/C482/HbntQM0fYffsFO/dN1l5lYdvHMdwJejG02dBtyo/o6svCygIXoIq7IgTkEvsJ57Y+hoT+mv6WTT7KmkyIpx55grU+dWgNsNteT2w4GrGXRijcvsrk1HeHw+pDiebkXCC8kHKOIcJf/XhTOHQTlkOuONgWrYXzWmtEcWU9TOPiESSifcI6yT7M/2w/rBGhrCnh4sospTyMbIgxD64+tFDcPKIv06Ede+VDI9iFH9Q6SGeY7ed5g0Omoa5QrmnPz9TMH2t93kqu42cUoORWENk4V/Y9Nz5RfNwisLRv1Zz9fvMzU5mJ6hqSB3SjwBBMivjfVvP+Nh2/1xJFXMWR9l1jU5yqMfWl3IL+RBnXWO6gvL+uGlhRMPfvw+VzhSjUFY2CyPsfgjz65O24AGk3aLMBVsvSyRUBUD6XWaSk4l1MGfyiyHOay9puEXgvyvciAZV1jP4GBR/JFPFQ2AdC1fEgO65VBUb/nUyPuzkL5xkOBoqVEOSxX6qHASBKVMjkD6V7/62z8a6jrStCpQm5jJ0QuQ2uJX+nvzPELNTehUZ4nleblMy5PX0qLb1EYpTOjzMxHdxvKbZEWRVVo2PriSevGeQF5pwn1bWuEQa1OnxY7QLmBXq5kFYIXPdBWyHfoyhAq4VKiuwnRjNQcOAp8+kyh1vmA1kTE35Eti103DtjwCNgJRKwhh+abX7IsSvfxSeZnZnvZWK4m61Pri2cLnyn6wHNFqwJQ3SozAzfdzgI1yxZZUd8dkQe2UoV4AF7Wi/OfIAZNalVK++3sojEdQ9PX3IEqQ7j5BW1zRNoOMH8+8O6pdI/14QWPkuCd8hhTgCrP7Ev3iw+sdJ9CPvoEexcxCfqeNQpPCVjq9JvLX2Rd5yrU+hOZ5uytoDfqB4bdxJwFdt7uUmY68GOpfsD/TFqlN8u/DmZHPGl9+UgX0ebwj5H/kDLEfEj7B3lWqxLadoqGvxCTDDAGcqzH/kTi5BAJvXqRBOmcUdr5yTPVii+lK6Rpr+/NMuSGEDzzHg6NgG9IPpPXVODR+5nOJbuIMFXyS/WNX+PbVAAA5eAgKZIPD9ERt9KNS2aRnc6RKotjEbHuY+v6e7FXR3UkmzF8Jiwe891FiBVgfAnuCmofPef+YcIy+AIBEm5Jaz5+sryMGxL72TFh4iLoC/rmumvUsib5HmaERh/tw7Z/tEbk2XPqP6j7fzv1x3XkeycbxNXiimh9yh+5mb4b6bL3r6OoYb0A0W1y7xz1ey3sDdxEqln4kX9aIYUfUHKEApkS+AcxEQbjRRnumifNdpJA8dRL9mREMqMcVmUPK/VYjcNZlUdyDHW0tROiSpkmt3ttdss6hfoDgE4T6fpMiY4NH2ykWF9QL54JEvkvnMv/Fd8oGkoY+EenY0F2wRxsJ4pUaoO15aMNERWX50jAvS5VpVfoFwEH8bKUbGUX+1ce5mcoogPPZHLC2Q2xawaNpSZd5i0MkMOCsSpcHvfEB3or7NdkXij/YM1JwqTL9cBhsArzKbD83llGytnsQj/BGOJFZvOc85gq+l05Wz/XzBfB+zTL+99uXF6nQX5imJi8CkHD4pAkEH+rvYxHI1FFMBwlQaa7bRCKU6i975R7XDSjqfBehM4wmk8My6GaBxPtxeh8l6FHGvk9QZZJYR5I+NFIlFgml2sm6NcTFp73bPQu0BsD6R07gnHguG8KEERkGH45eH9ZNqM3WYKTiSZdit3ffmHgZqj4lCG/XUOMDQcrNaxLY5GLKgLf7gg/J/nYa5DhuSj6jUE1cGgQ1LpsWpdauhMrddjdS23UsWuXYxxn+ZBxSLtQ4ZuPHoWd+OVUXV1pG6yUk6LgrVhqN+hLDS9t/MPYZm8kCANFsR8EJznnO3MkLgnKT0VHPU7gB7uWqLtOA8KPHbqmycjFq5JbYqTJLJSZhrYhTdP5LTFhfIc9YBy97Bfr1wlT0F6z7Sbi4VCAC9GAJz9/6tF3Aozz5HqN9YUxZsZNKOgmkat4bUMjmk6zCwD1Hs9hsU52XTK5b9uQbcJZUoE5kze+jLVhFipqk2oSRl/NXArRmgakwSKP0IOX0eIyGCQ55yZ8XS8P7RbYNzyXsnhOddBjzMaJ6rqaz1Qhr9GccWsQitVNkqhy0caa96DLRsSi+8/II1usBG+ycCGOzzCTb9t+FcW1+7OWjSWEzMCNnUsuo4p5XP0dQGeDz5tpEjeRKuhdTk7+UezGdqsz+TPEGddjKihTa2zTU6NW0FOTGa/Z+BB146wilwgqTR/KtIdlFtpSfqbOveNNWanz1IxN19ob2Y2DXUKyAaOn0wuhCSE1WI4ueTE9SIY5TgKjDxALFtL+5ZVVAJlbHYO8x9PdtcZhEEohayTdC64oD1N9uduOl8jtaviSeHMK/m2X5gjuB+IWPoMjDvws1DN+ACdkaSTr2YGmPcd8MJH8Hvvasl9+igMbiN6TTjmSchALKjs4PsFE57Aza43uEwqog655IiJWSr3SHZ3nfSrnV8+YRWhQe4iRT+uUFKE9wa4yAFARVnfqXtshfuP2PUynsj52TWwqzLr722gkBNDI2YQwfF1qw+eLbj3ytjAQg72tpuvvWMnW9bjg2hf+GFG1mXVYEO9hqlNVSepN/d0AGrD9NO3tK5SYhizxMVYHlvMzsz1cJhJ9DxuHA3W4M8baQ8AcYOUWNa4PxcNPANZyqEPzhTc84oxPzU9Ecm6z0WbUJ6630j1AyFCEKz3LUHyQkyETD6mjZSqsy7SbNaJ5TdVsrxZhN+wAJrnxhVkhYX09i+zzgrXxxipgycX82cb+fq30yfO8sznGIT2MVh0g85wqfwgn+nNmtT7il6eSFQCw0kSNxkbx30UnnOZQ8v2j893Ca2LoAs9ICsoKiDb0xlT4kbJ+SL6VEQ50MoxUdDqNrC8To24oevAZPxbT9lJbeqlzriGvIiBlEg8RQ9oD6GvVE2pmxyVdUsUTxhSaCllszmY+qqYC56chcjaAgX9Pbr1P9V0aiTuHQ/Z0KdCXpibVFF8Aq0PHlm8iV3RJS5ODD37nSAXdsrVOO0AUBLKYhak3IuWjd8upki4v2bOKhI7bAiw5x1Qf9A6RHZMt3C76tf4dWQv8KhPHVG3mbFIbxpqHuVgmVHk0ITZFBnzbX2Ecvg81CYvCxrz4ZFmTWcDDxNtYUjnigtMoY452jtgpnqCAoAWCeMXxPYz3iuWPabEDxjRw1qHrnkJjo6DlzZ1c8vsX8vMzYGWGb7DKi+SPhSrRqfuqoa1QTuR02jHmtt4Li4ykYHlGSzggK0413oTglaCNpGrSpfh9RcgRkgbEf74O4GzemEkhvF9WsvWfmyBAG04LnqzYowFKA08ciIkPs03t5ZiBto2BsH7pPGLxlXbxjnQy3ic5ndj0ACYNarJ1JjRvsw4rql2R9yJaw4nDwNw1Z1HQkYD+oJf0eMCUUwXDb28i+TKCFV/k30K18+wvSjDvmK0hyPvqmLDOO4epN4RmDZW37XsGj5O7ZG/sjR6GXgIDUUo3czdPrL1AZEUnyJpDXrMW5k9nC/U32K09fz6QF1F4pLPgogLymgsil7T0CAlY1OMCEtPyGxr8Ufuw+raPMY2fk5bTB38vwknI+W6r75Yh8N9z6KzCf3ft4MrdJFZn4Nb3Z2K4/5VtJruwcPznDMmYRSpZYv9UFMuRbj9MgGXATEQGbo6bcGBgKM6ZGi5Cqu4bFXKyS9LRPDIiqSNY5lZHYfcJFeB+N0IROI5FmGdUfjhB5NLh6bG+WAhPIc/FiZ6cWQdQUhT4yYy3sH8fEvkMfNFSPRWs6W0ZEFF9ctYdnxTB5gpLYjm6VZq5FaSwYgyqgNfYD9v6uoi+7BnriaK5aMNO5uYoOkMrUUQDOOkK7DnL3+zj+hSezfUSQFSLPxSv8hYurqmr4BK2AIqSq4YjqgXscq6h8FxDGvUhrs1VKHAqbRCoxXIYXZU84SbCfmCjdIvRhqN+tUJIAKOFttRSfbaSMYGiyJRdot2xLSZomZwJ2PJ+KcyyYVgOR6DAf/5ZuQrWjZqp4g5LEdKqXSY4ZcuToD7nADpP9QDnHnHbIqE8auv4p1jmcUwhQAV0s8varKllRjl8Yao3rlb9F6ACYMxjTj4lzixLPoW3fwTcB4DTIs1e2CGhCoTxe5Paf9qqmZ5Qd951JxcGobuMPsz/Za3QMtXauhtkoYPfwk5Axe7G4zuf8KQCNtmhoWtzRvhLYdJ5udUI7KWE0FVUN1mIEmfVRr5IT2FuKfq5BW9FJC29vQ2394ZIpMXaUN4+3et+Jssgh2edbeBIT6U8iZi0WvGYbTo8QQZFLxA08sUf5rW4rpUFXhC6eYvI3E4MZsOynIaM+oRWn51JRNRbg1b3ztGOdmqgJA42/szqxBMsjXHbJUyweW2OQ6/ZIWAfduLT5wnDHHJHlHVA3RK86tSSIbLuMW/w+n2Jgu3YxwflSvV05gZqSS4BOohnCDwqmm3pGb/enmAXZK1uL214/UmAEL3B0PKgPX6ic1rDr3c9iykVcUnyRb2OLi3hcbFeSskpG525Y0LC+6JBfKy8xuJP1vw9o0wBUYt30DS3KHahvZcjsLTn/SRNiMOI2paC+MNtx71qYI2wXCfhKx8AeS2C4pf+pcESdQ+Phj6ZVfT72Y0r7EEH/3pezU/zSzOGuCybRwRd5B5ehE4OA7auhUc4qhwrHmsN/NTfvXUY7K6wbXKPUNnocoXU2L+gpOJeYh5oGfqPhwsiDMN91Cbqyu7YTNc/QJoxgMQFagFrmYQM6j2Wk1wCcgxoNqliiLozhJbCfYCPL2WqTZhHhDJxcZSzQzIRvnYUCS1leed0kNAAepABnBuLpDq72wpB1mEbtgfGq8ztWjlkHMJLuPuHRFo0kk1WipQk4rZRFzaa2MpatWCDzUg+pK168a7HK3iUJNWtZhGtvCudgCtQdgPiBluEh8q3u2bn0gd70NzDKSuakTCM25e0gIqQNtAJ/kt8YlwesqG7w1BPDK8JXu3ij+Rk/bQX77g3Xv8aRgrEWHJMjqHdZOC3HN7Mkzju/SHsHDSRMSYWw31hn/MfzRjfMQqxf0HQgfLZxXyPcKJp6RZPQ4aDKwola/kZXCZABRM2PniFjintzxDy3f77UfZSzPYbL2HNog2KWK9SQg23TxrS4wXr927X5MBJrbqDQKfu8n1brgYhDKS1pzzzY0hXsUAHTJEivmiwDjiFRv3FAhK8v7xVYqeO5BlIWstVBkeCB1Q/fwkobfRVGKVG8yDAWyWE6yRtAOmAF7eWSYKLfiAGRYwmgFu2lQegsiBN/SV8+/D2KNVtPUP0MVbIyqZkioq0N6STS0iGRCV4fjHQ8vJHko76/6q2MH4tanMkIvFAyWAL264akOWEQ5WhXDa3Yb7D3cnh5N2MU8hhtHKLiesHTuaRZMyLMose1gF097yBcVwFZa0Cy7GMOCvzQc0IhLUtApapnl5G3oaELQJHgKcq7DjJclNeAdNb4DB3cmr4+2jkFX6BhoeZ2mDax5zgBezEZ0cFCwg0ILNxEck5CzOlKfnPz7IZXwnGDA6Wh2X0rCaFZ/Yb/O6+IxTVq0HWfL2sMiQsxiSo7y/MDZtG03sze93NixBvaeFw/x8yHClazaiwMm6qOoiJrjGagtsxc07twkNDMG02ffNJo/SQp0FQxGrUgrnyQVwMX5s/abrYJ/PSqrJaWkfqORDiNr277vupHzUP8HPdw2/XdX8cVBlYk6A785rCIwAya2V1syZouI9sFmYrMN/V7GVxqOHBbZ6RWIzZfX4+sZcckAoHROhUnl4akGW7CQ1FbzWlECM/cjCYee+4YxGa/jN7UiMMx198pYLon8DdJRP8N7chcpzLKq7trlqNgTT28L0gvzPaGvam1KoNgw28tzjgSIWiWHZjAJ3+Athl0M/pv+rMslYlJdZhz2byouqb9kq0xxrJ6j44okVBlHo4K/QOM8jVDzMnbw3CPIUJQPoyQzcUjkp+/BbdOsLM4jgJrOIVpznYrPhPlC0XYzJw7To+YFSbOTavMbijdreim72YC2O+95N+tMfzUEMnZmQfX5v6jcFlovG3LnGDGCdkCT3i9YbIsik+Hz5bJo6T8ko5UhWiipA301oEOFnlXs5fqmRufWyUh7K42pINPEMP0SuA0xObq/uaomr+Fj2c79+0Hi2EPEPLuv6WC63uTy+2DxALf+PyrzIHV0QTwZA+ZWM95wm1rDUVAJfH/Jg0w+MmwuDT438J65SF3wb6br4ITsGiSCbzkT0d6hVW+Fo7oWouQ5C4MYLZOhu66Wb5f/vICi8DHa8CBiUkIPiMDboy5fcxHSpn5Yvoa4M+W2+urg33hBr9nKs/ww0MdxhqaFA6YjSkWo2KyeVoplxE/HiJ8hKSIaZ8ywN1Cq9v/Jl2g+RhSIai/HWVa50tIhsZPiUkfrCINX7tkhSe61pGZprCWCdlu5HY03OjL1wCK94LwrHkZ9VG1ynEQQZeCjJKwqDw0oeHg6DFKVMEc555hwbkMJdiQe0Ad05cILd+J5T3tPnAiT7wYRkBpNYZfRM7iF3lIX6H306b5Z9Qt711YL3ujJkHIouj6HrYwJRdLFAf2osPHuv5MYrH7YH+5dvZHj8k9o6xFPH1mOuvwagnVe2noyk/owh1qvPng8FOcGsLiG4vk9ipZvM0klOoKVqD3VInmtPtJyn1Mo4A+BSPMOzaGTgGweLu0b7q+U4xdFci7E8AM5iHj65MpruJouQu9hy5p5aU8zuBwD7UFmI01w2p4XRJzUmPNFoTysgZxkHKDQXXgkAc0xkuTBMeTRQNJyDyKtFldmEHJnhIkd4Db8na3XUEqzRZdivtd9HAMi6gy7hF8n4kJuUFgSQrUeCrFp2WiN+O5Agl4S8kFXeufZhl44drvloyyURMV30KAHkNPhaSUkpw0OWUlkoitLdq+SvugqN1WxTa9L7d0BHqYrI+ZD751uUDEMlXJLDP+Bx+RuYGaEMO7MsgMYt+eGV5Zgl9aCdewXNpgUOHsTfNc8lnPkRGeYjvLFQoU2xRuK5SNvMs3teqkNg+2AHUc7gxzMgbGr7rR23W28Ou7tXGjByD/5ttbEfioQ/jwHRseGWoCcWQfVXuHY8uZUQC44saDVuEJalwLw9C7XVgdmoy4Mz0tLK1xk37umOUsUrHz8w3JYAnL0uHvWFS0sNirsQpXlpZHOYJIWwAuMGZbc3oGShvzx+2S0R3tf8tFJ/7cBt8p/ObTzSAlADsGDvaB2wyv/ReCB7M4B4TTxOcfopqjLYrHQnhEaNYClVaehPwNloMLB4YjFd5ds0krvVOXDSFhKajxCNHVG0ho3tiq9KcG7T8HQEG0MIM9imhW+8qI0AUya8iUNHDtE12GfbLtPRHFfOhMUjnToWhHf8xDLAA3vLuM+vqYjlDX5kh1Ir3XB1UjZoSdPkXyQyZ5U6FeD0g0YMhkc6LwOFa6kN7xtRvEzrCRPt9M6gj6PIZUojLYytdNaJdab9shVwKvZvb+guTsHts+UleJ77+LRRYzZ3NJbagHtHvgKrxnYaZnEsoGTfndVdnoZho5mvAdlNClR7Dmlx70IXEjJFHs1KMKiRptW58D8cOCeGzPtLe0lN1GoRLgKWgZJtHi0pNbJoj80synC6U7Yw0M0QNgIhQK0vs2yZQ9JBhUETSJgEk8UeOw6vTe8OHDvXXGKL9j9alG2MqNqGhaobEb5mCrE+I4tcYP3IgwOAiL4TXxoksVtuUfZV1wazGxoSLLePu6xb22AwUu1KUR8n10y3s5DNGqHKFgr+xx5ylfMbW7S/s1ZgFtHVdzKdSdwyQ5rTpRZNzyWC2kTv+XN6Cq5Kc8LROlw6qejZfVbToY8QAHRy1SjAdP2HD24Q3SmDnIcENs6f1vv+UW1NbsBm3sqdzPEgtzZkH/NnGYeDHyhCApY0Pl3YghYurOj1t7JwN5OD3Wd3tko9QJHh+nul1OYm4ECamCXM7uZHL/CdCn9R8EdfaDsyuAtJlmEGweX1rpj+6CIJ3nqRpo21MGti/TGEKtNWlquxKKgNYtAymZhIGhktWqEEfHDV/+C4XZ6h/C4I1NJu78eTJ7H2y6TlgbJGxDTlIjfL5az+2yvrFVn1qKpE3VwYsyXw4vPz8e9tuq2DpXVf/ntF/aqN8QJawtq8VteuEn7qF/Fy/ee17yPy6AK1HqV+rK7S6euUzGgBTDqtBtno02Wdbx5N0I7yHF0/krNUA9aTJkL+ajwR053KEBa9xY99dCGxJHfNifOXBAp9o0LZrm+hDYJhUI4lAS6SGGKfVmP6s58jRYNXxRqL9pw4Q4Ct8IF27ybRUztXz5AMbGO7PX9dhaCMcl0Mom+v04ZjhkPR/M+eYTg2+YOfuxz5o88OTDymja5lFAczZFfu8mNDZHTwxY51Q1kZNvFWfOqa+Uqg9R6NdZFQV2mJn+dW5LL58Ye7VR3HobgHQ7W0680ifCjxhmcLTlEhNbKPVVQh3OHgERZ19qDYvNEGxRrJszT8oxLGlVnrstvI+ms+hqWe7ZaObrsTYICEGzVrViMRY9mGiGys0u21Q/2bsSro00SXqZ/BN5LYhOZFecBIoEboOIQiVEquYSgotjjbH785Lv8fPxm4MC6stahFz9YQjDf2KUhzGpGAtx/NJwonXFtjxrnm/fguFytTwebJlRNZVOjmIL6c11p3peQUdtPPvB7dNToRCHukFBk5mfiWaalSrpI6vUO6ztkAZTS/qt3iMNM3Ps3vtVYUvxK/q4GxEDrTo9RIC6vOq5vNNRuPv5yjinvxgSYMuw6VMX55F8XEHLBjX8V287ym/952gYXPGO3i1MJRHXnZeKaZrKMy7SpZKLKqJTb2wgKPg1hIMpBcI4NaTuYruEsFMmvmh3tEhH5SHT1wnsDojctr4E3w+7NBQa2fE6Xiz3TtaLqdvsE094ZvjwrWSQEgjJK9s0VqDqxQXVSkBq5OWK4SZM9HlGy/0FXdTSKWJPjmjQKrkYg6iq+qhHryWnU+mcHCjAMOVT7/6qIBzv9g+Yxfa83ZFvm7otJtudwCfi+cjcS4pgOOvgWirttt+3wnl4e5uBBtc/DME0uCkW7btwBZoOGeWSj7e13HsaRw7kzIPnsAXmpfz3N9hI/Jly6Wo6mskyGHKgVbGM+b5bLyCC6C6C0gZ46YXWba20rO59UDiMhrJPbQFbCXBVt224TIsTygVSi4FVwioqiCsULT0qbIxZ8tAeftyHzsA8UBhInmxuULyGfaEGY7kMWQIzQjoY0qC4GBvxScs7amEpvwY8QcS5sLgC6gBE56PGLVJi/DgVh1POM/Z3upymX00vEqCiCJALMy8E98wpL8GAHMPJiDZ2vLlgTOjH8iOdHXKh2Htuh+cTxFckRSVJ46DRD7US4KrX6hrsRPgdF0K3TbZgmO3fKfk9qpxzUMIFweqSJbG5h2Gs4sQvYavBgjvnqwpBlc9T15ZJA3ltyNnLrw/fe6Ao90YaDUMVl0MM505BA4VeSozx8WusJ+cVlmC0VB1/shTXQbsuJ1cdj4glBKaSWbKVyAZ9KcGosxlQ/Yg4Kwajnr3iIOupDDjlG5qfzFuX18zxUqzqzSiqtGs5hf4otYXfyNkKPIPmviUSsDEWGB8vZ0HqfiyYhXECbrAqPlxWbEyaaXrdvWloZpIChQousZRUpPUWjYDMhO2EK5mIlaJzf7r5L9Drx3wkeBXCqYJxJZmIWMlWRnNth9hyn1fwNDiPqbG4SgEt6QTR0e6p/RMG0c8UOxz3PD4U08ztEvFuON6bbw5sjUiCgXQzekiXiEdfpQuh7+L2oZ7mOfC2b71GZ5ntNztqqyUAfkZFt7B7T3ba7gMTX3b7tzSvvmYiY+5AzG8z96uYs3xpS+V4pSG4+J4uOuhtNlnSOIgZ5boA/aeF65M7yQ3s9lw9ihSmfN55F/LBeZoVW0kUa8l+vG80ORItCpnHdNvtQJq54UB2VbbQb/C7iK+ABTkJrf5VfH6C7Axv5ZaS/Cql/w7WFDyHoWb5CuRRQ7FBvF2wnF0qE2bRV+Wp0si41ZXnp/gthkotBSDhS6xX8y1zlxS9Q4eXJJry8yE0DtFA6XQU+DzV1pZPBRk3SgPHY+k2uYRtG8XLvhxV0AyW4lo+YKEp0au5zI2TxvNk0xQl7Z4SSut9oj6/feK4PFAPy0zhy6VtlVEkzOrbdUYfkaoA/wXo5f57mcnsXNK6x1H9LY6ovZQnW5glrMfhUp5/ug8w/Qm7huaVVUQCnFB0IfhK/Rzz0/sVro8sGIQvKSEe4Wtw5lFgZ2g3bEsQe6hX1V+dtGkyFBxc3sywCXFowVIjE8byk/DO6T90IfBL88ZLPF7x9zJ4E/YFJsf66PgJResWzmRFZrQg3l3ybbX9l3VGpOjikUt8Ro53THJDLi4e+kVcLww2Ufa4uFgJM/1pdrUHdQSIKSzgmdk3qW/Zq6M6bPnxCAIIQoq69HFdJHtkme++/Pdp2PJZyZG0oNGlHTwf/Ujixz+Lv6DjQXTUUmdoQjJvZ24ie5aZKJmukeghONPyjttgS77rJfjlo0vLD6FlClBBZBv50JIph8RL8rGgyI5nj4tJ0rnZS4D4H91xCNuC1fa05KA4PDyXLUJWV/fpgXgW2eBEg9TKFRc/SCeCwKmoajEQm6SWKOv5UPCqk5Og8sPkAPwRF4HMS8G5PlJzBAv43iKLWKNnDJCfmOw308gL+L+3ScenCuB/RMDS+iquzgYUse1x9b3WY8TiX063oiCUaPTvRKnbdSNv+s6c+HBs2D8tUZ6IHbxe5L+cjzcLPzaMRPguByDcMzTwWvBUV+35zosif7uFJFmrnlzsYBGKBlZIq+z35mgOXFDimY7GItQjPoiWDq66XhsnWzn3zEjMS6qSGCFNQJbROqcsLQ/cQFYlKqe7Fi2YbypV9XI67Nu+cqubaAHlf7eVc/mLJ8UUiQbo7abDI75EfumlzZcXBKm6zEugqGPJ1onPSQYqvyCiGgGu2590kHnBSXQXoUw0a17pDMy2kb0NxxQW3X+j94GW/zik/TlJlC81ndyR3db4kGG7J4ThEgvJmBp2vpaRKMqLaPjWYGSogGUp6txr5cSc35Z7DhpkI3WQgLWd9uQdnvXHO6gprJJXA1GqGRppxYmYUBaCfigHb3ZzL2ErK2sxHemyzQaL4KzgOuZq5dcncBvK3ZV3s4XOPiP+DKcP7BcbnmJbSxXPdxxWyZq+nOE9WEH+uQYXO2e5dabybKLhbVmZJ3xsbafff5HHYG784CnAXu3D6dt7jsoEGTaNvFaaz1ziW1MY7di7lxsIs3zg==" title="Mekko Graphics Chart">
            <a:extLst>
              <a:ext uri="{FF2B5EF4-FFF2-40B4-BE49-F238E27FC236}">
                <a16:creationId xmlns:a16="http://schemas.microsoft.com/office/drawing/2014/main" id="{852A7277-C2B6-4964-B510-3694DBFDE565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 bwMode="gray">
          <a:xfrm>
            <a:off x="330199" y="1832263"/>
            <a:ext cx="2465747" cy="4616030"/>
          </a:xfrm>
          <a:prstGeom prst="rect">
            <a:avLst/>
          </a:prstGeom>
          <a:blipFill>
            <a:blip r:embed="rId18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6ADACD-6925-4DE8-A425-F595D8D8D9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4" y="1"/>
            <a:ext cx="11522071" cy="876687"/>
          </a:xfrm>
        </p:spPr>
        <p:txBody>
          <a:bodyPr vert="horz"/>
          <a:lstStyle/>
          <a:p>
            <a:r>
              <a:rPr lang="en-US" altLang="en-US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O: </a:t>
            </a:r>
            <a:r>
              <a:rPr lang="en-US" alt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st Peer 1 brands have potential to improve organic visits and CTR</a:t>
            </a:r>
            <a:endParaRPr lang="en-US" dirty="0"/>
          </a:p>
        </p:txBody>
      </p:sp>
      <p:sp>
        <p:nvSpPr>
          <p:cNvPr id="67" name="Rectangle 66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z2dD7pS103gZfJ6l4USC3jqtWOPR/ue0umjYEY9KlLthURXCUyUuZbmGDPUXB2idlVQc+R1c0j6vNnMaKvr/AghcgjyTjoGcS2U6lyGcWZbvoYqQsrFJ5DN1RdHsB5gZU4BjQJ6xKwDUEsW8X/QQ4uIPkrhyjIfLLN7ZR3puqzBiN1rMnctBA0J594at1EN5QJYMsPufr2eabAYzIDriNpy1GurybA3KWqcTPRKYh436jQqOHiPaCJtAtzpRgB7Igk7tw7BcBhai66Lc0jpyzFEK/4NRoFF+cso+ThI1HNgDMZbpFoCsJQtilLqk9nQPGX6RXGboCTf8hOOcHaKoTUKF81dro10jOa8Xb8mBGZAZ+Iyl7KGHMy03+9hVypQ0hE/Mmyv/yEYKyIe0ptA8wHLtCAgj9vtiVSbYPZQMP4AsvzyegLFreg9e8vjIGRKvxz9SQeeTVwpd0yGC4582vbmrSGDJuMcgPlYy/566EuUxcFprBgrWtjQuhap+P9+TgI+BFXtiPdhwMZC1MuKSEcSFAH4qH0t1bFr7NOUfnuC+z1aREoMOmdRdr7b6TG7KDzgUm8tn8wjKsPEIg4NMFA16XudfsPE6kYYBA7snKNV/uVCYtrO2g5SRv+tOtRpM31zlM1CI6RjQHmMyup3tAcp4DORveyJamCFvll4JcenoM8ntpdoWJcYp1myUrV5V+/LRSy/M4k9gc3IC4B3xPDDYLcUdTqsJdkv80F0MRM+dBLKpR0SPpnYhZTZ7DaTupGmi/czEoa/6ijoEeD6/vKbpX0X2RQK1/NUSNbLm+dKWHY3Amz+T6LHDRzBITgvB9FltcX19HTqR/KflH6iNuICBgV7eB5kVsSvvQ9eJ+mvdjTgOsyi/kEtw9rUgyN9t+0dXIADcAQwc3GAbb7Zp1iNvq2YyubiH6BPIibWVVkd3w3QbSxV4L1GCouOO1HEP83l5sDrvrcyRwcQ8V34j35anGp1QK2vF0UNdqgnIwiEmIVcvXUptIzqA9w4gFGZEJP2XQkyC9Kjib0797jh6bxvbjviVu9nydJEKzS73+PX47imYszOvPEBLppK82V1MA1YCHrGCo35KX85BXZa8HfLTm/HM65LOiShsV0Ac/wLyz6V1vE7OC97VX38AFy2tTHL/XRtYXiBd1p+vLFTyv1KXA9WkWXYvoE5MzDsxi7I+qYSSSRwzsIQEoJpJksw0opyh4Ti5//fcXop6HDfqLpVdy8adtiCX3jqqECIji6d/KCTFYtO7kRNiclMo0j4/+TuAR/gcrfGBQWy+nYYlyMhomgBhguAA4dnsYTHGLyjMwGy829j6/8Fl95eLhL0LSKPoofKkdNKxgAHzxPXQRMzoa08+Tdcsyfyk3NUgCjA8nXzNKwjRhhiDi93wZ/Vm0G2WA9wd0TLZvMapOZd6p17Tw+hOwbhkNifRK+kx/aZZhWOVd10LnKqjEss+HsVEG5Q+aLboOw4HhqZoa2Drf16WUu+5aS21CEvGkRfjs182k82nFJ3UxSHIs7n4y5WCt9Vu01KSaf9F6xt7C5TsS6BG1J4oIWD2TuIj2DRRrq6IWlGPwyBAZevpT51CcsBuH3WYzIsBb8KvXO8GX6ZBEeMU5/THvlh5641y8ACu5Vko1oPYKVRwZCj1OmL64wZG1ZlytEUXxKcTLuIAGSrLhBEVdNMJKX2EQbHQnN43H1RIhYFEA6BHrxL4o2vHWlOMqPQpSqRjStzinE0/Sxmq4Hm5iZeYB5hdKNups+QC5aaL2XMTlMtQPepGDX8YemMhK4wiW/C7/M0aV1ETchGFighqsHw9iC8lAvd2VWiCMEqdXzvmra3+HWvlPdVYcjHuMulVCNJ9FBjIH9pvadiC6s6ZZPt+8njZecVW99qJoBlO1/ams9/gzQ8O8CpEVasTaCRSRgM8gXyjoiaNECX+1mLTtvwGOQD8GFKVQXLAw/DNm+WFJSlANKSDlK7bSLHnL7u7uiMJ1DJhNrkH5NXDAjj5/ouKaXcJISpaTMi9iEWA0udFtvAmDel0NgSFjJBP/AlCzQ6jqTPKJa0/gpMZV+IbyK15AhLV/erRKKm9BgeoFHD6RyK/Zxwti48khhHQ0GYkk/u8lK+zinNzTCIyCe94XUQru04NmOyR6ZHzQWJHfk35YBNOoCVEx4zY80C1IJEo3GSZNnvqczcAWnphoP6+FaiYydbNRZ3QAQrUGgrxzVtinLmO6UwiQLbXbAxnyUaWTk49NgcuQ9MofEBqo8lKpt3V2cJEkP2E0bI7OYMbx2N5Ne4b4fdCFbW1pNX1JpoEiqWlGf8qpQWlSBySyZ4ZK1kWE3qWcXHmtzgAmGl1Ojn0/4NLhHBgr4Q/od7mzEvbLxhcM5bmDH7uv6X5ISaZZQjCR7AgGVjFET7/T9oVp53J93mvnukH0sisowwOUw1i3ZBNW2RtkG3ueqtM7tOai9onLeD+MZ+tuk0/QDz+eI9/VtvDNS/7SJ+QmsyH/VdkhDipHfb53vp4z8sRjoMWLeo6G3T6rR8BaNuWJh86H34kO+qws/6UfnSCDke2Rxvat6Rkwiw9cefhvZOO5P6+TwMP0MINEHJIuXvAEf5Aq/enKBuBgdQvJRkyKNj9MSBS06LN4R5uDRZraM35IObvRT8FDn/s/ZFOWrlqFlZbbHehw5RfPnr2TysN3tWkl0ZZ6ehts0vVbTQEsvsqRK4imn3jSlXwgko42w+mCrKNas+KgzBHKy7qmOOo7fp98XIg41hfwu+UwyyY8qd41Hd8SHL502gzWnvuvkgDNyVX61DJxbBMiuH0Nm3W+1bprNTozXxH+uNh884Vq704YSXf+NjoSC4h08NMKxQa6QJLbAjI4rD3bMGogS0OYQMrk/9DY5gkFxW+OFMUdcjUg+SHCkR5yYlpPSxBHCfRMLABq9SPT9t1HgpixL7Otj20gXfsmRSpXLPRA93j6ZgVuXdBOabzMl4/YrRr7qjd6DT8B4+4r2jlz3MD16d+nSJE7asf+kLYLW3ajhI82SRzulke5Kvl45LsUkBQHSQ65F1u5jDViH6zq0a1GyZO/n8PPUiiSgMZfTgnEG9xU70f1tB63R1DEErdCaCYJnFLHPxZ593QRcVs3kz68hmQ0GywLms8tfx4vvityZKea0f+RBQVJ7sMtpONiYCoBjkQ21LasGNVRo4hdCeg4Iy0ytKfQJRRO5he2UGo7afvbA6Ogz85rw+PhEmkOVhtGRVhiH+3U6WRSZ/G03jd/onVm7P4RnmV0emGvUPGOp88QytpD2fddp/uBpb0u1UDDrGAlind6XkZ4r693iZfBWuRaEzbOlSnRbr03Nzu7ALRNwSZDIVLuAXWsJlgSzgZNbDOIXbYstcbeyi9RaKnT3svaQasjCNBwAAeKHDU5LjFm+HOMF1iJaeFCNmhmxvNok8GYasf5Zx/T9tFwZ+UHDp46lZ0vthhBOx+3uO276H9FOMFLo6JXQ+lPZpApnAL7hQXree1ZzykEk5ovFHCaTq+2HinDljL6DljFBZZ4Uhv04rQ7TryGq8mT3ZN4aBqdpYiQX2o0mh/StbZ2MGWTD9zudVCo/UJoCIqILTos+XOu+2pKr/WRWUhOVolLuOYeskNURFbBcBfEEjVQy6MEcceOn7Y7MrtXVvIz2eWNCSbs2Z9ZIooV80DTHPYO6z8U4MoAgQMyZdvF3G1PQuhu5Udpb7D+y1CjE7KFUf+uXquatIwG/uwGS0O/AkGhzwBoTkzigaEp3HKbcL8Gna6udNv17XCsByXKCVttSOs+8Zt6/vH+rJOj1A/lF6toC/HX5SnC5DxDahkIAhHCJ7Ffu9uD0G/H+L4Hb4+MSVqcKRUAJqdG7FKJsQychWxcFLqfdsmrdICwmZKzuTbGIySF7Pby5Dr+hoflNQJp/eF9bva12Kz+y/6SZnWLMXmT78BgPitKmqoELJlupauMTT0Iw3zF+/JsyG6DACmsX0kY0hH57PDjTn4QLNpyD8XwWMqMWUQeodDlO9NS439nvf+pB7Y+91g+wqyN8ylGYHrVX+ppYfLgsThgt7Vwyd3QpunWt+e97Ih1Zo47wonuInyPGIDQK4eKMpCj+YinghppY5YFH5n3MdaeuvHJDOvKhGJDXSBtvu7GQAcwC2d70exO8DDzgtHg7BxKh8MIsIUnO7Z6gRmyy7jLJHU5OWrxEXcQeeo1kTjkQfhPE4S3e/hmjqwuGlxMQzKPxZw4LrlL1bZc9YeDo2fDLaGdI18pONKYgZXtvxIqvQ7hyVA6vn0HEH+VrGfmJMgt0aX0HCTAXA40N30cyXvRjLxR4fMd+O7swgSJku0BPRUxbIYkDqAjsNpGpeKvlZc/dBPp7tTV6pO1ldWtLX+8ApyrgRjGnzVmDcPE+Xt/Sgg0jMPT6bWdyc0ONZDY0VxI0CV2RxeWBa1nmWMpaYB2U3cw9QoxrAF2od9c9phjd8DjAaW7CVGOSam8SK8cZBxH3rBDFGHkBwwkRhVzQormmwTe1EJ9YMkTm0w9+KlXGzwmzBB6G6enL6v93pRn9dULdoXJhYAtwPWz8IqhCuqrzZ7Bs2kaxDuZbSKoCEzbHeAEpr9mlDZhv1YYZ/s0q/WcfrrmBgZqV2Ae233vFlZi3w0I4FycBWDE7YujLvwa3/tYeg7KywJ4ldt2vPIaIOAhhzGLB/1zjh+yhaAwdFn8QH8pr5KNK7kafKHd1GHnCloJv1aiB5RoIUI93C+lhL4WHJ0rWUL9/mWfbRJ/TsOw+i5tMAbiaUgF9Pou+JVUCQiYJbY2MxPGtFfN0LjfFRSSurxtnzGRK6j8H0sKQnon5B5ApBZUDRvB4dnONYf5WyEkTKrNG6MLzcbIwjHmBZR33ddAdnvOhOB249vZaNr+cJnFpxIEwaYb3/6vrR+zhFNbDgSi5WTrO0Gu6eUMgALoCe0sCtEkwZ7bhIB4rF1sTvAIV/1VsCpNAAi8joGtjvY1n8tFCACU22Y8R5NjUCONi+6ATn/SWug1W4aLpunswUWxA4iv38niEb5FJdlaAW78uumzZpRVXjhqLJ4fS3awl8VlNSODKTgKGc/IilDZwLa+q7XbJo5YSpyd11GygvCkX/xIccfggDDEpy0YmZ5Kop8lFSLpdE269+r5OH/5RpEeiKBhyM0hBIBnJTKImDE3E4Zo2LYnb0bwu0lyNlMXEiAT95GbgS2mPjISdWSAnVk9nlwDZIltl8nlkwG4JzeqwiQ68quXczgSh13Oiip8zGsyEEAeJTKliy08A6IuuvdexyNIUIQBosg33vdwtC98GLc+PqudR8IrDB6QJXnXZ7lwzgRf4aGFJfeEP/sm3z4Vd5yUtBQcpZ6xVhxl4/7uuZwa7RKOT0qx3XhbgtVXDa5nYOfeZxj4+b/rHgworrxbt0g6Hy7Jqa1VMoy8pXLMkcu4zydOXpKhzylhfOlmqgO4G5o68cKAuLNY0QZDezCtWcdpTaekwhxqjvBX2zsQC2JTKV71OeeEPoitJd077CBmnLbZIvtdjLthxQCJIULhoO1E/b9Thum1SzELdgHfubuMJy3YvUF+o5rh36lSKkijjFN8ARORZ1HXd2i5tOPj9aa6Y1i52arTdrjZ6NnGo/0rITbU8xamIF7eMfCZs+Wsqo+Q3OnUUEe+HDcGwSPFkrWxRPHwzBTFoTDBW6rJS6q+TyfYuzPu2qeo37D8zyw4nNdibXwfu785BhwgducoxQkOiOLjnMJ6U20wIBHaN1qijHnEMdXOLTItMP3XFkOp+1sOvD9RLScsX6UO3NNToqHGEbymmbEmalDeuQK7w07qFxagksQdoN70eYIA2UMDMMUQz5HHXGVNdD/ULWWXfh/Wsx5jmJiH+vpfUVcGinhsmVC5u34kpdkwcOrLI49tqxHkhNKIM7TlcO7bdAST5gVlaJTEI4trQlxqNgoQvi2tQmJq8DNiRwqg6p1YIeyfq1Iiu36gC9uqSf3Cr8sGDnPZkEsb1egqGtrXv/yF5vqGkBzpADgw0cGRLItx6NMrKt8w6z6eBxxSX3++jzoso3Bdvl6tM+YO95Jw8B1Nd9TubTubsy7TOhyMqIO0VMbadGjiJ3aJv8lADS+3a1GPZyd65t01qO3IuYQ8WPY0OzuEcXZVVsH+8OArlP3nZA/9eMAFmBE3eJTny7kWZ87HbIh15XPDG5zKcn92ZN59vJfKac+ZzRZddF0oWYLRfbkLHIW/lDsk/nWvcsfAEn9vDc1imC2/zFq6NZQO7HTW40utqnT363/A3Jtgefx1GkGNOwphDHQHG9uwBUOSjAw96lVPz9c7BYomI0QWwM9EFtTZSFU0XFsI0yfYIlS0chGEH0vyWAmu5ooasx0RKmpmxULkIzgrkXPKqmoph08aoy2Y9HQVi+CBvqlEPHzD0UE9WgdkXdy3hhba6m2WwFz5ZOLpnFsrOMOYWniF/7yUyd4tdQOIX6uhJDTFbQa0137WACXL9MqIAn2DMD2GB2eHWnriTdF1TnnOHMV8zpcQeEk8hgnZxYoZ4OG7XTuYyvLRZ8bcBmo3qJUf3hCaix49CesRQ8UNvrNlIHPKvd1GI7CvMdNWRStk5LxytdaOQcgt6dHXAYW8EKP+ri8wB0wQVtUo957G5jeB8G20e1yRDKZTZIQZQ/TtNoqM7we5oHE9IcYvmY1kizgpGtjKlMwJNoKNrQTbYWXbczdy8X/HwpXlEXb8JDhONYGGOHYZWMzmRvK7GRaX3hOqdmN4QpU0S53FqJxtikHxJkOzFJ200rrSh6qTOd3+iuBserLs4F7mKgktP15ONqgfQfFf7rrmKibWJtmxqz2u797ngDA8jj1aCIM4ZPJYJ4GxZXRKIH6uIL21LrGtWtnL6VpYAA9IhhZy0P2YEfnkyqHPqXvbJt6rrS7l+BGGgvaQjk56uc8pXKcKTl+AVuxlcHjf4s1F9xMENlTpNoMPaZjso5OuY/XZaVnngct7hwRHsIV8bt6DfMUprQQotJoT+BIXjBL5EaBdDO7gp79KOTCKmKtlC8cFOXOr7rc+nTztQs/hBf9UKDpjgAETP8yGNoTF/TQ2Er+Oy7a8p8AcQgQ7Fer6WRJ6EIXqv5W5lRQlKf0Cr9DiMt8YQjEIvx3ycGmA+QUdomsN9qM9nRuxmGNnIdxS8HgDNMG0wDhT4Gr4Z6jis8SeBa7oTItIWlaVU/E3ISNoh8PTivlFYy4PTEuP/A/CWJp9tzSgvYiTVN5O0WbbI6/r9r5RklDanS5js99oLPLQ7hufaJo4+XD65jUK9HR8F6LWC4Ryk8Dya7jvTEQ+FWrSMAdLFha+gd5HufG1RI6X6Ewx7Rtx0a7PDqXoNw6y+8USMKVRuPDu7pPcrLjA9pZgavudnOADcKw0Ds7QL0iL2vlYJevCBfzeddFRe2XMh3f09I5VD/7TZ2SjxD6ZSepELHMv/nY5al54BKtVqjJlarG6yxoy175sJ26h8Z9EXVwuJEaij9sK7U3YVIrvI5kQ5m8mhSCqepmphIWAsZzNljuTs3QJjxBz2XUCJ0vPUxv02vM/pi5ZqJRSFEHBl0JHnixGQRlvaMQSu+HqSE1Dzd2Ruz6UJpYBGsdpH7a8W7/Z4X5BEOyrI10ZYGWxdfJCM+JrWiQewM6gyZphBh29rMbT1qPdeaWkxBGXucZmgcQxtZQxzFm7IceW4fTlTZTCWb5Ay2y0Z6TeaZo8AtjtsGd/OkvzDZaPqpMdmgjq2lklQEi5A0EJptoWq8r7e8YEd74miJzcltm6erimPgA0zZ3CIk4AH4CYLBsQzB+F/pxRy3Yb3e9d/4ucEZ4vhlyhhm2xj3oTJEre/EkLAsU09tXZmKXGtIGLyq7aENN85KZiCseX1MkvvpeEFL32NUZLHQB9akiZZTllwjZPffHpJupdeR95A/OZpHaAH0EkrCr2dZI2e5XERwpSTf8RvwbHZQqaaqfUZJYvdCNcAakbrorSmElTx+u09UH4+iMIgFejaTrKvBgdvzoh8bmCSgaBPmsESSYkPZ7J1bb8JDE3i7m5a71n1pxCKi6xotoH7FQvxcWrCXdI4RUlkzntTjBI2h5CvIvHrHK/rEIckBL5/M7pgFuwXFxP6Fy6cRkcgBgVUQeALn6THXtQP75WpZXeLsn2kS2Q/iBEZJyjPLao2NdyKsUcyIgWJlWTtxe1WRnHSi+VR34t53YUuuwpTVkEw6M+yVIYX4nCaF32fwUTf7AB/hjnsMv19RDm6uQZplhpDcRPSMQvxS9B9MQUa5GA9PTwEe1S9L0mUVUdAw3KqB7FvsnoNxjJnyI5lerRQfOfVjcKdc9GYY153dlAWRGlj1tD2vPMCrph28MvgomAiXhQOIzvybtez0z3H+dCLCVlCrRsEyykOmXSF5AjjJnmeCTQLNXT6DUksiuVT6UDq/UhLr0E8MCSzGv9fdslbTFQRhzkF0iJA1KWF2p7oVDo/w/0gMu930/BYeqF3GwezsTtig0wYqYPCACQguzRNLU/9rA4CCbnsBT//EBp0eGZe6rK5yWepWCdPOQteHGNXs106AXsMExDgwRJyZekWcNI6Ymmi2aHhxDqAAO21H8MR8t90YPdDntaQkPVshWnuhlzHhImlRAAY+skwxEGBK1Eu/uixaAaXZIqcKaX0yHoYYhhFFwifw4tQQjDGBi0WRH2RDJHCoX2lqlPHyqF0EmTOKfsN113wQB375JhVe9xX9g5+bJiz49wty3Gua5GRw8OQeERWE7oZu/JhTpheTEIWK6GxOC8n+ltbR5DHQZM6VJrn2umsTV3K8jVN2Gatqt5R29/bUyP9wFBoYqyLbndbkQUxJO1QPqoAYVKvPU+h+AEvH3v3wNA5VGvpX5HRa/pLU56caf2E9NUI+KLbOrmDTSpNtiYxsYBF/vFHnciGRST8zajLYHnQ6oPjaLBDxAs+Ymdsk1T7Xf0kSqoXGT3xPcPMe2HmQPStFUMNW/u8ddelthdfkWaDE+kElzumWrhhLd3jvUEw5+aq0eIUe5DKnSoGdFxQ07UFPbwbOqDoICskUa49An02YWdlfbFNXZmLU0cTlzld8A+rG3jKpIV6jA+6e0Bn6hz6lg7EuxGQ4atZ71XGuu7SB1B8q44mo7W+62vC6iCNlojgYciIMCFPUGGEZFs/Y2zAGEYnNfV5TEVLyHroUsHREE4kLXNKMhs0d8SkxY5LHf325IrV57LDlAANVJeWfiDoLyxJ5zPiQl4jlh7VUoBMTTlVGzywAbK9g0cpTjgQeBlvyWpGWSAh56dGvS8UuVEfd9QPOtll2Cm34p2Erpih4ol/g0w6cekjfJr/vKAzOezunlQ+hgR62UsKo0hQMjGB+SKt4pI7Dg2D0pHdOgApqe3n5+ohLWRSERAj+C1qxByzxlWdv4jecwj3d397I6YbJhnz2gF+A3BAMpg/NOZNTe7kzUSxbi+85t3ddSevE8ftz1XHppGe+cWE8fgCLbn9QVysxOx6Jy+4wUPyRg6Wx0YxPuV78mp692j6InSJXhplkoLLIyQ2MJ8MaDsphSMRfLTWs4eY0lGDv3AEKuB77W/FhH3psi5ASw2BQm7iNAaVGN+v5TWHXM9UUhJUoUDENsgsmhbU7foIazvHA3SFtpIjilU2SPM12/EeGb2WCl4tDZBXfEEySjyDEgDK2xyndOB6rInOXLvGFsQfXmWnVxTpF1GtZpmUgbcHHbNAvIGxg99yQN24K6zHxLTrxuoxeD5Z3a9iARUaAqc7Couy2Mq8/918AZrXzzoH4g0bb74DLE596jD0Y3x4e/Lyo1bQvor4vRCEsjSAt+5sFRdlQDbkx1oOVOHK5s2Q3z0fNO3TcsFpLO1Er7hf0Oro5IYU7THtP084ZhaqVPYFlpiFuJS3WWIbjf3nt3ZFOhzh03CLZf1dYDgXKC1bfcIGQvuzkA+F6DVkGuDoyUP6PhRwrvWZ3s4uBNmRXEvPhOzFy/dLbJ8I0ZvNZ3urxB1pLzMMrY4WHl/hjjipufEGAaovsab3/53+jetGjT7IHRgf/nFu0d0WcTnqXT10Ypw7RUKH6GKWtW5G9yexm6ezAJnsqsGT3aI+f3pFPf4UWLFsI717fIdmb+rCg+scpsnN5rhAHKY9Fda+Ag5VY5uLPYdYOF4H++mUwGCSBjXRUgofyPPy4psTIF2cBQpOymGI+wq1Uo6L4Ssnvp/KoHi6BjVHndoxmmPlAZg6UmTPgP9EQTknSs1cOoro0gtnklJ3TmfdjDisegpUoeek0EV+sJ2LP6Grr7Yz38oCDYrcsujgKty9pteC1Q7S6W3OujPMCcqT6x8r34ulT+TYkDKRV3V9fFPowQXHFZch6QX3qh0W5tISBM7F213SPS5TAWE6EjwWoQyU3FOrdX/BunbAYi8Kw0vJxjp3yQWLCxR1kt3Xxvgre8MmOzHbCQTAD0+ZUxzt1fflbA90vmXSEvoVNttUy7oPdUuhu4W3KS6Kb3Dip6HimvJFIqgi0/3sTq2fLhjbglURvyqRWBSfMA43HtECsf06geTqT75BKbelOxjX2+i8rw+I9BMzOUhgjRzrT2Fp3FHLpuR7WKgjMo+P4KHt4CUcdDYTTW6fJbZej+bwiH1yeVoTYufCDoWMylR6Zz/JfU/d5ItdhaExvKD1qS69R8vo6kyoZdI3CY+rXgBoi155nahzUEgIs0AOyGySyd8mufj8HqlvvHYzmOlFA5oKSixARncexLmOM2dwJn61FUa8U7xSoy2eAm11gBRxEM9xrvVM1Axu27bYkGeB8Jj1HMeefGERSuaDqfWhEVdIVIeKtBeTIRylFCPz3mtqkCfywzJybz2Jr6b4QzzeKq7qil+7muBp8NfhUbXOF6dFtwTa1QOJgkk4/l4VOG7Iz36VjJEO5n5pNUXWt9bub252HgL9nRoGpUY8SE7Vpa3F1//YqepikkDwYa17vUaUamCo5+mq9fjrmfJyGj28Oy/KuAVKObyJZ2PTh92zxyFp5guZvQ0p7Ta0wsVxA8+Jq4k4XFJx1ZfIK2qPtnLovL+feH0VnWehcQgEvNXBAA1ZGLnpoX79Qf9JDXC44twQr33cy2QIny4TwP0rtXUa1fLUuFxhZEF4frJPknkKMQ5ELv4sHfG9dCB2tIa47fLNTVZonHG0cOWRZblRyfDnl2f85QNn9iH2DrKAOiI+zR/oMeJm04qHjqdl6YjsaTqzPd0hsBRJ4nCt/iwjwxtePtLE4Ink3zxcfzlp65SS0/MLbaPg5hcHHOecWly5+8cxAbswYLCchWsvkheArVU2q0MuM34XrfR8Ptz2BzbU3KHe9VsK9p+QnGrchAaT1UNkNBa8QB+l0KIPv9Hz5cLUbFPP/w0sCMc97jGwk+DhdvRh2Je2M0G6rqE95MD+918vih7pqcvuez+Fb2bGu9GrSFZRumnvq5W6jUVefa6fu7wDX2K8gMnBBeyT4iDbml+c4SmSyPkiW9GFzRQw8w9Diqr1F6fz3Z8rFl66W3+Z5PqLQ9dTfgdF3n4LrfVelopxfnG5EQEb1UOHabDzJXA2XaksxAIxl07SiT0j8yQ4UQlTg0i4cbMro5NMTKS+RASdp3p1nPP/e14JAs2STKiX+GZC/zrQ9Rb08REFCv0APZqdYlupESBm8kTjrMklYbHyxJrJAyCv9YTNqAkg9IviooRZUwoHqHlIJNe8DdqE1Ko/SdSAOMymy/A81R//NFQEAaa+uSf4F30xjMFy43M2PuUGf212TgCFM81wDLH31Qykls/0HT/DLZOlYLdoAQ/SY+7I1qg6q9NxSMdRMO3ffW8CPzAbJGYjHn292Dbe6FGaTJ3kL5r8gdsSFWFCoQJlMdIlnnqCgNnEfsyGSLZsKlYAM/unvNYxreGt6Ecz78tyxSdPv2J1qehfMcOaZcZgCqE/dnkzcADFFs+HKIfegDu12g7PEMYjFeMOQCJS0XOkdwkBRWNwQ70lfiRcybXj0rncycWRGCRoge31pK8cbRJSjqM+GvDL2+j3/GbwLJRKUxWHtjGsW0SU49UavPgbvmwLdI8VByECr62yK/dbEhYfpABf916hTSPf7ZuLwQbxLo9Xe+tMJ/xWHsXFx49WbGnqtceaidMc9krvtSEny/ZIzgrZYpVD3ADBfqTF7dwHG8WZosNxqykDAmAcubYBGloZ0KL/oNf1dpAEmMkk4sCRkQaMB1O/wM7C78AkWS/uP/ZkVxve3iSHzFi/c3KVkU35AUvkYsi3hPhrpA/FT99qlPriFqedBY5qn/Jx/VfkVhzjaBMUYn5GPfURbBMy/zEW21Ll/OlXUS97/Han9E+V9l5wwt+Q/v6mPa3qyGh+ets/bFoO4aFHZRxTpNx/trTCbP+AGudgvctbj2RVHSKrIPT55JEB3x7COtMSo/FSnFLu1E7XS7DV++jJ+bf4K0KvHXszaL+5m9CyEKyt9w8+2eIsPDaYZw0p3u5nMYHfOQmOVcYP0PcYsHRuFGcZEHpQOE+ACv7scmBRvZAviVo11ZgLSeNM5Xm7dM/qw75vguUMCaKO3H++hrwWkIQ+YWZnNNTliaUGqiXLXu4DbtGgHSe1G30W6uM/lnS4/qUENASMkNIH/btmj3MIhxmb2SML0vStzWtWYwl159yanH8ucjA4UxFNwuuH3t++Oxsx1/a2JU+b63K7EPaII8g5VM7mGEJ91tG79VuULlfslACmAUEPLK93ZdmfHnpUC2OsaB71fEG+6uL+zyc5cbxke6QngkT0gLVTMPaYLSSo3B2JH9SVtdmqVhG6an/ZDvnizwkILiUitaJTGWvIP5vnTrEz8K9tzsHeclIeDADaortGfINKL82gBTqtXyVh8wAzSMvkKa0on2U+I0Yjp2vCPZ2Nnw1S7H4aWI3OgrdIPaDO5FRS8frS+5kxz+j71Yuougp9xxqj1rIts64Kwi0p+G/z4OYSOP+xy7ARZyVPeLyORs1PcqzStEFpgcYKIi5i0cFxnBZ194qHXJVS/lBnvkZTgvlYoR4q8jwIx7BHG9LRrCDmyyD+gChyXwun5w0gaeBCVyd+UIZUUOx35qIi9Qup6xyPYwjFpIZZo1nQ2lAXKVyz5Xxa2AlTogVcJlKUeCDWao5YMkEddJjwH/rjgD01M+78AVKLFKgKX7blvgTh7L7MXo3uFalwLGTxiCThyGdMCXcrgCqBm/dgkGm7F77fzCj0zNKuhREvvCzfFixRdA6LVKrFvaE4EB5xLD1QrsMHPCVNCdY9mRk06k31O70La51RAPenYDukmnrC9Uz5BmqzeedTVXX3FNI2x3A2+WzItnx/eqUtiB0P598iRTJG6/3waAfvTsLQhtAZEByoG93tBgeb6AJxqQZt/GuZYCMW5m2Zb4GdRwlVAApH3BwptM7ndk3HT974cg4TYiAUc4dPwmAN7BoGGgIP5ZNIY5p0qhGNS2DVrhLcqh/hYGZVZJ/UhMZfgw8xCLb4/XL0+kIZM34gCeC1OBcL9IosHy5sCmN1GlU6E4suvO8Gu4q/ZYi+5K+EjB+3Diul5BGIfgMCuve4fC9wCqZiNMS/R8PRyLHfmqtteBrZH7y+L0yDZorv3HT7oXC5zQk1nsc6K3342WmjOI297En4q/1VJyNDdWjmJYQMj2137zSZ6dmQFLODbrDjDHEIXd9sfcLS1WoKkXFq9DvGgj+7nIFUtVhP7zlG9I01TplX0WVltArBdHNag60rJWAIwpjhJGQ0zk/mckqfn0zvwj7Xr3Xn3k+RJ+GOGIR9KyQwIUhqf6v6zzakS22YmnM1ukWjmxezQqtFl5+dyGZL8SK7rgyRHBAbxRwhxCy49lE46avntrqu7IEklYw5HxdrwhZq18F6ltywzfSw3WtzwmenLGbJfKJjdF2d73D5oGg89GfZnzAN7nov7/xkU7AWHqqBVhf9kNQKWho3DS1IVAV3st7BrFtNDuduL/nCBCj6F4QMJ6LS6awYEuWNgsFgrqL9g5J8LwFi8y6KIN775I3x9kesl44KZSVYydxO4ibgG4kMPIR6auN2wkZNoV3IEtOuo0yd3zWxJeJd1lDC/sERi+yKsd03ZYMeW1jZwk8fAkREA4Ck5FKZqPl9AmepEGNlpdA7GqBJylHBk5Y4OmzIk7mTFkm7MxyYJiArQOJ0iigTyyYFhVGmrjPX7VbYGx++3b6vr9712DmGfxWaS1sm2IwS0zBoN9b4SFl3yYPG0PWow2fm1ntvViN23wRNUeK3n/aRAXGZzzJYyJZbxKfz/lKZHsvEb1F0cAFa20EjeV9Ox7Pc4c3Ta6lVtWyIoo5lvAzjSEJDJZPvHyC62gopdG/KEjbjf7mSuldA/k+db9rnzAbKtZjEhPGJYTKZYB/2Fgqhe7z6LGO8ttxdFCvNV2yoH/fyu9bbXeZyU4qiZspJSQOdn6Y25zerspKSfVdM9t1O80phJaH/QTzgDQDLi6PgAi39LFgpkz3zZBGjPpP9Mcu+Ot/dq/54d6LwIRoJBHILXb6w/rlFuNzhVgW3ehXRmR0RTVsV+KOqNYL7YcXsSEqYY1eATshE+67/L8C1BERw9wXUGMweq5EH0d1MmsRxMeviYJ3nUhiA/y5RmuOk/WO90n+Q0OPuxdbDEFQc7gJjh1L8LmHhlw7vP+qRZDh/zEj6cVf/e7VvLSJQbSCvKwkJ9CauRJ45YrcILf+OsobjW2tY5fnrEhAb9NQEsLr4/ksKCVNglAwskncDPKzej5k4NxmwVCAHCs8ArUQYciZSWaYESUsw4/5f6xgjduqcFZaPBPFktp8sAF/Iz7mdOZbRig2LMKXn1XivrMHCnShssOguDSxfn7jKU96f6uA4R/2MeJU0IsjfiI3kSz7C61K2IzxcsEmnnUudc6Ekh23CNQFhHdNklESO29MIf/N2e6OfdSuBGXOHD2JyEfuSj95XCWwhUb+b+BbUCJxZARU/af1IyUchpYMvSBag8bX1SsKwHiv/YMIFct13NIVM9lKFW5KuxVQJyOPD73gPJ8yi32uZW83zppuB1bHHLTumptAoNi6Ekm7UChGLZwP2xwELnX5mGfwrW5sk4trv7xceQbm79PyeTnEOj/jJm0ibrxg8k2Tc+Rr4ZQJZ5hLRezDka87vm4ClimGW4eb0/T0EXjUTqob9AqCQC3e2J3ay9L1rj8A8CibqR+BD9Kpz6fWjQ0hTC/kRiV8++oNeStid1cwqE/+70+QwUGuL9XDi32RJRoYvndPr/XxqVdPRlVteokdZ+L98zcBdM3ImEvd9icodPKrPX3oj77OTngWqVCiSEy2n45LD1sERyZ1XSFINvJnrmrJgE/w4brz9JLoDGJomoNraOejhT2Rs9juzkke9LqoGTYkhrwlJvOjo1YKuVydbStQzth2rljXI7eFRPxRcY+DrGLdMkwpHTGueoWpuCktVZTzGhb/l9GaoRw/U4hlWOcHEnrHFyRt5cadzpwlYD7EcqPmUu7dThYWUf3a1twleeiZVkHTMoi5TX9o9GtSLnNJP4P+iQkaAn9Xgo0sKhQGFFbjfkV6Brx7I2GcGu89G4OV6hyPpJeKu9ESmLtzBWuIRhHFjBvttc4S1k0PdDODCSzo1V+KZF+49DLMtBzdNTyG5HtW6+DB1O0roQpVjUHC5wtTkjzeA+u5wDnZxMhJ6GHcTCcRjGQuicunU7cxj8OT7sKc9dJHbgezym0LYYw1vuq4wAMggePA/Fb/ZWPca176S6xCxWFMl9xFjyH9NfXvrixZa2eV99GkQlA40rK+2x/85/eQGsmbg4UnsoKgaxnDXYqvtpcE/K8YdrpuQFX5QNOUDmyhkSeYRmjefHIcbjbqeeDFlRdr1X2OB94uFIDV3v7qnAsB+e737/boFkXhKzjdiuG2lnfAmwRxE+XHR+re5QThX0saHoPkfdeNqM79B9ksIG/YNWU3ZRcxh75WrCS0v0Spg8i0DRycpCu55A+8kToVYt8+VCInX7H+awuPTKvUTNEyzcqBVhfGhl3gHSHVveT449Fz6dBIV6X+4R8li1wTMxqKGuZDUtpNFNkZ4lwokY///hoRdbXRl4p4OnrK1Rhz0zr9LLaI/NabjbtqxUegT05z39u0j67TiykhAIgtcooen4fQftgCilIo0oXqZ4J7ikKefWsPefoMPyifHkL2/2wUBoUw1scAPpvKgDs+Vkt/tGIdprEaHWn8+F+FR772XhO3RLwpiQm5Ap/4h6L9TvdNdJQuxoiryvWIkkofZutRnPVX8+7C7UPhgzlpr+Ky6SIRQ6ybkL6KlEzWFDomYlHrIr2NfciUE0gWYKOvQwY08UJucH6bTu5Tcgzvzcl12umtpZBthDGcfJWFOe6AASgn8jqhBSYzhCONSYCJMVbZttoU7nO7RgPVHf8vLVyALdiyDQmPHY7hiBv1rmjR8Sx55k+i4lAgFiYEL9fn46o021v42fQ2noChqDKPHvn7+b8uZonuUV1l/KdxtbR7F++rYP5TgqN85XW0iiYvl53YlY8PxwypR/ZdxPdDKJKOlTKcPScqtkP2JE6j3AL59Vx73tmlpDgMAYRYbzjg6+THpSABlqPQhyEOefJ8H8YPPewgnfW3rzZBVLfWTTAa1OYOt4z05lO/3N6gcMmUpRkQs1ZFfyIEu5kHt+H8w/Ec6lpXc8ugetWr7gYykc+LAbiwqzu5EzZ+7CB2uGPQIp7ncvFiD0KtKK4mFvcTVnpOAygUPvo6Y4EmjBjN1aD9ZsRoRYmS1frNgc0f+ODauUqw09fdWTn9UFtqfn2WRxxLnIJkQ+Mqx+/+JHL4Uh+ZOBtsMtKL0cbQ/t1b8jjrKno839w8p67Nb9nj0YMYYioh1XMZ3Rm/h4NGyBv0odW04nQPJjC+mUNTEhfmK1zhsHiytE+UDjv9U+Htvr3ysSF/bUOAzvcb/n4MfLaFiN04iwhf+5ewHuJrn+P6iC3qNaZvKIWj1FynO44fzVyuiGKNO3H10pzTIKxE4h8KOMA5QDsF7v76p7d2QSHFJtnx1V29mUDjd48E6dOLY40m09x2Rrub67hvKwc5jBqTrV6Ax6VRwqEhL/cF47n+0vGpLcy4jl+0qzSoZaHbmhyo3s7IvNoZZxAhTyX6ZSYyq8wj3BBmlRJy+45myLGZZEyRwbH+UY2XHn70zQCRjk0ALTNyD/uOnVr7rot0N+mx5QB+95AKhNbJ2Agmio7pHTxYCJQHcACNyBrEOGZzvLcEjsq3d1bc7aFCvk/yEbR07MUAblhV+LbPwPKkBYi39WIxR4KTOmQcqrX75lVL2Eg0rSeVLQ8nNa8WJYigDKUuiNRyUnbZzWoaxlJhxxRZEJcuXblxVv+Ydfs9r0roUv2r0L1W43m5E3E0vDeDjl4ztVRlt6XW+UontjQA3WSNjwgOYs9G4qgv3hkbxt7OOwIC1SUh9Rqud9u43GzXxQmuBi//lk6qqI8uaDDXXU508r4Ioz/A75nVZ15rmNQwT3RYmEBYNReuuHhH318aqQpaI6ZLuNDENRai0wWW5uhVXmP+v4jLYZQL7u0eFpeCWzOh1VNJy2uVREu8wto95Vr+nNeDJetyy3jYdgt64tca8nwUibnGAntHkBTYnG+7Mn/mYGO3gbvfpBVw3/RbDozkdzHT+ukbT7ycoH/WMqWB4SX7zRxjEyoMidCOmGE4Wo716afGCAFXz/iB8qakQ9fyhP8p6uSE7I1gHYDoHop+nRMrNGzLptSB+4bReGQfEDxtQuQt89ZxCBUfXWYcEH6SgF+RvaMcMF9KqYu4wTLLJTceH/IOZ2Rx0QIhoqFPi7WTgisQlGuT6Ur1s0dFO3B/sl4G41dJYUab5KjR/TFhDrFIk+sRAg6NxaZVzCnFwSUXWOI1HtgeyHoJZ1dKSNAW0zdkK2xRSkmHNmUc3qocpTbeS9VfZBoDd+pvI+/OVV67KYAmZMYBuwQbmz5aLU1kC7miOscYS3ZAwytnV9e8K+PJPOHtcQF8/4i+oPhAx0OLZ4A5AmUXBojG6qA74fpeZsrQrkiOsUyEn4HiGhpFMkNvhX5rETlRx1PjmRIAZd6Zl7Jf1dGBCOaJ538YPurdjyGr5Iu4VXlQSCRl6oDzlk5Wqa6zLL3PlZc9Cx1rxU8Cd89du/YEuK+iWpkPgo1rBZBXvXhajO05jRuTfuiLCdQ/k+Izdee+9bSCm7piqVkMlI+CaWLE4R6Fbx1aVng+UrhQoD7wRPXNFk/BG9E5pCfLfT3s7rFidCX/FKv4UjcemzUlXC6yWqJ4btRO3b2DEIwWv0iUvugGczwLzSqxi9/b87JG8hekxjSM8BraN2PP5LhZ+l58blBAyBr2l+zg1CuHJDCeZcHxZjhJn4SwmeCvJY1QVhbRfhOC7JECwqGMVrt5firHiQ6RySj5YQN56P/Y6tLRNrvNIdu76hf2G/WmSJ5cdw8zYhPvaIWfms9LpVokYtnjqx+moddmXZaW6Bf9htmMm03uvcHnHVx+pm+84d+9g7y7BTEQFE12a+IUFNFhS1x24Vb50DfUoaMS+JNG3GRTf+39t+7GTanCrF+Ggx3OWATROoMmBzT3O/TRrO1LNoNpu0R6p3PN7swkt97++3NC0Pkr9RLAiVVjsslAk4t7xaESsrNz7cgB2edrOHHWFAMpvAKTxx67JbZmKVY8pp8cK6nAGRJ0VLF+ciQvVWBLCy3r0sbMNO2FONZEeB5QnTpAA+EcNF1ZojVL/oMKVrhG27x73t9rQTHa7fcrcf9lSSEmul7tzp9dsZ/b2XyTKQSgrcaKtPf6q37UtTR2czoFKdVhqh5+F4ysR/Vcjn+0YNPrYwP2JdJIxZ7YcjGhJgQk3+YtZ5vA5n8Mu5Z9nHZ1itaxdGcSfhyyDcPMjQJfdcP1A8tOOXo62ZlZ+a8/KyHWu3tjtnTT1npwYb9W/CmZcb0pOmrcwz0SAw43Qzhvz68BPKXUNHM6xs7tzPoIX1UnubBvYV3T+aImn/h0VYEc/Dcnh5VYfulvys7g/wcpYAlEyYDkPRC/2BS5Trt7k8ixVFj+NMq+PZjk0yyQOL7TMhbZzww04RnNBdVaffMt9giSUklzXBJLldoxm6an8u7XqPDyOdXiCUUANkxIRiU7c7wv7ZaLP2RZ15fQ2xi9eGh5FG8BDkQbtS+XSso0LB1QuYlW/Wd+ROv8XeMFVpFwBgtPYkykskFz9w7O/0/JUK3zdoFoqISFAPcdGcoZG0UMK0ejCk1cSqxlxXfqd208OWarkLL/LKtS1602ffIAURaHNj+Z1eOYHnEygXZnFsqNHnGuUhSQNevH9/7tk93gVjIVfOmLvY/97hCYngUUOqA0htjUgeCkbmKu5/TfaneLWggEn7u4YYoviuNDO5jZN+1qghItFARhuLrjegg3/6AtelXUyenHqYyCry3WzxRyQ5qkcku+QOV6wl/5tPRzhVFVajpLXEpWRs1UhVzcDAGZ/n8jPJV2LUYad4Zn5qfHBkqCV6jIxhpl2w8ciX/T2Pf/kfyNBX29mpTLaF9vDayZ3t7QBa2WoIoV1XzJIg6FdFLlhsAwL/M+hG7ggTnhILmodDAXAuEDxiAZadTus5qDqHYhoMEsiuUfF3qpa97RmmyxNwt0U7EmDkFWxytdeSKj/vg32nnpEdiOJ3Xsz86S5jh5NaW2JxyiQvqu89ZaP/ak7Cvu566wuTZB5UpMCoJyQTHhx3WHUvO83p40F1iEIO6mKJqI9euXL4YenS4j8RJjeRZxgBmEraJg+4ZEA3Qql4qEYN1SjkorwgHaon2e7FMPnMI8WA8kQor3adNkhgdY3DfHN22g1xDgVB5oq2M3+XLpfNsXlwAlCKLG3NsQkaLlP6Dx5KyB3mL9s3HaaFN8Y1JObtbMYqo7RGXSTtibB2h1+FyONwRjvPEaqW7m58kvp1Z6hFzObpZQltrtFeIxhX+4uRROxLAZ6YDMJ/WipqqrKQ85oWp+6BW8C4iQA43NqAYpYdQFm+dq+m+UlvcFVTt7tQhdCkqPjvWzVPg68fYlD4BPFK1Im4ax/8CYn6/rIXmygAbnFp8v+cm4pBrmafwbHMg3TXatZskNzj03r/xClKK4a98Hd2iWCgPw1SMcFs2ykZOiSQzPMfXMShtUZDTS+TZhFjZiPckCm4jw7akqwxNhv4lE/mXLQggEJvlSM+I+pZqOyd8iLdK2qjvRla10dgX0PHGIXz5BeHepLobDqS22/CrGC3t02lUfuEpXjYs2IWao7brPwEJ3s+mCcH6BYGOgXeA3x7wf08tiWz9dl3BmIBwji7gZaIvy4pYM0y+CojQo207dPwEfr067U4dVT+3qKJnl5T6nv/0JqWxY9lRhuFJSMkdfdR3HJfOp0oiQ21/S3Z0VlCtnNH6B5RhpGmdzkrHwUJxXuT5VhToxNITs4cJgwYhvczXvEmjf+jwgSe0urLck7yT5UtJ01VlVx/i9J6cmNw6CDEq35O8qhvlzDu0XAMHs3lRVTD38SVCULfmHufVf4GjumcyodeLzHpjeGUqVEdPrN4KGCglKZwuaMuKH+0wpjmzPP5eb77fnQRvoRHyD62KbfkpPEzdyG8Au7Ja+6G/nPUB3WegDsmEERUmFjzGvxqcZf1ZNaJyvpVXGybu5Pid9Vhx/+ZhxFEhoMYna7RP/xNZNdRz2ynoES9zfaMsNcJo/uBnTceaQeug3f6/p3kZSYlY13WH98Mr4IP2velpxtcmTG3cWeUzg19h388+cxVEfSE1xx+AYFllZiKbz2bJaIPeGbUlQ/4daFL92sMR7k+Nck8qjhRpX550+kKHFB9OmUa2uANjVLwSgdWqVy9j+wyvSZFMw5ngj1ZO6Ap9oHCVSp0HQY5LSf1H+EjxGfmE121f6/DZqjQMrob8CcwTid/N14V55lQ22/nF0LneHxDNk1Y9ROTpITkYB8OrWxrDFG1dwaJlSzYyPMoXzsmeRDl+y9TKOPBkUxFya+0BVHcSbco7aBM7/NKtT0bFZ/yyNvyYnztP3t+wDnQaPKxOO1RNn9YYRdw8D7WeFVLI2Gcpqbz0A+y9tArOzxnu/pt1BMx1jtCfhB4XJwqT3OzWBxBVyzHy9OmYP7xuPCEMGkGWHgxyAYWIkvYHJOdDo/7v5fBfLr6Vs11ZlYP4bwNZHbWnTlgGGOsZHgH/fxZ3kW5cJsijq0w02WPd8aCB5brtwBY6D34JoaDVTXgiZ3DnNejCqr/k3S8HQETxWRF0mI8lEj8G8r8Ajpf4s2PzNlWbEsThNa9W94W93JTpVJUaACyJzZr+JGHbyTqUpatwyHo54UD5j4hNW9DIoNFXK2BKHv8mKMaB3DmS91aN1Pzb0JrTkPYiq5vIaBGmwxSie4lQ+1tgaS93PzELbcXiPVD7eo4anbIOUH9nwtar8JQB/xs69vYA2P13mQFY6EXo6yP7mKuYxL+Zmqdww+SnZEgffbZlNQ5Q7BYTEMU3WqaNSI0Xu/mGP+ZA8XFvP9i/6elTZ6ID4b4U/SyxAqKpq43ixuGu0qoWaBgoQlWBnlrUi4Ic75fG9cRCXipxBs7XUfdbOpkVebZ9gHXwPbNrMROKfH5AEdPaYQ6npWV10m8kp7v9Izd2PD8piSoQJR07w+ra6mXSneco4P2zC5mpNsnoFby1bxPWF0OEdoqmvaOXyyn2sldb+WWT+DEG6SijTQjr2dzVuZAgElvvmEM6aSPX6QKF6C1ob4K0hlt3gXbmrPKJCFnFcRS41nKTVZ2oM9izSy6JlCSAPS5D6VbAjfsO2JV6OhyAXtgsstJyCzPa5IYuMTJ7FxMsX4LeL+kueLj3ufOQel7qnqjEE7nRBRkTkt+68mslBt8FaJDfupZkcOskHcanYQ0dKIx4hQwxBP+xVwHsBlckZTsdg7iUE4aeriINbB3BOpsz9+QOT03orVen3sWmsWx/5a2DZ8J2WIAMfhWltDmS+BTLpq4uYhs640DYc9GJLMD2dIffbgd0mllXvOoHq9KyWiTMNd7yiWXAJaJXL5D1gCERgnL1VvkT8Yi2aVrp1e4fNm3G00EXC8hTNzZCJvFlgnH+0wFR2dViS2acU7hvqf1BhPkBYF+cl+IZUKLHo3vPrlGObCCsqbNTshCwwRmCql7cNbPnMQxzPgjHh75Zd7xx+RpWdKUkXYHAR113d975RHjzDz0bcn5qMmeoLuWwhkvXYn9OxfZu/UEb0JnyyPciGX4PQQ9NNtUQFUadK2W9dCuFtqIBYtqrdS/JTGJHoW9Qh9zAKfiD7c+tDSL3p5bAdooXmS+NI7C7L+8bg1cq8ZTYK05aIg9GgM5mGtztHfISxxC5Uj1wXHTxqq+CiiSxPyBGIZyR8muWZTaARi++YmKy1sK1JhmG44WPBxDISzV+4YpMm9blm0cDqtFVcETed8HXrcQueiI8Zb+GqYSkXSfnclh3nzzyCYhsBCJ8R1FRfTB+7aNn037AtOhsxDNXy8VJlUsg8FBf+vznVEp0eJgs9j8LFWCU0QYxdkKhuhOVThkAb20zGT1IUlECu+V7CDX8lSqh6vSAqW/5NM1xEIT0ADUf6woIFF4l0YOmBi+KI7RWxe/Qw8uLnqeKYltBWlG9+60eicrOEN9P1AfNWjpAfCammF1O7eM0Fok7CSW7sga0Qnr5ZASlqNafvUTjPtg6IlWgPw+rVrCjJsAFUHglDZZdyfRRScGH3eGDDzZXBsA483Iy3s3s1Gelr28lIKXpSaSA8vCL9UWt3kLYVdGV+uCfYydbk69DcrCo6zgLnMs5ZHsqw5GXbfBK36y3pVDgloqdtkykWz2EYf5KvMo1v2U5IfHoA7lu0+HhI/F2hHk7gUuM/ocNdS9CoCChDNKXwNW7dzML9LUcJEyyv7qhW+nVBAK1GyDeIGbC55d/1Epw6wZinkHrgE5WY1PMk+N2+qRb8OvJAyB1GRvCYKe9qKK9CEyJBMvfVp96z4UG/IS49KWpMxy16VMUCptEQZuSdCtqKn8C2Du9Hjfn+x7zpgbM4Wng4UZ4CyVSaOgSpEGinv7VR2zCkorHI0O50WZROb3ml1bZipZm4mV5Pbd6r4cttjdHtmQuU51jw0MsJEoSc09NDYCQREkDKQjtq2WO+bczNMg0M/o6tmhhQGqhbj9BrvvKh5ndoDpvpc4P4zB2a5Zys9oB4+UMhyrT6W0+MBPhbVgKPTBVNtooQ2e27sFDBSwqh6RSd5/s1PYPFbKKjCMCwRA3V3VC6JIqjEHs3/LGaftE5+55T8/YgTg+ByPZMoU2tNlGi52kMhtvDpmh1JTAhj62kP0cZJK5+ReSFlc2iECfaYG2R4Py2Pw8tKfFyrjksEJvaPgm8d+hQRN74+ZmvkodUe5A8bjpF1ExGMRKaogsJE/9hhIxQbF2QA7TveLt6O8OH7G9VCCnbGOi9MKvKaABvGFAV4TCI3s1cSdvqEu3RkkisnWZrYh3V8brLdmV8AuknDkbdlYkK30CGz966lT2G2ZFm+oxOI38XZ0vsX4cED90O65+jqFD9tEWXKwxRg5pecd4R9mKjAy5/9hh6TBL1/dcK6TAfu4WnVCoRV2rxu4Ms4wP0gFPiCLPjSo+aA6pYbO10+3IoWXStwpq/h9Sgl5SmsIoosTOwy7QlQQXGSIys7y05HayDgUoDBxxLXU2HMu9KoQONQlTCwNasXTrUIflZpAsfdhIq44nn41ojyMhA5XrUqIaM07pDVcJzW4kLZSNrHMjpVfl7xjxXHM7fDi7zZFT2CKPRSKjFlkNVU+ltR63pt9RDR8EHI8zN1PGeYJITYUto7eXly0jJEI6TufcWptBZYlDhqcf68D5j+zwhU/6zN2/W3lBvTQnORef0SHnjdbZLl3wkcQreS19osCtLcnaSJS5BUjDTLsAH4cRbR7QCNakvCsKTN3iA+xwBybmDYe3PVMYIBsCqYhzQs4n2gGF9vbVOkc0zF3NLaie9KQZPVAk+znoMcsmps3t6Huls+QkmBPvmz73/M03YpQULlhACKtmEe/nXL6v1W1P2SLZ6cVzMU/4IlasJskmJlc8qQqu30+FDJrETSAbKxf0e9Je3JmhDMq2WSX7Qi2Owd6swwsf/PuNwxAFo+mZqXuRtyE9VVzlPLAEUo3Vi9dfuqd/np0O1l4GAu42l3ijqMgcb3KQFlMr4gMPKth9IxmpV5cHEXnb6a528lsVtYmUUCKRfm3wz8b2AnAk0FiynFepAo63fh5tp2XNxeSRdEDQbTMAkjA2lZZ/oobee9B1HsDzMWQcg7Wmfg0iqKmJa9LXNOAnBXW4ueD9amk5IMOwN3eXGaJ3iacL2smdUHZMAzkeEghzuaJizi/q2wwMjE00elh7jGLbULn5kD/tV7X5xccO/uQvoA5sK981Ct2bcb1dx7K+sH7EuXJ7VmN11cYwkRTrv8GHoDX83H6xzWizmNlS+f41yVB5J0EJh8b9r2SB8cc/NWPlxlwNDYffwBtTDsuSNSLXC7c7EX8mf3ODY6O7A5xumHzymg0q53QEaqy/Br+/3J9OlIVAFYpzYU/mNYxy7D+zEh5i1r0RQrRJ+MOdW0LX269PKkenlq4Y2HzfO2p6l+P5uzIJfZlc5/lzG8PecNkSNaGPZXHaQfXwQbcvJwOPCmk6rkBCyXw8/nRqvDfavbCwEGmOQr2/Iwttmq/UH2RMucYdbdsDOik8mGFQkNbWWEdy8FOG+xfuJOWI+maWL4Z9llF8DGEvbXJjUwJElz+UeYOYNm/BlSyXW7oqZ+v9MetmnMH8Pjyw559YBXvlHOHSNWrNNMm8iBXdUrjc6Pu8pDN80hgLlwye23pZfQSjWqH53VSShhT6ZagqI7TSbmFCVuGK+iEfg7AFw9Ne+fyU35H1IDWJ0Dz6GBYdMEodsFHJ+yk6TvA/H6gtph8K0whq7BgCbxNdDNxUWtk5T06VVSZizTL913tDbWfudEFT6nDLJb8VLtaqSQJSGFjPYd4SZyAsexdSbLe1xXrPwvkUPjgPtt6ZlS/BGD9cTM4f17cnc+uSGPIymheXvCrbvT3Nl8AqABO0WRQryMZPHchBfH9mnOgiO8eIm+ArYxGcPMUWXooXTWSObrgBxalX4xmM/2S+xhq+PgrM96T+cCwHmw86dOMZtXS5lGbLQFzZQPXSifbEhS2vFZ4tD5/jc2H3fOnUpOcWJlJDB/SmnRWXR34GNhcdpLH9qtZ/ell1+S3Pcbbcj3FUY9x/39p+xraBUDl2S4X7Y1JPK/neReNNUQi7qaCf0t4+kj1tBr3IsSa7dRwqz5p8lhZM11z9QgftUnGRof51NEUH2ImCykVFp1vNhlnEXM9+7c/hD4tsMPSrrSsLi0DUfm0rFHxsT4ukjbTDquowP6qNZtgnJn41ki0kxWrChfgE6jQfNPFQABzLTBA5yAkUBumXYzHLdN6iSF7AKcxyXDm+R48QOyoUrk1Ef5BxCv3oI4WQvuctSwxggtyGzdVCuI+agv3eAcMYWUrzNHcWglYWhstF47WSuWJBvzXPcvcB9ZRIH9hCFlg1j7Q8OSlFo2Fz4bMC8EL3wMkVeJN96LWVjFd00bxG6zqqJtHdrtNL98R4P41fsBtSamf6s2QDjel7NemwcGM4+XTYC01enV7RlqZW/wTp4MBm2B3MYk/oLuLbgEGPgCzZPYCyW/asbs504NVPc9U5fwdiCaVEsPygNovHoVDvrJojxqnKvkrv/7Q788UmzcTA7Eq8eT+Mh5QRPxHHoxe+k/oztbM/O5UPCB/4ZMwCf6cx5aj5TqOjhONUVnCEHJ3rfVuAypQrgfzR+4UJCzU2+xWf0dvU+NaqOR6U1xEwHvbKwfYrGesBl+k80Djc5+UnHhQ+eBMsh1NH2IMF8VRnm+BQvNH9q8kBCSHYaYu+kTLLmlB+S5DHu3TaXztv2FC1XFWwhNImJrN8IC4sPF9EEiN3FM2+Ta0EsuzMKvHZ2Lr3PJ8N2i+710yagVNyayT1IFDPU4K4t7n5BXWm0cOwHu/rVhCGV/w9g/GyGTWFHe2JcCAZWoO4AHrbjr50nFeWRUsB/W9/S2itthAr4NHdjPs+0xTKJsbBK0ShBO03PNXVntXt7l3s0xvqEyoL46GRNXXr+YTdAoxPDHb7CHCd5snvols+v3msMFzSdRDtv2kcndooiO8osI1KiQzCTemWfAlQimfT8ywLMXiy2JxApoBJ//K0+pg/QTy1ZE875W4xab7fHnYEnHja4Q1GEt6MXsgcCNt9wh3XcMCB7jUbPchkIu9sp+D0eiuFoCeuo9/52nf1MYvU/CditmFEjiMKl4CLLQoOGNTqdJrx0POTCJahfHQiYhIx3HLXM2pzvpYsbcmPwAB6NvTb7ir0BYqJhooxSqkARUHuDjR02HvMFu3EmjTTuj6L1KZNRSiTc2zKRzceRuq9pJYcDmOUFQj0ptdPrLrIZ85m0vUCotlQO1iYsZT7ew80P2hQ9tWKzc+HjBnpThrOFIwYBLc7q9Y5KbZHj48i/Ori2brnQqdhE/3CRF/0vcvTKdR9DCX1lzgEx/WMy3FvWxrAT4sVamAQrQ69ONDpOQyHCSqKepbMm1VRfPA7KbiaFnhE075Mh5oiq9ko3t2UxSCH1gfNdQ11QOYUPqOkzJiowvuCtlzyGswLibJqRo38edsBkOPZZY6g3K3y/su6X5mPgnkxNmyKHxnkdI7a62aQ4+wkr3bBv/TbRliwmNPhiAoW66xcqHKHKZLBFWOJxer2bXmUyxLmtVqZrithEZbn1rqxJkKElfR2fQFQN1jNvXr75lPmH07MUJpj5TKK5Y1po1SS+YschPrTO4zkPeLA8oGupDcET5avrlvLhbG52nU0mi7nxab/OTy+t7hipY1126v/O/Oy4IYEdazhIF7YJU822/tfYpql8+HJZylWgk2CeVn1PfmZqJJ1Ko8Dg61HDCyA1gseZOYCan8+TvzkTeBmu6TAtIOx+QpY5j6ozY7V1JMlm3r+djgfa7dY1mWrvGr+8MUfRoQWa9j/VT/c/y5BJdM4F8kwZyqv43HnMxHAXP/EhuUk5DFJC9mX0BkFErunqC2SWLzbzh9pVPAgGNL+9MPPPRw5RxYt5NOIYKU3PGFirK/5zaDioDGV2ZXdZ+10g6Y7xMArbEFo3RXUbdVMsd2y94nEnz0USrTTeA+u5gOgfxqi3lOBdz6XGltXKuKidF1Rfw2PWN7z0VGDTWLxxn9bSsKBdOfvxtrGzVyC7WmHBAlLiPLL1T1Ks5RCGk0baya1DLKOJLOspJP74fbSqkDWZAXaJKS4vsdaXJgWdY8OeMkMeinrNS5iEl8RMU7Vlvo6I0htGIfiRv75HRbWcnPFvNwRPes2flTfQSyNJEZJG9TlW/7O7ovZX9nL1Dr3VozgAvv5M4Co0sd7dEdnLrMBa9m5ypcy2vA2fspzHVKS37dfhoXV4vKYi5i8FG8DWpVqQoqQTcELACuhjGnzpvGnskf1t/T/buecpPXWGWanEtRmMOmNGmaSitJoodVzjpGcD5glRkURVL0djW2I5siGYaQvAoPakhFWfji+6jGu9irtppqLsa9XOR1cHxxMs6+SMIWZw/PYD2iq9fG3sq293O8TloiK8uK91aMbTCFqam6jQvQfYdbH3vDT2LfDbtEtoUmCCnf/aPsW6DgKLCjRifo+SHiNZ8PO6qD/YMEfUccbX9BpxO6isgWEyynR+J35kKaungPPDWCycvtSKQ3J8VHfWpT8QoEr6BQ2jhBRbW/z9xGa4Di3cNRnBLFQuETPZ6oLhqe/rbKySXKpy2oUvGej0ORDHfj/urpkckJeBwQ/cEjk9xEjN7KiN3uQBmZlFqyPLxfwbuBkLHvFn2QFGIfWEJ3JkZc3hJNlylpUd6RdeBZkzM2RaHQRqEff7Ub1SHX82c29PsaKpqQ0q32DdYvbuHjlwDnKI5bwr+yGuA6VObysNMRFdentuFzVrqsAwWtEdrHuiIuMlQk4QcVRc86epi8MndCnJLEmrGHhBcf/Tp0t7Vk9ubrsDvS237zNES+QmblzcdvNqrfl/ntv6FRV23/mQm0jFCUlttL8dexQ/wvlYy7I6r2tbu4FO6W8+wbF0J97snfg3E6qzDCT0zixk2H949CFcdO7h+8GhGzUdF/iumOB4F6rT/utCs2rsfMUwUDR/Pq2n9DYokvgGePRPfYJkaCBhHH8WHo2tFKrRB6PKwa9y/pb//lAFWI/rcP1be6gTOMKgOe5BlO7+/ho3bNBM6Lb3uuAWM3M4QXIsbVBDr0kAc/2mHrBXtTvzFktEJ27pLP2kHlNqVQhwGV3ip+iwqUvPz/+bYfiKcHFhD+l6aD9s5WjEpN/PE4JISKXtPpNCUcgZyttF+tphR5gLTwIOv6UmY//xLMJxECfdNfMljinJwdhQFgvzFoOmWvEPkH4kJoAgSf/andaDsn5njf+gxac4aKXdCKlQIkb4I4umzlwVXOZ5uo1zDElKWKH95ERO+RK1jBf27vj/QnvOxGMCTY3PIF/zT3d7H8DXdTMCnlq40hXtuc6u+EBgPlM5bM47AoZw4ayF8EJEg+Pg49QB90z1pscHgw+CMDtByKoymJxo7HHf60wu4qJgIWJrN1gbODk6iZFglG5U+EQPzNau/b2QWWazRMN02+ZSmTUt97uJAvFgkImgWaReb/PtSLi+PvxQrZBJEcklqXZKhgILaW7my5OeL587POsJFX720aGqXeMu+4P3toSskuAHWgGQ9HJIV1gXMxBbRhFyCyTxk2TsLFrvxCtXvNOF86EI/H6ut9wDi8KtuxGWFoyZHUst+FPYKth0D+8EKz6Sdp7ONBAjPPQFXdaCJbAIlWIEBiAsryuZEeAUufgexllssxfsFu3Yax/miwvLhuRDWr51y/+BUW/vHEIdv7Cx7nIdRWhnm+olVy3ooUyx6ELDKmgoyeuq1XyENbnPUbHIgr2oMO5rQ7tCke/TzKyISYYSMqLb0kQe9va2ziJbdnmCEak6Mp9/bDsLRvEpJF0ExEjDmcMVt041/7vuDmYvcGSu2+AC5EAF89GSdhtvhfsreduHMpIXTTtBJsizKrJZvyX33UaSDEyvWUmJCw7EYEl73sMBL6u6b+UgPyi4tqzeo0BVouZVLgiWgpIAcRcGtttjH2ASRCCViMqrJSyGUlp28vKbZQVs5/pO+cm1kV4aFjoxOOMWav0BhCDjtPmqc9T2cC6Xa9q5SPJTvRPjRCla/97w2hKf2fvISIcfE5EgIkYMZa2vRhaOhuF35s3Grdr8qszL45zNKgp43WtmZQUW0+CUrZIfwmmNg7yQriQeoDwC4O4qLn1s2wVnW1wWROt5FZFysI/awvuCObajQl9w5n932cwyz5zpNG9ZLIk84ZEhfKbDxiM3HoI2vvxkgJ/yUIczpEyQ/ygv5xDl9OG3nCDB/1vX9UkhwIBWM/WglzyvZm51sCBrJ1ueXvo40AYvF3f0ixMMESo2EM2VThjWSoI2l2W+hq1cJsBKgH9deZRhY636AguBk+YqDQOxfKOZJuXw7FLcA6rszgTQOfaE1Dj7qzErZqOoKSCfEuu+5M7GWOJOwe+B1JgbJPAMRYq0MgSxtf05ACHIPbDXXMmiOjTEFCEIY/w4JUun9zzNLqKWuXkTEQHwvU22sojozPFJ3btx/vjVV7ZwBkS6f+9CkhQOdXnmLCXVSgu/c9z/DY7jJRz522uLv8jjKrdFELculPHRcrExlI43Jcr2euqq8J5CrDopXs3IBvl97VRBweCgMzq5rr+sVnr7DJeTVcUFnKNc6B/y/hrIc7ioPhuYK4t/lyn+5RvvGZZSKT60WLXRyPUrqXxUwr8FE81vyVVMnkfZi73XvQCO2GgtgJHrDP1hAioSS7Zuk4bJBUacVcirxSWO1KVw40Y1uSsfyfMeTRj8R+us4FXn4DDogKrol511ZgPlzQfZ68oy9vfkhiFyhORgMUwrTYw9ZVx0GgBGbQsFErRarUba9EwNe/0Uv0vCub/RhLXXvHjmL39nJ4amHVslFqAtzp7GZ3x21UsBaUaEYew9YNwU9SGMwCIN1PlhhwvnoI1Kuy7Dg5XFlsfEPcC5yAAULT1YnwraGkAw1U6xxSC2evC6KtQkcMyTcNMA7neSwFwaHZGGukOPAvx7DovKSNmfv6B50+vl+x8aNrzuhAOHsd3Epxf0TNcO4hNYVFsBQr/oYQxvPBoZheK7bk3ZQyduWD3fXzdZYnUJRz1ZRHnYTIiH8bj4pgGvOlByFlYXTj/4HiveZIL7s1xzvMzMmuygQJivb7mp+Y8VjBiGUSa5VPuCsUXHDsSe66vxvAuWMnug6KipnWnX3Ci5nXp0Gpej90B6WKbFEhBcXuw0W+JqF1wybRL5U0YxEhaIWBBlmqjtsTUKlrR/RrM/1PdCuVCP4VXLTdoLCLCjuehefB1lXUzVMfhIcB1HZyntQ2VqJYY/A35TpyrnbWzvUVMceoSkHH9vUqh/PXsuwkUBBPzs0yyagyFsL3GgdTCnb7U/kRHGJrjca6yg0sayAJRrfSKr/PG36J6NxejJt5VIY7CkzFS+2/3RibPXXkSCwo2dGZG01uOmDM9cx2EroYkJYZ/7TPvWSImS8gL8HRj1XkVNNglZUriF0i7LIhb140VSFPjMXl2IJIgTaN2z1rptAgXLfmUEziIGkHLCWGjnTJwFTGL1FlSpguPZqqSh0BTKKLM7ULhmAiytAwnnFM5G+aOV1uMofKEbV1Ni1O88s2uqg/3e2XE9HG8C7XiUA/K1gLGZLhQ0LMi3R+uOX0pH5TNaisxk/cexQqI26WbTuACLpK9/4NtanPyam0SuyUAcve5I1tM81UK6QUL0Zf+c38nuYhDHvmP16V2jqcXvSl0er0jRIha91NTaCbY1TcHjzPw8mdfA/vXHukYkBUoJDzwCOoiJSwLsT3XdSaDoupupViQTIV9TSbh59S0/EvD50du7KbhR9SNJ8O+F8oSfuAPA21A7Ql65QAqFoU/HKaVmXp2CcWJkzIqS4luqmpIbt54gnmHgyeq6DhfgMuXKd1c5x4N2paPacOS92DSHQz36Qk+u3b38afmKzFCj5gyieVjKei9jKLuT7eaRRtgzN7L7WOuH+PdyFTJgveiIvtE4JdzkMdotYK4iF5ard6k+P2s8X3LwZvvEQv6Vr8QFuO/oeqAeo+IxNK22OYc/R3/Gm0+R9wmP86GwRC54LaWMULsS4aHlP51AQgwtXVhcEtxiDyprW96AjoxcnRPQdpDHsFDvN/by18bsI8ISX9KIk2WEV8ManO9N7zHiVzc+Zli4+ClTSfTIsaI7VmcAPVEM+Y6wko2XV+gH9ZYFrvKLklsm5qyfUpE9htM5qcDnoo5MmYtQn35ChKW7Ib29Yf/rIWrCMK81bFFgazR0XVcVLqGHI0Zee385vo7C8CLl5P3l08tSZj7et9ueIBGhH8wWrWzOuDZaI96GWak5HxSIEMe/h2N6YRclkXrwdgFPPDXIbvPo6eo53nZLlyqqfDoyRiL7aRKpovUgKsLGCT3HfWz5bJhsG5Nn1M7Z0AnVmDAEGJl3ff018SULw6iLoI2waiViqUOOkMA5Qdq+wiZK0qgRw+f8JV+wlX5NbVPfE0WcrRPQ1/hj2AatCdtazMoTUSMuSKU1phdgWJm3AMRv1/NWzjY/uiDy9HLLvVpv6Y0502mKRklqjgiuqc5ENWt6hO6NEVf9IfrTYFPTfvsQzFDN35z984xKRt5mmUR486V+MpAHn71bdb/bl3Y/dbWHE5EzO3Nb32xxaVY5f5epyIjOmrjXeGV+wCGkKCJ1c9vNKVX6rn8mQ/MH2nY+t2x/GTekKpW0GXfKX2d7SuVhojSS6IjIqS6hxWr714nrAMnYIGBSx0tZtQrNmrOUvgk9wYIV3uFdtqTZcaTC6wDPsapameWVDawF7Ml53Ft+MsMraBx2Oo2e9XNo23UVpxTlgCr+cWsO/pHlMUTmUch3qiZq53PblPdnOufCEYWN/EPQ+rLDlhhnun4rt7b6wri2sdVKgqv+wslaAVVWpXmCKIdEOJ/SiHPbp6+5wMAFsdnxfcOD67vE3reZWrk5BSp0ZoE4BkPs16JLe/t+ijv6K53zHVrgfRV8O6fXaer7uJza85cGP6I1Henj31yjVHAkj62sKCzt8xgDyqc6Sd7E9OO6J3OzFOuIoIYy2QhIAd8m+WGQBoUe0+SWjWzW3tQR6Ki7TVGQRmJ8aUsdw4N3Xb09aWSWRpbGWMKuKDA1LxIlILS6ITV/tfrwW2i9/arsv3TbNr5/JNhRHbYaosxxP8LcJ2+bobaWtf40DeNotJuJPlef1b2qa5sVGEOsUyCOY27cFD5fOs3A0xo1DEX41cyrxXkYmX3UZm5yJakm8ZO09oRDP77NRQSuuryGin2RU3gyuLPCkslYo0rf3PoCqstIoJpWJJKzmo0i39B0XMIpr5kRck8nCkyFYt6RaGVFyfozsAmxPfs3y6uw+WNYuaFmHG5Ur4H6+Audrn5H0XIs3VktDttcBtPP0sUjH++5lqjjCe/Jof0g9/Ve2qgPQsS+NNAbr/lRMtEiU2Lb9tL5M2EWKkqz7TJl4pJOCLluXihTw+RTQBWMmszCwnO4cfhCwW0fbv40WRGyZfwZCAyWyl8sVRLwimFYDHDZnvmtt21neB4T7gJDlqRgAu1dU36asJmpRhiPSNSM/ZiKgf4yGej1iTgjrifj7Z+E0YrcPZbOX612pW7HoB9pVeOOdtQis+6v0X+a81vza9/hLUliG6j2v6bAhlimNNRJu1TniNwpv9adDnrWxEphG4wl5pvpYpEjILTD1dfflP6eUkjV7KnHx3Edkq1LRUA3zEXIrMwqWiD8pU3cACsZIbE1SzSoIGUiAwNP0FThhZQ6yUIcsbXtXMIr2t86RUM3zdOJB2MR+pg/XecRSoNJXnu39IhMXxW9aBGk+H98lf923wcU4msUat7tgYen0/h9rQhspeitd/e6P0CB8SX2b2q0f0VV20Z9LSfJzxDg5Ud0qJRIY5eRA5qGZlZpr6gmtngSXq4gUqDevvqYFngwkWSRGeUM5wtXUeWM0hgJcSmOHgFCOQweQ3fZNj0qOKndcslehr1h+vGd6MjpIa3DHf9+IBgTwG7sPPaSu8NO/r0+qjT2LIRKA+q3NPFLKzyBLdwK+B26W2/ze2ocydMV1IEgK9pKahMWSd5QknTWc5/7TzUctxUCfe365usl/J1FkcOXbGYNot1ZTHHVuo3Xf4mgOKUALsAlpDCPLlJ5h3VuxwqPz5c5VcYZ0ppredkjBvB30jBO8LO5qPuprKlmYmsMjH6PW32MTJGaHwezuVWT1PnaTpvOI4eyG8JnSdiPbMjn+MUJiP1dEjbWe/dPsRXhsikK0m3giM++m+JaRuttD505rm8eueThGmYbruUTEy8HsuY+ZBGZsSw23NTqbk2up/Qqt+x62hJbQuXEny0Tg7j8qMY/5xcjKNMLCZCT2Tpm7z9F9CFCllJgt+Ah66M+VmebqGVxJecDPUfMjZ8izLW0h3RFTSyKf83WENnQ0irJIQJeEd/+X3hgVk3PMJPqy9w4hFa91Hebki0BLWv/UQt7wnCTJtPLrm2fmK1vsBpOq863RxHc0Sh2aIBTJnP2QgLD+Y3hQ4j2nmtDQb1u4mir+PFulN4PEgB1ucsdofwHODEdIWPF2DT6ggHbyobMW7XTpG/NFHdceO24zKLRPr8ig8dliYuQ4Bcdo0d8Z3ehw5eKVG2NJuDSTWTVhK6t6LVYLTdRvFWBQXy/RT0Bot6oujrTV1uocUpJp3LvpHGhlzHHP77lOIeBWw7iDTgy1iCfkfFUkadGdDluEIZUL4XMOpiJncJehX6lLmxlK0udj7N8zs2UhnmpSOjjsx/3zg29P9coQ8m819cXJv3TO9WCghTXE2kli4XpYBAUEvP7Y/pR5ojthRZ1mEQWRwY4PYKMro913TmSdZ8q7tMySBNtNBvUpsh08UbOODZ4HOofKJRjxc7VS6hwL2ppI1vt2ZRO2+bswi7kcd+qAYYYmCLr5qIQX5Y67NTIEfTfEKVcwfTIhPwp2B+6ipPpCWRumn/Pf15jIfoXHycdqKwVT5KMf7NVGsngS4heNT0Z1pw9zaB4GW5heFxr/AisVz9vAq6L9Vq/bhoXFp2F7eo9lK9cWkWFOwQI5VMeWgsDoaPt7zteAaUdtRxE6L+OA1Sf6o3dpl3QMu60s/KxR+mRQr04XcbrNeIhEajJs6HKBMpdn8IuZ39im1OMA1gweEiw/au0Es015QFEuKUwczVmz1hVFA8quEj2TT7wAVAT+s3BNyJrH5363odH1CWkS6WteOyN7K9l6SbWu3xPneJDjWxRktgy+8EaKctXCFPtLxyym0gySxroQ0oR2BMw10vs7LTNZBVMOgFXAq6Q/VchNAU7UgyOXv6XnAl4isuPpShCaZbRSGNarr6b6ZvWbGmINHY+Pgs0/k7yf6TCh5vcqruNiwpb3Sy38G1HuFJGdDyKCCEfF146Op/ktK9vrzu6jYQ3fLxz/dE343kCYaRJxEGR4LtanbRGtZlM6MDZZEm0viNRyHeMqDDVntzHtq9nv2Yg210khuvqntjvHFTPhTqpHFNe4pvxII8o9jm+Cp6Y96l79rBm02n8Md2OmQ+fjypxI9X7FV3azNicTdXzoSgY/vxmRRWacrn4XxQ7EPGS8liVJhOHElJ20MDKpI3JWEnppylbqDqgWm2ZltVVllYCoG4GVkcinuaNrb2Pi0ibrsriRyNZMjJaP9Sa+DAijNsOVAzmjMeJupNW6llZiqAW+liZqykpuST30uyBIO5Zk5wBq/07QMuZen6ZrvRYdOg1rwjksrsXZZjj15fnDfSzOpZyitkIgLmDVrW9EFgGs/3spIG+DfQ6QK+bwu9YOlhsy5eTKHhQWAeup0BjVYGYJdyE+sCYDzZVXhM/z9y/YjqO2zngBk2KZZ+3EOzYqjD5il5sPSCRYyQ5P3/HhO5ljJs6mLZYFP9wfBnAzX6xq0tfQY0rn40eKGIlSetn7QYPyNXEZoqZ2opLkfGvY5Ks2efkED/MzsP3yj6IUTD27tSUJEuGj/V1HgR4+OGwWHG3mdtrgHL3Ac3vvTj81MDpT5MWgor3QeB0g3fdo42EDHG/fT6t6+eBBPs7LQ6ddTVknkV41lCmOfa4lQ+z2EkOP3sj0eG7CrI8fBWFHrpELdGgSMllnor8YW3aDSfz8Ht+/LRRsn35Ep3nIs7TQTfbVNC/+yz9UEHQebNd7j53Ah1eUGi8WhG2FKgcB4XPf87BnkG8OOxwzSuLT76AEoFJcyjZ1U1AeSZt6/QEJ0jbZjHdXnoROlqhtVgrQIKXru9F38hHSFQaA2ZM/C+ZPQyQnl81J8226cnvNJu9h52UrecBwXHDWkjpRC2/ovUFMjgPhSo0u/rL5bFKs/ws45msMbO7+03a5K8pZdXEnTmIsRgNZ4Q8AiVlKirg+LMV2NwhZ4lGE+FTge7wTq4YR1jH7ATdQlHrQVgD183i9C118TJ85wo5Jl1dIMVDaDDw6I+Pl/Of5U4qNGjlR7WUcI33axrzzxIJgHhM2AOTK/0fGN1bROYuvuapzz7tyl8gf9/UPBbMqR8RgfdjKtw/eWARWa61gJda6YVJsLPCjl7eg3VqqYSJ85/V6mFtBEnfQt15fUM+mdfHNtCx/rMDnVjwCZRctzDUQcsQ/5Mh1mazHYNS5ZZXW/EL7JH2yqrAeceiq6UAbOlcFp41vNrVjGqtPVEBFOdY1XyCxa1g86tEQ0wjsQnzlvoYPlmt6QAsiD2vWYxMFPvx6d5wLknK07TvLQMXQ5RnXG38KRuvu34BL3l8AVY+xIGICqT1Zd6H1EITs3tIiEvGIrJ50p/xKBze7dbmpHXFO8dNEfJUjrUUvOV7zdUSmExa6rRQCyNoaFT6PqqNBeTxazcN0v7e4ePFjiUMKwGYekdJPpdVqRzOvEuRk/kQ1ZS4yLGWLjYLGUARO8eYBoxbOh9kOdSKSX+kL9VW7unq1RwA/hhCPGunl9LTlq9HO9DcTV0i+ovtIgDm+gyIa7k5zc5PtaHSpwIi+6huWZmAMA3WAHadFMRcyT89+YlFJOacHav4otVNkhywdLQlS5xbzAkBlR5q0TFwA1XnyRyStzc6VrHxKM3lyDxxLlck9xlpxslJJ9p4lGT8TDZCG42yMynAs8Au3CbYrW4Csbbk5Was5lKsS53ZKSUZRigwgBd6lchR0r8V6zWWkTDRa36+Fqpbbq5xLWLmba/C5Ka1ih5urPjKNWyyrYEqmtX8pTCfPfr+8XVUjIQ8vVXKGA4seiMvdI6FQmXYxIjCLhnMp0RAypMlY5bbOQ1NW5xlGWBaCNzDg1bECAPLJ+pSkcICdB9uKeP2q4R3OIFsyAcN6ylkEQ0F3kBU0ooWBoaV5/IRiicubFGAHMUDfy+m0q5lNFQkOKyKQ8iDYsE9axEaWrP6h/YfIMVW4of+jxMxwMLjIEd8ITmRO01jPt3CZ0nt6hXJ0ENiC5Ia8crMEEJeBUWTRTEqAuMxecbWwDO87P4RCF5JKNUrN1fYV0fFvQfxx8ULNjOroOonbVsrV+eNeoT9fjqTtCQPw1rQpnPg/s7mVrvXAIMnl6nvpOCBmimkrqbdXqYBuVA2uDiusyJtwyFXIuKEPXPxLIwfLXeIgPp2HdKSaNN98sREc8MaMLVPwdeTiqMefXje6DMvpY2jdk2kC9LDKL3+XIdVjDLzjMm3dg/LiWdq8TKW2AEnaD+77Z02NN1cpLu1QI5jOyvZvkmPxzlfdxKuEHxuEBYGv2jehSGh2wGApSJb2PqvIqIOfKpT4xhwJbJr7wQHe1330aA0NPys4ruz5bGOM9IscsZ6OOePrir2XaAp/8dxIaDtTadQZXvlLl1ktcUJAcg6qT3ooVPk6mYD3sSev5NOP9pqNCAocei5HAYE1KKDo5n5i1NhUQuM7n79D6X9yqHwbsfcC1LjGsE62Ye8k5BTRmn8KxSah/WhbalWRB3x6kQOjVwqTVCmY4KmX4HZIE6JAcIGxoGimHvK0ABd6cLXvK/k+VHkm7MmXz9KkUgX6v9VBZ5onQR1zno0c95hKTwwMAFEY0rRIIRhgmwJfGnv1lk1tAFLNEgHk9bMSZhu5u2Fq4O5cf4TXdt3IJ8tyEfuzZX9gNkehpE/x7kwKuBZCucMyWn7xExKdVIgyJEdVu4i9naplKjTijscXwYcXo4sBVJlzNT4h1YjzX1YRQJzI2UtilXF8MCQhfppD9ESvU5F+mrJa2n/P1i/G9GHrlLcxWLGOWwL1bhajgdUbumRo4l6V1jMEh26iIEWMk42T30dsb/32SCZxvPS0Ab3Vhe0ZDtF4yiW9tXRj2JVdGz9xWS714Ne68DCpn9jSgJDspJ7TZ0WsiF5JDlW8VwhOrHaA46K5IM1jct9ZmZSHAB3IfIQirmrd1el9ljno4tLtda4BhJ/hkDgjUSo0Ki78CH6kyflH1ehdIU86oHWEhl+K3F6xH3GJHMlF3ZPNNSvE2sPuHuYL4UfAuROf1WNNGo0I/XeZSSJAwxa+9Cf20eN7QDthsSKi8ZRTNoomnSNE1ZjF9yzb8WeitGU5MAXLAQT21KZYdCzLc9vcsnAGybmwwS6WOBTXclye5RYJQexXCrvfv2dwlVsQb4WACchLr7OMir6/RW6VtkR+H/0IyPOeJciXcQ6tMsu4YWJX2gwg8bfFWfIV/w26nRGvFupkHioJPd6qxe9X6I4mulfkSqWKvJX9bv/Ifqdij9Unv4t17GeVjEM4sqbBaZ36HjyCWEPf7t0Qz6psWtTHHRKohJ59YpuFRlGHdW7/pQ5zMw/lms+Eeve+H02eLoXRM8TiULw+j5odfoVI1WCuwlJH2k8ZjXxuGUf7v61cI8WDw/GtlLA4fIAHsqldSjDxae+BQ3h+cny6N/TxVhhS7ZrRVssGu4iNhO76acWjXVEPifCCeSp4k+pezkkxX58xp6q6biBxVIEdaQE5rZKMBP8Us7/Hvyx4vBO98vQ0LIb+/kuXdqBLQAnM3dZD1s12F6m53WgmJFlUmI48erIZj4zukRJYrA/T4+euM2dtUgmSIrv0MOa6WOZGUZP89pjXe5ZrSKz9xyWEGNPi3KgjjZONLFvaaI9I2qXqoZOVdKG58vo9pMTCmetdjcrV19wYQloP31Xu2S4CCULnSLADmkenFd3PChR7b0xuYO26DT011iF3QM6zlA1z+I3dVBsWzEBkHQvuOarSJ2W/W5FwCA2w9RihvqbOPwBjN0ODk4xpy9pvnO/1R3yF/ZRrthy33ZybhllVl22suKtACm/4V5lxd900ePg0uSIbuR3jfNY6r6jBJ2o9H8m+VyRxlzJmfrhEKxYPmpUgHtJgwCcGbggdI3oAB65u02SyGSRZ6Jv6toUcXHPk+isG8f7C1FPTp/vIoxIe7e3WZOV62y43bqMXY+o8QXfR4tPx8aKrxJVfGqAIOxfaQCTfWSHj0ivw3aeYDAjsK0kLlO+xIWhHaF7vPw6oX1Qq2wC3wKGOjkxnNgkO6UrQU6YKqQSa1yzrrqoYzai9gaxNd4W415UvhaSimB2I/i89K61ARCB27ZYEtQzbyut/uGzTdEXLss7/WcRz7xqJrx7Mr4XWfntBQQycns/3Ob7p4/rDGpw/B2RgYbD3D9hGZFjkOnECUieeRSWOCbOWYvyogHxVvIhaLM5kH7dTngY+1jQ/mJGxcg9/ccu9zka573WbGY19f7Od6OP2hlkJyjKSaeNs2cMqfGVe/fxevZ1eq49pq27taVyl21qM5TomDAs0tNUFJIQZDXUPR0/W5P9wWPuMXgI8g44ekeQZ3LTnxwHBrL7fiWnPITyy3pj0wZODHYB3l+i0U+Pn3RyaON+SvX0wFEP1/Trp386DNmHuW5syJsLYigDm+Ej6BdWjzMo3EM2vEfECq4LV/w5/mfWQT8HpBF09Gj1avzXH1wpNPpaworcbVidHtGDSXX4iXAQskfdPu8bY0b2tMKoglyZ/Y96oBDovFW8gdwKZpwNvtFUct8eU8yCjB041dJ/B6gnHhCgU41VsJQLwq26p8r1Ggq926I40kh+A/aJtzqo4mo57gyk8xugXv2SbQhAmS6+AgOqUb6Zk4G59bqGbqfvUc2errjpw2URUi9OA39X2FVDQcNvbIsP6S90tCKxg9lOogQ6IRJ0M4si4BZXxOxPB7IzKYoGfVaM3OhByozeO0pdkq/Ud051BQjOc2eis6y5vVqibHEVZTE+18WBalisP+n6FXo9KB0zcR8t6F/GQVGuR6xLgi/8LTU+63PnhJP4aoccI1S0oWDFkm0RHX9mwYefonoyBJZbnKaKjGY7orBVipojQlBBjXdnB+gU/BSGU47kqNkRiOida9y1oodfSd3njIsHMTmFYQ0yp9SrZPhS56t7vDGW1SgJcvdEpZHWl5cD/IwJd251xJrYc2NAWNOfI11qBfp3qYLDtldNLitovLY+WHQJ/A93GdPBLP4zUWlWpRE22EwnVSfloqvHyNoKvMEFPVF2WbqFkkYB6ZgWCmqhpcXRSZ6X3SeTwDrdEJiKlZgbiQWsFZyHjAuCRCgyhDGyM8J7WHanFvdwpk7SHeYxdmFrWetpKx2FKzoDwikfaDxlX3PYMO7Y55r+6XCX2MPOcBgPZDNkBndwh5Zt7r65BADFOYuOBkTtXPRnxWrdNPO4ybVd9FtKu8y4wNtJl+oUwjBqnUuANm1q8j0wX3hbbHlSmNWPGLibFPk9dXVy5LFpk2tk1nfn5q/yJg94QGn4Lqsw8WiopyZLK2/1qzPHSYP4Lok415O/XVW8LExOz4oS3q8+QN0R9/0KlOeNuX7rP3pK/HF/CCfJtkHXi8qpmCn4z1m7MEnZynxEw0MEewsrDESlCoVJ557ejBibm2jZFtoKB7dWmggNHlHuyZd79A4/FervY4beJRS3G/XTEiVyQHDsSG5P1XOMhJAHufF4/DU3R6Qvj5YcrmHkjevTWsvXlJfAOH/kfaCIVRtml8gZ+6XdHhF350V1siUqYyS8XqrTk9NJ+ThMZ3KuVfHO3hRG33U50he+sfENGRUZiymX/oyrQd7hFM9Dtt4ZNg4laUHRjEu7FsnW2Mf4LZvQ6ucns2ezDIQuMeqJM7Ghqyd3iJDB+kp8QqFF6dQG0YBgMYKdNBm8oe1xTIAjHVVRtkDTvViaGBgJ0nP8GwCYbOQBBW2G4AnA3vXrjN1ly3IokD4eZbQAwemIf72RQT9/3ZcsMNWTZ/GlOrG/Lc1+bMxxJEBxFWF7zGUheykX3EsxZzREBiteLG6uGHVAEAL08+a6PNnXCKszVawkB6Gtpys1fnoO8EkDDfhIhUNwm/+3orrgXaZSMYpjhzqINXWU59Eilp1fzH6jXh2L5pcMPn9/XO2NpfJUitc6l5uRVIpUVXIQ6rL61xOD7/9YgucL38W/0nLGYjGdYs0MpWlaqdZjsPCdIi7HGmkRzADnb/UXqzGLT47sxSFyAO+Mg5Cm5FYhQ0rWLc3ZzB0HT9Q5YBS2XSzronW7QPFrXHEvcTp7/Yams6KqCdM6Pq/gr7j1fPlnR6ahlunPHH7gO9mkwlbTxeLECiJlX/HdaOB6QpRpCTR8P37C58rcdjoW39b+yiAtPQUjY8kF7uct/VPRSt1RHIF3WV8nrP/u16r/0cTwLO5urI6+0kAIUU5kSfbDZE7W3NhOPOTroAXWCfgRigljII54JkW/4rYuenRLNoz38+hs4FbvqBk+TgKnkL+KCLNotG8/NFjurrQ+xLDyWUnIbI8loEAvi/lqZ1LGJ1My0unLB9MgJVMcmtLJVGHHa5ikbPcZi+iV7OpL9fo+OJOfpt4VWHfyO615IyJGYjx+BPCYlmQafCXBuuIpgEWiEBDW4dkajyFvlLN1ZQVqGA8/+OY8xsLU2J6O7E6QvQelkhrcKpVph8b7oMOK9XKLIRSmBFNRwb+8nx/phoPfYtcHlgAollWx8fT8o+wtoSWozJT8PigMeaD9HTtey0OGIQoGTdP3sPU58RBA5chYz1hTLk6FVy8HtOOarX1Ta9cNhxMzQKW/0l8tPXP24/T2SA5bwGwYXLRM8qabGOcD1yZTBPS5qgRJF9m9KMYl2PrLUt3vAR0lWqX5/fA4ZBpiu1Xw47mcAH3+WIBPpaZRmmg70mElQO3PqIsD6gSGI/Ub+zHxsdHzyGrkmJyuJiKtuxnORPgen/SxsI5rI05kBPBz8dUbTrGnajA3sUkeNS4JX4KYq56dKHZxjOkrKzSAHvXq5LwbEbjkvuSgVI8ROpqYKhdKvZ+3LPDLLwCuoXM9DObtYwdpP28wm1QJX/sN2L6RrAsh+OI6YbvITLRTgwmTy6fDaLK0kmRHINg+OE2QBZ9T8GVxKFQAwSrv4kUnitalkqfxOWCoq2Ip59KqbPuDUdgEUjVKFY5oECr4lBH7g2oOMkk1hPB/SBYKJMQFFzI3YDzsS6x686+oJkeqa2dZd5FxfpxsFI9pM6GgKIeNRlp36n4GYLux22FCL+YZfNNZLPnFiT6qZo/cjCE3A1q2G6LbQ9NC6eJiYeOeLFZgnpqjopck3eK8i7sowFC96HoViACxOTIBK/T9Ia3rmWCB1L8iGKYmXXZKM645xalSlL8YL7jYOgnza6UBvBLkb8UjCn2mUF4OKT1Rsa1kQhBY0B09tJ/XXFgEyXW4RcU8RuylAxoCiPjnPcTJizkoh/P4vgHVMVMoPNTF/u7/Gga0Ef3It2mHRsv5JWlMDmoPUCcc9Z2O9764XEVkFVNNZ1GpXWWJayrO7LA77CFdH+D09KODfwbBLYzi5IgPysGDsMvoH72GIWBJiotUSWO5cJaCwo2WA33Zs3ZMr2gvNGJ8TKtM9gTW/9fExuD+JFPiUo2/p/8uoxNHXy1IMd7R0arbLgJSPy6SK/nC94tm2KE6SuXp5KGMhuHJpUVvv0+aeY0gOAdSuLYWW+MHUJY5Y6mWMBxz4t38BqBDnF1lgmg6INTZ+E2QcwNrvlGjzSa01eITfzqJ0+m55Wn0iKhXxFF+RbKAAqRGFU+QQ69jCEPR8zQeS5adMXbmmd7YGTljk4fj/O8ZhQPq1RnGWre4Ay7+Fqx9PWUm6ExFIXTQ/sI2EI2L8GS8vGafo+5emxvYFM0x6w0KYheeGzP45tp52PMvidaW5re9nPWiktZm1ZnKM53zaBSWBIySou3sTfM64NGpONx7dZKBLkKgIz/Adlc/2Bsvm5d4v8cL/JAYNHj8PJTjj1EYMLjlTuZ8vnZdKBRv7xFaMz71wTmMpGfC+KLtHhJJD0xIPXmGhKtIK87iPMsdXlVvaz4DguaYgdcFvmuj0xnwC8+g39Xa5x0kKVyQKst6R0Dzm5KDiekxsbMzGJtoDNHp9HAMVOh+hZaTVqaaX8wSxmIT/4bj+eYtvUv8dAq3Jqn9+wXFokNxfb32mqvXuDLjGJRAfGgdnDzxQb2uh8Xs9Q+ZtQl2jzlARoPDH8xWt07us6XgmhUBMCbkkpBHmyvEA99OQnX9Ighz8/oXEWfYBrBS0SeNJYeP3p4tpT/l3skgR5FezgXY02Z+z1d1u3bqgYFyomvRnhilzsZU3AI5KLvCvjbmr7H/1TsnEyACuv+ILE7u8NChu+oo05cChyGIGhn8gKfzK+u4F/QsLPsThrNxgHwP6MBWrcIkmXQga7RpF8G1e3qDLz66aaZ9qKBQPmNeCn2a/9rLVbahfHMXlSrjnpfYf3IBYj/XlKVf0M6mgoZRPrwbf7XOEgIuKSTEeTVucYUxW6TatDt7h0bw7BbGEI1/BRaB0C9vEjBAuLvzUMjqrHozJg0s4JvF5yRWH+yI3m2sIjsZFAqNF/d0I28/x8N1bNPoA5BjuPkECcQkUrILimPW/1SbclbMJyKdHb3+oCn1BbAD6BpGmO6IVrKcdEinnxN7xkfZYkAk8sJbXeccxgJCBDfBS2EdpKuU5GjXu42bb5c+TCHT1es4Ubn5ZvesoVvoAB0qv3MxWIslHm2CeJzkUi96Y5Uc9YrFmVp/jlNbqXVHgB2r9aTOo3kv8SJ6PAZ2Zs3csnVsLiYOEOD7pWck+wNAuJszWq4GohCyFfjqXOYJxYGzLHijB4yKDDA0jfeuBnMbbBmIXQdhMoweyEjf3sZ6kolv7GzJJ+6MEuq4wuihPx0acBAJUwkp1EtdbKKbE0f5+IuvjHoQfROdv1hqXpxArNNhYIgNG7OX/BkD6hM56+0aN6FLlFTRKD2O5VA5nt2KtDL6WaCS6pQmJujgCbjxrrxEn8oEU9VTrYO61u04McLcCxauFEPBLQleNzUWWa0USenK4UfOM5Q1E0f5QPvzIn4o/bHP7s++zicKLSnGQ2La14I/C0pN26l5P7k3z1Hyv4FUStj7ZZ9qEtAhievpLm0F7PqqSqyZ0Pe120+MhwfcD3N20G+uqdkLDeB5AhyrSfQjQ0VV5U8iUVHx6rTDnRb9mzzZRQ4etRh/nBrycdJTGlT2muoz0ICZwj8H6dpRTTC2l3kTeNCnKCFAc6dooy0UlHcn1kBIK5Kn/Y//wxH5jJsFtUQtywLYqmYS0Mz7wZyVIcUye+AdLye0Tg8uDW3eupUEWpJ1PIafVVDEhH+QbIfdqASj9fNZRLo62cDQr+D8GKkHWoxYh3BLolV9F+amJXhUVoaYvGX3WDdNaq9mC/wmCG2DWRn/cDLeUGkUEJk56xRfMoNDRNRhbg6IGU7Cxm5DnPVHUmAriBROlWLkuYJJgZaWmbNMrGRZZthOVAghciQe8sb9kp1CejEkHdndvTZkTYDEK+xscQAP+cAHbwffFUR2ZtQBEn2qEimrBjYZvwWzkOWGmv38uBGv5+Bby5EXB7uRVMX/Txv0T4qOjV/yo1PleOoTloMvkA7000KMeKhU9Ridntf0K/08o2nvZJ+McMdxxtPBA8trL/6obcm5wLURXXPPOutemhL3lfle/4LOVY+OsdV5MEYm8AyIKjSb+/gqSLyL7fEbhRWg4Z7i2f/xrUvTqNRbKaIXNywundAnL9k7BpfcoRuGk8/v7G/4rOIkNItodbVsqoplu87xxX9dY4SykvGNCcbw6eTLCJwcOlZcHvB5R6BhQmmzJgp5LCgowyFc6GbDIxd8QdX29uJKZPt3xAf0EZPC+4EIgoQ0kbn0CjySI8qlQsPxQxz8CiXhaZ9x+0RQ0/KHx7x7LgTXaduj0csNpicNEEspTrr/oo2qsa4FsYENQAGjzhRfWjeq8oWAPpo4+NyYj95YSKXeWDlWuDRWqpsAzRzn/wJZeLPA05/PaITIZpcrEwdp7aqN+x1+44RH7RgTEh5GjSoNzei9lVJGfZljqWopGS8t/FyZb4adE2TAbUk/G0T6BpXfGiryzLXlU3w7XVrb7MKwHYFbnm4FyDiJDaWrAF/V500XOX4NhYcJDCh6KIsoet5qxpoU+7K8qRzgtnMBpLT+Q5ACEx3RXk8tFxLSRs9iNQiN+vrrUnAWl/XmkfJT7LGiTAfUWjb80OH4II8Zr80Oec5m8ddOfQQ0+gr3LJN6oQua1+ogU5zw5nO67OFCpPVj1RFyNDy/ftrvoKiV+W6Q/FiTxvp7h/UjFaK5ir3KzgyVdY0rb7m/wiz+OH8dEedIuiAw56D/4v/lDW+V2gO6MJtL//8SX42SKvwCKyJ09THO4w2acgmjK9xxQPphKm96HlkdATNl/wEnGem1S/Ioy3+QC2YC0gCRvpDqgHOqioaWhrHsOGhy67idbqBb/ano3cVvUouQegN7kmhlEobesJRzej/COwYvLOugeJJ7cs5zmxgE9K2KaksBW884d9LWuYbi47mKu/bEGSbW/73N4HDC+4aGBpg3BZzp3ATQSUnTyWsM6CPQpU=" title="Mekko Graphics Chart">
            <a:extLst>
              <a:ext uri="{FF2B5EF4-FFF2-40B4-BE49-F238E27FC236}">
                <a16:creationId xmlns:a16="http://schemas.microsoft.com/office/drawing/2014/main" id="{4B49199C-25B9-403F-89A7-7CCF2F086ED0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 bwMode="gray">
          <a:xfrm>
            <a:off x="3346073" y="1788591"/>
            <a:ext cx="2471873" cy="4702587"/>
          </a:xfrm>
          <a:prstGeom prst="rect">
            <a:avLst/>
          </a:prstGeom>
          <a:blipFill>
            <a:blip r:embed="rId19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b="1">
              <a:solidFill>
                <a:schemeClr val="tx1"/>
              </a:solidFill>
            </a:endParaRPr>
          </a:p>
        </p:txBody>
      </p:sp>
      <p:grpSp>
        <p:nvGrpSpPr>
          <p:cNvPr id="21" name="btfpColumnHeaderBox386460">
            <a:extLst>
              <a:ext uri="{FF2B5EF4-FFF2-40B4-BE49-F238E27FC236}">
                <a16:creationId xmlns:a16="http://schemas.microsoft.com/office/drawing/2014/main" id="{61492ACD-994A-477E-8418-11539F023BAF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318644" y="1339902"/>
            <a:ext cx="2560321" cy="444596"/>
            <a:chOff x="6366269" y="762493"/>
            <a:chExt cx="2834882" cy="444596"/>
          </a:xfrm>
        </p:grpSpPr>
        <p:sp>
          <p:nvSpPr>
            <p:cNvPr id="7" name="btfpColumnHeaderBoxText386460">
              <a:extLst>
                <a:ext uri="{FF2B5EF4-FFF2-40B4-BE49-F238E27FC236}">
                  <a16:creationId xmlns:a16="http://schemas.microsoft.com/office/drawing/2014/main" id="{4A9A1881-8E7C-4E89-AB0D-08E4521C15D5}"/>
                </a:ext>
              </a:extLst>
            </p:cNvPr>
            <p:cNvSpPr txBox="1"/>
            <p:nvPr/>
          </p:nvSpPr>
          <p:spPr bwMode="gray">
            <a:xfrm>
              <a:off x="6366269" y="762493"/>
              <a:ext cx="2834881" cy="43783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dirty="0">
                  <a:solidFill>
                    <a:srgbClr val="000000"/>
                  </a:solidFill>
                </a:rPr>
                <a:t>Peer 9 leads players on traffic as well</a:t>
              </a:r>
            </a:p>
          </p:txBody>
        </p:sp>
        <p:cxnSp>
          <p:nvCxnSpPr>
            <p:cNvPr id="20" name="btfpColumnHeaderBoxLine386460">
              <a:extLst>
                <a:ext uri="{FF2B5EF4-FFF2-40B4-BE49-F238E27FC236}">
                  <a16:creationId xmlns:a16="http://schemas.microsoft.com/office/drawing/2014/main" id="{987FEBD3-AFCD-4F57-B28D-1D336906BEDA}"/>
                </a:ext>
              </a:extLst>
            </p:cNvPr>
            <p:cNvCxnSpPr/>
            <p:nvPr/>
          </p:nvCxnSpPr>
          <p:spPr bwMode="gray">
            <a:xfrm>
              <a:off x="6366272" y="1207089"/>
              <a:ext cx="2834879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btfpColumnHeaderBox271946">
            <a:extLst>
              <a:ext uri="{FF2B5EF4-FFF2-40B4-BE49-F238E27FC236}">
                <a16:creationId xmlns:a16="http://schemas.microsoft.com/office/drawing/2014/main" id="{5B267466-5827-455C-9D35-E7A17DFB9DE9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3329186" y="1523674"/>
            <a:ext cx="2477492" cy="257442"/>
            <a:chOff x="3348236" y="1080899"/>
            <a:chExt cx="2477492" cy="257442"/>
          </a:xfrm>
        </p:grpSpPr>
        <p:sp>
          <p:nvSpPr>
            <p:cNvPr id="22" name="btfpColumnHeaderBoxText271946">
              <a:extLst>
                <a:ext uri="{FF2B5EF4-FFF2-40B4-BE49-F238E27FC236}">
                  <a16:creationId xmlns:a16="http://schemas.microsoft.com/office/drawing/2014/main" id="{76EEEE19-08E3-44A8-8993-F096EB0347AD}"/>
                </a:ext>
              </a:extLst>
            </p:cNvPr>
            <p:cNvSpPr txBox="1"/>
            <p:nvPr/>
          </p:nvSpPr>
          <p:spPr bwMode="gray">
            <a:xfrm>
              <a:off x="3348236" y="1080899"/>
              <a:ext cx="2477492" cy="25744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dirty="0">
                  <a:solidFill>
                    <a:srgbClr val="000000"/>
                  </a:solidFill>
                </a:rPr>
                <a:t>Peer 6 has the highest CTR</a:t>
              </a:r>
            </a:p>
          </p:txBody>
        </p:sp>
        <p:cxnSp>
          <p:nvCxnSpPr>
            <p:cNvPr id="23" name="btfpColumnHeaderBoxLine271946">
              <a:extLst>
                <a:ext uri="{FF2B5EF4-FFF2-40B4-BE49-F238E27FC236}">
                  <a16:creationId xmlns:a16="http://schemas.microsoft.com/office/drawing/2014/main" id="{422A8356-9ABD-47FB-8087-CD6F72629AC0}"/>
                </a:ext>
              </a:extLst>
            </p:cNvPr>
            <p:cNvCxnSpPr/>
            <p:nvPr/>
          </p:nvCxnSpPr>
          <p:spPr bwMode="gray">
            <a:xfrm>
              <a:off x="3348236" y="1338341"/>
              <a:ext cx="2477492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8" name="btfpColumnHeaderBox896171">
            <a:extLst>
              <a:ext uri="{FF2B5EF4-FFF2-40B4-BE49-F238E27FC236}">
                <a16:creationId xmlns:a16="http://schemas.microsoft.com/office/drawing/2014/main" id="{C5945669-36F2-4FCF-8B66-F6050DF9E771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330199" y="1341146"/>
            <a:ext cx="2622534" cy="442108"/>
            <a:chOff x="330199" y="765705"/>
            <a:chExt cx="2622534" cy="442108"/>
          </a:xfrm>
        </p:grpSpPr>
        <p:sp>
          <p:nvSpPr>
            <p:cNvPr id="53" name="btfpColumnHeaderBoxText896171">
              <a:extLst>
                <a:ext uri="{FF2B5EF4-FFF2-40B4-BE49-F238E27FC236}">
                  <a16:creationId xmlns:a16="http://schemas.microsoft.com/office/drawing/2014/main" id="{9AFC1327-1D9F-4718-99D3-CECCFDD5BA6E}"/>
                </a:ext>
              </a:extLst>
            </p:cNvPr>
            <p:cNvSpPr txBox="1"/>
            <p:nvPr/>
          </p:nvSpPr>
          <p:spPr bwMode="gray">
            <a:xfrm>
              <a:off x="330199" y="765705"/>
              <a:ext cx="2622533" cy="43783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buNone/>
              </a:pPr>
              <a:r>
                <a:rPr lang="en-US" sz="1200" b="1" dirty="0"/>
                <a:t>Peer 9 significantly ahead of peers in terms of # of keywords</a:t>
              </a:r>
            </a:p>
          </p:txBody>
        </p:sp>
        <p:cxnSp>
          <p:nvCxnSpPr>
            <p:cNvPr id="56" name="btfpColumnHeaderBoxLine896171">
              <a:extLst>
                <a:ext uri="{FF2B5EF4-FFF2-40B4-BE49-F238E27FC236}">
                  <a16:creationId xmlns:a16="http://schemas.microsoft.com/office/drawing/2014/main" id="{31E7724E-4725-46F0-B797-D0EFA7A896A5}"/>
                </a:ext>
              </a:extLst>
            </p:cNvPr>
            <p:cNvCxnSpPr/>
            <p:nvPr/>
          </p:nvCxnSpPr>
          <p:spPr bwMode="gray">
            <a:xfrm>
              <a:off x="330200" y="1207813"/>
              <a:ext cx="2622533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0" name="btfpBulletedList109036">
            <a:extLst>
              <a:ext uri="{FF2B5EF4-FFF2-40B4-BE49-F238E27FC236}">
                <a16:creationId xmlns:a16="http://schemas.microsoft.com/office/drawing/2014/main" id="{E739C4BD-2E3A-4AB9-96C3-8F9B4D7F78A8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gray">
          <a:xfrm>
            <a:off x="9363038" y="1915746"/>
            <a:ext cx="2494000" cy="1965529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>
              <a:spcBef>
                <a:spcPts val="900"/>
              </a:spcBef>
            </a:pPr>
            <a:r>
              <a:rPr lang="en-US" sz="1100" dirty="0">
                <a:solidFill>
                  <a:srgbClr val="000000"/>
                </a:solidFill>
                <a:latin typeface="+mj-lt"/>
                <a:cs typeface="Segoe UI" panose="020B0502040204020203" pitchFamily="34" charset="0"/>
              </a:rPr>
              <a:t>Organic search optimization is critical as it helps</a:t>
            </a:r>
            <a:r>
              <a:rPr lang="en-US" sz="1100" dirty="0">
                <a:solidFill>
                  <a:srgbClr val="000000"/>
                </a:solidFill>
                <a:cs typeface="Segoe UI" panose="020B0502040204020203" pitchFamily="34" charset="0"/>
              </a:rPr>
              <a:t> in developing a channel that can provide </a:t>
            </a:r>
            <a:r>
              <a:rPr lang="en-US" sz="1100" b="1" dirty="0">
                <a:solidFill>
                  <a:srgbClr val="000000"/>
                </a:solidFill>
                <a:cs typeface="Segoe UI" panose="020B0502040204020203" pitchFamily="34" charset="0"/>
              </a:rPr>
              <a:t>free traffic in the long run</a:t>
            </a:r>
          </a:p>
          <a:p>
            <a:pPr lvl="1">
              <a:spcBef>
                <a:spcPts val="300"/>
              </a:spcBef>
            </a:pPr>
            <a:r>
              <a:rPr lang="en-US" sz="900" dirty="0">
                <a:solidFill>
                  <a:srgbClr val="000000"/>
                </a:solidFill>
                <a:cs typeface="Segoe UI" panose="020B0502040204020203" pitchFamily="34" charset="0"/>
              </a:rPr>
              <a:t>It</a:t>
            </a:r>
            <a:r>
              <a:rPr lang="en-US" sz="900" b="1" dirty="0">
                <a:solidFill>
                  <a:srgbClr val="000000"/>
                </a:solidFill>
                <a:cs typeface="Segoe UI" panose="020B0502040204020203" pitchFamily="34" charset="0"/>
              </a:rPr>
              <a:t> </a:t>
            </a:r>
            <a:r>
              <a:rPr lang="en-US" sz="900" dirty="0">
                <a:solidFill>
                  <a:srgbClr val="000000"/>
                </a:solidFill>
                <a:cs typeface="Segoe UI" panose="020B0502040204020203" pitchFamily="34" charset="0"/>
              </a:rPr>
              <a:t>does not require investments in media buying rather involves development of content and resources to optimize the website</a:t>
            </a:r>
          </a:p>
          <a:p>
            <a:pPr>
              <a:spcBef>
                <a:spcPts val="900"/>
              </a:spcBef>
            </a:pPr>
            <a:r>
              <a:rPr lang="en-US" sz="1100" dirty="0">
                <a:solidFill>
                  <a:srgbClr val="000000"/>
                </a:solidFill>
                <a:cs typeface="Segoe UI" panose="020B0502040204020203" pitchFamily="34" charset="0"/>
              </a:rPr>
              <a:t>Most of the Peer 1 brands </a:t>
            </a:r>
            <a:r>
              <a:rPr lang="en-US" sz="1100" b="1" dirty="0">
                <a:solidFill>
                  <a:srgbClr val="000000"/>
                </a:solidFill>
                <a:cs typeface="Segoe UI" panose="020B0502040204020203" pitchFamily="34" charset="0"/>
              </a:rPr>
              <a:t>trail across all metrics</a:t>
            </a:r>
            <a:r>
              <a:rPr lang="en-US" sz="1100" dirty="0">
                <a:solidFill>
                  <a:srgbClr val="000000"/>
                </a:solidFill>
                <a:cs typeface="Segoe UI" panose="020B0502040204020203" pitchFamily="34" charset="0"/>
              </a:rPr>
              <a:t>, indicating </a:t>
            </a:r>
            <a:r>
              <a:rPr lang="en-US" sz="1100" b="1" dirty="0">
                <a:solidFill>
                  <a:srgbClr val="000000"/>
                </a:solidFill>
                <a:cs typeface="Segoe UI" panose="020B0502040204020203" pitchFamily="34" charset="0"/>
              </a:rPr>
              <a:t>untapped growth potential.</a:t>
            </a:r>
          </a:p>
        </p:txBody>
      </p:sp>
      <p:grpSp>
        <p:nvGrpSpPr>
          <p:cNvPr id="64" name="btfpColumnHeaderBox279529">
            <a:extLst>
              <a:ext uri="{FF2B5EF4-FFF2-40B4-BE49-F238E27FC236}">
                <a16:creationId xmlns:a16="http://schemas.microsoft.com/office/drawing/2014/main" id="{04D9F802-E61D-466B-87F9-071B0997B12A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9384308" y="1501096"/>
            <a:ext cx="2477492" cy="294090"/>
            <a:chOff x="9384308" y="4858970"/>
            <a:chExt cx="2477492" cy="294090"/>
          </a:xfrm>
        </p:grpSpPr>
        <p:sp>
          <p:nvSpPr>
            <p:cNvPr id="65" name="btfpColumnHeaderBoxText279529">
              <a:extLst>
                <a:ext uri="{FF2B5EF4-FFF2-40B4-BE49-F238E27FC236}">
                  <a16:creationId xmlns:a16="http://schemas.microsoft.com/office/drawing/2014/main" id="{0FA92E38-F776-4561-A4F0-F77E75FDB824}"/>
                </a:ext>
              </a:extLst>
            </p:cNvPr>
            <p:cNvSpPr txBox="1"/>
            <p:nvPr/>
          </p:nvSpPr>
          <p:spPr bwMode="gray">
            <a:xfrm>
              <a:off x="9384308" y="4858970"/>
              <a:ext cx="2477492" cy="28543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>
                  <a:solidFill>
                    <a:srgbClr val="000000"/>
                  </a:solidFill>
                </a:rPr>
                <a:t>Commentary</a:t>
              </a:r>
              <a:endParaRPr lang="en-US" sz="1200" b="1">
                <a:solidFill>
                  <a:srgbClr val="000000"/>
                </a:solidFill>
              </a:endParaRPr>
            </a:p>
          </p:txBody>
        </p:sp>
        <p:cxnSp>
          <p:nvCxnSpPr>
            <p:cNvPr id="66" name="btfpColumnHeaderBoxLine279529">
              <a:extLst>
                <a:ext uri="{FF2B5EF4-FFF2-40B4-BE49-F238E27FC236}">
                  <a16:creationId xmlns:a16="http://schemas.microsoft.com/office/drawing/2014/main" id="{3FF777B8-68B8-49C1-97C2-E71A3B3C2AD7}"/>
                </a:ext>
              </a:extLst>
            </p:cNvPr>
            <p:cNvCxnSpPr/>
            <p:nvPr/>
          </p:nvCxnSpPr>
          <p:spPr bwMode="gray">
            <a:xfrm>
              <a:off x="9384308" y="5153060"/>
              <a:ext cx="2477492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Rectangle 31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z2dD7pS103gZfJ6l4USC3jqtWOPR/ue0umjYEY9KlLthURXCUyUuZbmGDPUXB2idlVQc+R1c0j6vNnMaKvr/AghcgjyTjoGcS2U6lyGcWZbvoYqQsrFJ5DN1RdHsB5gZU4BjQJ6xKwDUEsW8X/QQ4uIPkrhyjIfLLN7ZR3puqzBiN1rMnctBA0J594at1EN5QJYMsPufr2eabAYzIDriNpy1GurybA3KWqcTPRKYh436jQqOHiPaCJtAtzpRgB7Igk7tw7BcBhai66Lc0jpyzFEK/4NRoFF+cso+ThI1HNgDMZbpFoCsJQtilLqk9nQPGX6RXGboCTf8hOOcHaKoTUKF81dro10jOa8Xb8mBGZAZ+Iyl7KGHMy03+9hVypQ0p3TqSrlzi3fSQ1E9kq4pf+TffkTY7uIyq2J2qC+LAlpdZTZAkUbNTmAtmSWUR3t+Pq/O6rql/SXy/tqUCbM3u752wHQOiJ9aHbZwYZW/3N2yfSPSa1HqNu0Ptz1+tA9wfCfl3VNnRrgvQIPQPX+vh+asruwPQ5rbnhUb9bSm9+yzFkUi4JpqxFd2t76oGVoCwfDcud/6w3jyO1FjUoyBSUgaMcInk5zbp75hPRdgA4Vwjdmws4Tg/z1Pi7p3UiaQ2pfqIJuXl1uQrPXHZppwwqpdNJsiAP/vjROgnH4f0P4pB7tEdf5/baiE+llZxNBc5Pra2FTYTOgykUd+CIrmmK8bhy3PrKsHXQSYpbCV+5DdEzSV++ts11XkRrLTRBpk8Kb+1SLrxvLGcdwKAmYxZUb0dmWfSTVa8OSGOqy5FZcqOKvgjxC6FoX0vp3RT955q8WJ24sIyI++eFNfojXVxEREsU+lFn0RPNT+lwwpTmr4+lPdJWaygDfOy6vvi5mCYzRKf/fr/py4faq12+EbAlrsrPIsChsw8XYOi2Lyh4ciiBvkt3bCsFpcSn3c5ivVE7AgoJOZs0VApVgSRPtAzkYfYQw0D1DagFgQfxEgTMp7wMuIMoLAk/znMBgcOW/SzqalruBTqb7GfnZGZ8BGAch47FMlPBkeMt3YR/EMOmyWjw2ma1FE0YCo3wYXyt8dDTr7D4seW3wC1Mx/eF5q22NDI/T/XNr/isysSfdbEm2PJTIDwcI0HZER4igjtPw0v/JaKa/Ywbpz9BcjkPX/oDaAwvtQ9yFe1m3huM+GAEfHqH0JMkXMv9lXeUQzBbpnGbQJvcvthWEES19slIgisqRdHrE4HINjAq2/FtJmLMyc6CevOivxvR1HYI48cqdfv5IknOtbVFRKKQUPjTn7BUOEjUEM2Uq8GWXVcxokMSWPARTTvzcRytX2+UQukMA+pH0yc+Ezzfb/8qwt3IKCmPNHw9v6VCfPe5u3gpQ8cnSMPtlG/H7QkAsKRd8qkxUFVuLUDacu7mx8wriF0nXGSaF6P1uQtRBuIMdm5dZxu1hhe3s01SkU4zj5ex5zwlOd/Vp5zqgQRAZgJtAWI69l4dSDLKgSxRRYZzG1Q6gSYGBKaW8tyq884xOdalk0mJn1IPjbaagFNAE2TeRRz0iNkEBgVpL5uIHUCcEGY83Bf+S1QPlzHDXc/0nfIRJ2dEBQY2+pzfQC8+Zy0RHVfEXmALAJTlgdKx2305dxppbIAA+BCqJ+8YEeMIDXpUIGDBwkQ9kcoB5UmjAUxaCDkcJIK99ktB5Gf9rpvSwlChgREKvb73uFDsm1z5VR/01wgaXibh9cC2sBaxhmQGqkwQ4jrD4qibTs4dR0uASbh3xmoSCdSFvAhplQ2KXs73+di1LOo1wOWyf71O3g1CpENvGES5n7EyYjn/Sbhy1mDs8+xvQNRanzX16AsTimGA0J76ktwPRegTvmqtA4aF76tcMyi7O78bWDrxNUCG9k1RwLdJT6LcmJqee1hudc9hMZwjRieA7AaBN4uuZyfhvy7ZnD9PgLNrXtyHZUXDHvRnY4ezuUYS5RoZmusjyRQJLumi5BGhCr4+aIyp7i9q/OE8WERe9IS+nKwd5GHjnRw1TrgIE3DfnIDTGxROoIi6BLpYbu87dJ+MLOoL4i6bGpYNpgNAx51KPwwge3o4eYe+WpQcCBr5HvQSb85Ah4wla0k+MzjrB/dWnG1dQD4nQLFtpZhtUMrSMiMqKynf2/8qYp9dhUvhqyjKVNfOnl4MuvZ5akUcRGgbRQOKA2+iuoXCxwuGZLaqzz3/p/4trVUtLbrqZLfst8c5DUASe/jG8kMPQ+AL3GzYxw5rrmbxbOcrjaKYBqUxUMx5pdb4RCVJKUtzOdFdQCjGEzKaKujpWbJ7GoAS6TKH2OsXrBMflJXXyVup2tQYIaox8H4aOowth3tft5uZQwJpAwJV2hBUs4PaBLPEPmIoG6LmcqYzhaDF04hheZ/wcfG6T5XvUD990AJTN7DxqcuakLD1yzV8KkTDfIRbIW00i6ufsllh42Faq2SzpcG46zhKYCXAq6f+h+FMsujItQn9wQ5m54y/5Xcn9VBdZpwh4lBcBoSdveVymV1na6PBU25GlAHWhHxZ3921QhCYveCCFGZrYh14HPfQshtmytzlUaGhsUaWTi1u0GpElkeWL9uRhourCXGqlvBceFb8wcssxWHMr34RNTqkE8jlRV/te1yTeH3m84tMzyh2yqzvaRu86WS7It7Y52ZJyT3avIS7WG23JVbg7HlZAxk7qCJ4JnYdbbidddNkZTHP9TOy3XHPI5Jy388SmX0k9onO8BqWrgxHCxJIkSMAdxx0ifKqXUbUfTQltIKvjBzhZs1opCUZof9B6q1cBk3oZRtdw2HJ9tvPdkf5+0KOr71ksL7LRziV1NOXf0sT5dDqAKdzSQ2LHnHGFuWfh5iCL7eiBd0n0xwLXYBupdut+stFtVTfkx1CPm41/YsyfCs5E2NXpJKlbdRycQ36jr2yTY+H16ffgJuBwiHEE0Vv4KZJrTbySiBybNjpUD9DURjpf1Blbpk+xVRuVzdIgvZ1trRBdeaq4WT62JrQ6xzVpQqZP1WoyeYLnM88cWPNFVYnesiXHib2SKuuXTClN+UZSljx33IgR9rQbarFeZbgK3PBNGP03//21vAOaz2orOukjW6igYC2TRnVN612o5OX5NxliH3cmjhV3R1MfeqCh+cf/f94Pb9FLZQ1eqiDBrlBRu+ZOtDDUHdQxRj/abyj3XGhYfsAN6S1LSh3p1yZlcgnuEPMQFYwcv7gwL72GND9qVwAN+ftAho+RWVpbuZNIYUu35qTCWC/O1GL3lcyq6iRRqqrPmVV25N/yncCLnH8VZUKZ43qqllmP4YyYzYZeaFrL5Hsqv59D6bnp/RsuQkIlVcuNcLrgYaO7QiVBTfYzLDAKooveqf+mIXnLNNtnIN4BFBjaNsddpUKXmnvlLQjSNEStBDcgAFOl0ovlYdWQHfsI/S7aYDfCeWT9NFRwjxVa6ew0H/iBNdoEkOKB9VKjS0+mHE/29ngsh5R3xclv7fpFb2482UXT06CMDVaNyUdkLgTevZ5HrgK1s495dWW/ut8HSj/o31QwV2KxnGs9ngBSUvWEqYmIjwqs8pT4H4gyllV6+K1eDGWS3CcagCsgMqNU8TG8NuHzBVRPwW8Gq+KFz7cCeDq9lqq2Q3aKqR6E4qCcv3KOH+1048mMRVLN/iWyXXDK8mrU9Vn9a3IX8js+R+YjyvLqg258dIEEQQDKirUpE7eW0BJ2daODvwwtSkLQ0xjCwS9vdw5qVYH9Le5tjDvygv8fMjCA5m9OsBqZ8WnO9/60VFffILuJpcenm/QchyQ/smAQ6zYkd3kWwhpBtkKZivEhzK+kZijGf3Szh1P12Yf5xf5oooUWap8Wvmk+PZ0RDTEWN/2dOiw2jSbI00Ecvbgc6k5LJhIDjkw8RviNmRKOd262VVvkANGsQiyOLZUHeOB9Q0RPKY3vJWYF80ySSHn8sdQJm3LkYTsW3zTyY4i/HwvYf+Uw5FbaVZ18jZSZydKX7kDKwJ3zJP3d48JmKs9OYRONqqBsP8rlHIy9Cq4zPyAh1Hs9M9KggLRHtbhPwPpAR1nq/FJQ1fhhFAWhPLzZPTB69tDUiaCoWMGdJ/hGSkIryhi2bbnFfTMCpJ1RHLFSfA6A8HmWTMtBqTrVYyKYECE2bLqu2g4zXs/ToXDPBaU5p9HHPGx139O7cgmthOIcpGdfabj2BtKPDSGF/6gXSCzCWYy5Xz6mFsn0u4VqCBZP0Pw5tBP1xplN54aS1lXzENG076i8z93OiawI/r0AoJ1gmFn17vAngB8Gz0mx7oXVCShA90Iep8t9OVo8iUSao1AIlNORwHYO/gj2CANQgbEBodL+GC6Xsll0aYBw2sF6jml52zC3axmeXI78rtAtYTmDovvqMo2nWL9lWePotT1PlCJXdMU4BMeqpq/FsIOtAug9YiBhSnXbPXD1KgrbLfCTAi11zrZ1Uv9xWT+XYzIhrYKpc/nl0jc5i4nhEHytq8SOMXALw0MFLeLpYMtiN9FmfcT6nSSoMNRnaHYmLQj3Zr2EzlxffyLBzRlMsXNxW89v8bRtBKMlCeKPqXZbMPTh6Kkc0aBYCPhAHJf8tGet1pSZDnkbQuMysHI9UVX2VEu/4eeBH8kNRVNVGTsnWCfh0pn0itTQwLqacjuirQ1CgqpXcsaC3eRgRLp2lKMQkrBexEDre7DmdZ1u3E0Iz9BclwMkayTIlA++RClh9LeZddBD0fiFEgecJE6/n1axdHl+n0BDlcSNmcssJL6gltXrQE0aPeBNWa37MR1BdQ+jDzEvDJvCV9EKuOxeTFhdklUpwhF8ggx21QnuZIIy11FO2MfNFAO4NXb/OZPSbA+Byh3SMI5a5oMENA55nTAfltyxvp4LavjYS2TMVdHNLsUt/D1T50c2fNSTfu5Hl+0DPHRvHkTnkYB0HncyMz/vN4XS0+tn4hJ7wdwXGBXIwLP5cK7rFxUaXsQ6SX8uX9OWatOqWoQ4LGqEYXxJcNcsSZcuNMMIBBolx+lwf2yJDKmZMKRcis+H9ujWIWH8Uhm4nxoFUaIOZ++x7bQfJlkVpD1/q7/LZsyuTFpc87L/lEnr2Jy9McLfsdwx0slOhF8waavL2Tqmpmky6fiV8C/1rDTQ5Q+STr9m/kHYzDsPsa56XAnaGc+ia7DujqeQJwTObw4gMoi5kaj61aF4EyZsjFqFWUh3KVihazz2huigQHFS/PG+/+kZZH256PKL/vYtR4bN2d1htHPEOPUXs6dE/DHoZXZgHZlNgAUKvXBW+U/oU6gK7UlQLFosq02NN/t0VrhWVqe3AfVLdw5P3toMjparwFZg01jGMDFhQB2/3WroZY6nhX56oTtXmV9hMYjeH23Fk7KXkLZVdEqUdIMSjbHK3n/gGRaq1rD6LAiJdHAfKhBC9OvvwoqDUNha5ElErm4cMm8KiA0zP4z1G7Gee5LjmKAjk3ue5rTbVql2c1m0QZdpus7Z0ti3mNoGBDu311Abk0GmYwrYr40NMKKya5zr6Wspk9Y1rbUUpXHZtEJdoFbXqUeU1m4b3VGvUWB+4RnSqEySE160u5hB/2CzENS1qXzQYr6d6EQFClq9jNvvUZywOWLwNWSjl20TjK0IjKIqyIyt0eTJaDf97hqope8yx9UnrKS/w1nrE15lag2ACBPn+b/XT84C6kPbnIWAZ8Obyoj7nW0aQ/yV1z5uCStzifV+02In4kJXiAsDtyQGlCmsrTFl/F3wb56XipG47GBVTfOw7JKKcKKODyHJIZa0oDS+QaPhQk79B2UKokXTHTmTHDqnvEfLCnmtyb7i8w5lW2li+knRQ2669Bzm/oAGZGUDvCyRuXnsKvMqUcqwjqWmdflQUIQCAo4pKt2TEHfZLNZQ5yJjAuKEY/cJ7G8Ld42BV8oK/FBvH7ymHz5qfOJkWnTh6lwMj1rrmTWfVSeEz2sda8xrDpsNFo0DvpktMiTMeDkb9vU1qiPOZqs+rN/X6X7CNH+HBGu6Wl5pzd+Ob88gMYT3331NWpOXkeFSbe0PpBi3499Lberu3apET2y+WbuIhpgAOgVVxRMK2ReaDGaFAjAUv2YLOjx9mLuLCDAvQpxZbG8AbzNauK3EhKloxS4zgRmmleLbLrzdA3t6MnkP/QokSAGikQl/Wz6GKKEDcbP9FGe7ZkLWJlBIr6MLbp01XBYvulc+b/UyJD6BdhGFS1+fzKmRoo4BNWoyZaP18AYjYafbY7kQyatb08oimyysFSDiTo1R7DZLLeadv6XPDndcrUxflpq0Cq4bLB1jStFLgRAgCalU5MhDBb3qyyLQcLFOs//eU5BriOqLaCPgXdP61+YIshbOqg60FeY75NGCLmlxpROFPpLFh12vRFXscUClfqS12ERhCmlHL5jKQ9Ft0uhbKF2VkN04A5KrNT4439GXHsVtpbSzo3cy3VNJ5r6lFyrds7btfhtsGAA+kxoCmY6eW9BSXSJ92pX4JUCPS4mHxezwt1mRceq/p9OXk69Jv8cULlyDrZsN8rKbAUlRtJva09ijbOb4uB+5MY78fdn2F2wSIjYmdNwyKzKjjA7eOc/Sp3nsnRJoKAckmRWHJm7emzSsUAq6//Hhb7X2eitU6IOEObb6HWnN2hY3dafG/tIqx+DlzYIJ9K6NsqpN5P5A3NFfxhp1ESJB684yf5Qsr9C5wbm4DCO3AiOW3owWCT8rfsdLom2RiQZH6ptmkhwitwh0kSAmfEQt778cWSSH52/JmbTq4rpyzaTC3yX/fd9TiHNC1+l5p/hIcsXyl5//EyEiioAGt0ya4VQhb+/BTbZSe+exQiY3HA19OLHQwxlfe75Tb6mGMF0NgJw5ifnCEOPVpUQIc5DPe6erDWrTG6CGMYKqqmN/Tzkoyba2pxMjDyBd1xXZ5EE4cCLS5ohblO6d8YkKya4XY5LotC1qf9QC7Y329/vGDZn8FWSDI3GWkneqPGK1lEz6kUtahdy9y+znwlQvjoe1E3FbbJknE0E7UxjHUxgrSyXcch+qjwXLdaKzVR8y9dSJsqn+IbZKivnJD/Y7B5F7OoNhpEnyKU80byRIuPkasbq/E3nnaK2Q7FVe5YY7xQlkqRB7bCm9lBg+bhARG6ur+pBEr8MgV8NTjjrmGQ5iGV4tPWRigdE3RVoS5ZvCc2fZuOTcG1nWCAJP0jh+ccSWCDPp5lbOMif2mA5ul7767Fe+hOwSz6Zfu4M8myGLNr4/H9lCkt/0X3VdoTXEO89IxGvhbjwubwQ6xq/Gu+ZBlwdHy41X8iz1H+n6rDD1ZXkMMuXV6izREkeOWuGraChVm4QFrON/dnEXq+UDy+Cg/kG+XUHlPIUFDcrdPezi1Fi4zfsTOj1eH6qfbCjmUJB9QuRyiqxDJubq5iNdhLZdfKP9oea3tpxjAs8vIM88bFATSEtllObxC/3wtsngpRBiXdnQpzxNiJ6kv3oGI5fyBP7EcZsa5J1l3Lc1e0DNBI53kSFmolEgeEJ/uSP+E2ikzRARRGnShomJZJ1woCN8PbvoMEemMnaNb6s4a7KKdCHl5Ort4e2lKgk6yt2JgwpOFJKq/43JB/u0miyqEiXptYo8CtMGGf7zgS8lxUIDOTM6MU0NUWu5Wp+CeU0FEEP/n0aVplk+xbusG5ORhrxtC2nPJ0s51cTFfXBZy7flo9FgmRikMxd/k8w2Euru6Q2pWTVv2kxZ601lASROvnt9vFzqtGL0yzEdvmYGHOim92P0swhAoQMVJ4liKVvon1ImKkf9+T+ZdsJZP0xkxHjT6zMBkbmWdkYmGlpzfFODQf+/Vp/wVvCDm3CHOxRdCXODo53ulbfwPWi20bVZu+xuFU2eBnRI/iUEPKEtHQzl6K63jz1FYwhSqUcaYM3xBiAWAGxaK6EYinta/8+Y5gn+DGTz0hBPeFV5F+K+pqSxnPvDdT4GfLRWC4DOf2f/rT2+fwGUN+Cd+/tqBvSW1H/8SCDPRNp0hMfv2dPMpZ2Tp7xS57RQBFcwY0mCUWy7dGdrZr4i4AGjxqF28cVZqWcZI0vz/+NSNByjlR5rdOighbz2kZ2uKPH0bbiz/rLOzcdLvjf1vqH4bvKXzNDMaHBkFjkfg5HSpVnGsASJuKkz7NR/c4h6IooNOww2Q8KZmoZa4Dy5qV1++0qYlKpq2R1PMz75GCk+PuKthIYizfMtqoFjyC/JEG+9435AYdIKoyO6nJnOsy4EVOUmv1m30m4o5Xq236XMwljjD2F85MQFutS2QDRiI/0Bo/Bb6gh0tvwr7Nnbdn5kOQd9xW43Xo+uM89voxrMFF5YTp1dwe8fMSOBFDJBB9FhhWDD3hmILADV4z73qMlXRQAf/nK0h2dyH+547diTTcSG8gX31J8SANBPX/tLQeLUl2pRcnDotLBohT5YKGND0f3dLmlH5hZXeuOI+qiIsZLjc9wBzHaF2hdXEvdRBZRK1j5vG3q3pkIR/WTXNlSOvaVKNV0H7sbNNuIp1EkTuIXY5nUs603MGLg/AXop5P3dP/dZkWr9vzrw5wR3Pd1/fVGtOfKCOjZ0RMVIPRAqlaoi76yV8eYKL14hbo9I20jqpD3MOnAKX7zE/5CIYd+1pvOr/CkgMCt/n/wUyATDxm2NyI1FtKOsEFjjCEnuXRZqyGiAz+KYWVBHVtpQv7lrTMbvae94/XZY5yevaRJ75DZejBrHTlp00k6tQchjjXCsuayK3FiOSWbGmPx7RNn/1ZAuEuEgh/yigtiEpj7hbY+slNDcX24TFJ1gLHYh1A4KUm0kofobCmSFNruB2cfc8NtmeHbzBQyf4unNqY3rALGLgkP/SgCaSvJ2iJ7wm32xWzSpmnbv8iirIxRtZJd5u2k3tz9D4xIncaM7jseIgpRtaXQ8eGKKm8e/+clHqsm5T9Q1tOFBefyfYZ31WGcyyY10zELlFG2Z6j/pug80XqPn6C3rezg4OzhkXkt81iaorb7a7bGkbw54puq1WK6L5oJWrHxG2OHXCv+DapW1ELsKqYfCm/MmplQZdkOkXgFdmzGZLem/q0s3CtgCPa2w8GgKlTRi+im8FWGAah98jWH+oJf3l6IjrO+4Z1XY8cCYH3NBWFMIOOjPyMC907b6yCimOYX94VrEkir3eXgtN5kkgrVgE1MxCx7Qyxi+fngJonScDHj+HlsGlHDkM0QCMUjKGdqN35qY9vkKst6Qb934TCAtha+yMCaBDdbCBxI7kavJDvo8BaL6jEzj5GeGLbfHynfb6PHFAl/6SYFQp0EZVfDUydik4aUvsH09Hm6rbsHBHCsH767fJwVlrSFyT5YkIQOcyPf26Qu7cx3kuM9QOnLUD36q8i1aHU+gwNmT4rbpxwe3U8XehW9YDcKc7bimicXTUqJvH9bbHiYOWVEFBNZTdOmRHAbHzG3zzmhIHEB01aaMzCBVtlIvNVnKJs4BQEmM/veQX02sFLwnBgKwknn7absWeCQpwqxUHQQd0lLSMRV0T9q0uOZdDypym8tnAuWKamAjEju+o9XnUogZGrlGTpwBQNuxP1IdubxFWGYewVsV6YKzlVv28BqVN/DRZgKkJ2YUqYMbAfv3nk2NWNbuagKQTeAJnvdxCa65LcieETGmvASvCsdYNsOWWU1HFX4OJ17zecaCWqTuXbi4xr8tb1hCGM25DiGwlqtWGAl5Aw0E5BfkwFAsbxCpODQ9y7DIMb9Hk81wK9iRguqs0haYy2i8v9CTAXf2GMSWeod+Ydx38OrDt3ZAyrOagpB2tY8hb2aEd2XG4DluBGNfIPGShdHwWqxwUYwCl9kXKBfypHZT5kkznHbCoyMRtRmIV1RuGR8yhqDT4b9UktgA6O/9gRb5tU9K6baetSn84nmtdfyTP6GFmb/RjsO8Ijfr3gROVxos4XYW/G7iIRvCnGG/WSbTYkbulA89dvbdV8kVni17iwqOohu414fYj0pIUveCotZPC3M/KxTYgpbw7n3cgpV4KSJNHxpUZ1iPny9+QJx0c52WRmxjoz9ayMc4R+98wsn84mJyiLikPlJWKUcG8ILm9g9owYwDF2OHbOMk5R+C5ttBcRwsXKPfUz+4keZob0yYX8aPvUiYV/czeyAEMIhm5OQ9wzxt1S33Bk3bcV0FmPMiDlMOOZWyR3W1c/o/AqbC/85tlTatHDiSsWBRdlGfYSgIeEleFopaSc29r2d7WzqcAAw9a3sOd7qF9XZSMA7uxAtbN71KeGyNnBjHLeqC7IL/IDnUVMpAO6KVmu2bda3WQjx8ci08aFyLvt0jAEVp7+vRKnA8NhA//ka0NZq0tj4yLXFeyupGX1ChC4CvhUoxVVPkYAwqj028ElWZqbNK4Ln1CICTj4GE6mJfgfhTc+8DSbCddWysmUmZJAQvrBdGVKlqOYD8qcVbq2wxXZo5dg8iBIo3DcFwX/kr7eGDQkwWkGKCt9N2aRMPzOdLK0OvaQt7RjMrV/aNq0TlGRTYSJaJLlz+O1IPFJ4aTbM8V5T96y+kgIfE1X5lvCRcm1sxRP27ZUczUTOaX6pGs6Zgomv/pFCosdv8HZz7pzQ6ZC3zMQVpy5HolgiuG4t/hOC/UL29kbf1hlqPsnKw+8osuT8hRTkI3TCFs9rBxsHxKkYudBURWea3wbT2BAaCbkT6QbtvPNfa7eSsP/qBBxOYp0B0a5R4lXqZv7PHFeM7BSV54CI4unD8SgbQB/L505EJvIHnPcMH5SM4NE2Dr7T4mXBOsGRJTdNpaLOqCCNm8aWiz9i6bgAvS2KOEVKKScjMh97YEOJ17WcKX9PV7nykv/RZoZhyR/QVaFzB2g5VKfJjIc+kge3mtUenZTxbpl6LsjxPE1TISN01MAVMYwY83oQRFpYmj0EfxxK6KzA3oCpVsEAoSFrjE6f/2NF2o28Ra/O4Ba9Gt2+u1oXNdO7rTQ/uB/Z/gimxbhgo8PuJbZuwrAfPu55+9QWY++Vgom7emZlsoRI2/ODCM30O8uN1H4sEJfjnQUfVZDeRx8BeNRE/KO4qnFoKAXR1BO7Nhyppmk2RwvhyT0Akz8OVJsXd8XNCz7jVt7WHgWBRLtH1Uw1abyKprYqlbyq0rMiPf4d7XmIHpRpvUj0+bI1ON73PowkcyE00G5UKq+YDuGvKxcSkidgsXh2cEskvtdDJ+ZG8Rt2sLnGN9xDnoff0ybUIi7S/uGyfSoqrVQbqfbGNl00j9Nl65y3ahDjpbvMTvD199aPyoNsFY2DnAx43utVFihdz/F3WF+brZkCa1FurflR9FV0ppHJI7HxHM3DPrpGyKXN2nzqmIK5Caih8qZxzppksVSqxGhfX0C1z7W7ABy0NrodFICkQ/dPXb03tL9hpJ9SaNKpKcUQtsUPnaQmWJIUGkMHHEtjbFJTRDYjZ3UOdGliyawt4f7F9RZGkNLiB7QGz0aEKavGz1TQBc/7FyB+zWGDXyEbobzqAZJawCsBcqEmAnJvTAbs49IHl7mYlE9LUam6Zas3+sj87IGzIEhc7/338iebJgjygPiQGVy0jn6Q1KayuEkxgcdLY205Y/wQj90UDSXN9gAIrczWO9SdgdKOXIjfsRDxBcjhsvq46vQhjS9K2ntCq72368LX0H+u+lWEVBaoKNU+41G/gLm+i3/mTjn5TYyGkbuOfM5E5BkSPZ9myiMn73lVPJwcQHpK27JhR5FCe4vAyP4ZfOVeSIcMgs5ayuVN3obwy8GQXGynMnvfnnfSvqTdoWxv4ApqNzuJfA0iEgrGTv/7/0Mz08H2tLJofqkKBrDWolXFuiVTaFahshO/sA+EKHc5iW+gtEzhE0iyzDBJp4kpkJO3tnUMtElk8a6MJw0k4JVOsHIdWz6xlWkXf+KiRPRcsoKBOzw/y+2CBMgZaC+ouc8TfkfrfHfmW2KYWZfxzOYI6pIiqviSQMh8koh4usWPHq2upBykgD+5iLSDHWwJvPvgSzPv51nsxpIPg4gs2wskAGg0/n/TYBNIo4WWEPL0MXVQu9x6wbk2GBs/vcJo0LVfLq7CJ3DsTCBioduGcgaUD8axuIt1ueIoqorA/0OukPoFGATVy49xw/rB+81pj2wg+axmpH3WCuemMAw1ZXRekvH0rNh/FOM+UJbD2ngsNKsqL5XN0QbsoOjoV8gg+07Gu6hK69rrXVK+PeKWySMggFeRYn7sh0uRVvbqA69kUjSmzciog1SMRqlR3Kx8NRwgbBkY4twmL39xMx1U9zyT781EOjlb3jX4boU0cRgkrPaCiPpRoA+nCJ0Fi87NwNmYAfKIp9Tt0JOOf4EEjg5M1+knhnS3RlBUcxOieJ0ZXXpJJuD3R/lmuQs4fjd9CeKy1/jtECQ+/nYHuz6Ct/5t9hSp/MWXwSI9VMSPussuER0DrSHsnrwEl94n8DrlxVpxSknobuBCjUvU93oNEbs1L8zOKYHdYknP05Xf69L8bt1bHnPRYA3ZxAG7lBT2svjg/jUDprKjJ2dksD8juu9saKuZmLLONAs8hfJsqTpcmJ80g7qmI4WgLngIV/sy+wvAqQAhYrRXVeZLFhSsw2Z7jX6DKtrHbP8mFptcEmuPVaLKjZMabY41PpjADKjVtSWs4RDWnjBAV3Q2EJk/Un2nFQcU+TmKeciFePsMq1Z9by7m+KP3Sptc2nLIj4OqK/RCtIvPPKQqQ+ydsSxmAkNR66b2SBgWtjidvPPdit5UcOIq9FpukPCZMc62FwRgXhDvWR09+M6xK2waHI7slkcmlIfywHB3P9YP8LuFhExvcVKmcJDT8p01L5ZpfVj+eTbu8X5MBF1gCAL7v+cCOapwGaET3BtW4aM8ff6zg423cfLfGVrBPadEEYB3zKkZFaeIxyT7T1sMnW5El/FRf9aIAXB1GbCqsxr44BJZf81pxsV6tY43vWcQlAvd3BgoDvn9RdvMFfqEiBi8SEqnwS+sc6aX+l7LAPn+98GeIVN6pyZT5Wa3Ai3zhAgfBoXxe6TliRfarWZjRwpO8wrK0abb6Paz7IRZ2ll43RdpabBn4wBy2YG/A1aSIi7dm5pSH+gBIscV6p8G2CRtVmqEASr677x2jyTAg4OOyM3PDgIZ9hWOuRpFeVcBVT6+yr/GRFKankjFwSvp3MPfqVV/MiAX308YRJm/x7+K3k4W/8UhAvQp3DE5hpyBbOS1VA3iNM7FHd8VikXEadGyeY6Hzn4ggC87w0Qz4AjcMT/m37vJ8ZHn0frmHX0yLGeFzx+/gM2Yp0YOvMaRIV73NP8KseMIC6SBUIc7fYhE6cGSID+ydH4reG0dwfGjSfGSb6XoOd3WvyplvLjwf4vP5W6/kIcBZuQ9FnSkcQ7Wf8utZYnXwtZUXKf5lIInggFNikywG98Do9nM5GEqyqYEWsZ0ODMfU7m4Eaevz6PY4IU4V3auuMTjsC/IwhECwQgOwpuaycb7pcndL8lKDk4kJsaRUOPCPEgfimd9xKZG5djyKVjvAfv+z8Jb0bT5rDv5SthFnCtf2Wb5d1MK9gv3JIeaGSEJww+H739ayt4EkKr/sQxvuoOlMz/4ObGN+Ul7Guc4z+b3KKRa1Gnur0B5GBOz9KfduXXoz795E1fo+WuznjRszSw8NdgHEDkjbCahRbbaxkr1t0TZ/1cCvyoYDzf9EfVciCKORpScpcmEMvGVLx+I+c7eynuC3+f2s35z05Iux3XoSnZdPzqm15tul+NEvHkzsG73g/rWzPAiGgAbsJOmvKERB+axr8mHANJNZdeMKlAIIUW9g0huYKoSii/9fXNLhvAsx2h9FCZZoFyRUhaxQhW2Lj9IIP/0jnQlNjWPlhybb8i6ThkNm7ojbnsNejr8agbJ11+MLT3vJ6lo9UukkTWeKwPqKs/olvClI9KTdoH5fZH+7PhKGOdKn98l0Xo906TjmZiFqorw3OTWCt5TtJDBVDske98YDj6ED/JZF6c5amNQYZhOChwKUPMVfTnDHRIkM9Xmeu9EXYh/3Q7wkyC4U2oCYKABVrsYcs9Hn99xbS17tAA+IyrZbJl7ilPhTfkuR+ofVSr2p+VRK7g6QSXE819/aoxOuVTo+dIIBebtCixwa+KSUaX3tOprkeO4bmX/6lBChm4CWfDsAWOuslWDOCapL3xyLUzL0cUn1vJAqcpsVqWStv6fE+OgaEhsu+3usbdyDgjIFDViAz3SO5zMPIBX+McGVloi8eLfpR0cVojRrByh+d6mogqUjDVozIDqVzTFXvVXTQsG5tB1bez4pdNAa15eagTj+iKM66xiA8Ow7xEyLUmrTy1RiJv2UWFIih14N7F37gHASqNtHymRiH4i2DCvV0aRO+JMVrVT50rBM7LP0tVeNJOP2gz29doSqhdQ2/kBQyVC2SoBtgveQ+9jOXzUYTMdDb/7zEBUPSZkUW8zFQqsJu8RKl8dGLaAMu3rCT7BXOBMZ3XpMjkGRC51sZTROGnd5PjZzuLVT48IOAB6TFSfdx1EHdybuXx5zu9tKc1CMRl4FurFivE3wxJ+SG1ad6jsjbEOfPw0y9stIRLgahfT+h1CTHBKMh2WpN84/Ajqedn6dA7X/tf5OwYVVFM81GSirMZD+l4vsUQDybGZ8MAhk9VjeMn3hFqlOeUG77aXqMAp82B+g6vhyOWO0C+WSJaRQLjodEdI6M0pMrDFipvplQNsiV+L6RNUm5nGEyIagJlA5Jwg5HAin4mWblyApDNWEIU1e0sjLE2ywj3jZmIHRdMrhcenVvNyseKS1d+D5SnAWj9pCDB3geHgViNa9T1l5SigbX+Nn+ctRWBe8Zk82OIscr1whRt81nXYoIRFpakLva/oirVEE6lUUqOJe8cmwU7/Uk1LWMu7l7w7lsUbh/KuR2zpD6hk9DEeyqSVP2OROEddXIyNls9GQml2+krLdEN0pe5CSoUGzCy9zKIhEJpn2MkAzrpLpDIprdADZPZ8f6+rIsSHX+tjyBQdEniso4CP6FOORD7Q+R8+AUwjSDqo6oXuA1sMCCpFRQrcQhq+e0BIvP8Y5dDXYFHxkLMq3zlcdckMlI9CHFcx+T9U8y9RYtwH2Vd20felodc8hrdX2bNkS8EhZAoZcAKhsQSdegwL+8T8RIj3bUcxsQHCmAgBqRzQw9EzJX7QQGhhRMPPfaLoNykvWVldS+h8/aZj2r3o/lND1gcNLmyes6sicTLRSoIEJnAiIVw1CXxU+kuJ6lSVZuOCNYt62z13B0dddMoVWioYk2K94WQQL+M5dGrlcMblW/YZhUqc747M0Vu7Kb4GQuD5tWFqlTjqPU+T0s0XVgfm715dqjoJ3SgbRvhKMaHIuc7xogtAuWRXMc3nJVSvLFJZsZip7dbITNl2YQfswxzsM9pXKf1LQdI3W/3J35Wqnph16G4Bh8opCrdy/i2zuc5Brq8LIuUvmCTVpeald1VYph/zEAE7gQf7vWw8c+VeiRuJalxg9zDeTI5lKFIOnMsEFpLR/4jvar3R7ncihvNS0OmJzWIUVFFpuo8QSaB7Tvjaa/L9JPJSzX1+0rMy/rFILvecHnYY5p3vvce3ZLhbapQ5+0KZezKGwjKZ0bq1KWyjbUrH09OJZsm8umirFTnrVT9LnKyiEbQAP+b0CeQlXedlF+pQlswE3DtVYPHxfNPaM0uO6LepTX8l+8hBgjDhgTPMLx52ex/QWXiPxCBA89sx3TF7OGx+Ll8Ojg86b94/VdcHtyFZK4R+O4EC8+eg3HlxgyRM4EEXMscKKwvVetIAtqgyyp2HFcjy2iV0PMFnRM7OTB3cdbQTwtMoqRwWgL1mdilPZvEdz6LtgN0bLzw7t7LB/asex+zQQUcNgQz43ALmsCLHMaTSlrHYsrTMvqFXn5ljYgV9UQfpBFjsvOIX0xN7zQ+nVtUENTNAjo5X336b6+JsOkAvpLw/td9sbaDPj0oSVVNA+Yxgv1YipgBKBD7CDh6DI7G69QdNta2b3Y7lvwh4fZM/X1dFT/C0vdGErPgW6DWrfsokKLW30hXSpzCEw16bLssm6IxjaLGz5Vw4c7m4rBhWE7oeYRHo+btSN/NczsIJK2ctFxenPgd4j5E85MJISkqjCvRFJtxvb1TpHJsOivV/6cJD0bh4J84uZNSX5Pfr/HrSfLDVk/621yAfDhwgMcB1iNWbAqgE8hRljnCoowLuNQNfExrlO568ExNxqF2LxcsN8OIAZP4oQn07m3Y895XTBrMDugE/Quc18/aVqLgWm+qyFn5iZ27u2cNjoNxUb/Wha9YYhIWSCeSOC07UNlz/VnSh2Tr7jNHvjYnTNG0sQwH4Q3DStDXc+7wh37GGlQeZxRCkVzxIGCNWFpeUDkQ9ruB2uL8oLT7038fEGyiDvvWemenBtzuiUu1Ob5CRJu2SsI+U6/l75EnZQ0OfM89VhLSA7cY1gQREsrY25fVAyVYgRHYWhUvt7qdwtYmPQAxpdOdgoSJzVnealchmROlrNCHpNM5s5IoXeq8fSYAo16sym45UvuSYHwBC84zvwY4B5nEEN8JMbSbMTetBpWaKmPaT7tKg4yRVNzC+GExR3mWpGIGOz2xBFVcQVBJnXwlhjHIDW7Tfm4hw6E1lIDp5zbg7WvQbcABzPhQYAwLNbpB16QgEE4A9+Dx3L26rx+bqpKkS/M8Mo4vNKFjLey8x3DkWlCnHJjmQi6JF6QTm1Uwuo/wDJCqXcQSl+pFvfOg6LSAYDKBqWGjccI+LI7/ASPIh15SYMwV2tT17+iDGD58Zji4e593pOVnW9xgQdjM7FCCBUM2WAwLRzXBL7H3BSvJhamkv+LkOB1A3D+Jb9Edz/twFCH1ERZFwSxo33oj2NMyrtlNRNUzStdm5ZUGryGSOsTIknKrdoYFOKa1QQ4fkWVZOkFnfLuglYCr/4Nw8mKhuO/5fSFXVl7EfXgrDuetiD3AfWCxiIIEy621Qat9/CwG6zxldla2uM5XmFbvrY7TTisooiu1lEulFXsrabgx1aGlOBhkZY3y2ecmYpAu5sAm7B+OguJaQuml1EfUtYG9culAF1sm2p+qHUaJT1mSxUMvnIvkbMyOqeBVMsP7hCTTEGGvWIu55ZKFrtuGYYymcbg3AK6QgNN4iXbWIujlJhZD/+yb2UUBZ/MZK3orywmGQ6/WMdJrRbjrs8R0gDmm4HrV58599RvXKBz6o/COeujpq7kUOlFwZyO2dxKlfXphSqi1l4uIGvrj3d6nqZcZ5f8UKZBeAEN2V08bK2YPh0XWeElhXk8OSNLEuW9KFKK/fx0NzWv+z1WkCEYuc9ilaIXr3MegDtn/D8JPdcGPJ89CjOcCKnPAGsRM4LI70leh8BuP5vjcMesowEoYEzjO1i6ThKzGfIaUyR4/kjCYfs/s2bTMyKgvIdnW2BRfIMkOk/AYE8med54v4XrPPMKX8aEe3cBK/XfGc07mL0CHJCjiU/dv8AIUfLJNhcgmE5UraE/cOLeToaVoB7mIGrp1MbmRLgG4FdE1uEWhEfrPv52nOA4pFxjj2FWiJm3VkusvQQXNIUQgiPUQKedzD6IasFNZuB+G9hCsjb0O447eofF3YTpBc82KxC0hGqxIOPq4r3Mp8vk8I+t5q/IPxVhS2LcOQROnd6F7fbSwvsYwi0E+HifgVfHc7LHADjduNFH+CGChmo7ly6zSLlGLWKrEtDZCiOxOQYEO5Uc4FJtaqYEtMbRIAAOMKZEp+hD5ZtqM2uV56mjjYyxQuqmA+y6BaTpJhGEg02tQF/UAM8TEb63vEzHFHh1jWhLWHQXgffL7sQUmrnW4vNjC/UKDHjSwG8QYPuARoMJYJL67Tl3k0qYK6GDQHXh4BOgHsOUDCzpDXtvB8bZASHdZ6OQoYk/5DGqNiPwYyCycZIQEhh/m2HLJuCpgN6Y2IJSL47E2p5Z1BtPqekMyp4kMs3nfFn9vIku/vh3kj81YmJhtGC1mrRRvilaA5V7Fj6+F4fCQYz8YQVDuF/az5K7sVn+2/oMo7PvpRTDBZN6wq8C9yI9UZiIAE8ZLnfBTMecge9COOYFeYNK3cyt21ZprvUERJtV94v4QFEoHP/8QfiWCQ5ASTvPU3534pA6wP2SIKTnAHaRx7rKb7+++cntQ+Mp7V/wLo+RCS29f7wxxstIPOSMrnHObq4OBA/CP/02awTcY/e2JLTo/HWrHnMBxj6Kr0XjZhK7QiN8icrhNaeuHx6YV5ABKgpYgB5zVfK0YdLj/drok1S1r95HY+cHLZAPo4hrbzdOphorrap8qY6Raey6JXHCsqoHuPjLoQHFVTEwIu88nzf/EL20Y8DN/PYlO/iWo0BsYx51BXRQXd9RLWJd/xQypp48OISbTP2mcsrT1ukuc4rqkPU998Rp4gvl9yr8wHlfvxiw0BmQfzm9v6pzwgSXIK+FzfcCosM83Er3y6c0TII2jvoaqit9jT6n9J7kKYaS3Z/pr/vvLJnv1jBRZskGydFE0n0kLP/fnhPKtQPOQn55MbkgZy1Mb7Id6LX4VnRmKgPnkE0Q8msUF58bATQ8I+f60ATHP+JqHW8CXN986hl3I2yD7WhFUFTrbY+RgkTBVL/pMiz/7IbhOxtdzExl1Emx0xhT8vhBwsYpYUKAiGuZ7R2BJgX8Rg5EoQ2XPdU0L41GBRw4Ny7Qyj70911A30TiQrmQzKqUSqDUz5zz9sInRyXZllyGE1WMkw3XkqfxNYjhu3QtqZeZShhxNjYIviwMKhnDHEvG6vZM9/pixiI/bzwqIfYptm371xl3AKu0Bn03V3OKe+e0cQKQrWSQnz74pUXXcFYQHLj4tBrFCoh61dEWAPkN5LxZfpErbYnwpqq3abG1WkFBYnJdvtrByKx4aamdM5jH8Nyi6DqDdHMwY+hep2abJieLdtiNiRYaZ+5gxB0+KTzCu0SrzyWw4qM7gVjWFZdLnpRhstqBEYzsUf4VSKN/wdcOTIDdAJDfwIwkoC0b5fdZOy/4b/xfV0lTM7zg4LXZdzle0lkMqCxZawiPrif5K5UROkzrI+/VurTuyvk51qXeNvZGjHS9g8P8Z5HlccGLHGH1fsMAT6zwDeb1cbJVUmS2Kdz8jYFzuacjRHzawrwfBHhl1ghBoZPcb8BqGrV7ZIeXMj/Dor0DZtzXC3Z+VievRDL1mWvt7BAk6V5YQkFFw+QL3pLvmRH1DKesaQ63yp9ykz3UusaTftclGo9L/qWeh7w+Q7O37f4/HHZHrW+hO12F/YTIP+NF8vab6ZhU0eyIEL9RJuE3FMN11nKKIOBAcN0qwf2CdpUBa5XfjtGQvrJuGoFyJ9VRqMiWwbK8sNRn8NIxrodPeVgnv60IkHTeG6mWXynmeKMdhblnwQKQHkfImUq7qRHY+atd5Fyjeb7+hpqzXrnLnfD+hd79zDJdtUt1xgNe7vvOdxTDGYGIYP07sJSE7vhLQeLdw02piyLgj/APDhzMABR+IVBja+Jkt45Jnmc2PcBzgrbb6BpD9KrbMPEVUNPPzFl1swCUyc1HN305VKSBi9BFA22BF+Z7QtzAea77BOuHlW9xp2prQWQxnS+54r+aTdKpKsOnp99Efg5c8TjLdfZ6EIxEYWivs18FuTCjgMHSezUVX81fui5UCntsCCcTn/aT+TXEOHNUTV8HPcQoO5KJGz10IW7mMIZeJl4L7MtP3Qm6urTkx76yqLkcTrkC/M3sAiFYm31S7ZWmPXlfRa6/RDjcZH60tfG7jUnWw5eNwyFTkJBObgilK6p+5xgTd83MMMo8qUI62mwuJOJWzbWMW85orYnbw8PHmCI0uzQmDQxV0bxUjWQA1sYRBnYEXM1t7hiDUaYSIwrU+gwLRtYoPQr0BdCPfcWkgaesxHhALl+wXDiaAEwTVe1IxDoAcOl/+uGdLfpITy+SLTLv1c+zhlcuakNxX2MYrhMXv9StgYfgd+3rSkFu001ErO1f7RcugB41Z4TxT3JPIvwQCl1TIVotfZkk+WsyZvKnWTHMq59d/IwL8Yep17uOU55t+P78QQ5man0ZlgbBnL5nm3zWuvrggz5hLryyHB8LnrDo5dYGsKNbZBhVLelgdqpr6jFVtgo9AwqTO3ibUigcdJie1RHeUR5yrSjCH6LU3e++CxKI+JD20Mf2zvKO2NWA9x8QJGyWTJwrSogyi5DFnJ6oHa5N8L5s0tX9QETGYFF081aYNIEOCCrtAJmcVoyUnfPvrVS7G+EinwNh4H7wP+DxdJMlspcSVgYFN06Ix8+hrPOKDljGDBWQaSl5TNEkcf0aqPo1RmpPnLEzlyQ97r+8CrixS2auOib2Z7UaZE76KWy9yV8S/uF75VFo31p97ODyfQ9JNBwemG+SOiQC/1p3BgzQmvSM8EX6fyH+ZESA2wzD76ArOEytULC0TTTYGuJMXhsIH5Qut5loxD5I1L/kbltRH4hFgYL+XK1NE6JNVmXWxOYW4RAYvvaOQLRyHcuxgXjsHjW5RbccqR2u+fy+PwT38hDBHkfGUPgLQiKxo9/XO8ViBtyTPr4ogaIsmp8EgA/DPvzCd+3CF43InzXy7eGfCfa7qDxktAYjm/P0hWLZ6OyafKSAgtMx0FHq0nPn/0AqK9QCqZbMxF/cGp6ZDAEZ8W3i3AYAiq8CSoJjo4EJmp7xzRltpuWtSWmfM0vkj+z0RJoFcg2UtHtvODK3wOJ19wdKHEmNm4ctnPodomwOKfwt3FnXCAUN+3X+UIgeOKPBFXUYRcINZ/NaqSPJ9PuNxip42W8coFYjMMf6ewdiLA4SgjlH2z+ltw3cKSiMttaJT+aDRLvEFExDJzt2F7OGDSc9V3BLlErQQ5sLx5bY5utGvCgQkF10M+kjsncDPWCe81NXXckl/ik5EdZMxrMpfSZ+YmNkHaAfsSWNkXO1GP5+qMe8IwsJpPJzN8DrUuxcS7yUR+rPg75nRRQglg5YONCk7nzut+RWkukoCoJL8Fx1Uvg8oBwn+WQTTf6GCW+Mm81xL8e4LWuM916bBmvpv3mgVykuJZDBjM0Lin562UiP2EYUxSGfhLCx45FHeG5OTzxNOFpaKXXV8XXS707ueVC8sHKXw7K7EVY76PvRuK9hSa6I5paSdZf7OkOyFWj8Cy93j/PvcmL5UTD1JfKkWVADhf/a1DBsSQJ2IEPlE+OKgIbZ7Cy4L0LHAebupTJ/YLwaMUfJXIsLJyoVdxKy7W5ZdsqX09TK9LTqDl6AKIzmzK+jeNjRdKfYkmaBYg3FcWrThzRkjjsb264fAHPykJNY2uh9eGeTzke7nTCWo4hgHHqKVApGq78qDxDik7Fw/m5t5n3cRL7M2OESjNb53ly+Fk22aCe4buMe0x6sO7Mh3dqTrqvLgbOE2z2fNeEVpdCv/GeTPgc1m4+OSf3JB/RBCrxvN9GUo+AdR232TxW9WHVwkmgDGucc9tT/0J0COHBHnldnbtWhfFN1nuSMr90IUlw71zyKZmWa7UdPrkpDsCvq0XJH59pEmivLHcbPJ1h9/7sfLOkYSdEl4rvddR52iuj7hQd+jF0fDczvLSn01oe1RnN9iPAbgs0FCd0OWnrXKGvk026bpnVBdtQ1mrarNfr+gv27UUBuxj9HxEyn1Crg6LfkKjpomEWJKPIvkXgAbkdGbPuWl6bfheyTSGtesVaM8GKuwPM7Vuowir8upOjhVs2SPQhqN6E1Zj2jd3l2rEd1GtorgmEBmcQSPoLTbKofOewEXMfM9q1pHufAMjnsCxdiDmZOojZRVYReQOFRJt3MzVNzv6XTe0+R8dwibmsVsReMg3zPJQOv6hR/s8pOkh65W+3fkPW8/T5kkFBfKuSfmGGQ9O+SAgDdPqCPw0hglQoBhQLHr5jmk3OgnCW4SxcniSD1/XQD2haW0PBYKR4eeh23bDqS9+joQi7dw43tP2Z/RG4G4WA4LKZii1gz0hZEQHN7T0PJ17aL5Y+5idCbaJcJ59Gi134blHqM8J6Gtaoc+Tw1ODHgaCjE2GTrpMlrC1nheqn4GEns+IMb221MDEaHi3bVM/z4r1wgUMU1n1k54y3SRc89j29/vMfS06PmtLYzR/JvzgJC5CuuaFAMyqlHnm4l6dMUlGRdlVbVGyxrDA9AAHXtQidtTy0zNoOwMfOKmh0vEHGNQ3W9X0IMzVIVhhTR2MvC6SSvEzfjy1snFMQzFkfYRF7cciseDvgnn6gqo+fFpm6n8CktusmIXBNO12ZcakVtyPRG4MtWojTgzVJ/MZgYoo3HSL94PHH7XHfjrbgRqbVSMVUQZQPL2FpK00NXVwLdv/qbi87Tcpu/AJ8VB8WZaMvBGoZxZOYKSc5eGhOzhOEk+MEksbQEwxwcp4KcbJ12lnB0koQp8F0Eah7cdPhzzd/pCkC2Pq7y22PPy+ysTji1WWlBMJ90XYNNW99DhtWXssLltTbIlmbGG4a0iMXrJBAOlEk9YUxEPYrOp9ioTh78i8eiR0zIJZtBhcwiEugXshAaIyeZrDXbt+S54v2Lyd1lnfubFiHxeH7fggUT/p2F4SYa0ddYd/4WcsUDHd/cO5HE/IFuOesyTuufj9Nau6Pd07dDVkNrIL6Q3eLW6OCLJUsdedQSn+41z6ypOUedXq57duC1sBWdyeaH4VRoqwSjGgaSNUVgpLfFkK9ApYr0+n6sDhFCWZjY3mQD635eHg/nDWhgTUadbIAGjubBV8mnT/TXtLkXgTFI1QWuwjtugnZwk7k62oUi67krqHQeWLZ1IK7MWbzxOaeGgnekP5NyPLIJCEGtnHanVnj3m/0eRD3T4EwJvTPjMiMAmvbWq+txCeDV4z95VXnpywJTK7iPDlvNIYbvsgRnDOBvc2ZPE7pVNjgdxirzymSRiYeVq15GQaQXtN8qLeTEr39xwuaoFgamN1KT4lTGBIh0oGLke9zGFpCyPArC73eT5TZ0GPHYGtBACS3MXtHqdsdF7ZdvxZWZlR9vqCwzY2qsvH52eLtaJEjVw90jT1TCNjq/rZoNDpz9SpVpe0aNpFBtjA0qgB84S/CB+7YUSjlSvfs6UnN31e0tz2H1der6Ej+4zmkQitFBWlYtHDcPK7yRqtx2plAVo643y0ZcaHTyxtZocwU5X7kUIDdtDickfYDLDKi1Kx/6vLPDoogwmPqk5DK/vT3OFZQXwfFJvHaULcqb+RmSFmgA/blzrJ7JrC6OHccTxMR0AZckiztsNRdP9WlFWJxrWt22FB6TkD2pQRmDzBaPyTbhxZCkjADUnJgTCYeUOwG7Wh7maGkoWI8BTbNtFsHLSKZs9ViYNjICM08jOCgvYadXEU11P4KCrX0RjwCrRfcdd7PB1g5ckVWMHGfMqC6eNi38Ycku+IlDxmLEer97CiSIWCecaQfyseNrlSwfAo0V2HxALcVY7tLcws4OYMGZ6NdiZVqWy+r1CSCenNuNbWDKwkZ3usmfFa/u84XEuDI6rg4Z5fN2DexXXGfoDhhPzwl3RKZ5CgEIqZMkce41jBxB9KxD/FFSyeJVkTGoqZ6foYEajB5LNUqoYDvRUanBajZDrm81F0cO4Yc+r9NutDuv8WNAViWpKMZPxVdhPaxlIs8nxrFvReWb5vAi1wUnTa6M1Bpn4syf+TXBNhJg9mMJcuLpX4OiZIzJ/A3kA5RGwbMcZb7AMUH5168ixhSlCasJafKrdzc0U7PwizojTfUodHGa2Zc0vojUwre/Q70KzO1NWbvSblnLhjpKVcZyeFZzLnkQcMPnmW85461EONvakvWvACrsablxwF0UlRq0wKBqXN9c8AI2e+Dh9sLnEsFsbp6IDt6i+Ll0Fvs2v1bvduqYv6Opx1x8VisroNQGCXWsfEpCR77vYG2bC58NKJGKx/k2dO8QAJvtejZZSsBpwiTazvZWPsEmV0312qeBkEGzihxBJccnQd6GRCxo5x102o6KV/YG6Pa3q2HrxjTVUAEyFzwivNwQ3JEbZ3izrVzqCaFCc9KnPy4qrSQo8zByAH9kEyxEyVUikOk1JsI+K/T/NC3VdqMcg5O+DvpvY128hH8mYh5dyxJ8bxiyW36BJ6M5NVGBR3uH63cABJDGweGc3yVgRro5Tr2xarm+9Q82GH/t48aB+vHX20eS/AjVN8DheQ7vDj43qGDAH30LGkQy8TkLN0PlhWBcEfPhci0EtcG820F4ezIafeCKh92gUivxWeFJk7j58HzfN59gQhgSrqeHr4BdflXQw0Hsy+6ZxZlJxoofQdl9oo2gsaaWf3KuQk9CfXEzGBuOGyGWMkBlSIfzjt3TjQoM6xn2q6+usXIlfHcSLG8TvubuVhr3yk2/HQnMjuyrumxujNCPKKgliF5SoN/8wzVRmYPxZTLU0frzr1iuQ6T/5pymi2BwBE8eDA4ijFNXEcAcecmdpBCeYX0tPrPaINq0m5LGpkCrThXpdKuDWcayRyPrngk2mUDA+fAtF0nIahnwT75pa8q0aLQJqALJhUCGKvVUtdK7viICl0EYp4PJ11/KazdlASJgZiNXk8kFd33D/gqzPHtHmLamgwGjRlHkzGSlGZXEVUQZ/lwIVdtx7maQhVqL/soH+iDcrsCH5MZZ374R72Ygwiix9OH7o8x8b4g3a7+Xuhb37eKJw2pZxUZcrWjG86kovtt9/8TwWCJOuz8/Jjx2M9KyA246RgWZVfT3DTDqXZn5I1vqtTQb/XCky/O1iYjw+z6r1aWYva608awcE4DLjlEH4sJpGfmRT6z80MZF35dJi3TLXhJ4ZLUC1tQT1irASulIfNVtaNfJjl9crpzV8kCShZLFfW0LbsT53KtCS1dlIehnP9gNIbgbD0+wtzSfwHT/qslwsZ+/Zg52AsEJ4TXQ4D3nD4DbtMd0/qkgirY58ML2A7nLc/rsqNyAzX04eIaPHSTEaz2pOMXm0XxdZDPUI2vJW1DlUzGb9CML9TLwJeTv6Am6c2ZSxL8n9i+grCHnZQviN2dzTgxg8a8u5gtX/IdRcBiGYoSq3dLrmty5NB84d8gIPok2qG6diQNU7YN94gSAN0MMbo2dMGlrfy/Rk2uYLEXDoiL3uSaJ7LbyaZwxOedK/0yNZ3zUAaQDsRvl2F8drXPctiLDEPZTrY39JuTpxSWPXPPDotZjVP6bZDobuSS7I196aQ649oHfi7OEJwbVsDag2ZX+NB+uog8WpGfO/IdkuZiII79DznQXyWCSYQKUbiauD0feXObpKJbCN35ziJHnK13XkHGvxrmtkvMjmLMvKAzxQBCvjVMI+34wTNraJEbAXfejbU072LLNSGiG3Vm1tBC9g72FZ+GEww6vGMfma28u9aKLJwNAvQPW4e7T15qVZzL0KUmNtaMxZmLauXHHReGLPzlxvIxUCIkRnXtHQsoVF//u4Yk9d/Ie7L4zfaWVKMHCsoM6Ef/3vdPmkSu5AFUZ2s1lM3TCKZOwx0QnjOPal0EAPKI505jk4TMVtG+UNxb6lv6tcynMnfKIC7sY1hNDT8YnNF3C+mPx1jm9Mhpk87qAEvR0/DjcYPKtv1bg3PRi/4YwxRu1YEmcMHfI/gMI9Ym4EMW7no4ftKVC9RGy/hT+eBUG5MjLa7qJbtd0AYY/yTphpzaZnYLjEbg9jz99/iVnXvTauM9BY9Mw/fZeyRf7nTMrg9X4LYfjbgSR9ufRzHeY9miXZWsOnEzYBA6kqwKm678dvjr1noqNOVSH4WOjtEtbTmxBMKzG80qPTa3SUu/FUogj233BRCn0aw/s6KoRji9ZCzxTJ8wneCIGWPqYobBJbWC2klc1jzIODN2U0qWZJdpnys+pB7KcxgLkN1/362epyY0QbBnS+4T/F+F5ZL4f70K+koDJIEpIRLl3DPX1hF/AhTIKyWBCL00T0chu6Kp3eXzG6uF5n/EBgTV+7WTRj3uRrORbAzr+RPNk2H5c2Id+hXzDFIZsJL+dWyjthOOZ7zHtEdhjqbIZfFfSRFn3zhC70zDtd89vv0k9fLgVqJpe0oC7Ny99G5KE/gxCNZDKdaF70lh9BAwHP3vI4LduQMWLDM2BB0Nz1qAjFZ9shd3rhImt6kwKa01Ik0w/Fs84iNW+8681lFJQbRTLnVp2wS8+EDPAfUnycdZIM0ptDL92+yxLmG4bHdb/XLjp6tGEhGVZX+13jJLLr9mtWjzWAvjm2qdqivZixBa7dfW4oGLlIZXetbb4tusJ8d1LoptglROxGPUka5R3X5o2xAvwyRwmuhdCoI2AT6Pvk6WxbR3zwuT8RktSgNq8X+cX/6Johf69uRHh6K6NZj2A+CETT7GEV9EQ/XMlX3dVyo/g2dxd53kB59jlBdx+beMhLLcDYrUflFIi1ZIwnP5xXT2k+0ih6fxTEJHDsxz0rrrzlFJAJCYudoiXYO0IdlXeTthUALpDZFK+40kEg8YcWtvylUVjnYykXu7VJ5LAV7kB3Kwcw8ed0l7VZ5YUBV0pZUmckoOtpH+5c03FkUt+RiwT+gfuk52wYJxJi1Nz8Hallc4YsFMrTCFUmXGOQ+0ZbeknFE0soMkdnITJf4Z/QJOEWyjfyyvYfQoFqztNQxxVXxI2YTU2hylqWC//i2Q6hRgbppFlsDvcmoap09TvDOyb881+LWmklHpgPzVVCOu2pC/RTxkLUr7GMPEFjMLgnYENkXXaDsqj470Qk9QNinHUhB9lD+Pzp/JFEE8t45gtEALxKj77l31r2ggeq1+a0TBZnJrd4Vg/uGl0c4U/+023vfOooZ5MnPjAlbdYBjvi1t6ZrucnKActmKEUIYtYljAT8T1YPx6RojAQnvwwVgHQLS+znXnn9t73o8fAZ0znn/pzzX46jb6CqDThGe3fFlEATEp7cYBIoWIzgHXQmGOtKvxlZTKF0p0HnafYfyVeZOL5rRpOx0PoAbXi4FlVHooY4xfHIlh98iS8BAykDtZMW3Qc5LATlQE3cYFqBpl/3l42h2ziIxKC1OLSc+W66Gz+gls2bug0p+cnd0x8En5nUWz2IooszQuRZjO62+zUNWBxiwCvXwLb93usCJAjtMllWgp7MixsHJuNFXZ1FSIZa8NOjTmUrcr5NXOH22IIY6NTdrJjS+4WfWlFFwZ1dKdscDjXoHn/MbVBbjrlSevOQ7sjywibvlvRy2O5Ullo4z7oOv61AQy28J8Z1g4QEsNJGNhHepMkex+3p0/ZTkBAgbNNRI07Hu1PoJF6APPiXCQ0WgBEqmPYpkFIyg0BMNmvzSoIerPDSLL+16Hvd8KD8hWoHLGSjW4Q1Ty/4BgoBP1VmfsjbjFEXXvLRny6wtUGDZgmx1hskPlMNsQQ2TqutFC0hRxsJ/h14RE6yaEST5OhoWKAV+Mxs5nnBOtEoYtOKugt2usLcNq7oW7Mc271/Ua2BObRagRL8rdk+K22bGUxptSaWgqUYSS5SPjdf26HiGk8/NC8V8AxwSMfWypzlVlx/tD6+K6JHkd0ne+rL6EpoVi7XBv4DYxXcWxFTvO4m4KQALaqWNeXZqCBunLilx1pht+7c9915SwLRo3JUkLWuDa1XZ9n+46RlebcSigXCaHsllyhyw7rTVjq7XFrfJqyMP8db8TdgdBxoTwubd+vtiARRE0TyKj2+Y2sTwaCmEpdxPwCLccAR9uVpjqBFjzxJijVV7u7x6hN0NFsRmdaMlyJDPUD+2MxHjXY5tqy3YT6f79x1zQI9hld0/mlw7Q4jbpj2PKPwulZASCTTnPVXT492ny//9pIIgMVb96A93eYLaVa2prP670LBG8Pk6iOGsm8W3ykiPRFgLUiDoxNLhDfvK2Vxineq2btYT7Rd1LTrihzeT2nJTaY0nZ3tNxDY6p57/SR1Xn4g1gBgLthgU0soFOiBPy9blB8keMM1Rys9r+D7wKi7gu3DdbWl7o+Fa/CY0QWjNiSFbg8JYGVtCQFKGUsxwgsLaqoXtGDejrlIh+9bu4WflcN6h34otnHtR6gtUI24p6CLIvjRyZoJFfRWJMdkFoic0xZz8UluRCCGZiy7H8aYs7gDWpTVMy20dppLIexAFwWuY5SGI1slk+sGrspN4wI5gBmP4qcHa4mg0LL05hVMbERo+u/l6RH8HlJPyyWqeAzJ+OwGAX9iimrTuvxMgvctD2v2pLBbc1CARXxhSoKUucQG58Njuvb9/jh3jAXEpOxN7sOGjFPA4Uuq1CAFuTynbVp2OZT72Wzvm5ORmENHCLCfj4Jqs2iBew1WB+IhicAdBh50aHllK+s5JfL48yFjWe1IXIYMEEevN5lHoz/M4t0iR5kfGZCK5kd0i8HrhjPmcDrukl4Re6kePe2GiNG9oTt8dwbnIcmUe+ER9BJqEhovjccIrUK7xl/9tR8ZrnY04apVIx8T/ERc4HLhwUSAJeefBX5b6mQSHsnSM4IZGDt3d4ncDIGUk58UEZttUAxd0nmk0kViT6tL1HMl/vcAosq8q7l/8cG4k4rfkKkdCqZM2iUvmjjtztC/XtZno0mvksw9MZb8rzKFIkuK7fzUuKawPcdyxm60TJsWYr4M9HYpYcTE0YanEy5HY+ZQum0rSYAgJ5EqRUUzNKdOo+eNAlHCEwe3PpOHIrWt/2CJSVUrEZHDWcvZB+Di4rO3UraNCyoAPqM2LEKHKlvtpFGs53EM3q9W5BiV8bfuBChRSLvsek13xrTWbk9MxZKbX/uf2VVxGzQsMig55Sl5+cvEhScqkrfd3s79fb573ZjYEGvsUk5ZvLCvoScwVTxpDI2iXrePFWL3WixEvJUU7/45Lc3q8vv8jI/pmeXKrcCYsR0xWcL34pMrRdFi90/WU12ExX0tmGQnDd62iU/0olrSXj7AQMOTZe7iZ9e2ZyCi0AjrKRgiHTGLDCAmD4y6T14LbIXJ01aT6T7VuhvgR7U1r+7kHYrdrdWerg8abpWrH5ewl4spAHODxHHdndT1XW7qvjr96RBRNxMWhwIWxna9cDrWoNBFihIqUJFsUNZJhDzfmeGPNWHkijQXe2zu30ZtOhnOq6JxU8rzyD1SqUV1L7DM2YiI8Po3BMDCIpgmspbEwx/DkzGpLgcVImocs+x8uLf4yA45Hh4QI2CWlop11LQTj8AixWyBdG86Be6OxLfMQbk6947+s5eJrTxxttfzZ7YsoH6T0j+ZKQjtYaKSnALbUr59jWZwzNRPlLErYDGUpKiq35PeVTIW2nsFmF9AYrY8GU2I7RuvSX3RjQvB5W058drsjr8zceWdH+5NlVRf/BcurNJtW6kziIMkQcKyRnCd5yyUBSfpkdDCQiHA/JCmztjY0XVkc2acTmh7xDE9DeQx5qYZuXCISGL1nVD+MUj4dmj3XL2qMR6QxX7KV7/hzETSgjQslftpB5e+mqIBtA9K6FH6T1LzQtHaWQgObOytJNDNyANtb0QYfsOOpObo2BPs7X+wlZfkQ6w87d+NkG7R0Yk/9p3SkgmC2GqoTjjPg12dgs9CMOeRToIPE5zQUCh/MNeZl5yfQg9bBzNdw+TvacCeX71BA1up/9xpnrs6PEzqiiKx+0CoPhrJzr/F9MDfvO50Gm0yX/Vt4gKM6eAUDe0rpxX29I9fcStsWdmTWe8ewAoGhB/JUCaYVwb1YzHlMF8z5cwZRcdW5U4RftiZcf205Tf9jyfR8SfsisYwbxMCdfbLRebs4MuQ5XOWwCUmmz3KzvMNTCfmehBRxo3WJjS77/v6NUr6HmTipjBzpsGfkQV9oJWEbPRRUcS+aB9DFD/STJ//o8Sbrm/DEJsbIJObT2/59NBMIzGi+S90RfrYfaRuVbJ+EyfMqjU8oatuUi+tQQqwpkhz7yPCSOgxY3N4R965qLJCX5UatLl9KAshaAmvg9V9Y9fP5JMqRjsfeKNAyHEva+X04ORCKXH9JXRcOlMJ+v2oV8ThDD+lQgqINX3948XjKG3GjXEQvxS7KS3a6uOE+bA4DfTppzrWRiQNX3+roojo5r87ul1h7G48uGSyCFzwDHbDMjJFX7XLnLw6z+h1MakKln9sFaLFdM/uc/M2FyhineuMEcDQYwroOc93Zp/KMI4BLAQky3xKOHeTG5flt37KT3GhI5L1FfDVkbm3MITzm2dSj/w4QR3nlh38rlEFn//l8TYgCiLqlZh2aMtA9YsqhtCtCMHtXphbAv4YoGsqb5xVwmw45YsUGAbzUaSOQcrZk93OfouwjwcG49HcZYhfvQea6QbbLzSnHnOUAAArHGXP2eDyngk2c9dwbtfyiWf/5V9Om++Pb8mOAnlL4Yj740rOiUbwHAVR9FNeamwOIO5wosoNexgNOkOwW1QLIIkjpIZrUv9cXpXEC4fi8mVYNBHp7ddOCU8SECMk42jTxmCRMocC9BRLbwV3mDdaXPCTSz2yLacow5nfPrGq7m/0UCt3oVto+MKHsFisgR9RrNxQBg/+tpEZzczDZZBYuQ3SAwgXVk90r8B43J2FdKkziHPHHKmaoWSlMqcMNoQ+iiOxy7tl2B8cigDwTx5TW5k/45Ffbyp8bH2vf5UEXumFpwllkQGLqaN7QehPIB9okT7l9PpHZCx8cx26Z0Qq6R52sM2voE34LwGv2Oe/vz7IC97THrsPBJU5uj3rSY7d+U9w9rKObj+FU4ZFUJ9rlavFr+T1zJCYnx6eHbwZ8tPlfAkaB/xiH6aGJ+IuvQ7tgKOFIrduIwvhPqOI4ytucW3IiVLFdxgShQxWuDiW1HtGTYJLBUBegoNiTQs8nvAasFxe73elyVyGBj+wv9xwg0eGCVAw0hDssslzZaczd7WWw8K7cF0lfNDBf/z1GEIQmnx45e/SVuT1OtDqokpvIxdicAC0ih13YYu0l6/F72V7bqRL8Gra1wRFIVmnpX7quR/mXXHb9fJMRW55DbvcE4tlR6IdYQeOO0AQXenS1dsKdCF2Zr+ryjCR4RU4Dx6+AE9yIScKBvSI3hzPuBaPXdmnoLgNvtVOBqOPHrwYa9HsVc/DMOhBiIcUfkXDAS1woWQ15q2cI4o4dR4FhNj0Ta4nEdulP38KO5BZ6P0acXWSPrlmKPwebslY5h8cXOytiDEPNKnPRrOoBhcZyu5p7lWdiLmM4HnHm3lKubGyFCTCKqD33+Iwm07Jno+Qy/g4cUjIlcyayy4OkrtPF2XC+GH9WtTOxJ9uxxA4hPorEDsqNeSRQ4QGmH3VleLZbBbT/+xnc6z5NX8IIpyRDA/br3W/GKmOLAz5Fy/xUXNrtMqzJbM8QV/QGhIZixU29qvesmn2GMEQ/cKo8xLdGt7DAiId2uF6QasGM6uKvDaQrIGKI3EtLlDLaGqxxE96056vaZrbJRznZ/citRqFty5SCZoU7Hzk9SLbRV7BxL6jQd//0cYmn2cQpRqnJy4Qv8xuwlkCDDbwqfnFjv/5tRtUWGjGLyxFgca3DX9Cg+diu4kpLc4HHUjelqM0+ArRrLIGkVvCAqzYuiVayHnPr72wOzL41VTOMFsDWNHOJ/NQ/UaE/+iGT7HFCeuBxKcElaf4n31m0sfdLTEvSQUgpXx6dwGLVe10ENZtIgKxaRUp/gvWdi54ORiQzP0/Au29K/hzoK4fw9sPvQNYQJQEVE+Y0sTm3+hg04Ge6Po78HTmBGuTKGrpV9Byyo449XhKVVWzhkwqmpqcFzD7YEflVx3f+NxOdet/6PGFX4ijpuSEnrc/OVXfLm+WlWlZ6O45DO2gyoZZDFsCLkY174g9d0mTBZQCJjaZFtmT8DEb294sQpXNGv4lyqhWxp9ImwAToVLRzcnJPNBpusO3I7cSOCUOq08UuV+USVA5u7XSRsVuPDWMOYJlFmNR97YK4SR2kZfxqnwcSPPSBBlsmGfl2j3oP7UfdyisPbFeF39/ipmZszO/k+a2nYPSghFyFRmF+WI0YpbqwX1JS9hv/0bNr78oeFHap3lcjmGMTXW1wicMdcVqz9NWEfTGFT3nxsfWK1hbPsyaxyhU7hFoeVdEz9uoQ4fXv6GiMplusn6h4HzT+gaxKoAlJv1x9Zms3hpOJRF9LPWqxNbASQtPojpqup/LETQe88ELy9xSVxlzVfo2WylmgfbnSDIGYJtn+2Xy7bPcErwrQJ4Nu29pPyLWcF3XeVRE047YwpTf8sHWigFrEhY/oGcrXlV+VWZ8vvTDwcNO4TFe5d7DMICGeuLE4Qlp3ldTxTlkXXw5oXKI4+ewQ1rNKgynGB+ZP7sot7T9B6c848hjrThUiMV/up7ze6hiwqjqJq8COtg6O6yc7rPNLBL3actxzdQRCwYvvmpkWfBxA5w5TgP57mOtsmEvel6Ts45HGXfZQgZRWTtJifyuxXmy+JjjKqIO1b2vyNb5Q8jxzm8+QWWQaWrVv3u+xSl9jD5cdw03WFMyfZvHBxRjK4d90L8R5JlVWg7esfjaXzwx1diFGezqAxgDSZsk2OZxiWbMypH7sQhtqCfiPj6S+AMlCEDK8l4xTSJRCEJn4HVP8bolH4FB9ivQ52JlUGaghVwyGE18XAlfvNeBHylr7s+djFsBvHd8DbLQRv79jj0VdcMC7QR9tHGkmckcKwq89KRfy5XE5f2Otzmj9AEA0p2U9smr9mcm1je5b3NEJvEoIGC1GkQ/ZNf+B7En6wd4IauJo7YMgy0fGOdtd418bA/M7btvy73cy00Gd3oNrnhhyD5J10em9OKwQ36XzqXMa7f1VUDaeVim0MNolX43iysrFWqyFRi+kH6R/nIy8a1tMUOEyQo7uY2Vn7X6ERBJ7LsQ5b1OebFskIqbTG01lNfnf8TMhiJPOZk3FHffABA7iCpFs+OvKitZyTVnsjL12hgXWyZbIwxXPqKhmzmAyOw/28kLIgb+oxaV2s9lwzwiXxtbfckT2UApADiyf5m2ZjzyvPOpcUf5se/OO9GkCLpNHAywKLg/uGQaxvF7Jlg58TTh3bTED3ZT4x1WQRPusGnQbW3OiLSxDdHlFW3HIaJJb/+o0fPUvtOF0K+xOZhif2HM0qKJRNBCWkA+9YmYMPdgJotNqUVYkuZ/KIlF7jD1gJccRt0h5jcp5JwrEwwuGfUa4Lg6GbVME24HY0W75k3HFhMgIIktBgKBLFXZAlVKFEWDR569V3WDyy4CrGD6JBerdeOBeZkFs19IfLhvxBE7GBuovxJe8iUzwLXZCBycMDhnLeBd5DTXS14MEFHTJB8encWePDgP/SJT2RNJ/l3WTD3JAJYc1VU6KZe+amBCqQgBRugyEcxO5Vme0tZAqVPxfB3rYNyBiwXi6IfzDcj5XPkhRCWF2dEWFwd8UW+ouBeTYFs6J3N+Z3K95RaWc2GcM4qlEamiucFvQukEmvYmx6oKTI8/aCu2xqowtIhmSZtJhnSXZVUxE3JlFYCld1CMRiCJMtHVFjlkW8TXzlHoh1rJpyWYeM7bExVBwnjOCgsoaPdHolyDa1H5hUdIce6gTUkD390jbEJG6WUvCrZZUDxu5ZQslnr0hf5W9GrbCyBnrO9B8Bise9CrejLul+qe4VWtabT32ErDAdsF0w4CW5YHWcLJZwVhD0HNcuA/2Fh+7Op/ZZ8CNLr5dXn5qq1D/4NiIBbLGpJ6o7jGeOKRI0HfE/GtsV3FXTISoOvkOHAnKhUI9efOpf1m+Nwe3a/aP7fi3t+rlpZumHeIA9CyHDlKCY8XYbMrFifiche1UFFTQufheZydIwB5fKQhfGKzj645dEb6ydaa6+skVx2JFwy8hLHSxQX12XbcSfTNModsdanyr8mPQZ+Jl/LnBH2wYnZAad8B8rZRW3hiUVCcgMPiVFtHwzqNJJ1ldmuJ2hXt0ARSEJTSiA7fLmhwXuBFA5reIXXi7zZ820TOnHOPE0dAyCIhNQ54DaXb4qbORhNUdc1gKj9NJ19RjGw+yrImo3aEJXk2OxCcyhUh97zgsln0xDFYX5ED6klayLV3lGsG/NSO6bMQO4OUVqDSxgozEgk7uF1g+WvZluOUe7iezvJHIn2MxdBoyUBUj4QWh3wQhRFBkojRUQwVuSqDHJLbbykxRdDT4MtDH2nw2HttGQWl2JdvRn+PpJzy8aHvWL2CD+3cexJIBbFCFambmU5Isc4spfPs1qrAUmlu5kyBDJFFxmt0g4TYxrjlUDiWx39XVt8QnfkmUQcs/Nd0dK9V3aJQvqdsy2kmjSiXoTx4gp5wciJuAUXlbZsctTA3I+z9Y4RDSowAsxW5qx28T6SnJvDjGyl4tToF/nkQJ3g7RwM+fBiKczDBBT7T9uFFfFhsEbrpqjJitb06gNsbr/TSSBbNfRn26FTumRSg8KyAOD3pXJCN+VgSXoOWsBOD/syz8Mhhh6oTMtfMsdYpfDheMtiAkXaEoJLPQQvHcL3D141k8yW91x7y07swfesJozDkRgZyCSp7+Ny9n5uyWJiVhRBuE0y4UTi/IP7YUOFcPI8E4Tlcg9g6b6UQbfnMmA6e5Jh5YobplYNxVd19BM3oZ0vr2mSD9zwCjQiFzbI8DUqdiIi/aqSV7J6duspOb8k52QazeBmI/FB5t2KAvD2GVBMaqisDY5bNZu7+lY89iZAUvW/jykF5f4OG0rsKtGXC91rOPW3mojkUtVqInWkL0WYfIGHBkiSV1Yn8AnPNEzq7j5DuwUNeiQf9GSrde2N1i7Wsj44yooRBUc4JatP+nkYPl1aEy2KynJDy1oDYIP4dedHUE0BFBxl0vJ7p7gNLfX+fyxTwKosGhHydynSkG0y6qehuT+TQ4SKvBeDNafwiqnAlP177IiCwwO0g/Ap9NvYHagZOBKZyKC0AyOF6NChk57dONwwXVHn1mQfu0xAAb38MbpOlk5UlNYYwWpBS6oEq/mbuayOrLXOfvTHJi5DUEzMW7f+U++seKRmGzAcjJAGZ3KupZg0V5h2bmCljrjBOa7zSvQEALVN1PD+4dzQQAf+sBGPLAzS9TPPiYRkR0vMXeuxJXo8fGo++B3omAnxD7gPxc7Wq7VcgqV+QaKrQIwDHszhbrGrnr7CIeaKU8bgvUZGJA7tnzf1eFXbyiUkYTdrTKN27OGut+Mwq87KsNJbvhKOv3UrNblu3VzW5GwsR7iRcJkWT8ExnmTj1LrYgGVBHbeegJv1jHHvM+Ntl6dGTCV4PeYAL5lglhgm0FozY5gwSEIRCjOF0ugTXspP++88NewChux+tBiZ81HvFlIhaM/fr4zNMQcaF9JN+p23iVhDOMY6avrP2Lz2GPg+I9mh3HMsY7jd6e1xofT/5dZOmLzR5eONfmDXqfuDRGnw07LYThCyaq3hcGwAjpHrxgi5T/jDwb3TJuOpJMKJM0iVXRug928UIDJ6hjQzEYsMNUbqunOo3XpeTBXLlP1xbrys+zL08PQlmrtqpf1ZYrb7AFL7UNL/GZvD9HaVa+r24AZ3D/WRiC2/VbDPMx5ekcEsHJNnrptDDUWw1QbYVJ5KRaWJUGGmgX0xNjQt8O+x8T62LAzzJ1yoIH6LBovi6ch0tO/jCZHt1DmUTMgO6VGSYi/aBnT2awD7WiDiJVnRFGU9EDZ0mtXRql3wtSfTa7G+5E7t3Vy5hFTZ2oWaVyUkH7+XqLmhM/I1CEbu1UaACtI66X3tn5p2UGbtGzt+Ct46WlXClO2nO88yQN8dTELqm6AuK320Dw2UTC1d/tm6Gxz/feYJTgsTkT4QyHWqFk1w7gqjWESfwsb5BctHN+kdrGKRGwARAG78A9HUc992u1roYUsOSzJamsPl7pT2iA6madKhomoL0jH8ZXGJludoRs3gA1Q/mRSi0uQYIMuChmtjiMT21642Q4ZDi/ZkuFOWGweu7giT4SOpP4ZNLq/hhzXvaYlCISgka+5wCmDW8ZpdZXv8p92cAkbYqGyJj8hiOhCMyOBzG5n4XT8Zyx+NS1isLpiqZ5GdkXKBXKj2C1zYRxodsuj+fhvXJd3sM4FnsM03o7fjEqDjDN8HnRLc3QTY5+Z8dCJ4tfeLnnmEWB+WwqkJ2OCJZxyj6dQjNf6Ip5yWn1ISi97KeCt+0C0lYyOiS5EZPJwK5OKHCNdtoyLDP9vFK6KOS2BYupLubUFOKsXDBXllICcHMMSz5llAlTWhp56EhCggkZitqt/NMedJnO+BpSxw7Q3y+MTIYPvKFsLhBeXw+sy+1k4FCmumCH8xnZ3IYKRLk5jSH+rwaIQdiJHzsK+2HHsXvOFwtvZHPdnJgBNrWboh4pCwr6rn/wHpwF4mVkTQi6Bp90bWs08gzPmD6vwbfE5R2UhG0pv6GJw3AzP9pTB1uiLlu/SXsSySW8fuywYFAHGHjJBH1CL2BcfeTdLsDSXNnRrJm7WXOW0mdD5sdCjbWb/uYOw14wlXs6fADMjk4GWO2COGPNvFvSAUzZ7XJjXx+VO2kYOZRBcmQJ4Mk7+sjfJ/X7qFaugCSug2FQ+UVEq0tSngzXs1bdQpEwTgT/vV/YkYhSaxc2GgxATTv8vb908H/5/SSnhv1EDJEn9WH7T6bOqtNYiSu9YC/GUCuP6HUDk3HbeMjell+Z2ha7sOU8zam8hTzCdsou1A6BtLsYG1fVQrz93QWgis8ltK68ZQBkHig/Fsn+8U/rLxF0Cl8TmRxbhOLLaK7zySw8QCZ9tbutcxrK1kexYViC/3VGwKtdhnatyXt+RrhIDZnuMCs7OtqY7FQjNeRxN5Kf7ZSDU+1vRNc5fLVIVkZ69BFVXvMl2b4t1/DBXCUlpxlzQPuVGwyheiVkdW03+vshnjl5ZSONe6p97gvxnb+x81HlFiVj2GF9cWyk7fRjBtBv0VdK+p1qeIgcOgWagMBSvJE+Fma8NQpBoiBxxZ5YzeKgQ+vhLAuOYUvwFjdMvi/v8c8lbiP/UiBjfEuHboxYQ95hfZ4Kpc9HiQueP+IxNcCEyM8fqs/DGZ0zAa7aQfyrnm0CRdxSHrOuM2/nQKapzHYJk2UfxvlgO9M5Y++1Kiz9gZJMcdv++9trA80/sbDbPd8XkKipCEkm/AmuQWCqFeXenTiZjMu/KBfVjdyiGKrii7PbncL33HkFDam+jAz1xSLtL0V4o5Zctgqo/XBuGzdu5ReY51ropoEIRlop8yDgEiBYRlVw5JU/zuo0E7eaLRw9x9K9HNU70qMGsEgamyPXz6sLfJnZq39VYxaXzR0pbMWAEEZdSsyWBph5hbMfSB9vZ0/U93ZcPrv2MDMjhwiECAoegP3zSYkCwauAcQbBlUze3UDOlrroybKqesXOcdXkq/caWIJCsZHis72llmBT3XuBim8aKt5dOBejAi/P+jTzPYclwfrnalNq1YT0EI4o0uPY5bAyaBh+Jv9Xi2Kw2FicncuSVCIXfA9lKsUDAnlCy1Ce4h1HI0/olLw67lt/kLOoOx6PWUoQFxJRsZnawgjl8w0kRbpEhWLcwIXF5Cxg4lR3yUN4v7+Cc8ZuCEjIxPL3vzbvF38TeH4w5b5LYWwJjbp5nH4VeTSbbuQU3G+z0GlgEaHE8FPuBRGiIR8Jod061L37CZXuwdN2CJH/Q9Ak9/6+rMUa4y7SOkWjtFCIz4TgYti4dHV4M36oztGmbz5FqJzwSNek4oTZkVZIGAlj64wC7okqbHbYPlfP10pxX4fiLS2BfXjpTfoF9SbcRrMQsKHYvF5Q+PQiTdfIUzYtpujVHp3NAWJabF28Ip5ZaXUNLQpzdo9sXY7vB/3+zLYT+Vpdw+cBzpQjRUd2VUt4tYcqXHcAyqFe2ZibuJIpa8MqBLbIla1rdlXOXQcfMc16JhyBxl4Tnct8ZvOxbblsLuszbxHa5bmWEFl83u8Xc//HZ0OHvW/yBvLvyF4c9GrgNyTiX82y/tgYB4wNV+9ZUT46tByg6HGENpI4qyt9YsBFjVs9JuQm+e9QTuIP15/kDNkVqSbNA7ARQhfzCATvbT5jGH1QOXv4u+d7AJPbHgzUKyC7tL0Xkp9QrjOM6nlIK5D9Duuh2MXYi5uMjbVW7i98BIBfnKVNJTS5HeraE/vPjgmlnTyRZI3WFoImS66PaYBHXMmAklTza+WBhEklcGBgDauiGDeBwMZQjQrcKYW+EytEv5NgsoBcXI+JlTGxkwBsVVzTJVdcdzgTekrMehsx6heRksnzAZhdxeS5kQ9Y5lcc7cNnZlcVwZZiDu6DJbRH2D/EH6O9cZSY9QqYgXfjBv2lO+kUak68iQCXYEIt5UcJ4ZU5DXzwj50OI29dKwFUsiEsWn+lI8NEX9Z7cj5jAOfVIgd3cImvSpqiWZK5+SGpD5MvsiKoulo40AIawftTnrbGv60bpYwnoPv1+7ZtH3r0AxyeeHTnGXeoyZsj5egS2HUe44Xk+FV5iY5APyXy1UeWI1ySEBZClyUGYj2tirYHm2ZHiQfQ2aW+uKH6jbnuPW8FJxy7vsDIXtiT1lz/eYM/2RR1McQGExXLRdNGamDyWQpHPXVW7gDe/ziyCwH9NEuIQG7zkZ+/0kwdUEsnied2+NKPA/zedu/KJYMyDHq88evzBZKn/z3f2KRTxWLFwD7H2gE42Wgx4E04C2ABNq6Y7l31Pwux3D+6kwal5h+F75cONT07tW2pDYbnnCpo5qqsgnH2Prqdh0yCnFi1N9GWKDCBCQerrc+SanlZmYp7z70yXBKlHq/V1/ZqCNciXN3iPv8H2HItiVDzFfbah3iII2iGs/clB2aQ10rgg5aZFwL7og2x/Whgdc8D8qLAg+CXZhvF++whJjy4QdGm3cmkZV274FcPsK0YdsdVkfneIhYLBriSoShZZXd4pq37+iqEGk16GFZlZnwpL+SVIlgWDdv7a0T3OvMPJiEIReB+PmkAQIhL1lNFfFNqTbiyWifU970YUdYk6kP3pC+LWVAoAbPvu2e41/UvGuSRGYFf8VQl1HO27lUTdZZopF9+S/n/C+bXaGTRi9DHO6lntd4R+S8aI8iYTp3yaYPeccvAXF5gGSda/FxO+cFA83qnrhCegHveGMWq8qRmNgCubZXpQi3wtRjlwUogB0IskvwkRrBlpaklNSIpLX5FTD0JPyF+Non6E9zlW4UVXGZnVL+/as6tP2lwA/hWoe1F7k0SZ9wFWE7cucjytk/zdIsvptwEwKbD6hSAUAtzHKZ8PV5wuC9gQsu7krIK1jk0/lAu47S0k5hyFzzk95YGrqinlMzD5CqrLitxJCV79pFfbNwJDVLB9TtPVt9b1KY27o1vrn4xeZLvphPc6dA4LNOmyF6qjO1KiwAr0RgwPko8sjUVmhW1s8bfEGE3pcUMYSM/betjM9wmsCEzbhmG2rc8/sjPPAaNZyuK/VTruoiINXMiYEpzGOFjXetNPwioWRTw++UqzafPA2BxROgfY1ggIGU3ozmdsU0pM4v5s69je+mnyqkTU1b1onQxLDRfyq+vBTeAyU8orMI7yx7a/lD+gnlZY+XqAt7IO+DCRAroSOcU1b6wrvactt3TLW9eNkh/VoAF9xpdIdGqbgNee+Hpwfq7kB3L/H3gWBno1T+n8LsgzBt6tkpEjgjgqFDzaET7jSJXKH0MQqXCp+8K4RNyz5eavASzIEAVA6u9UlxW1+za/ztxAS2oa59vLGQaf+duGGTSK+1f/JtXUOIqnSec2YzGE20LO78huXZsHTjCutEv8qoVqLp9HXzfPvusyG6QOZx3nXSj1Vsk7uWUvPkRewxivBdhCoMfRZqTH1vjNpalQgTM0sEJM0Stu/8AaepePtgnbSsOk4jZvYwSXj868cvao0A9+82W2uAneuDaD18UWsRQlwpWSFBf+IGRefYaZlPRC6bFDC/wELmJ5YpgKRBV7EhBsJhDO/DK6EplruVmvjVcF8lyumFWs3OgkMxOVY2uDtVV33qComhNEz8KWisu/ZcnuFbYQ6wKU+g9fIrr3tllKPmcUH+CP1jdifAaN4nE8gNq1DWe9UMxNgw5PaTEW0sNBpQa90P7NTLrd8yQ34DXytWgPdZaInct5ik+F2EY1p5mbcFu6y+hD4QCTQbD0m+Dyh0jLhn2hrd6vB51WJv/XVstvQz0ToJZZxUtzp83kGhj301SzU2fniqhLyMT3iXHy3X/Ur0wWYXhUIQv0i20YvqjneenKvqzSWfU35Yhy8mVuiLaF/7hYG/pUosbgQv584dFqNbsOkHY4ASPIU53v14U/S6uSe2Fdo4eB08ZPjEADcJ/Y6ajXg+NrKvFWQuky4LjRXV8vHOvTqmyi45qWlVqwqq7Hzn9IkDwR5kPLb0uu7J+dX7TWCO7h6oWvQTpT8P+mAQFBGqaCJnj0AefWUkaaZV8VCD7gDP/ztrzczjuiBtaONb5VQYjIozIFE+j6D8VGJ6vObgyLmW5OQXCue1kHMKpi8wS48rb8L1+WBiAH2ccLgnCe0sysdzu8eGfnQdgro+vMLx+9CyI023iyTKCQh8JjWeEZ6gARs8JE9qYzw//qZ9TsWrPg0m4tLU0GmIl2Oy5Lsi7TOLnNsfVenVHUwweF0dbf1xgkK8LXE9feH5PlkO+vffiBj+cfMgSbGxHupOWR0nuZ51Jic6AiInoTiEOb3wTXU4u4HKTA/0kN7iUSxnJ10xEydjHJRKhzVEfMwgfxuBy68WrGQByDktXcHbpmoiOrouglGnsEhI0zPizBM7sI64YlmM1Dn6W9qqnr94UbnxvyMeza5kFTT7E/feeIm8GHLqzWMek7gmot6r+oWcq5A7C/0IkIsklokwso2/bRRP8vy7Ci4X57gDFi9KtRduHxeb4SF0WiWEgT2VKaDCRiIbK4hIUMyO4M73bkzhixn0uwuQwDJpyGWC84Y3MgLNOn6P45erfrlG5Ltd/8xDglSHkhseA2xDhfbCW40QE314RMebmjdpkwN8stWOEGIgY/wabHe08KAJ+3DY0H9F4SAFow8VLDJb6D0P4h+MeNMtTbnzvuX9ZYwUA5QaHi/cYydv0Z2dtrXQyVNDBtFmfqBwd5ekrF3MGPR/ELfSczBNyper1mipU4ghoFzDIe7enXM6YAR3tC+uFKE0d9tgIGUmwl0AhNScAu2sc5Pnt+eUpUTTX0mboSrSv2aw5MMSW0FX4qdDRJ+96CQgMGZBdc1iyKaQRWW60BcWiIjawSzpFKEESoRK4JDcWU4IEmV3EPgd1xgtUnh5caIZcxtdc4eBJzy9XTntAo0zCGpCGCSs8Zc0J1sPEySP76wWMr4aXE/fb3qfjm8HK16TU+2z0413OZVOSSVWedGwu/C2appTEWTJC/OTOkLpUNw/eKjKMZaV2N1qjE/yXvKUp2fWVGG9h1l9REmWCKgUknZrPJ25K0e5Y9dTIJK+S+HyVbwgAlD+0Rwe5LTEYnC4jXT+8Xp/v0NbY7ag6m/ok57YUgAdtMs97FDeepCExI2Qg7LXCg+4e+Z2loAk3rRwfj9WK0oj2wI5xs0wkXEtkJi5BRRCjvMedm5JDFH2C/3RTibbULjB6c+EbPy94MupZOPwCUnYGRKl67KJCkK3e9GIRdaWD/13MPXA+x9tpKhhWGAZHVvip2TUV2ZLmSYORXSppO7AnCplO+Cs8LuDDWimggJum+a3KRQRlaR/pNQ435vinvpGE8XipMVhXGCc8aMzV2wdYRipgBXckkyMxS5yXmxFo2DTL8DJUAdh6LCmoTZJ86xgnbVGQh6cc/Fr/XJK/0uy7kljIt3ghJqPLIpoPHeh9qOe4BhxqPznfkab2KOjiarLETpq38hinjejmKTrNAmVS16V2mdQHjxxislHpAIfn9ta2oeMZB7mHIPBdJmdrigAR8nafI6Ms1ji5QHM4s4NoEV8reNS2BvSHVP/tK78VaTfUAkHbiVL4I9y/pQtNCGS2bGSctsFVGj2WKGGnqg3uUceKK7wPDPWxDDPz1K8PMHV8sE7NKztdvo+taRCeLKNbY0ehnyqORM9GkL9ZMfX0W3UIxnStGWKoO8zjByOhMXwbGYDsTzSixbOjcIznJNbn75rbxrp3MfV/a+sbQQREqTvyS4JydmoP0iT4xeOLsxcrKzdXUhTAm1s1rMn+DBYl6rnPHx3mWOOG5+nVJw2tFV/rwAE9uY/ZecTiWzjG2p3VYTxCkiNlWHECKbhJ/SisdZdwDJ1jGwLpvtUIcORzkkcpugPl8W+yUpiHKqN+zOvUo+S0MnML7DpVqBg8iBjPSGQz6p7gGv03RD5VOQYtcXM4N+kdqq4zQ2wxy4oQNua6CAaDi6d+Nietp0o4LRkL5CzamdmOgisSI4FFstgAWq1RhnCWWVDbwSrFje53MYV3pPvLpIAHfYJNWrLYvE9clzgcMI8BkMgCYdPm6Rb5QK5S6Ioju/N+L4pMVPPg1atVgV3dj0Q7bu8uwBzahPTszI+dqCwnAWh0epPAa3mFFh8Zp/LNMdSatK3IuZpWBgNzn5ZbAUv2bZw4FgTwVbDB7bwnn8TEijkEhz0DORv9qA2mIqbJFmhWNtusKMwG3sYvdctTlMoDW6Fy/+HZda6sVDbxF62S05pLqMc0bCo6YhNmrznCMNT5o2ltJ+WnFCWkh6m0tpnI/ZYE62wXJYQKZlQBQ+sgRS5t3Ft342t1OZdby8HK/OlLf7JXMnpJC+z5oHc+mVxkaVmJ6qscihK3q8X/LfFYfQphyuTVgPJ00G/4aVsFcfzifL6b+HFJ7EfBS08Wpsp3ISsvHrsaBRMPm4x1N7Cq3keMUpACKLfdOIb0CSVp6K/xLghkKPbklWv0Z+DY3UXbyx4KRduH82NcQBNlrikOORXaASDWm5V0Ei7O7Zi54Q0E5wh0mCZaWN6ZVLIsQ3v1u82L/cUwx6aqdSMEEb4zIu3YQF0wEj0mlVYfT1l+6++qACe7K9Lw8ftqHJL3c6EdqTlQNoNqFsY4VdjNTBaDZqZdJtYMPO48ZFeL2kf4yX20iAdRQIRO7D9BqUR+08uMM0lYYFtegPJG1SLI1Yuv45/aWWz2r0zk8B4mCoVlLAVFbJyUf5zQz7ocQ42CExoSM//Xt2X6MZ1BcPlNx7yI05hoVh0KMI4W513E+Qm8/FtO8CVUayyDPPe/NfyVNPFa9to7SyjleONkxwTe3rCMRlMe0rQkvimTV5MlnFVrn52yfJ8CFy3zIlXIE/doNkivTyPuv6SUB2ywtiliO4tTAr18ALdRNpDre0wNlS9TI97K5zAcbvyedibfMzNEhl7JnqWCjSBDEqUtxr/YGXdANhapwVtIbPKjMloRRRyl434G9bFyJnNZBAD7W1XT+CIUu6/D/tgdA54GPfmnYqk+ZMVKJK60AOQeVMVK+cj6qy6mMWSk1ejdrMlQJ7WSaOWkGnte/kZhRTGckFaTJ2as4sYn/lWJmzWNeCn8vZWDJ14/FCj2ynkHOy85D2fLMH7+DfvaOVu2qFm19QaGwUg5dS05IPsyzImSfrXTvpWk+uebAuoc2C4SY1YKslLCrYAo9rKZFA7FYdcdqkxduZ8ECOGoAhy96u9Sm4Lnlp8AwxXP1GhpV9W8JvS1wPq8XigoCi1DS9rSsUzuHxLxfz1zlLEl8dWaKRww+8SL9JPTeFDw19ghn1Ms6oxfuZlxn/JqTlng57L/sr0jy3ZpWX3ZPGXdWANkGJcV5CwFH1mOoqEgwrA3coygpHxu2knPoPR3EuhxfpE4BDPaNqBHU6pljKs12AghRJvLhar8oejiq1UrRDNzNxLBIyh6D+9sJb23N1Vh//aAyzDfGRiz15/2PnvethOqCOVjo/g+c+R1AmpFnsCJ+WITRGEk6WoSoyVNnZyffEnmOMgVgozzOuU4qazcXlBN44yg1VuTl0mndc1MBEW/iudlFk++LhNJjqn+exDnOaQMoxQMsOwt1Rm2ltr+/ftd8wHqti7cqeXLfXAwt7W/bNMRLo38TEaC9Uqva+xh0g5O2pmytS/JEKC3InM9iO/RuhCNeXDRLB7j9LPib6UwzOaQRwbc+MlI0qqHdj+PuD9JtKCE9G4eBs3pK3UN9QkbsTPsMVZl3HykPwT+jfTjuvjh+dk7UgNVpeWNqCtDnOc234YDsEu9Rmsp7sPn/ivLmPd9GY1E4+NpRCFu+pvjLzWKIp0/TeG3Lin4nbud9ThcfSMU1Za0WjXCD6dk0nKM1OVmxuPacilnft4p5088Ymm6Xiq4DX8tkMzgGDoqM8u1DdnYb4HhDg3ldB9Y/1wVgg8+E9UVzapmnM88ErnhktLyJ/SfnOe0KvTS9HL5zzUs2fZr+6bhPwAu6sG4v3Le3my6ZWcsJH1xLOqIPiaAIyViRmVuCwS3Dd1x4TQq1tKWUKaS1x3YpSxWtZv48rIcabA4/o0Olk3aOtiqOI1mI7w1Wb+X/eGQDLn9+0E8nnSKgyyf/cLr8KqExJWayLYGyi5XAdusiXi/aMI12bXcTvVx2Qy3KHerxqfuqsMcX7ZColY/tpy0D5ltIoNtPJzFK7KPvKYAWXxpZIZXRuSQwQWA4gSyIEYy6tWEJtYLgb4fPXb/KORDFuTB3KT2oLGxItzBckdx3EgbTO9fbRVrDIawKaG6Vm/lZXJGUbPKPUYYh9EchWccKQvdsuVwuS8ARVf8Sr5lOxTEO8mzu3BlLIhTJQ4JCXsvAIDQbDEZNnojNGQAQHwcimMOACYpz9mpPGMC2DTOvTT3qeZ6ZJ05FP1iCK8sFzw2vPgxt0rbULnxS0g/p+PFXzwDkOALj6XP4PUqLm4TZUkHb31AJ0kN6IwLntYwzl2Z/NCt1Zz7W/DK0r/alyPGiVVUHEalMsNTqpQ6oud92Jpz8aqFDlLrdMIQEmUMIq1P00gyZywSYzZdbxODmSqFeqYOIzDFDb4LKly7MtCKYOb/EQhcJozFlkxmUQs12TfVc4e9hsS5i70Ql+XfBERTvO66gpwGjK1oCML1GyP1ZS9FHRMu18m1mM6uwCkzD7ff9MCSDLMy1MlBSIgUZLiH76VzxvxXm8s+TcHN3Yj/Y+qDz5146ylmFJnirh3LepTdnyr6+FNdVRMsFCj/z6Y+MG4fJriUDr2VbaeLl6TvEZZkSz9eoaiCB9YIaOR4N0oDP5p5m4tDGQ9pzyzYLW7+unjKt+BZmG8AvpCU9QDclbtxXhQyrLgZPzY4uck11sznOhrNhIfl45qrf27e807p1RPwU69i5kjwTqyILhPd17DrqXE5CJ2Wg02Z3jPqL9ii7xy1vMw2G/f2XOHHIreyEefhFCDBjlmkyhOKRBd+rTdSPB54Nc0511y10bSAZm5W6iSt3+3zS9gjOL30i7mqbWfPW0RLY1417IkHB6OZXUg8xOaFkxaPTp4YV2ZqlORI9YSRS4l3Jloj2aqYKklIPZFaZTxTptuaeHd3tck3/1iMijYG0CH93TezCSejzU7P5dY8Z1lnh7Cf2hGUQsdBQr6MOG6VtZCkoVDuGmcB1eb3TXSEojFWIXJ5Jq6W1uR2HBhmJ+oS/XaIez+GdfEzWRCrT8dQjZog0qDw55txzt9UT71IJO6XTDjLPVXo2N+lp7cpT8XmKb+CvEpVuOBJiw+3GM3OmtCJDrjUUz6JQiAck46bp62qdrY4hXH5sdgaTQPTFiOT7lA3b5SYE6pBReccMzx5jlYNZav6hlgEIT4Nixc1bTzlvG51m4d5D/1VCxMKfRSCAbl66ZNh4saW+hQpzDjE0GiAs0GrFKY87g+IY/wxJIvqC0fbQwYV4U4y/84LmEJGEKcedDD/7wL992BuYYxtsOwi3IBbrf7g3Hrlv6iCvw72LMIUppxh1H" title="Mekko Graphics Chart">
            <a:extLst>
              <a:ext uri="{FF2B5EF4-FFF2-40B4-BE49-F238E27FC236}">
                <a16:creationId xmlns:a16="http://schemas.microsoft.com/office/drawing/2014/main" id="{C16DA018-1D6B-161D-5AB6-465A522AC2F9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 bwMode="gray">
          <a:xfrm>
            <a:off x="6340929" y="1788205"/>
            <a:ext cx="2474016" cy="4616030"/>
          </a:xfrm>
          <a:prstGeom prst="rect">
            <a:avLst/>
          </a:prstGeom>
          <a:blipFill>
            <a:blip r:embed="rId20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grpSp>
        <p:nvGrpSpPr>
          <p:cNvPr id="3" name="btfpStatusSticker719082">
            <a:extLst>
              <a:ext uri="{FF2B5EF4-FFF2-40B4-BE49-F238E27FC236}">
                <a16:creationId xmlns:a16="http://schemas.microsoft.com/office/drawing/2014/main" id="{86B05EC5-13C1-77E0-47EA-162FDB5AD39C}"/>
              </a:ext>
            </a:extLst>
          </p:cNvPr>
          <p:cNvGrpSpPr/>
          <p:nvPr>
            <p:custDataLst>
              <p:tags r:id="rId11"/>
            </p:custDataLst>
          </p:nvPr>
        </p:nvGrpSpPr>
        <p:grpSpPr>
          <a:xfrm>
            <a:off x="10102664" y="955344"/>
            <a:ext cx="1759136" cy="235611"/>
            <a:chOff x="-2269853" y="876300"/>
            <a:chExt cx="1759136" cy="235611"/>
          </a:xfrm>
        </p:grpSpPr>
        <p:sp>
          <p:nvSpPr>
            <p:cNvPr id="4" name="btfpStatusStickerText719082">
              <a:extLst>
                <a:ext uri="{FF2B5EF4-FFF2-40B4-BE49-F238E27FC236}">
                  <a16:creationId xmlns:a16="http://schemas.microsoft.com/office/drawing/2014/main" id="{0A3CEB83-3846-D327-36BC-36A21F657BAC}"/>
                </a:ext>
              </a:extLst>
            </p:cNvPr>
            <p:cNvSpPr txBox="1"/>
            <p:nvPr/>
          </p:nvSpPr>
          <p:spPr bwMode="gray">
            <a:xfrm>
              <a:off x="-2269853" y="876300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6" name="btfpStatusStickerLine719082">
              <a:extLst>
                <a:ext uri="{FF2B5EF4-FFF2-40B4-BE49-F238E27FC236}">
                  <a16:creationId xmlns:a16="http://schemas.microsoft.com/office/drawing/2014/main" id="{2307A4AF-66A7-A08A-EAA6-5014F9373FAB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69853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btfpRunningAgenda1Level385877">
            <a:extLst>
              <a:ext uri="{FF2B5EF4-FFF2-40B4-BE49-F238E27FC236}">
                <a16:creationId xmlns:a16="http://schemas.microsoft.com/office/drawing/2014/main" id="{0DA4E9CF-56D5-2FF9-564D-C4370B322E10}"/>
              </a:ext>
            </a:extLst>
          </p:cNvPr>
          <p:cNvGrpSpPr/>
          <p:nvPr>
            <p:custDataLst>
              <p:tags r:id="rId12"/>
            </p:custDataLst>
          </p:nvPr>
        </p:nvGrpSpPr>
        <p:grpSpPr>
          <a:xfrm>
            <a:off x="-1" y="944429"/>
            <a:ext cx="3007453" cy="257442"/>
            <a:chOff x="-1" y="876300"/>
            <a:chExt cx="3007453" cy="257442"/>
          </a:xfrm>
        </p:grpSpPr>
        <p:sp>
          <p:nvSpPr>
            <p:cNvPr id="25" name="btfpRunningAgenda1LevelBarLeft385877">
              <a:extLst>
                <a:ext uri="{FF2B5EF4-FFF2-40B4-BE49-F238E27FC236}">
                  <a16:creationId xmlns:a16="http://schemas.microsoft.com/office/drawing/2014/main" id="{BBF4A344-5524-5542-AACF-87D9A88836E8}"/>
                </a:ext>
              </a:extLst>
            </p:cNvPr>
            <p:cNvSpPr/>
            <p:nvPr/>
          </p:nvSpPr>
          <p:spPr bwMode="gray">
            <a:xfrm>
              <a:off x="-1" y="876300"/>
              <a:ext cx="3007453" cy="257442"/>
            </a:xfrm>
            <a:custGeom>
              <a:avLst/>
              <a:gdLst>
                <a:gd name="connsiteX0" fmla="*/ 942786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42786 w 1816204"/>
                <a:gd name="connsiteY0" fmla="*/ 0 h 257442"/>
                <a:gd name="connsiteX1" fmla="*/ 888066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1111101 w 1111101"/>
                <a:gd name="connsiteY0" fmla="*/ 0 h 257442"/>
                <a:gd name="connsiteX1" fmla="*/ 888065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89034 w 1289034"/>
                <a:gd name="connsiteY0" fmla="*/ 0 h 257442"/>
                <a:gd name="connsiteX1" fmla="*/ 1056380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289034 w 1289034"/>
                <a:gd name="connsiteY0" fmla="*/ 0 h 257442"/>
                <a:gd name="connsiteX1" fmla="*/ 1234312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1 w 1289035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1 w 1289035"/>
                <a:gd name="connsiteY3" fmla="*/ 0 h 257442"/>
                <a:gd name="connsiteX0" fmla="*/ 1457351 w 1457351"/>
                <a:gd name="connsiteY0" fmla="*/ 0 h 257442"/>
                <a:gd name="connsiteX1" fmla="*/ 1234313 w 1457351"/>
                <a:gd name="connsiteY1" fmla="*/ 257442 h 257442"/>
                <a:gd name="connsiteX2" fmla="*/ 0 w 1457351"/>
                <a:gd name="connsiteY2" fmla="*/ 257442 h 257442"/>
                <a:gd name="connsiteX3" fmla="*/ 1 w 1457351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0 w 1457351"/>
                <a:gd name="connsiteY2" fmla="*/ 257442 h 257442"/>
                <a:gd name="connsiteX3" fmla="*/ 1 w 1457351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1 w 1457351"/>
                <a:gd name="connsiteY2" fmla="*/ 257442 h 257442"/>
                <a:gd name="connsiteX3" fmla="*/ 0 w 1457351"/>
                <a:gd name="connsiteY3" fmla="*/ 0 h 257442"/>
                <a:gd name="connsiteX0" fmla="*/ 1710626 w 1710626"/>
                <a:gd name="connsiteY0" fmla="*/ 0 h 257442"/>
                <a:gd name="connsiteX1" fmla="*/ 1402630 w 1710626"/>
                <a:gd name="connsiteY1" fmla="*/ 257442 h 257442"/>
                <a:gd name="connsiteX2" fmla="*/ 1 w 1710626"/>
                <a:gd name="connsiteY2" fmla="*/ 257442 h 257442"/>
                <a:gd name="connsiteX3" fmla="*/ 0 w 1710626"/>
                <a:gd name="connsiteY3" fmla="*/ 0 h 257442"/>
                <a:gd name="connsiteX0" fmla="*/ 1710626 w 1710626"/>
                <a:gd name="connsiteY0" fmla="*/ 0 h 257442"/>
                <a:gd name="connsiteX1" fmla="*/ 1655904 w 1710626"/>
                <a:gd name="connsiteY1" fmla="*/ 257442 h 257442"/>
                <a:gd name="connsiteX2" fmla="*/ 1 w 1710626"/>
                <a:gd name="connsiteY2" fmla="*/ 257442 h 257442"/>
                <a:gd name="connsiteX3" fmla="*/ 0 w 1710626"/>
                <a:gd name="connsiteY3" fmla="*/ 0 h 257442"/>
                <a:gd name="connsiteX0" fmla="*/ 1710626 w 1710626"/>
                <a:gd name="connsiteY0" fmla="*/ 0 h 257442"/>
                <a:gd name="connsiteX1" fmla="*/ 1655904 w 1710626"/>
                <a:gd name="connsiteY1" fmla="*/ 257442 h 257442"/>
                <a:gd name="connsiteX2" fmla="*/ 0 w 1710626"/>
                <a:gd name="connsiteY2" fmla="*/ 257442 h 257442"/>
                <a:gd name="connsiteX3" fmla="*/ 0 w 1710626"/>
                <a:gd name="connsiteY3" fmla="*/ 0 h 257442"/>
                <a:gd name="connsiteX0" fmla="*/ 1710626 w 1710626"/>
                <a:gd name="connsiteY0" fmla="*/ 0 h 257442"/>
                <a:gd name="connsiteX1" fmla="*/ 1655904 w 1710626"/>
                <a:gd name="connsiteY1" fmla="*/ 257442 h 257442"/>
                <a:gd name="connsiteX2" fmla="*/ 0 w 1710626"/>
                <a:gd name="connsiteY2" fmla="*/ 257442 h 257442"/>
                <a:gd name="connsiteX3" fmla="*/ 0 w 1710626"/>
                <a:gd name="connsiteY3" fmla="*/ 0 h 257442"/>
                <a:gd name="connsiteX0" fmla="*/ 2023210 w 2023210"/>
                <a:gd name="connsiteY0" fmla="*/ 0 h 257442"/>
                <a:gd name="connsiteX1" fmla="*/ 1655904 w 2023210"/>
                <a:gd name="connsiteY1" fmla="*/ 257442 h 257442"/>
                <a:gd name="connsiteX2" fmla="*/ 0 w 2023210"/>
                <a:gd name="connsiteY2" fmla="*/ 257442 h 257442"/>
                <a:gd name="connsiteX3" fmla="*/ 0 w 2023210"/>
                <a:gd name="connsiteY3" fmla="*/ 0 h 257442"/>
                <a:gd name="connsiteX0" fmla="*/ 2023210 w 2023210"/>
                <a:gd name="connsiteY0" fmla="*/ 0 h 257442"/>
                <a:gd name="connsiteX1" fmla="*/ 1968489 w 2023210"/>
                <a:gd name="connsiteY1" fmla="*/ 257442 h 257442"/>
                <a:gd name="connsiteX2" fmla="*/ 0 w 2023210"/>
                <a:gd name="connsiteY2" fmla="*/ 257442 h 257442"/>
                <a:gd name="connsiteX3" fmla="*/ 0 w 2023210"/>
                <a:gd name="connsiteY3" fmla="*/ 0 h 257442"/>
                <a:gd name="connsiteX0" fmla="*/ 2023210 w 2023210"/>
                <a:gd name="connsiteY0" fmla="*/ 0 h 257442"/>
                <a:gd name="connsiteX1" fmla="*/ 1968489 w 2023210"/>
                <a:gd name="connsiteY1" fmla="*/ 257442 h 257442"/>
                <a:gd name="connsiteX2" fmla="*/ 0 w 2023210"/>
                <a:gd name="connsiteY2" fmla="*/ 257442 h 257442"/>
                <a:gd name="connsiteX3" fmla="*/ 0 w 2023210"/>
                <a:gd name="connsiteY3" fmla="*/ 0 h 257442"/>
                <a:gd name="connsiteX0" fmla="*/ 2023210 w 2023210"/>
                <a:gd name="connsiteY0" fmla="*/ 0 h 257442"/>
                <a:gd name="connsiteX1" fmla="*/ 1968489 w 2023210"/>
                <a:gd name="connsiteY1" fmla="*/ 257442 h 257442"/>
                <a:gd name="connsiteX2" fmla="*/ 0 w 2023210"/>
                <a:gd name="connsiteY2" fmla="*/ 257442 h 257442"/>
                <a:gd name="connsiteX3" fmla="*/ 0 w 2023210"/>
                <a:gd name="connsiteY3" fmla="*/ 0 h 257442"/>
                <a:gd name="connsiteX0" fmla="*/ 2191525 w 2191525"/>
                <a:gd name="connsiteY0" fmla="*/ 0 h 257442"/>
                <a:gd name="connsiteX1" fmla="*/ 1968489 w 2191525"/>
                <a:gd name="connsiteY1" fmla="*/ 257442 h 257442"/>
                <a:gd name="connsiteX2" fmla="*/ 0 w 2191525"/>
                <a:gd name="connsiteY2" fmla="*/ 257442 h 257442"/>
                <a:gd name="connsiteX3" fmla="*/ 0 w 2191525"/>
                <a:gd name="connsiteY3" fmla="*/ 0 h 257442"/>
                <a:gd name="connsiteX0" fmla="*/ 2191525 w 2191525"/>
                <a:gd name="connsiteY0" fmla="*/ 0 h 257442"/>
                <a:gd name="connsiteX1" fmla="*/ 2136804 w 2191525"/>
                <a:gd name="connsiteY1" fmla="*/ 257442 h 257442"/>
                <a:gd name="connsiteX2" fmla="*/ 0 w 2191525"/>
                <a:gd name="connsiteY2" fmla="*/ 257442 h 257442"/>
                <a:gd name="connsiteX3" fmla="*/ 0 w 2191525"/>
                <a:gd name="connsiteY3" fmla="*/ 0 h 257442"/>
                <a:gd name="connsiteX0" fmla="*/ 2191525 w 2191525"/>
                <a:gd name="connsiteY0" fmla="*/ 0 h 257442"/>
                <a:gd name="connsiteX1" fmla="*/ 2136804 w 2191525"/>
                <a:gd name="connsiteY1" fmla="*/ 257442 h 257442"/>
                <a:gd name="connsiteX2" fmla="*/ 0 w 2191525"/>
                <a:gd name="connsiteY2" fmla="*/ 257442 h 257442"/>
                <a:gd name="connsiteX3" fmla="*/ 0 w 2191525"/>
                <a:gd name="connsiteY3" fmla="*/ 0 h 257442"/>
                <a:gd name="connsiteX0" fmla="*/ 2191525 w 2191525"/>
                <a:gd name="connsiteY0" fmla="*/ 0 h 257442"/>
                <a:gd name="connsiteX1" fmla="*/ 2136804 w 2191525"/>
                <a:gd name="connsiteY1" fmla="*/ 257442 h 257442"/>
                <a:gd name="connsiteX2" fmla="*/ 0 w 2191525"/>
                <a:gd name="connsiteY2" fmla="*/ 257442 h 257442"/>
                <a:gd name="connsiteX3" fmla="*/ 0 w 2191525"/>
                <a:gd name="connsiteY3" fmla="*/ 0 h 257442"/>
                <a:gd name="connsiteX0" fmla="*/ 2377474 w 2377474"/>
                <a:gd name="connsiteY0" fmla="*/ 0 h 257442"/>
                <a:gd name="connsiteX1" fmla="*/ 2136804 w 2377474"/>
                <a:gd name="connsiteY1" fmla="*/ 257442 h 257442"/>
                <a:gd name="connsiteX2" fmla="*/ 0 w 2377474"/>
                <a:gd name="connsiteY2" fmla="*/ 257442 h 257442"/>
                <a:gd name="connsiteX3" fmla="*/ 0 w 2377474"/>
                <a:gd name="connsiteY3" fmla="*/ 0 h 257442"/>
                <a:gd name="connsiteX0" fmla="*/ 2377474 w 2377474"/>
                <a:gd name="connsiteY0" fmla="*/ 0 h 257442"/>
                <a:gd name="connsiteX1" fmla="*/ 2322752 w 2377474"/>
                <a:gd name="connsiteY1" fmla="*/ 257442 h 257442"/>
                <a:gd name="connsiteX2" fmla="*/ 0 w 2377474"/>
                <a:gd name="connsiteY2" fmla="*/ 257442 h 257442"/>
                <a:gd name="connsiteX3" fmla="*/ 0 w 2377474"/>
                <a:gd name="connsiteY3" fmla="*/ 0 h 257442"/>
                <a:gd name="connsiteX0" fmla="*/ 2377475 w 2377475"/>
                <a:gd name="connsiteY0" fmla="*/ 0 h 257442"/>
                <a:gd name="connsiteX1" fmla="*/ 2322753 w 2377475"/>
                <a:gd name="connsiteY1" fmla="*/ 257442 h 257442"/>
                <a:gd name="connsiteX2" fmla="*/ 0 w 2377475"/>
                <a:gd name="connsiteY2" fmla="*/ 257442 h 257442"/>
                <a:gd name="connsiteX3" fmla="*/ 1 w 2377475"/>
                <a:gd name="connsiteY3" fmla="*/ 0 h 257442"/>
                <a:gd name="connsiteX0" fmla="*/ 2377475 w 2377475"/>
                <a:gd name="connsiteY0" fmla="*/ 0 h 257442"/>
                <a:gd name="connsiteX1" fmla="*/ 2322753 w 2377475"/>
                <a:gd name="connsiteY1" fmla="*/ 257442 h 257442"/>
                <a:gd name="connsiteX2" fmla="*/ 0 w 2377475"/>
                <a:gd name="connsiteY2" fmla="*/ 257442 h 257442"/>
                <a:gd name="connsiteX3" fmla="*/ 1 w 2377475"/>
                <a:gd name="connsiteY3" fmla="*/ 0 h 257442"/>
                <a:gd name="connsiteX0" fmla="*/ 2646779 w 2646779"/>
                <a:gd name="connsiteY0" fmla="*/ 0 h 257442"/>
                <a:gd name="connsiteX1" fmla="*/ 2322753 w 2646779"/>
                <a:gd name="connsiteY1" fmla="*/ 257442 h 257442"/>
                <a:gd name="connsiteX2" fmla="*/ 0 w 2646779"/>
                <a:gd name="connsiteY2" fmla="*/ 257442 h 257442"/>
                <a:gd name="connsiteX3" fmla="*/ 1 w 2646779"/>
                <a:gd name="connsiteY3" fmla="*/ 0 h 257442"/>
                <a:gd name="connsiteX0" fmla="*/ 2646779 w 2646779"/>
                <a:gd name="connsiteY0" fmla="*/ 0 h 257442"/>
                <a:gd name="connsiteX1" fmla="*/ 2592058 w 2646779"/>
                <a:gd name="connsiteY1" fmla="*/ 257442 h 257442"/>
                <a:gd name="connsiteX2" fmla="*/ 0 w 2646779"/>
                <a:gd name="connsiteY2" fmla="*/ 257442 h 257442"/>
                <a:gd name="connsiteX3" fmla="*/ 1 w 2646779"/>
                <a:gd name="connsiteY3" fmla="*/ 0 h 257442"/>
                <a:gd name="connsiteX0" fmla="*/ 2646778 w 2646778"/>
                <a:gd name="connsiteY0" fmla="*/ 0 h 257442"/>
                <a:gd name="connsiteX1" fmla="*/ 2592057 w 2646778"/>
                <a:gd name="connsiteY1" fmla="*/ 257442 h 257442"/>
                <a:gd name="connsiteX2" fmla="*/ 0 w 2646778"/>
                <a:gd name="connsiteY2" fmla="*/ 257442 h 257442"/>
                <a:gd name="connsiteX3" fmla="*/ 0 w 2646778"/>
                <a:gd name="connsiteY3" fmla="*/ 0 h 257442"/>
                <a:gd name="connsiteX0" fmla="*/ 2646779 w 2646779"/>
                <a:gd name="connsiteY0" fmla="*/ 0 h 257442"/>
                <a:gd name="connsiteX1" fmla="*/ 2592058 w 2646779"/>
                <a:gd name="connsiteY1" fmla="*/ 257442 h 257442"/>
                <a:gd name="connsiteX2" fmla="*/ 1 w 2646779"/>
                <a:gd name="connsiteY2" fmla="*/ 257442 h 257442"/>
                <a:gd name="connsiteX3" fmla="*/ 0 w 2646779"/>
                <a:gd name="connsiteY3" fmla="*/ 0 h 257442"/>
                <a:gd name="connsiteX0" fmla="*/ 2815094 w 2815094"/>
                <a:gd name="connsiteY0" fmla="*/ 0 h 257442"/>
                <a:gd name="connsiteX1" fmla="*/ 2592058 w 2815094"/>
                <a:gd name="connsiteY1" fmla="*/ 257442 h 257442"/>
                <a:gd name="connsiteX2" fmla="*/ 1 w 2815094"/>
                <a:gd name="connsiteY2" fmla="*/ 257442 h 257442"/>
                <a:gd name="connsiteX3" fmla="*/ 0 w 2815094"/>
                <a:gd name="connsiteY3" fmla="*/ 0 h 257442"/>
                <a:gd name="connsiteX0" fmla="*/ 2815094 w 2815094"/>
                <a:gd name="connsiteY0" fmla="*/ 0 h 257442"/>
                <a:gd name="connsiteX1" fmla="*/ 2760372 w 2815094"/>
                <a:gd name="connsiteY1" fmla="*/ 257442 h 257442"/>
                <a:gd name="connsiteX2" fmla="*/ 1 w 2815094"/>
                <a:gd name="connsiteY2" fmla="*/ 257442 h 257442"/>
                <a:gd name="connsiteX3" fmla="*/ 0 w 2815094"/>
                <a:gd name="connsiteY3" fmla="*/ 0 h 257442"/>
                <a:gd name="connsiteX0" fmla="*/ 2815094 w 2815094"/>
                <a:gd name="connsiteY0" fmla="*/ 0 h 257442"/>
                <a:gd name="connsiteX1" fmla="*/ 2760372 w 2815094"/>
                <a:gd name="connsiteY1" fmla="*/ 257442 h 257442"/>
                <a:gd name="connsiteX2" fmla="*/ 0 w 2815094"/>
                <a:gd name="connsiteY2" fmla="*/ 257442 h 257442"/>
                <a:gd name="connsiteX3" fmla="*/ 0 w 2815094"/>
                <a:gd name="connsiteY3" fmla="*/ 0 h 257442"/>
                <a:gd name="connsiteX0" fmla="*/ 2815094 w 2815094"/>
                <a:gd name="connsiteY0" fmla="*/ 0 h 257442"/>
                <a:gd name="connsiteX1" fmla="*/ 2760372 w 2815094"/>
                <a:gd name="connsiteY1" fmla="*/ 257442 h 257442"/>
                <a:gd name="connsiteX2" fmla="*/ 0 w 2815094"/>
                <a:gd name="connsiteY2" fmla="*/ 257442 h 257442"/>
                <a:gd name="connsiteX3" fmla="*/ 0 w 2815094"/>
                <a:gd name="connsiteY3" fmla="*/ 0 h 257442"/>
                <a:gd name="connsiteX0" fmla="*/ 3076383 w 3076383"/>
                <a:gd name="connsiteY0" fmla="*/ 0 h 257442"/>
                <a:gd name="connsiteX1" fmla="*/ 276037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076383 w 3076383"/>
                <a:gd name="connsiteY0" fmla="*/ 0 h 257442"/>
                <a:gd name="connsiteX1" fmla="*/ 302166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076383 w 3076383"/>
                <a:gd name="connsiteY0" fmla="*/ 0 h 257442"/>
                <a:gd name="connsiteX1" fmla="*/ 302166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076383 w 3076383"/>
                <a:gd name="connsiteY0" fmla="*/ 0 h 257442"/>
                <a:gd name="connsiteX1" fmla="*/ 302166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236683 w 3236683"/>
                <a:gd name="connsiteY0" fmla="*/ 0 h 257442"/>
                <a:gd name="connsiteX1" fmla="*/ 3021662 w 3236683"/>
                <a:gd name="connsiteY1" fmla="*/ 257442 h 257442"/>
                <a:gd name="connsiteX2" fmla="*/ 0 w 3236683"/>
                <a:gd name="connsiteY2" fmla="*/ 257442 h 257442"/>
                <a:gd name="connsiteX3" fmla="*/ 0 w 3236683"/>
                <a:gd name="connsiteY3" fmla="*/ 0 h 257442"/>
                <a:gd name="connsiteX0" fmla="*/ 3236683 w 3236683"/>
                <a:gd name="connsiteY0" fmla="*/ 0 h 257442"/>
                <a:gd name="connsiteX1" fmla="*/ 3181962 w 3236683"/>
                <a:gd name="connsiteY1" fmla="*/ 257442 h 257442"/>
                <a:gd name="connsiteX2" fmla="*/ 0 w 3236683"/>
                <a:gd name="connsiteY2" fmla="*/ 257442 h 257442"/>
                <a:gd name="connsiteX3" fmla="*/ 0 w 3236683"/>
                <a:gd name="connsiteY3" fmla="*/ 0 h 257442"/>
                <a:gd name="connsiteX0" fmla="*/ 3236683 w 3236683"/>
                <a:gd name="connsiteY0" fmla="*/ 0 h 257442"/>
                <a:gd name="connsiteX1" fmla="*/ 3181962 w 3236683"/>
                <a:gd name="connsiteY1" fmla="*/ 257442 h 257442"/>
                <a:gd name="connsiteX2" fmla="*/ 0 w 3236683"/>
                <a:gd name="connsiteY2" fmla="*/ 257442 h 257442"/>
                <a:gd name="connsiteX3" fmla="*/ 0 w 3236683"/>
                <a:gd name="connsiteY3" fmla="*/ 0 h 257442"/>
                <a:gd name="connsiteX0" fmla="*/ 3236683 w 3236683"/>
                <a:gd name="connsiteY0" fmla="*/ 0 h 257442"/>
                <a:gd name="connsiteX1" fmla="*/ 3181962 w 3236683"/>
                <a:gd name="connsiteY1" fmla="*/ 257442 h 257442"/>
                <a:gd name="connsiteX2" fmla="*/ 0 w 3236683"/>
                <a:gd name="connsiteY2" fmla="*/ 257442 h 257442"/>
                <a:gd name="connsiteX3" fmla="*/ 0 w 3236683"/>
                <a:gd name="connsiteY3" fmla="*/ 0 h 257442"/>
                <a:gd name="connsiteX0" fmla="*/ 3404998 w 3404998"/>
                <a:gd name="connsiteY0" fmla="*/ 0 h 257442"/>
                <a:gd name="connsiteX1" fmla="*/ 3181962 w 3404998"/>
                <a:gd name="connsiteY1" fmla="*/ 257442 h 257442"/>
                <a:gd name="connsiteX2" fmla="*/ 0 w 3404998"/>
                <a:gd name="connsiteY2" fmla="*/ 257442 h 257442"/>
                <a:gd name="connsiteX3" fmla="*/ 0 w 3404998"/>
                <a:gd name="connsiteY3" fmla="*/ 0 h 257442"/>
                <a:gd name="connsiteX0" fmla="*/ 3404998 w 3404998"/>
                <a:gd name="connsiteY0" fmla="*/ 0 h 257442"/>
                <a:gd name="connsiteX1" fmla="*/ 3350276 w 3404998"/>
                <a:gd name="connsiteY1" fmla="*/ 257442 h 257442"/>
                <a:gd name="connsiteX2" fmla="*/ 0 w 3404998"/>
                <a:gd name="connsiteY2" fmla="*/ 257442 h 257442"/>
                <a:gd name="connsiteX3" fmla="*/ 0 w 3404998"/>
                <a:gd name="connsiteY3" fmla="*/ 0 h 257442"/>
                <a:gd name="connsiteX0" fmla="*/ 3404999 w 3404999"/>
                <a:gd name="connsiteY0" fmla="*/ 0 h 257442"/>
                <a:gd name="connsiteX1" fmla="*/ 3350277 w 3404999"/>
                <a:gd name="connsiteY1" fmla="*/ 257442 h 257442"/>
                <a:gd name="connsiteX2" fmla="*/ 0 w 3404999"/>
                <a:gd name="connsiteY2" fmla="*/ 257442 h 257442"/>
                <a:gd name="connsiteX3" fmla="*/ 1 w 3404999"/>
                <a:gd name="connsiteY3" fmla="*/ 0 h 257442"/>
                <a:gd name="connsiteX0" fmla="*/ 3404999 w 3404999"/>
                <a:gd name="connsiteY0" fmla="*/ 0 h 257442"/>
                <a:gd name="connsiteX1" fmla="*/ 3350277 w 3404999"/>
                <a:gd name="connsiteY1" fmla="*/ 257442 h 257442"/>
                <a:gd name="connsiteX2" fmla="*/ 0 w 3404999"/>
                <a:gd name="connsiteY2" fmla="*/ 257442 h 257442"/>
                <a:gd name="connsiteX3" fmla="*/ 1 w 3404999"/>
                <a:gd name="connsiteY3" fmla="*/ 0 h 257442"/>
                <a:gd name="connsiteX0" fmla="*/ 3565299 w 3565299"/>
                <a:gd name="connsiteY0" fmla="*/ 0 h 257442"/>
                <a:gd name="connsiteX1" fmla="*/ 3350277 w 3565299"/>
                <a:gd name="connsiteY1" fmla="*/ 257442 h 257442"/>
                <a:gd name="connsiteX2" fmla="*/ 0 w 3565299"/>
                <a:gd name="connsiteY2" fmla="*/ 257442 h 257442"/>
                <a:gd name="connsiteX3" fmla="*/ 1 w 3565299"/>
                <a:gd name="connsiteY3" fmla="*/ 0 h 257442"/>
                <a:gd name="connsiteX0" fmla="*/ 3565299 w 3565299"/>
                <a:gd name="connsiteY0" fmla="*/ 0 h 257442"/>
                <a:gd name="connsiteX1" fmla="*/ 3510578 w 3565299"/>
                <a:gd name="connsiteY1" fmla="*/ 257442 h 257442"/>
                <a:gd name="connsiteX2" fmla="*/ 0 w 3565299"/>
                <a:gd name="connsiteY2" fmla="*/ 257442 h 257442"/>
                <a:gd name="connsiteX3" fmla="*/ 1 w 3565299"/>
                <a:gd name="connsiteY3" fmla="*/ 0 h 257442"/>
                <a:gd name="connsiteX0" fmla="*/ 3565298 w 3565298"/>
                <a:gd name="connsiteY0" fmla="*/ 0 h 257442"/>
                <a:gd name="connsiteX1" fmla="*/ 3510577 w 3565298"/>
                <a:gd name="connsiteY1" fmla="*/ 257442 h 257442"/>
                <a:gd name="connsiteX2" fmla="*/ 0 w 3565298"/>
                <a:gd name="connsiteY2" fmla="*/ 257442 h 257442"/>
                <a:gd name="connsiteX3" fmla="*/ 0 w 3565298"/>
                <a:gd name="connsiteY3" fmla="*/ 0 h 257442"/>
                <a:gd name="connsiteX0" fmla="*/ 3565299 w 3565299"/>
                <a:gd name="connsiteY0" fmla="*/ 0 h 257442"/>
                <a:gd name="connsiteX1" fmla="*/ 3510578 w 3565299"/>
                <a:gd name="connsiteY1" fmla="*/ 257442 h 257442"/>
                <a:gd name="connsiteX2" fmla="*/ 1 w 3565299"/>
                <a:gd name="connsiteY2" fmla="*/ 257442 h 257442"/>
                <a:gd name="connsiteX3" fmla="*/ 0 w 3565299"/>
                <a:gd name="connsiteY3" fmla="*/ 0 h 257442"/>
                <a:gd name="connsiteX0" fmla="*/ 968435 w 3510578"/>
                <a:gd name="connsiteY0" fmla="*/ 0 h 257442"/>
                <a:gd name="connsiteX1" fmla="*/ 3510578 w 3510578"/>
                <a:gd name="connsiteY1" fmla="*/ 257442 h 257442"/>
                <a:gd name="connsiteX2" fmla="*/ 1 w 3510578"/>
                <a:gd name="connsiteY2" fmla="*/ 257442 h 257442"/>
                <a:gd name="connsiteX3" fmla="*/ 0 w 3510578"/>
                <a:gd name="connsiteY3" fmla="*/ 0 h 257442"/>
                <a:gd name="connsiteX0" fmla="*/ 968435 w 968435"/>
                <a:gd name="connsiteY0" fmla="*/ 0 h 257442"/>
                <a:gd name="connsiteX1" fmla="*/ 913714 w 968435"/>
                <a:gd name="connsiteY1" fmla="*/ 257442 h 257442"/>
                <a:gd name="connsiteX2" fmla="*/ 1 w 968435"/>
                <a:gd name="connsiteY2" fmla="*/ 257442 h 257442"/>
                <a:gd name="connsiteX3" fmla="*/ 0 w 968435"/>
                <a:gd name="connsiteY3" fmla="*/ 0 h 257442"/>
                <a:gd name="connsiteX0" fmla="*/ 968435 w 968435"/>
                <a:gd name="connsiteY0" fmla="*/ 0 h 257442"/>
                <a:gd name="connsiteX1" fmla="*/ 913714 w 968435"/>
                <a:gd name="connsiteY1" fmla="*/ 257442 h 257442"/>
                <a:gd name="connsiteX2" fmla="*/ 2 w 968435"/>
                <a:gd name="connsiteY2" fmla="*/ 257442 h 257442"/>
                <a:gd name="connsiteX3" fmla="*/ 0 w 968435"/>
                <a:gd name="connsiteY3" fmla="*/ 0 h 257442"/>
                <a:gd name="connsiteX0" fmla="*/ 968433 w 968433"/>
                <a:gd name="connsiteY0" fmla="*/ 0 h 257442"/>
                <a:gd name="connsiteX1" fmla="*/ 913712 w 968433"/>
                <a:gd name="connsiteY1" fmla="*/ 257442 h 257442"/>
                <a:gd name="connsiteX2" fmla="*/ 0 w 968433"/>
                <a:gd name="connsiteY2" fmla="*/ 257442 h 257442"/>
                <a:gd name="connsiteX3" fmla="*/ 0 w 968433"/>
                <a:gd name="connsiteY3" fmla="*/ 0 h 257442"/>
                <a:gd name="connsiteX0" fmla="*/ 1136749 w 1136749"/>
                <a:gd name="connsiteY0" fmla="*/ 0 h 257442"/>
                <a:gd name="connsiteX1" fmla="*/ 913712 w 1136749"/>
                <a:gd name="connsiteY1" fmla="*/ 257442 h 257442"/>
                <a:gd name="connsiteX2" fmla="*/ 0 w 1136749"/>
                <a:gd name="connsiteY2" fmla="*/ 257442 h 257442"/>
                <a:gd name="connsiteX3" fmla="*/ 0 w 1136749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0 w 1136749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0 w 1136749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0 w 1136749"/>
                <a:gd name="connsiteY3" fmla="*/ 0 h 257442"/>
                <a:gd name="connsiteX0" fmla="*/ 1305064 w 1305064"/>
                <a:gd name="connsiteY0" fmla="*/ 0 h 257442"/>
                <a:gd name="connsiteX1" fmla="*/ 1082028 w 1305064"/>
                <a:gd name="connsiteY1" fmla="*/ 257442 h 257442"/>
                <a:gd name="connsiteX2" fmla="*/ 0 w 1305064"/>
                <a:gd name="connsiteY2" fmla="*/ 257442 h 257442"/>
                <a:gd name="connsiteX3" fmla="*/ 0 w 1305064"/>
                <a:gd name="connsiteY3" fmla="*/ 0 h 257442"/>
                <a:gd name="connsiteX0" fmla="*/ 1305064 w 1305064"/>
                <a:gd name="connsiteY0" fmla="*/ 0 h 257442"/>
                <a:gd name="connsiteX1" fmla="*/ 1250342 w 1305064"/>
                <a:gd name="connsiteY1" fmla="*/ 257442 h 257442"/>
                <a:gd name="connsiteX2" fmla="*/ 0 w 1305064"/>
                <a:gd name="connsiteY2" fmla="*/ 257442 h 257442"/>
                <a:gd name="connsiteX3" fmla="*/ 0 w 1305064"/>
                <a:gd name="connsiteY3" fmla="*/ 0 h 257442"/>
                <a:gd name="connsiteX0" fmla="*/ 1305065 w 1305065"/>
                <a:gd name="connsiteY0" fmla="*/ 0 h 257442"/>
                <a:gd name="connsiteX1" fmla="*/ 1250343 w 1305065"/>
                <a:gd name="connsiteY1" fmla="*/ 257442 h 257442"/>
                <a:gd name="connsiteX2" fmla="*/ 0 w 1305065"/>
                <a:gd name="connsiteY2" fmla="*/ 257442 h 257442"/>
                <a:gd name="connsiteX3" fmla="*/ 1 w 1305065"/>
                <a:gd name="connsiteY3" fmla="*/ 0 h 257442"/>
                <a:gd name="connsiteX0" fmla="*/ 1305065 w 1305065"/>
                <a:gd name="connsiteY0" fmla="*/ 0 h 257442"/>
                <a:gd name="connsiteX1" fmla="*/ 1250343 w 1305065"/>
                <a:gd name="connsiteY1" fmla="*/ 257442 h 257442"/>
                <a:gd name="connsiteX2" fmla="*/ 0 w 1305065"/>
                <a:gd name="connsiteY2" fmla="*/ 257442 h 257442"/>
                <a:gd name="connsiteX3" fmla="*/ 1 w 1305065"/>
                <a:gd name="connsiteY3" fmla="*/ 0 h 257442"/>
                <a:gd name="connsiteX0" fmla="*/ 1473381 w 1473381"/>
                <a:gd name="connsiteY0" fmla="*/ 0 h 257442"/>
                <a:gd name="connsiteX1" fmla="*/ 1250343 w 1473381"/>
                <a:gd name="connsiteY1" fmla="*/ 257442 h 257442"/>
                <a:gd name="connsiteX2" fmla="*/ 0 w 1473381"/>
                <a:gd name="connsiteY2" fmla="*/ 257442 h 257442"/>
                <a:gd name="connsiteX3" fmla="*/ 1 w 1473381"/>
                <a:gd name="connsiteY3" fmla="*/ 0 h 257442"/>
                <a:gd name="connsiteX0" fmla="*/ 1473381 w 1473381"/>
                <a:gd name="connsiteY0" fmla="*/ 0 h 257442"/>
                <a:gd name="connsiteX1" fmla="*/ 1418660 w 1473381"/>
                <a:gd name="connsiteY1" fmla="*/ 257442 h 257442"/>
                <a:gd name="connsiteX2" fmla="*/ 0 w 1473381"/>
                <a:gd name="connsiteY2" fmla="*/ 257442 h 257442"/>
                <a:gd name="connsiteX3" fmla="*/ 1 w 1473381"/>
                <a:gd name="connsiteY3" fmla="*/ 0 h 257442"/>
                <a:gd name="connsiteX0" fmla="*/ 1473380 w 1473380"/>
                <a:gd name="connsiteY0" fmla="*/ 0 h 257442"/>
                <a:gd name="connsiteX1" fmla="*/ 1418659 w 1473380"/>
                <a:gd name="connsiteY1" fmla="*/ 257442 h 257442"/>
                <a:gd name="connsiteX2" fmla="*/ 0 w 1473380"/>
                <a:gd name="connsiteY2" fmla="*/ 257442 h 257442"/>
                <a:gd name="connsiteX3" fmla="*/ 0 w 1473380"/>
                <a:gd name="connsiteY3" fmla="*/ 0 h 257442"/>
                <a:gd name="connsiteX0" fmla="*/ 1473381 w 1473381"/>
                <a:gd name="connsiteY0" fmla="*/ 0 h 257442"/>
                <a:gd name="connsiteX1" fmla="*/ 1418660 w 1473381"/>
                <a:gd name="connsiteY1" fmla="*/ 257442 h 257442"/>
                <a:gd name="connsiteX2" fmla="*/ 1 w 1473381"/>
                <a:gd name="connsiteY2" fmla="*/ 257442 h 257442"/>
                <a:gd name="connsiteX3" fmla="*/ 0 w 1473381"/>
                <a:gd name="connsiteY3" fmla="*/ 0 h 257442"/>
                <a:gd name="connsiteX0" fmla="*/ 1633681 w 1633681"/>
                <a:gd name="connsiteY0" fmla="*/ 0 h 257442"/>
                <a:gd name="connsiteX1" fmla="*/ 1418660 w 1633681"/>
                <a:gd name="connsiteY1" fmla="*/ 257442 h 257442"/>
                <a:gd name="connsiteX2" fmla="*/ 1 w 1633681"/>
                <a:gd name="connsiteY2" fmla="*/ 257442 h 257442"/>
                <a:gd name="connsiteX3" fmla="*/ 0 w 1633681"/>
                <a:gd name="connsiteY3" fmla="*/ 0 h 257442"/>
                <a:gd name="connsiteX0" fmla="*/ 1633681 w 1633681"/>
                <a:gd name="connsiteY0" fmla="*/ 0 h 257442"/>
                <a:gd name="connsiteX1" fmla="*/ 1578960 w 1633681"/>
                <a:gd name="connsiteY1" fmla="*/ 257442 h 257442"/>
                <a:gd name="connsiteX2" fmla="*/ 1 w 1633681"/>
                <a:gd name="connsiteY2" fmla="*/ 257442 h 257442"/>
                <a:gd name="connsiteX3" fmla="*/ 0 w 1633681"/>
                <a:gd name="connsiteY3" fmla="*/ 0 h 257442"/>
                <a:gd name="connsiteX0" fmla="*/ 1633681 w 1633681"/>
                <a:gd name="connsiteY0" fmla="*/ 0 h 257442"/>
                <a:gd name="connsiteX1" fmla="*/ 1578960 w 1633681"/>
                <a:gd name="connsiteY1" fmla="*/ 257442 h 257442"/>
                <a:gd name="connsiteX2" fmla="*/ 1 w 1633681"/>
                <a:gd name="connsiteY2" fmla="*/ 257442 h 257442"/>
                <a:gd name="connsiteX3" fmla="*/ 0 w 1633681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0 w 1633680"/>
                <a:gd name="connsiteY3" fmla="*/ 0 h 257442"/>
                <a:gd name="connsiteX0" fmla="*/ 1886954 w 1886954"/>
                <a:gd name="connsiteY0" fmla="*/ 0 h 257442"/>
                <a:gd name="connsiteX1" fmla="*/ 1578959 w 1886954"/>
                <a:gd name="connsiteY1" fmla="*/ 257442 h 257442"/>
                <a:gd name="connsiteX2" fmla="*/ 0 w 1886954"/>
                <a:gd name="connsiteY2" fmla="*/ 257442 h 257442"/>
                <a:gd name="connsiteX3" fmla="*/ 0 w 1886954"/>
                <a:gd name="connsiteY3" fmla="*/ 0 h 257442"/>
                <a:gd name="connsiteX0" fmla="*/ 1886954 w 1886954"/>
                <a:gd name="connsiteY0" fmla="*/ 0 h 257442"/>
                <a:gd name="connsiteX1" fmla="*/ 1832233 w 1886954"/>
                <a:gd name="connsiteY1" fmla="*/ 257442 h 257442"/>
                <a:gd name="connsiteX2" fmla="*/ 0 w 1886954"/>
                <a:gd name="connsiteY2" fmla="*/ 257442 h 257442"/>
                <a:gd name="connsiteX3" fmla="*/ 0 w 1886954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1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1 w 1886955"/>
                <a:gd name="connsiteY3" fmla="*/ 0 h 257442"/>
                <a:gd name="connsiteX0" fmla="*/ 2055271 w 2055271"/>
                <a:gd name="connsiteY0" fmla="*/ 0 h 257442"/>
                <a:gd name="connsiteX1" fmla="*/ 1832234 w 2055271"/>
                <a:gd name="connsiteY1" fmla="*/ 257442 h 257442"/>
                <a:gd name="connsiteX2" fmla="*/ 0 w 2055271"/>
                <a:gd name="connsiteY2" fmla="*/ 257442 h 257442"/>
                <a:gd name="connsiteX3" fmla="*/ 1 w 2055271"/>
                <a:gd name="connsiteY3" fmla="*/ 0 h 257442"/>
                <a:gd name="connsiteX0" fmla="*/ 2055271 w 2055271"/>
                <a:gd name="connsiteY0" fmla="*/ 0 h 257442"/>
                <a:gd name="connsiteX1" fmla="*/ 2000550 w 2055271"/>
                <a:gd name="connsiteY1" fmla="*/ 257442 h 257442"/>
                <a:gd name="connsiteX2" fmla="*/ 0 w 2055271"/>
                <a:gd name="connsiteY2" fmla="*/ 257442 h 257442"/>
                <a:gd name="connsiteX3" fmla="*/ 1 w 2055271"/>
                <a:gd name="connsiteY3" fmla="*/ 0 h 257442"/>
                <a:gd name="connsiteX0" fmla="*/ 2055270 w 2055270"/>
                <a:gd name="connsiteY0" fmla="*/ 0 h 257442"/>
                <a:gd name="connsiteX1" fmla="*/ 2000549 w 2055270"/>
                <a:gd name="connsiteY1" fmla="*/ 257442 h 257442"/>
                <a:gd name="connsiteX2" fmla="*/ 0 w 2055270"/>
                <a:gd name="connsiteY2" fmla="*/ 257442 h 257442"/>
                <a:gd name="connsiteX3" fmla="*/ 0 w 2055270"/>
                <a:gd name="connsiteY3" fmla="*/ 0 h 257442"/>
                <a:gd name="connsiteX0" fmla="*/ 2055271 w 2055271"/>
                <a:gd name="connsiteY0" fmla="*/ 0 h 257442"/>
                <a:gd name="connsiteX1" fmla="*/ 2000550 w 2055271"/>
                <a:gd name="connsiteY1" fmla="*/ 257442 h 257442"/>
                <a:gd name="connsiteX2" fmla="*/ 1 w 2055271"/>
                <a:gd name="connsiteY2" fmla="*/ 257442 h 257442"/>
                <a:gd name="connsiteX3" fmla="*/ 0 w 2055271"/>
                <a:gd name="connsiteY3" fmla="*/ 0 h 257442"/>
                <a:gd name="connsiteX0" fmla="*/ 2223586 w 2223586"/>
                <a:gd name="connsiteY0" fmla="*/ 0 h 257442"/>
                <a:gd name="connsiteX1" fmla="*/ 2000550 w 2223586"/>
                <a:gd name="connsiteY1" fmla="*/ 257442 h 257442"/>
                <a:gd name="connsiteX2" fmla="*/ 1 w 2223586"/>
                <a:gd name="connsiteY2" fmla="*/ 257442 h 257442"/>
                <a:gd name="connsiteX3" fmla="*/ 0 w 2223586"/>
                <a:gd name="connsiteY3" fmla="*/ 0 h 257442"/>
                <a:gd name="connsiteX0" fmla="*/ 2223586 w 2223586"/>
                <a:gd name="connsiteY0" fmla="*/ 0 h 257442"/>
                <a:gd name="connsiteX1" fmla="*/ 2168864 w 2223586"/>
                <a:gd name="connsiteY1" fmla="*/ 257442 h 257442"/>
                <a:gd name="connsiteX2" fmla="*/ 1 w 2223586"/>
                <a:gd name="connsiteY2" fmla="*/ 257442 h 257442"/>
                <a:gd name="connsiteX3" fmla="*/ 0 w 2223586"/>
                <a:gd name="connsiteY3" fmla="*/ 0 h 257442"/>
                <a:gd name="connsiteX0" fmla="*/ 2223586 w 2223586"/>
                <a:gd name="connsiteY0" fmla="*/ 0 h 257442"/>
                <a:gd name="connsiteX1" fmla="*/ 2168864 w 2223586"/>
                <a:gd name="connsiteY1" fmla="*/ 257442 h 257442"/>
                <a:gd name="connsiteX2" fmla="*/ 0 w 2223586"/>
                <a:gd name="connsiteY2" fmla="*/ 257442 h 257442"/>
                <a:gd name="connsiteX3" fmla="*/ 0 w 2223586"/>
                <a:gd name="connsiteY3" fmla="*/ 0 h 257442"/>
                <a:gd name="connsiteX0" fmla="*/ 2223586 w 2223586"/>
                <a:gd name="connsiteY0" fmla="*/ 0 h 257442"/>
                <a:gd name="connsiteX1" fmla="*/ 2168864 w 2223586"/>
                <a:gd name="connsiteY1" fmla="*/ 257442 h 257442"/>
                <a:gd name="connsiteX2" fmla="*/ 0 w 2223586"/>
                <a:gd name="connsiteY2" fmla="*/ 257442 h 257442"/>
                <a:gd name="connsiteX3" fmla="*/ 0 w 2223586"/>
                <a:gd name="connsiteY3" fmla="*/ 0 h 257442"/>
                <a:gd name="connsiteX0" fmla="*/ 2484874 w 2484874"/>
                <a:gd name="connsiteY0" fmla="*/ 0 h 257442"/>
                <a:gd name="connsiteX1" fmla="*/ 2168864 w 2484874"/>
                <a:gd name="connsiteY1" fmla="*/ 257442 h 257442"/>
                <a:gd name="connsiteX2" fmla="*/ 0 w 2484874"/>
                <a:gd name="connsiteY2" fmla="*/ 257442 h 257442"/>
                <a:gd name="connsiteX3" fmla="*/ 0 w 2484874"/>
                <a:gd name="connsiteY3" fmla="*/ 0 h 257442"/>
                <a:gd name="connsiteX0" fmla="*/ 2484874 w 2484874"/>
                <a:gd name="connsiteY0" fmla="*/ 0 h 257442"/>
                <a:gd name="connsiteX1" fmla="*/ 2430153 w 2484874"/>
                <a:gd name="connsiteY1" fmla="*/ 257442 h 257442"/>
                <a:gd name="connsiteX2" fmla="*/ 0 w 2484874"/>
                <a:gd name="connsiteY2" fmla="*/ 257442 h 257442"/>
                <a:gd name="connsiteX3" fmla="*/ 0 w 2484874"/>
                <a:gd name="connsiteY3" fmla="*/ 0 h 257442"/>
                <a:gd name="connsiteX0" fmla="*/ 2484874 w 2484874"/>
                <a:gd name="connsiteY0" fmla="*/ 0 h 257442"/>
                <a:gd name="connsiteX1" fmla="*/ 2430153 w 2484874"/>
                <a:gd name="connsiteY1" fmla="*/ 257442 h 257442"/>
                <a:gd name="connsiteX2" fmla="*/ 0 w 2484874"/>
                <a:gd name="connsiteY2" fmla="*/ 257442 h 257442"/>
                <a:gd name="connsiteX3" fmla="*/ 0 w 2484874"/>
                <a:gd name="connsiteY3" fmla="*/ 0 h 257442"/>
                <a:gd name="connsiteX0" fmla="*/ 2484874 w 2484874"/>
                <a:gd name="connsiteY0" fmla="*/ 0 h 257442"/>
                <a:gd name="connsiteX1" fmla="*/ 2430153 w 2484874"/>
                <a:gd name="connsiteY1" fmla="*/ 257442 h 257442"/>
                <a:gd name="connsiteX2" fmla="*/ 0 w 2484874"/>
                <a:gd name="connsiteY2" fmla="*/ 257442 h 257442"/>
                <a:gd name="connsiteX3" fmla="*/ 0 w 2484874"/>
                <a:gd name="connsiteY3" fmla="*/ 0 h 257442"/>
                <a:gd name="connsiteX0" fmla="*/ 2645175 w 2645175"/>
                <a:gd name="connsiteY0" fmla="*/ 0 h 257442"/>
                <a:gd name="connsiteX1" fmla="*/ 2430153 w 2645175"/>
                <a:gd name="connsiteY1" fmla="*/ 257442 h 257442"/>
                <a:gd name="connsiteX2" fmla="*/ 0 w 2645175"/>
                <a:gd name="connsiteY2" fmla="*/ 257442 h 257442"/>
                <a:gd name="connsiteX3" fmla="*/ 0 w 2645175"/>
                <a:gd name="connsiteY3" fmla="*/ 0 h 257442"/>
                <a:gd name="connsiteX0" fmla="*/ 2645175 w 2645175"/>
                <a:gd name="connsiteY0" fmla="*/ 0 h 257442"/>
                <a:gd name="connsiteX1" fmla="*/ 2590454 w 2645175"/>
                <a:gd name="connsiteY1" fmla="*/ 257442 h 257442"/>
                <a:gd name="connsiteX2" fmla="*/ 0 w 2645175"/>
                <a:gd name="connsiteY2" fmla="*/ 257442 h 257442"/>
                <a:gd name="connsiteX3" fmla="*/ 0 w 2645175"/>
                <a:gd name="connsiteY3" fmla="*/ 0 h 257442"/>
                <a:gd name="connsiteX0" fmla="*/ 2645175 w 2645175"/>
                <a:gd name="connsiteY0" fmla="*/ 0 h 257442"/>
                <a:gd name="connsiteX1" fmla="*/ 2590454 w 2645175"/>
                <a:gd name="connsiteY1" fmla="*/ 257442 h 257442"/>
                <a:gd name="connsiteX2" fmla="*/ 0 w 2645175"/>
                <a:gd name="connsiteY2" fmla="*/ 257442 h 257442"/>
                <a:gd name="connsiteX3" fmla="*/ 0 w 2645175"/>
                <a:gd name="connsiteY3" fmla="*/ 0 h 257442"/>
                <a:gd name="connsiteX0" fmla="*/ 2645175 w 2645175"/>
                <a:gd name="connsiteY0" fmla="*/ 0 h 257442"/>
                <a:gd name="connsiteX1" fmla="*/ 2590454 w 2645175"/>
                <a:gd name="connsiteY1" fmla="*/ 257442 h 257442"/>
                <a:gd name="connsiteX2" fmla="*/ 0 w 2645175"/>
                <a:gd name="connsiteY2" fmla="*/ 257442 h 257442"/>
                <a:gd name="connsiteX3" fmla="*/ 0 w 2645175"/>
                <a:gd name="connsiteY3" fmla="*/ 0 h 257442"/>
                <a:gd name="connsiteX0" fmla="*/ 2813491 w 2813491"/>
                <a:gd name="connsiteY0" fmla="*/ 0 h 257442"/>
                <a:gd name="connsiteX1" fmla="*/ 2590454 w 2813491"/>
                <a:gd name="connsiteY1" fmla="*/ 257442 h 257442"/>
                <a:gd name="connsiteX2" fmla="*/ 0 w 2813491"/>
                <a:gd name="connsiteY2" fmla="*/ 257442 h 257442"/>
                <a:gd name="connsiteX3" fmla="*/ 0 w 2813491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0 w 2813491"/>
                <a:gd name="connsiteY2" fmla="*/ 257442 h 257442"/>
                <a:gd name="connsiteX3" fmla="*/ 0 w 2813491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0 w 2813491"/>
                <a:gd name="connsiteY2" fmla="*/ 257442 h 257442"/>
                <a:gd name="connsiteX3" fmla="*/ 0 w 2813491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0 w 2813491"/>
                <a:gd name="connsiteY2" fmla="*/ 257442 h 257442"/>
                <a:gd name="connsiteX3" fmla="*/ 0 w 2813491"/>
                <a:gd name="connsiteY3" fmla="*/ 0 h 257442"/>
                <a:gd name="connsiteX0" fmla="*/ 2973791 w 2973791"/>
                <a:gd name="connsiteY0" fmla="*/ 0 h 257442"/>
                <a:gd name="connsiteX1" fmla="*/ 2758770 w 2973791"/>
                <a:gd name="connsiteY1" fmla="*/ 257442 h 257442"/>
                <a:gd name="connsiteX2" fmla="*/ 0 w 2973791"/>
                <a:gd name="connsiteY2" fmla="*/ 257442 h 257442"/>
                <a:gd name="connsiteX3" fmla="*/ 0 w 2973791"/>
                <a:gd name="connsiteY3" fmla="*/ 0 h 257442"/>
                <a:gd name="connsiteX0" fmla="*/ 2973791 w 2973791"/>
                <a:gd name="connsiteY0" fmla="*/ 0 h 257442"/>
                <a:gd name="connsiteX1" fmla="*/ 2919070 w 2973791"/>
                <a:gd name="connsiteY1" fmla="*/ 257442 h 257442"/>
                <a:gd name="connsiteX2" fmla="*/ 0 w 2973791"/>
                <a:gd name="connsiteY2" fmla="*/ 257442 h 257442"/>
                <a:gd name="connsiteX3" fmla="*/ 0 w 2973791"/>
                <a:gd name="connsiteY3" fmla="*/ 0 h 257442"/>
                <a:gd name="connsiteX0" fmla="*/ 2973791 w 2973791"/>
                <a:gd name="connsiteY0" fmla="*/ 0 h 257442"/>
                <a:gd name="connsiteX1" fmla="*/ 2919070 w 2973791"/>
                <a:gd name="connsiteY1" fmla="*/ 257442 h 257442"/>
                <a:gd name="connsiteX2" fmla="*/ 0 w 2973791"/>
                <a:gd name="connsiteY2" fmla="*/ 257442 h 257442"/>
                <a:gd name="connsiteX3" fmla="*/ 0 w 2973791"/>
                <a:gd name="connsiteY3" fmla="*/ 0 h 257442"/>
                <a:gd name="connsiteX0" fmla="*/ 2973791 w 2973791"/>
                <a:gd name="connsiteY0" fmla="*/ 0 h 257442"/>
                <a:gd name="connsiteX1" fmla="*/ 2919070 w 2973791"/>
                <a:gd name="connsiteY1" fmla="*/ 257442 h 257442"/>
                <a:gd name="connsiteX2" fmla="*/ 0 w 2973791"/>
                <a:gd name="connsiteY2" fmla="*/ 257442 h 257442"/>
                <a:gd name="connsiteX3" fmla="*/ 0 w 2973791"/>
                <a:gd name="connsiteY3" fmla="*/ 0 h 257442"/>
                <a:gd name="connsiteX0" fmla="*/ 942786 w 2919070"/>
                <a:gd name="connsiteY0" fmla="*/ 0 h 257442"/>
                <a:gd name="connsiteX1" fmla="*/ 2919070 w 2919070"/>
                <a:gd name="connsiteY1" fmla="*/ 257442 h 257442"/>
                <a:gd name="connsiteX2" fmla="*/ 0 w 2919070"/>
                <a:gd name="connsiteY2" fmla="*/ 257442 h 257442"/>
                <a:gd name="connsiteX3" fmla="*/ 0 w 2919070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1111101 w 1111101"/>
                <a:gd name="connsiteY0" fmla="*/ 0 h 257442"/>
                <a:gd name="connsiteX1" fmla="*/ 888065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89034 w 1289034"/>
                <a:gd name="connsiteY0" fmla="*/ 0 h 257442"/>
                <a:gd name="connsiteX1" fmla="*/ 1056380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289034 w 1289034"/>
                <a:gd name="connsiteY0" fmla="*/ 0 h 257442"/>
                <a:gd name="connsiteX1" fmla="*/ 1234312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1 w 1289035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1 w 1289035"/>
                <a:gd name="connsiteY3" fmla="*/ 0 h 257442"/>
                <a:gd name="connsiteX0" fmla="*/ 1457351 w 1457351"/>
                <a:gd name="connsiteY0" fmla="*/ 0 h 257442"/>
                <a:gd name="connsiteX1" fmla="*/ 1234313 w 1457351"/>
                <a:gd name="connsiteY1" fmla="*/ 257442 h 257442"/>
                <a:gd name="connsiteX2" fmla="*/ 0 w 1457351"/>
                <a:gd name="connsiteY2" fmla="*/ 257442 h 257442"/>
                <a:gd name="connsiteX3" fmla="*/ 1 w 1457351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0 w 1457351"/>
                <a:gd name="connsiteY2" fmla="*/ 257442 h 257442"/>
                <a:gd name="connsiteX3" fmla="*/ 1 w 1457351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1 w 1457351"/>
                <a:gd name="connsiteY0" fmla="*/ 0 h 257442"/>
                <a:gd name="connsiteX1" fmla="*/ 1402630 w 1457351"/>
                <a:gd name="connsiteY1" fmla="*/ 257442 h 257442"/>
                <a:gd name="connsiteX2" fmla="*/ 1 w 1457351"/>
                <a:gd name="connsiteY2" fmla="*/ 257442 h 257442"/>
                <a:gd name="connsiteX3" fmla="*/ 0 w 1457351"/>
                <a:gd name="connsiteY3" fmla="*/ 0 h 257442"/>
                <a:gd name="connsiteX0" fmla="*/ 1710626 w 1710626"/>
                <a:gd name="connsiteY0" fmla="*/ 0 h 257442"/>
                <a:gd name="connsiteX1" fmla="*/ 1402630 w 1710626"/>
                <a:gd name="connsiteY1" fmla="*/ 257442 h 257442"/>
                <a:gd name="connsiteX2" fmla="*/ 1 w 1710626"/>
                <a:gd name="connsiteY2" fmla="*/ 257442 h 257442"/>
                <a:gd name="connsiteX3" fmla="*/ 0 w 1710626"/>
                <a:gd name="connsiteY3" fmla="*/ 0 h 257442"/>
                <a:gd name="connsiteX0" fmla="*/ 1710626 w 1710626"/>
                <a:gd name="connsiteY0" fmla="*/ 0 h 257442"/>
                <a:gd name="connsiteX1" fmla="*/ 1655904 w 1710626"/>
                <a:gd name="connsiteY1" fmla="*/ 257442 h 257442"/>
                <a:gd name="connsiteX2" fmla="*/ 1 w 1710626"/>
                <a:gd name="connsiteY2" fmla="*/ 257442 h 257442"/>
                <a:gd name="connsiteX3" fmla="*/ 0 w 1710626"/>
                <a:gd name="connsiteY3" fmla="*/ 0 h 257442"/>
                <a:gd name="connsiteX0" fmla="*/ 1710626 w 1710626"/>
                <a:gd name="connsiteY0" fmla="*/ 0 h 257442"/>
                <a:gd name="connsiteX1" fmla="*/ 1655904 w 1710626"/>
                <a:gd name="connsiteY1" fmla="*/ 257442 h 257442"/>
                <a:gd name="connsiteX2" fmla="*/ 0 w 1710626"/>
                <a:gd name="connsiteY2" fmla="*/ 257442 h 257442"/>
                <a:gd name="connsiteX3" fmla="*/ 0 w 1710626"/>
                <a:gd name="connsiteY3" fmla="*/ 0 h 257442"/>
                <a:gd name="connsiteX0" fmla="*/ 1710626 w 1710626"/>
                <a:gd name="connsiteY0" fmla="*/ 0 h 257442"/>
                <a:gd name="connsiteX1" fmla="*/ 1655904 w 1710626"/>
                <a:gd name="connsiteY1" fmla="*/ 257442 h 257442"/>
                <a:gd name="connsiteX2" fmla="*/ 0 w 1710626"/>
                <a:gd name="connsiteY2" fmla="*/ 257442 h 257442"/>
                <a:gd name="connsiteX3" fmla="*/ 0 w 1710626"/>
                <a:gd name="connsiteY3" fmla="*/ 0 h 257442"/>
                <a:gd name="connsiteX0" fmla="*/ 2023210 w 2023210"/>
                <a:gd name="connsiteY0" fmla="*/ 0 h 257442"/>
                <a:gd name="connsiteX1" fmla="*/ 1655904 w 2023210"/>
                <a:gd name="connsiteY1" fmla="*/ 257442 h 257442"/>
                <a:gd name="connsiteX2" fmla="*/ 0 w 2023210"/>
                <a:gd name="connsiteY2" fmla="*/ 257442 h 257442"/>
                <a:gd name="connsiteX3" fmla="*/ 0 w 2023210"/>
                <a:gd name="connsiteY3" fmla="*/ 0 h 257442"/>
                <a:gd name="connsiteX0" fmla="*/ 2023210 w 2023210"/>
                <a:gd name="connsiteY0" fmla="*/ 0 h 257442"/>
                <a:gd name="connsiteX1" fmla="*/ 1968489 w 2023210"/>
                <a:gd name="connsiteY1" fmla="*/ 257442 h 257442"/>
                <a:gd name="connsiteX2" fmla="*/ 0 w 2023210"/>
                <a:gd name="connsiteY2" fmla="*/ 257442 h 257442"/>
                <a:gd name="connsiteX3" fmla="*/ 0 w 2023210"/>
                <a:gd name="connsiteY3" fmla="*/ 0 h 257442"/>
                <a:gd name="connsiteX0" fmla="*/ 2023210 w 2023210"/>
                <a:gd name="connsiteY0" fmla="*/ 0 h 257442"/>
                <a:gd name="connsiteX1" fmla="*/ 1968489 w 2023210"/>
                <a:gd name="connsiteY1" fmla="*/ 257442 h 257442"/>
                <a:gd name="connsiteX2" fmla="*/ 0 w 2023210"/>
                <a:gd name="connsiteY2" fmla="*/ 257442 h 257442"/>
                <a:gd name="connsiteX3" fmla="*/ 0 w 2023210"/>
                <a:gd name="connsiteY3" fmla="*/ 0 h 257442"/>
                <a:gd name="connsiteX0" fmla="*/ 2023210 w 2023210"/>
                <a:gd name="connsiteY0" fmla="*/ 0 h 257442"/>
                <a:gd name="connsiteX1" fmla="*/ 1968489 w 2023210"/>
                <a:gd name="connsiteY1" fmla="*/ 257442 h 257442"/>
                <a:gd name="connsiteX2" fmla="*/ 0 w 2023210"/>
                <a:gd name="connsiteY2" fmla="*/ 257442 h 257442"/>
                <a:gd name="connsiteX3" fmla="*/ 0 w 2023210"/>
                <a:gd name="connsiteY3" fmla="*/ 0 h 257442"/>
                <a:gd name="connsiteX0" fmla="*/ 2191525 w 2191525"/>
                <a:gd name="connsiteY0" fmla="*/ 0 h 257442"/>
                <a:gd name="connsiteX1" fmla="*/ 1968489 w 2191525"/>
                <a:gd name="connsiteY1" fmla="*/ 257442 h 257442"/>
                <a:gd name="connsiteX2" fmla="*/ 0 w 2191525"/>
                <a:gd name="connsiteY2" fmla="*/ 257442 h 257442"/>
                <a:gd name="connsiteX3" fmla="*/ 0 w 2191525"/>
                <a:gd name="connsiteY3" fmla="*/ 0 h 257442"/>
                <a:gd name="connsiteX0" fmla="*/ 2191525 w 2191525"/>
                <a:gd name="connsiteY0" fmla="*/ 0 h 257442"/>
                <a:gd name="connsiteX1" fmla="*/ 2136804 w 2191525"/>
                <a:gd name="connsiteY1" fmla="*/ 257442 h 257442"/>
                <a:gd name="connsiteX2" fmla="*/ 0 w 2191525"/>
                <a:gd name="connsiteY2" fmla="*/ 257442 h 257442"/>
                <a:gd name="connsiteX3" fmla="*/ 0 w 2191525"/>
                <a:gd name="connsiteY3" fmla="*/ 0 h 257442"/>
                <a:gd name="connsiteX0" fmla="*/ 2191525 w 2191525"/>
                <a:gd name="connsiteY0" fmla="*/ 0 h 257442"/>
                <a:gd name="connsiteX1" fmla="*/ 2136804 w 2191525"/>
                <a:gd name="connsiteY1" fmla="*/ 257442 h 257442"/>
                <a:gd name="connsiteX2" fmla="*/ 0 w 2191525"/>
                <a:gd name="connsiteY2" fmla="*/ 257442 h 257442"/>
                <a:gd name="connsiteX3" fmla="*/ 0 w 2191525"/>
                <a:gd name="connsiteY3" fmla="*/ 0 h 257442"/>
                <a:gd name="connsiteX0" fmla="*/ 2191525 w 2191525"/>
                <a:gd name="connsiteY0" fmla="*/ 0 h 257442"/>
                <a:gd name="connsiteX1" fmla="*/ 2136804 w 2191525"/>
                <a:gd name="connsiteY1" fmla="*/ 257442 h 257442"/>
                <a:gd name="connsiteX2" fmla="*/ 0 w 2191525"/>
                <a:gd name="connsiteY2" fmla="*/ 257442 h 257442"/>
                <a:gd name="connsiteX3" fmla="*/ 0 w 2191525"/>
                <a:gd name="connsiteY3" fmla="*/ 0 h 257442"/>
                <a:gd name="connsiteX0" fmla="*/ 2377474 w 2377474"/>
                <a:gd name="connsiteY0" fmla="*/ 0 h 257442"/>
                <a:gd name="connsiteX1" fmla="*/ 2136804 w 2377474"/>
                <a:gd name="connsiteY1" fmla="*/ 257442 h 257442"/>
                <a:gd name="connsiteX2" fmla="*/ 0 w 2377474"/>
                <a:gd name="connsiteY2" fmla="*/ 257442 h 257442"/>
                <a:gd name="connsiteX3" fmla="*/ 0 w 2377474"/>
                <a:gd name="connsiteY3" fmla="*/ 0 h 257442"/>
                <a:gd name="connsiteX0" fmla="*/ 2377474 w 2377474"/>
                <a:gd name="connsiteY0" fmla="*/ 0 h 257442"/>
                <a:gd name="connsiteX1" fmla="*/ 2322752 w 2377474"/>
                <a:gd name="connsiteY1" fmla="*/ 257442 h 257442"/>
                <a:gd name="connsiteX2" fmla="*/ 0 w 2377474"/>
                <a:gd name="connsiteY2" fmla="*/ 257442 h 257442"/>
                <a:gd name="connsiteX3" fmla="*/ 0 w 2377474"/>
                <a:gd name="connsiteY3" fmla="*/ 0 h 257442"/>
                <a:gd name="connsiteX0" fmla="*/ 2377475 w 2377475"/>
                <a:gd name="connsiteY0" fmla="*/ 0 h 257442"/>
                <a:gd name="connsiteX1" fmla="*/ 2322753 w 2377475"/>
                <a:gd name="connsiteY1" fmla="*/ 257442 h 257442"/>
                <a:gd name="connsiteX2" fmla="*/ 0 w 2377475"/>
                <a:gd name="connsiteY2" fmla="*/ 257442 h 257442"/>
                <a:gd name="connsiteX3" fmla="*/ 1 w 2377475"/>
                <a:gd name="connsiteY3" fmla="*/ 0 h 257442"/>
                <a:gd name="connsiteX0" fmla="*/ 2377475 w 2377475"/>
                <a:gd name="connsiteY0" fmla="*/ 0 h 257442"/>
                <a:gd name="connsiteX1" fmla="*/ 2322753 w 2377475"/>
                <a:gd name="connsiteY1" fmla="*/ 257442 h 257442"/>
                <a:gd name="connsiteX2" fmla="*/ 0 w 2377475"/>
                <a:gd name="connsiteY2" fmla="*/ 257442 h 257442"/>
                <a:gd name="connsiteX3" fmla="*/ 1 w 2377475"/>
                <a:gd name="connsiteY3" fmla="*/ 0 h 257442"/>
                <a:gd name="connsiteX0" fmla="*/ 2646779 w 2646779"/>
                <a:gd name="connsiteY0" fmla="*/ 0 h 257442"/>
                <a:gd name="connsiteX1" fmla="*/ 2322753 w 2646779"/>
                <a:gd name="connsiteY1" fmla="*/ 257442 h 257442"/>
                <a:gd name="connsiteX2" fmla="*/ 0 w 2646779"/>
                <a:gd name="connsiteY2" fmla="*/ 257442 h 257442"/>
                <a:gd name="connsiteX3" fmla="*/ 1 w 2646779"/>
                <a:gd name="connsiteY3" fmla="*/ 0 h 257442"/>
                <a:gd name="connsiteX0" fmla="*/ 2646779 w 2646779"/>
                <a:gd name="connsiteY0" fmla="*/ 0 h 257442"/>
                <a:gd name="connsiteX1" fmla="*/ 2592058 w 2646779"/>
                <a:gd name="connsiteY1" fmla="*/ 257442 h 257442"/>
                <a:gd name="connsiteX2" fmla="*/ 0 w 2646779"/>
                <a:gd name="connsiteY2" fmla="*/ 257442 h 257442"/>
                <a:gd name="connsiteX3" fmla="*/ 1 w 2646779"/>
                <a:gd name="connsiteY3" fmla="*/ 0 h 257442"/>
                <a:gd name="connsiteX0" fmla="*/ 2646778 w 2646778"/>
                <a:gd name="connsiteY0" fmla="*/ 0 h 257442"/>
                <a:gd name="connsiteX1" fmla="*/ 2592057 w 2646778"/>
                <a:gd name="connsiteY1" fmla="*/ 257442 h 257442"/>
                <a:gd name="connsiteX2" fmla="*/ 0 w 2646778"/>
                <a:gd name="connsiteY2" fmla="*/ 257442 h 257442"/>
                <a:gd name="connsiteX3" fmla="*/ 0 w 2646778"/>
                <a:gd name="connsiteY3" fmla="*/ 0 h 257442"/>
                <a:gd name="connsiteX0" fmla="*/ 2646779 w 2646779"/>
                <a:gd name="connsiteY0" fmla="*/ 0 h 257442"/>
                <a:gd name="connsiteX1" fmla="*/ 2592058 w 2646779"/>
                <a:gd name="connsiteY1" fmla="*/ 257442 h 257442"/>
                <a:gd name="connsiteX2" fmla="*/ 1 w 2646779"/>
                <a:gd name="connsiteY2" fmla="*/ 257442 h 257442"/>
                <a:gd name="connsiteX3" fmla="*/ 0 w 2646779"/>
                <a:gd name="connsiteY3" fmla="*/ 0 h 257442"/>
                <a:gd name="connsiteX0" fmla="*/ 2815094 w 2815094"/>
                <a:gd name="connsiteY0" fmla="*/ 0 h 257442"/>
                <a:gd name="connsiteX1" fmla="*/ 2592058 w 2815094"/>
                <a:gd name="connsiteY1" fmla="*/ 257442 h 257442"/>
                <a:gd name="connsiteX2" fmla="*/ 1 w 2815094"/>
                <a:gd name="connsiteY2" fmla="*/ 257442 h 257442"/>
                <a:gd name="connsiteX3" fmla="*/ 0 w 2815094"/>
                <a:gd name="connsiteY3" fmla="*/ 0 h 257442"/>
                <a:gd name="connsiteX0" fmla="*/ 2815094 w 2815094"/>
                <a:gd name="connsiteY0" fmla="*/ 0 h 257442"/>
                <a:gd name="connsiteX1" fmla="*/ 2760372 w 2815094"/>
                <a:gd name="connsiteY1" fmla="*/ 257442 h 257442"/>
                <a:gd name="connsiteX2" fmla="*/ 1 w 2815094"/>
                <a:gd name="connsiteY2" fmla="*/ 257442 h 257442"/>
                <a:gd name="connsiteX3" fmla="*/ 0 w 2815094"/>
                <a:gd name="connsiteY3" fmla="*/ 0 h 257442"/>
                <a:gd name="connsiteX0" fmla="*/ 2815094 w 2815094"/>
                <a:gd name="connsiteY0" fmla="*/ 0 h 257442"/>
                <a:gd name="connsiteX1" fmla="*/ 2760372 w 2815094"/>
                <a:gd name="connsiteY1" fmla="*/ 257442 h 257442"/>
                <a:gd name="connsiteX2" fmla="*/ 0 w 2815094"/>
                <a:gd name="connsiteY2" fmla="*/ 257442 h 257442"/>
                <a:gd name="connsiteX3" fmla="*/ 0 w 2815094"/>
                <a:gd name="connsiteY3" fmla="*/ 0 h 257442"/>
                <a:gd name="connsiteX0" fmla="*/ 2815094 w 2815094"/>
                <a:gd name="connsiteY0" fmla="*/ 0 h 257442"/>
                <a:gd name="connsiteX1" fmla="*/ 2760372 w 2815094"/>
                <a:gd name="connsiteY1" fmla="*/ 257442 h 257442"/>
                <a:gd name="connsiteX2" fmla="*/ 0 w 2815094"/>
                <a:gd name="connsiteY2" fmla="*/ 257442 h 257442"/>
                <a:gd name="connsiteX3" fmla="*/ 0 w 2815094"/>
                <a:gd name="connsiteY3" fmla="*/ 0 h 257442"/>
                <a:gd name="connsiteX0" fmla="*/ 3076383 w 3076383"/>
                <a:gd name="connsiteY0" fmla="*/ 0 h 257442"/>
                <a:gd name="connsiteX1" fmla="*/ 276037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076383 w 3076383"/>
                <a:gd name="connsiteY0" fmla="*/ 0 h 257442"/>
                <a:gd name="connsiteX1" fmla="*/ 302166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076383 w 3076383"/>
                <a:gd name="connsiteY0" fmla="*/ 0 h 257442"/>
                <a:gd name="connsiteX1" fmla="*/ 302166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076383 w 3076383"/>
                <a:gd name="connsiteY0" fmla="*/ 0 h 257442"/>
                <a:gd name="connsiteX1" fmla="*/ 3021662 w 3076383"/>
                <a:gd name="connsiteY1" fmla="*/ 257442 h 257442"/>
                <a:gd name="connsiteX2" fmla="*/ 0 w 3076383"/>
                <a:gd name="connsiteY2" fmla="*/ 257442 h 257442"/>
                <a:gd name="connsiteX3" fmla="*/ 0 w 3076383"/>
                <a:gd name="connsiteY3" fmla="*/ 0 h 257442"/>
                <a:gd name="connsiteX0" fmla="*/ 3236683 w 3236683"/>
                <a:gd name="connsiteY0" fmla="*/ 0 h 257442"/>
                <a:gd name="connsiteX1" fmla="*/ 3021662 w 3236683"/>
                <a:gd name="connsiteY1" fmla="*/ 257442 h 257442"/>
                <a:gd name="connsiteX2" fmla="*/ 0 w 3236683"/>
                <a:gd name="connsiteY2" fmla="*/ 257442 h 257442"/>
                <a:gd name="connsiteX3" fmla="*/ 0 w 3236683"/>
                <a:gd name="connsiteY3" fmla="*/ 0 h 257442"/>
                <a:gd name="connsiteX0" fmla="*/ 3236683 w 3236683"/>
                <a:gd name="connsiteY0" fmla="*/ 0 h 257442"/>
                <a:gd name="connsiteX1" fmla="*/ 3181962 w 3236683"/>
                <a:gd name="connsiteY1" fmla="*/ 257442 h 257442"/>
                <a:gd name="connsiteX2" fmla="*/ 0 w 3236683"/>
                <a:gd name="connsiteY2" fmla="*/ 257442 h 257442"/>
                <a:gd name="connsiteX3" fmla="*/ 0 w 3236683"/>
                <a:gd name="connsiteY3" fmla="*/ 0 h 257442"/>
                <a:gd name="connsiteX0" fmla="*/ 3236683 w 3236683"/>
                <a:gd name="connsiteY0" fmla="*/ 0 h 257442"/>
                <a:gd name="connsiteX1" fmla="*/ 3181962 w 3236683"/>
                <a:gd name="connsiteY1" fmla="*/ 257442 h 257442"/>
                <a:gd name="connsiteX2" fmla="*/ 0 w 3236683"/>
                <a:gd name="connsiteY2" fmla="*/ 257442 h 257442"/>
                <a:gd name="connsiteX3" fmla="*/ 0 w 3236683"/>
                <a:gd name="connsiteY3" fmla="*/ 0 h 257442"/>
                <a:gd name="connsiteX0" fmla="*/ 3236683 w 3236683"/>
                <a:gd name="connsiteY0" fmla="*/ 0 h 257442"/>
                <a:gd name="connsiteX1" fmla="*/ 3181962 w 3236683"/>
                <a:gd name="connsiteY1" fmla="*/ 257442 h 257442"/>
                <a:gd name="connsiteX2" fmla="*/ 0 w 3236683"/>
                <a:gd name="connsiteY2" fmla="*/ 257442 h 257442"/>
                <a:gd name="connsiteX3" fmla="*/ 0 w 3236683"/>
                <a:gd name="connsiteY3" fmla="*/ 0 h 257442"/>
                <a:gd name="connsiteX0" fmla="*/ 3404998 w 3404998"/>
                <a:gd name="connsiteY0" fmla="*/ 0 h 257442"/>
                <a:gd name="connsiteX1" fmla="*/ 3181962 w 3404998"/>
                <a:gd name="connsiteY1" fmla="*/ 257442 h 257442"/>
                <a:gd name="connsiteX2" fmla="*/ 0 w 3404998"/>
                <a:gd name="connsiteY2" fmla="*/ 257442 h 257442"/>
                <a:gd name="connsiteX3" fmla="*/ 0 w 3404998"/>
                <a:gd name="connsiteY3" fmla="*/ 0 h 257442"/>
                <a:gd name="connsiteX0" fmla="*/ 3404998 w 3404998"/>
                <a:gd name="connsiteY0" fmla="*/ 0 h 257442"/>
                <a:gd name="connsiteX1" fmla="*/ 3350276 w 3404998"/>
                <a:gd name="connsiteY1" fmla="*/ 257442 h 257442"/>
                <a:gd name="connsiteX2" fmla="*/ 0 w 3404998"/>
                <a:gd name="connsiteY2" fmla="*/ 257442 h 257442"/>
                <a:gd name="connsiteX3" fmla="*/ 0 w 3404998"/>
                <a:gd name="connsiteY3" fmla="*/ 0 h 257442"/>
                <a:gd name="connsiteX0" fmla="*/ 3404999 w 3404999"/>
                <a:gd name="connsiteY0" fmla="*/ 0 h 257442"/>
                <a:gd name="connsiteX1" fmla="*/ 3350277 w 3404999"/>
                <a:gd name="connsiteY1" fmla="*/ 257442 h 257442"/>
                <a:gd name="connsiteX2" fmla="*/ 0 w 3404999"/>
                <a:gd name="connsiteY2" fmla="*/ 257442 h 257442"/>
                <a:gd name="connsiteX3" fmla="*/ 1 w 3404999"/>
                <a:gd name="connsiteY3" fmla="*/ 0 h 257442"/>
                <a:gd name="connsiteX0" fmla="*/ 3404999 w 3404999"/>
                <a:gd name="connsiteY0" fmla="*/ 0 h 257442"/>
                <a:gd name="connsiteX1" fmla="*/ 3350277 w 3404999"/>
                <a:gd name="connsiteY1" fmla="*/ 257442 h 257442"/>
                <a:gd name="connsiteX2" fmla="*/ 0 w 3404999"/>
                <a:gd name="connsiteY2" fmla="*/ 257442 h 257442"/>
                <a:gd name="connsiteX3" fmla="*/ 1 w 3404999"/>
                <a:gd name="connsiteY3" fmla="*/ 0 h 257442"/>
                <a:gd name="connsiteX0" fmla="*/ 3565299 w 3565299"/>
                <a:gd name="connsiteY0" fmla="*/ 0 h 257442"/>
                <a:gd name="connsiteX1" fmla="*/ 3350277 w 3565299"/>
                <a:gd name="connsiteY1" fmla="*/ 257442 h 257442"/>
                <a:gd name="connsiteX2" fmla="*/ 0 w 3565299"/>
                <a:gd name="connsiteY2" fmla="*/ 257442 h 257442"/>
                <a:gd name="connsiteX3" fmla="*/ 1 w 3565299"/>
                <a:gd name="connsiteY3" fmla="*/ 0 h 257442"/>
                <a:gd name="connsiteX0" fmla="*/ 3565299 w 3565299"/>
                <a:gd name="connsiteY0" fmla="*/ 0 h 257442"/>
                <a:gd name="connsiteX1" fmla="*/ 3510578 w 3565299"/>
                <a:gd name="connsiteY1" fmla="*/ 257442 h 257442"/>
                <a:gd name="connsiteX2" fmla="*/ 0 w 3565299"/>
                <a:gd name="connsiteY2" fmla="*/ 257442 h 257442"/>
                <a:gd name="connsiteX3" fmla="*/ 1 w 3565299"/>
                <a:gd name="connsiteY3" fmla="*/ 0 h 257442"/>
                <a:gd name="connsiteX0" fmla="*/ 3565298 w 3565298"/>
                <a:gd name="connsiteY0" fmla="*/ 0 h 257442"/>
                <a:gd name="connsiteX1" fmla="*/ 3510577 w 3565298"/>
                <a:gd name="connsiteY1" fmla="*/ 257442 h 257442"/>
                <a:gd name="connsiteX2" fmla="*/ 0 w 3565298"/>
                <a:gd name="connsiteY2" fmla="*/ 257442 h 257442"/>
                <a:gd name="connsiteX3" fmla="*/ 0 w 3565298"/>
                <a:gd name="connsiteY3" fmla="*/ 0 h 257442"/>
                <a:gd name="connsiteX0" fmla="*/ 3565299 w 3565299"/>
                <a:gd name="connsiteY0" fmla="*/ 0 h 257442"/>
                <a:gd name="connsiteX1" fmla="*/ 3510578 w 3565299"/>
                <a:gd name="connsiteY1" fmla="*/ 257442 h 257442"/>
                <a:gd name="connsiteX2" fmla="*/ 1 w 3565299"/>
                <a:gd name="connsiteY2" fmla="*/ 257442 h 257442"/>
                <a:gd name="connsiteX3" fmla="*/ 0 w 3565299"/>
                <a:gd name="connsiteY3" fmla="*/ 0 h 257442"/>
                <a:gd name="connsiteX0" fmla="*/ 2887678 w 3510578"/>
                <a:gd name="connsiteY0" fmla="*/ 0 h 257442"/>
                <a:gd name="connsiteX1" fmla="*/ 3510578 w 3510578"/>
                <a:gd name="connsiteY1" fmla="*/ 257442 h 257442"/>
                <a:gd name="connsiteX2" fmla="*/ 1 w 3510578"/>
                <a:gd name="connsiteY2" fmla="*/ 257442 h 257442"/>
                <a:gd name="connsiteX3" fmla="*/ 0 w 3510578"/>
                <a:gd name="connsiteY3" fmla="*/ 0 h 257442"/>
                <a:gd name="connsiteX0" fmla="*/ 2887678 w 2887678"/>
                <a:gd name="connsiteY0" fmla="*/ 0 h 257442"/>
                <a:gd name="connsiteX1" fmla="*/ 2832957 w 2887678"/>
                <a:gd name="connsiteY1" fmla="*/ 257442 h 257442"/>
                <a:gd name="connsiteX2" fmla="*/ 1 w 2887678"/>
                <a:gd name="connsiteY2" fmla="*/ 257442 h 257442"/>
                <a:gd name="connsiteX3" fmla="*/ 0 w 2887678"/>
                <a:gd name="connsiteY3" fmla="*/ 0 h 257442"/>
                <a:gd name="connsiteX0" fmla="*/ 2887678 w 2887678"/>
                <a:gd name="connsiteY0" fmla="*/ 0 h 257442"/>
                <a:gd name="connsiteX1" fmla="*/ 2832957 w 2887678"/>
                <a:gd name="connsiteY1" fmla="*/ 257442 h 257442"/>
                <a:gd name="connsiteX2" fmla="*/ 1 w 2887678"/>
                <a:gd name="connsiteY2" fmla="*/ 257442 h 257442"/>
                <a:gd name="connsiteX3" fmla="*/ 0 w 2887678"/>
                <a:gd name="connsiteY3" fmla="*/ 0 h 257442"/>
                <a:gd name="connsiteX0" fmla="*/ 2887677 w 2887677"/>
                <a:gd name="connsiteY0" fmla="*/ 0 h 257442"/>
                <a:gd name="connsiteX1" fmla="*/ 2832956 w 2887677"/>
                <a:gd name="connsiteY1" fmla="*/ 257442 h 257442"/>
                <a:gd name="connsiteX2" fmla="*/ 0 w 2887677"/>
                <a:gd name="connsiteY2" fmla="*/ 257442 h 257442"/>
                <a:gd name="connsiteX3" fmla="*/ 0 w 2887677"/>
                <a:gd name="connsiteY3" fmla="*/ 0 h 257442"/>
                <a:gd name="connsiteX0" fmla="*/ 3068368 w 3068368"/>
                <a:gd name="connsiteY0" fmla="*/ 0 h 257442"/>
                <a:gd name="connsiteX1" fmla="*/ 2832956 w 3068368"/>
                <a:gd name="connsiteY1" fmla="*/ 257442 h 257442"/>
                <a:gd name="connsiteX2" fmla="*/ 0 w 3068368"/>
                <a:gd name="connsiteY2" fmla="*/ 257442 h 257442"/>
                <a:gd name="connsiteX3" fmla="*/ 0 w 3068368"/>
                <a:gd name="connsiteY3" fmla="*/ 0 h 257442"/>
                <a:gd name="connsiteX0" fmla="*/ 3068368 w 3068368"/>
                <a:gd name="connsiteY0" fmla="*/ 0 h 257442"/>
                <a:gd name="connsiteX1" fmla="*/ 3013646 w 3068368"/>
                <a:gd name="connsiteY1" fmla="*/ 257442 h 257442"/>
                <a:gd name="connsiteX2" fmla="*/ 0 w 3068368"/>
                <a:gd name="connsiteY2" fmla="*/ 257442 h 257442"/>
                <a:gd name="connsiteX3" fmla="*/ 0 w 3068368"/>
                <a:gd name="connsiteY3" fmla="*/ 0 h 257442"/>
                <a:gd name="connsiteX0" fmla="*/ 3068369 w 3068369"/>
                <a:gd name="connsiteY0" fmla="*/ 0 h 257442"/>
                <a:gd name="connsiteX1" fmla="*/ 3013647 w 3068369"/>
                <a:gd name="connsiteY1" fmla="*/ 257442 h 257442"/>
                <a:gd name="connsiteX2" fmla="*/ 0 w 3068369"/>
                <a:gd name="connsiteY2" fmla="*/ 257442 h 257442"/>
                <a:gd name="connsiteX3" fmla="*/ 1 w 3068369"/>
                <a:gd name="connsiteY3" fmla="*/ 0 h 257442"/>
                <a:gd name="connsiteX0" fmla="*/ 3068369 w 3068369"/>
                <a:gd name="connsiteY0" fmla="*/ 0 h 257442"/>
                <a:gd name="connsiteX1" fmla="*/ 3013647 w 3068369"/>
                <a:gd name="connsiteY1" fmla="*/ 257442 h 257442"/>
                <a:gd name="connsiteX2" fmla="*/ 0 w 3068369"/>
                <a:gd name="connsiteY2" fmla="*/ 257442 h 257442"/>
                <a:gd name="connsiteX3" fmla="*/ 1 w 3068369"/>
                <a:gd name="connsiteY3" fmla="*/ 0 h 257442"/>
                <a:gd name="connsiteX0" fmla="*/ 3236684 w 3236684"/>
                <a:gd name="connsiteY0" fmla="*/ 0 h 257442"/>
                <a:gd name="connsiteX1" fmla="*/ 3013647 w 3236684"/>
                <a:gd name="connsiteY1" fmla="*/ 257442 h 257442"/>
                <a:gd name="connsiteX2" fmla="*/ 0 w 3236684"/>
                <a:gd name="connsiteY2" fmla="*/ 257442 h 257442"/>
                <a:gd name="connsiteX3" fmla="*/ 1 w 3236684"/>
                <a:gd name="connsiteY3" fmla="*/ 0 h 257442"/>
                <a:gd name="connsiteX0" fmla="*/ 3236684 w 3236684"/>
                <a:gd name="connsiteY0" fmla="*/ 0 h 257442"/>
                <a:gd name="connsiteX1" fmla="*/ 3181962 w 3236684"/>
                <a:gd name="connsiteY1" fmla="*/ 257442 h 257442"/>
                <a:gd name="connsiteX2" fmla="*/ 0 w 3236684"/>
                <a:gd name="connsiteY2" fmla="*/ 257442 h 257442"/>
                <a:gd name="connsiteX3" fmla="*/ 1 w 3236684"/>
                <a:gd name="connsiteY3" fmla="*/ 0 h 257442"/>
                <a:gd name="connsiteX0" fmla="*/ 3236684 w 3236684"/>
                <a:gd name="connsiteY0" fmla="*/ 0 h 257442"/>
                <a:gd name="connsiteX1" fmla="*/ 3181962 w 3236684"/>
                <a:gd name="connsiteY1" fmla="*/ 257442 h 257442"/>
                <a:gd name="connsiteX2" fmla="*/ 0 w 3236684"/>
                <a:gd name="connsiteY2" fmla="*/ 257442 h 257442"/>
                <a:gd name="connsiteX3" fmla="*/ 1 w 3236684"/>
                <a:gd name="connsiteY3" fmla="*/ 0 h 257442"/>
                <a:gd name="connsiteX0" fmla="*/ 3236684 w 3236684"/>
                <a:gd name="connsiteY0" fmla="*/ 0 h 257442"/>
                <a:gd name="connsiteX1" fmla="*/ 3181962 w 3236684"/>
                <a:gd name="connsiteY1" fmla="*/ 257442 h 257442"/>
                <a:gd name="connsiteX2" fmla="*/ 0 w 3236684"/>
                <a:gd name="connsiteY2" fmla="*/ 257442 h 257442"/>
                <a:gd name="connsiteX3" fmla="*/ 0 w 3236684"/>
                <a:gd name="connsiteY3" fmla="*/ 0 h 257442"/>
                <a:gd name="connsiteX0" fmla="*/ 3414616 w 3414616"/>
                <a:gd name="connsiteY0" fmla="*/ 0 h 257442"/>
                <a:gd name="connsiteX1" fmla="*/ 3181962 w 3414616"/>
                <a:gd name="connsiteY1" fmla="*/ 257442 h 257442"/>
                <a:gd name="connsiteX2" fmla="*/ 0 w 3414616"/>
                <a:gd name="connsiteY2" fmla="*/ 257442 h 257442"/>
                <a:gd name="connsiteX3" fmla="*/ 0 w 3414616"/>
                <a:gd name="connsiteY3" fmla="*/ 0 h 257442"/>
                <a:gd name="connsiteX0" fmla="*/ 3414616 w 3414616"/>
                <a:gd name="connsiteY0" fmla="*/ 0 h 257442"/>
                <a:gd name="connsiteX1" fmla="*/ 3359895 w 3414616"/>
                <a:gd name="connsiteY1" fmla="*/ 257442 h 257442"/>
                <a:gd name="connsiteX2" fmla="*/ 0 w 3414616"/>
                <a:gd name="connsiteY2" fmla="*/ 257442 h 257442"/>
                <a:gd name="connsiteX3" fmla="*/ 0 w 3414616"/>
                <a:gd name="connsiteY3" fmla="*/ 0 h 257442"/>
                <a:gd name="connsiteX0" fmla="*/ 3414616 w 3414616"/>
                <a:gd name="connsiteY0" fmla="*/ 0 h 257442"/>
                <a:gd name="connsiteX1" fmla="*/ 3359895 w 3414616"/>
                <a:gd name="connsiteY1" fmla="*/ 257442 h 257442"/>
                <a:gd name="connsiteX2" fmla="*/ 0 w 3414616"/>
                <a:gd name="connsiteY2" fmla="*/ 257442 h 257442"/>
                <a:gd name="connsiteX3" fmla="*/ 0 w 3414616"/>
                <a:gd name="connsiteY3" fmla="*/ 0 h 257442"/>
                <a:gd name="connsiteX0" fmla="*/ 3414616 w 3414616"/>
                <a:gd name="connsiteY0" fmla="*/ 0 h 257442"/>
                <a:gd name="connsiteX1" fmla="*/ 3359895 w 3414616"/>
                <a:gd name="connsiteY1" fmla="*/ 257442 h 257442"/>
                <a:gd name="connsiteX2" fmla="*/ 0 w 3414616"/>
                <a:gd name="connsiteY2" fmla="*/ 257442 h 257442"/>
                <a:gd name="connsiteX3" fmla="*/ 0 w 3414616"/>
                <a:gd name="connsiteY3" fmla="*/ 0 h 257442"/>
                <a:gd name="connsiteX0" fmla="*/ 2480066 w 3359895"/>
                <a:gd name="connsiteY0" fmla="*/ 0 h 257442"/>
                <a:gd name="connsiteX1" fmla="*/ 3359895 w 3359895"/>
                <a:gd name="connsiteY1" fmla="*/ 257442 h 257442"/>
                <a:gd name="connsiteX2" fmla="*/ 0 w 3359895"/>
                <a:gd name="connsiteY2" fmla="*/ 257442 h 257442"/>
                <a:gd name="connsiteX3" fmla="*/ 0 w 3359895"/>
                <a:gd name="connsiteY3" fmla="*/ 0 h 257442"/>
                <a:gd name="connsiteX0" fmla="*/ 2480066 w 2480066"/>
                <a:gd name="connsiteY0" fmla="*/ 0 h 257442"/>
                <a:gd name="connsiteX1" fmla="*/ 2425346 w 2480066"/>
                <a:gd name="connsiteY1" fmla="*/ 257442 h 257442"/>
                <a:gd name="connsiteX2" fmla="*/ 0 w 2480066"/>
                <a:gd name="connsiteY2" fmla="*/ 257442 h 257442"/>
                <a:gd name="connsiteX3" fmla="*/ 0 w 2480066"/>
                <a:gd name="connsiteY3" fmla="*/ 0 h 257442"/>
                <a:gd name="connsiteX0" fmla="*/ 2480066 w 2480066"/>
                <a:gd name="connsiteY0" fmla="*/ 0 h 257442"/>
                <a:gd name="connsiteX1" fmla="*/ 2425346 w 2480066"/>
                <a:gd name="connsiteY1" fmla="*/ 257442 h 257442"/>
                <a:gd name="connsiteX2" fmla="*/ 1 w 2480066"/>
                <a:gd name="connsiteY2" fmla="*/ 257442 h 257442"/>
                <a:gd name="connsiteX3" fmla="*/ 0 w 2480066"/>
                <a:gd name="connsiteY3" fmla="*/ 0 h 257442"/>
                <a:gd name="connsiteX0" fmla="*/ 2480065 w 2480065"/>
                <a:gd name="connsiteY0" fmla="*/ 0 h 257442"/>
                <a:gd name="connsiteX1" fmla="*/ 2425345 w 2480065"/>
                <a:gd name="connsiteY1" fmla="*/ 257442 h 257442"/>
                <a:gd name="connsiteX2" fmla="*/ 0 w 2480065"/>
                <a:gd name="connsiteY2" fmla="*/ 257442 h 257442"/>
                <a:gd name="connsiteX3" fmla="*/ 0 w 2480065"/>
                <a:gd name="connsiteY3" fmla="*/ 0 h 257442"/>
                <a:gd name="connsiteX0" fmla="*/ 2648381 w 2648381"/>
                <a:gd name="connsiteY0" fmla="*/ 0 h 257442"/>
                <a:gd name="connsiteX1" fmla="*/ 2425345 w 2648381"/>
                <a:gd name="connsiteY1" fmla="*/ 257442 h 257442"/>
                <a:gd name="connsiteX2" fmla="*/ 0 w 2648381"/>
                <a:gd name="connsiteY2" fmla="*/ 257442 h 257442"/>
                <a:gd name="connsiteX3" fmla="*/ 0 w 2648381"/>
                <a:gd name="connsiteY3" fmla="*/ 0 h 257442"/>
                <a:gd name="connsiteX0" fmla="*/ 2648381 w 2648381"/>
                <a:gd name="connsiteY0" fmla="*/ 0 h 257442"/>
                <a:gd name="connsiteX1" fmla="*/ 2593660 w 2648381"/>
                <a:gd name="connsiteY1" fmla="*/ 257442 h 257442"/>
                <a:gd name="connsiteX2" fmla="*/ 0 w 2648381"/>
                <a:gd name="connsiteY2" fmla="*/ 257442 h 257442"/>
                <a:gd name="connsiteX3" fmla="*/ 0 w 2648381"/>
                <a:gd name="connsiteY3" fmla="*/ 0 h 257442"/>
                <a:gd name="connsiteX0" fmla="*/ 2648381 w 2648381"/>
                <a:gd name="connsiteY0" fmla="*/ 0 h 257442"/>
                <a:gd name="connsiteX1" fmla="*/ 2593660 w 2648381"/>
                <a:gd name="connsiteY1" fmla="*/ 257442 h 257442"/>
                <a:gd name="connsiteX2" fmla="*/ 0 w 2648381"/>
                <a:gd name="connsiteY2" fmla="*/ 257442 h 257442"/>
                <a:gd name="connsiteX3" fmla="*/ 0 w 2648381"/>
                <a:gd name="connsiteY3" fmla="*/ 0 h 257442"/>
                <a:gd name="connsiteX0" fmla="*/ 2648381 w 2648381"/>
                <a:gd name="connsiteY0" fmla="*/ 0 h 257442"/>
                <a:gd name="connsiteX1" fmla="*/ 2593660 w 2648381"/>
                <a:gd name="connsiteY1" fmla="*/ 257442 h 257442"/>
                <a:gd name="connsiteX2" fmla="*/ 0 w 2648381"/>
                <a:gd name="connsiteY2" fmla="*/ 257442 h 257442"/>
                <a:gd name="connsiteX3" fmla="*/ 0 w 2648381"/>
                <a:gd name="connsiteY3" fmla="*/ 0 h 257442"/>
                <a:gd name="connsiteX0" fmla="*/ 2808681 w 2808681"/>
                <a:gd name="connsiteY0" fmla="*/ 0 h 257442"/>
                <a:gd name="connsiteX1" fmla="*/ 2593660 w 2808681"/>
                <a:gd name="connsiteY1" fmla="*/ 257442 h 257442"/>
                <a:gd name="connsiteX2" fmla="*/ 0 w 2808681"/>
                <a:gd name="connsiteY2" fmla="*/ 257442 h 257442"/>
                <a:gd name="connsiteX3" fmla="*/ 0 w 2808681"/>
                <a:gd name="connsiteY3" fmla="*/ 0 h 257442"/>
                <a:gd name="connsiteX0" fmla="*/ 2808681 w 2808681"/>
                <a:gd name="connsiteY0" fmla="*/ 0 h 257442"/>
                <a:gd name="connsiteX1" fmla="*/ 2753960 w 2808681"/>
                <a:gd name="connsiteY1" fmla="*/ 257442 h 257442"/>
                <a:gd name="connsiteX2" fmla="*/ 0 w 2808681"/>
                <a:gd name="connsiteY2" fmla="*/ 257442 h 257442"/>
                <a:gd name="connsiteX3" fmla="*/ 0 w 2808681"/>
                <a:gd name="connsiteY3" fmla="*/ 0 h 257442"/>
                <a:gd name="connsiteX0" fmla="*/ 2808681 w 2808681"/>
                <a:gd name="connsiteY0" fmla="*/ 0 h 257442"/>
                <a:gd name="connsiteX1" fmla="*/ 2753960 w 2808681"/>
                <a:gd name="connsiteY1" fmla="*/ 257442 h 257442"/>
                <a:gd name="connsiteX2" fmla="*/ 0 w 2808681"/>
                <a:gd name="connsiteY2" fmla="*/ 257442 h 257442"/>
                <a:gd name="connsiteX3" fmla="*/ 0 w 2808681"/>
                <a:gd name="connsiteY3" fmla="*/ 0 h 257442"/>
                <a:gd name="connsiteX0" fmla="*/ 2808681 w 2808681"/>
                <a:gd name="connsiteY0" fmla="*/ 0 h 257442"/>
                <a:gd name="connsiteX1" fmla="*/ 2753960 w 2808681"/>
                <a:gd name="connsiteY1" fmla="*/ 257442 h 257442"/>
                <a:gd name="connsiteX2" fmla="*/ 0 w 2808681"/>
                <a:gd name="connsiteY2" fmla="*/ 257442 h 257442"/>
                <a:gd name="connsiteX3" fmla="*/ 0 w 2808681"/>
                <a:gd name="connsiteY3" fmla="*/ 0 h 257442"/>
                <a:gd name="connsiteX0" fmla="*/ 2976997 w 2976997"/>
                <a:gd name="connsiteY0" fmla="*/ 0 h 257442"/>
                <a:gd name="connsiteX1" fmla="*/ 2753960 w 2976997"/>
                <a:gd name="connsiteY1" fmla="*/ 257442 h 257442"/>
                <a:gd name="connsiteX2" fmla="*/ 0 w 2976997"/>
                <a:gd name="connsiteY2" fmla="*/ 257442 h 257442"/>
                <a:gd name="connsiteX3" fmla="*/ 0 w 2976997"/>
                <a:gd name="connsiteY3" fmla="*/ 0 h 257442"/>
                <a:gd name="connsiteX0" fmla="*/ 2976997 w 2976997"/>
                <a:gd name="connsiteY0" fmla="*/ 0 h 257442"/>
                <a:gd name="connsiteX1" fmla="*/ 2922276 w 2976997"/>
                <a:gd name="connsiteY1" fmla="*/ 257442 h 257442"/>
                <a:gd name="connsiteX2" fmla="*/ 0 w 2976997"/>
                <a:gd name="connsiteY2" fmla="*/ 257442 h 257442"/>
                <a:gd name="connsiteX3" fmla="*/ 0 w 2976997"/>
                <a:gd name="connsiteY3" fmla="*/ 0 h 257442"/>
                <a:gd name="connsiteX0" fmla="*/ 2976997 w 2976997"/>
                <a:gd name="connsiteY0" fmla="*/ 0 h 257442"/>
                <a:gd name="connsiteX1" fmla="*/ 2922276 w 2976997"/>
                <a:gd name="connsiteY1" fmla="*/ 257442 h 257442"/>
                <a:gd name="connsiteX2" fmla="*/ 0 w 2976997"/>
                <a:gd name="connsiteY2" fmla="*/ 257442 h 257442"/>
                <a:gd name="connsiteX3" fmla="*/ 0 w 2976997"/>
                <a:gd name="connsiteY3" fmla="*/ 0 h 257442"/>
                <a:gd name="connsiteX0" fmla="*/ 2976997 w 2976997"/>
                <a:gd name="connsiteY0" fmla="*/ 0 h 257442"/>
                <a:gd name="connsiteX1" fmla="*/ 2922276 w 2976997"/>
                <a:gd name="connsiteY1" fmla="*/ 257442 h 257442"/>
                <a:gd name="connsiteX2" fmla="*/ 0 w 2976997"/>
                <a:gd name="connsiteY2" fmla="*/ 257442 h 257442"/>
                <a:gd name="connsiteX3" fmla="*/ 0 w 2976997"/>
                <a:gd name="connsiteY3" fmla="*/ 0 h 257442"/>
                <a:gd name="connsiteX0" fmla="*/ 3145312 w 3145312"/>
                <a:gd name="connsiteY0" fmla="*/ 0 h 257442"/>
                <a:gd name="connsiteX1" fmla="*/ 2922276 w 3145312"/>
                <a:gd name="connsiteY1" fmla="*/ 257442 h 257442"/>
                <a:gd name="connsiteX2" fmla="*/ 0 w 3145312"/>
                <a:gd name="connsiteY2" fmla="*/ 257442 h 257442"/>
                <a:gd name="connsiteX3" fmla="*/ 0 w 3145312"/>
                <a:gd name="connsiteY3" fmla="*/ 0 h 257442"/>
                <a:gd name="connsiteX0" fmla="*/ 3145312 w 3145312"/>
                <a:gd name="connsiteY0" fmla="*/ 0 h 257442"/>
                <a:gd name="connsiteX1" fmla="*/ 3090590 w 3145312"/>
                <a:gd name="connsiteY1" fmla="*/ 257442 h 257442"/>
                <a:gd name="connsiteX2" fmla="*/ 0 w 3145312"/>
                <a:gd name="connsiteY2" fmla="*/ 257442 h 257442"/>
                <a:gd name="connsiteX3" fmla="*/ 0 w 3145312"/>
                <a:gd name="connsiteY3" fmla="*/ 0 h 257442"/>
                <a:gd name="connsiteX0" fmla="*/ 3145313 w 3145313"/>
                <a:gd name="connsiteY0" fmla="*/ 0 h 257442"/>
                <a:gd name="connsiteX1" fmla="*/ 3090591 w 3145313"/>
                <a:gd name="connsiteY1" fmla="*/ 257442 h 257442"/>
                <a:gd name="connsiteX2" fmla="*/ 0 w 3145313"/>
                <a:gd name="connsiteY2" fmla="*/ 257442 h 257442"/>
                <a:gd name="connsiteX3" fmla="*/ 1 w 3145313"/>
                <a:gd name="connsiteY3" fmla="*/ 0 h 257442"/>
                <a:gd name="connsiteX0" fmla="*/ 3145313 w 3145313"/>
                <a:gd name="connsiteY0" fmla="*/ 0 h 257442"/>
                <a:gd name="connsiteX1" fmla="*/ 3090591 w 3145313"/>
                <a:gd name="connsiteY1" fmla="*/ 257442 h 257442"/>
                <a:gd name="connsiteX2" fmla="*/ 0 w 3145313"/>
                <a:gd name="connsiteY2" fmla="*/ 257442 h 257442"/>
                <a:gd name="connsiteX3" fmla="*/ 1 w 3145313"/>
                <a:gd name="connsiteY3" fmla="*/ 0 h 257442"/>
                <a:gd name="connsiteX0" fmla="*/ 3305613 w 3305613"/>
                <a:gd name="connsiteY0" fmla="*/ 0 h 257442"/>
                <a:gd name="connsiteX1" fmla="*/ 3090591 w 3305613"/>
                <a:gd name="connsiteY1" fmla="*/ 257442 h 257442"/>
                <a:gd name="connsiteX2" fmla="*/ 0 w 3305613"/>
                <a:gd name="connsiteY2" fmla="*/ 257442 h 257442"/>
                <a:gd name="connsiteX3" fmla="*/ 1 w 3305613"/>
                <a:gd name="connsiteY3" fmla="*/ 0 h 257442"/>
                <a:gd name="connsiteX0" fmla="*/ 3305613 w 3305613"/>
                <a:gd name="connsiteY0" fmla="*/ 0 h 257442"/>
                <a:gd name="connsiteX1" fmla="*/ 3250892 w 3305613"/>
                <a:gd name="connsiteY1" fmla="*/ 257442 h 257442"/>
                <a:gd name="connsiteX2" fmla="*/ 0 w 3305613"/>
                <a:gd name="connsiteY2" fmla="*/ 257442 h 257442"/>
                <a:gd name="connsiteX3" fmla="*/ 1 w 3305613"/>
                <a:gd name="connsiteY3" fmla="*/ 0 h 257442"/>
                <a:gd name="connsiteX0" fmla="*/ 3305612 w 3305612"/>
                <a:gd name="connsiteY0" fmla="*/ 0 h 257442"/>
                <a:gd name="connsiteX1" fmla="*/ 3250891 w 3305612"/>
                <a:gd name="connsiteY1" fmla="*/ 257442 h 257442"/>
                <a:gd name="connsiteX2" fmla="*/ 0 w 3305612"/>
                <a:gd name="connsiteY2" fmla="*/ 257442 h 257442"/>
                <a:gd name="connsiteX3" fmla="*/ 0 w 3305612"/>
                <a:gd name="connsiteY3" fmla="*/ 0 h 257442"/>
                <a:gd name="connsiteX0" fmla="*/ 3305613 w 3305613"/>
                <a:gd name="connsiteY0" fmla="*/ 0 h 257442"/>
                <a:gd name="connsiteX1" fmla="*/ 3250892 w 3305613"/>
                <a:gd name="connsiteY1" fmla="*/ 257442 h 257442"/>
                <a:gd name="connsiteX2" fmla="*/ 1 w 3305613"/>
                <a:gd name="connsiteY2" fmla="*/ 257442 h 257442"/>
                <a:gd name="connsiteX3" fmla="*/ 0 w 3305613"/>
                <a:gd name="connsiteY3" fmla="*/ 0 h 257442"/>
                <a:gd name="connsiteX0" fmla="*/ 950802 w 3250892"/>
                <a:gd name="connsiteY0" fmla="*/ 0 h 257442"/>
                <a:gd name="connsiteX1" fmla="*/ 3250892 w 3250892"/>
                <a:gd name="connsiteY1" fmla="*/ 257442 h 257442"/>
                <a:gd name="connsiteX2" fmla="*/ 1 w 3250892"/>
                <a:gd name="connsiteY2" fmla="*/ 257442 h 257442"/>
                <a:gd name="connsiteX3" fmla="*/ 0 w 3250892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1 w 950802"/>
                <a:gd name="connsiteY2" fmla="*/ 257442 h 257442"/>
                <a:gd name="connsiteX3" fmla="*/ 0 w 950802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1 w 950802"/>
                <a:gd name="connsiteY2" fmla="*/ 257442 h 257442"/>
                <a:gd name="connsiteX3" fmla="*/ 0 w 95080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1119116 w 1119116"/>
                <a:gd name="connsiteY0" fmla="*/ 0 h 257442"/>
                <a:gd name="connsiteX1" fmla="*/ 896080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6 w 1119116"/>
                <a:gd name="connsiteY0" fmla="*/ 0 h 257442"/>
                <a:gd name="connsiteX1" fmla="*/ 1064394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7 w 1119117"/>
                <a:gd name="connsiteY0" fmla="*/ 0 h 257442"/>
                <a:gd name="connsiteX1" fmla="*/ 1064395 w 1119117"/>
                <a:gd name="connsiteY1" fmla="*/ 257442 h 257442"/>
                <a:gd name="connsiteX2" fmla="*/ 0 w 1119117"/>
                <a:gd name="connsiteY2" fmla="*/ 257442 h 257442"/>
                <a:gd name="connsiteX3" fmla="*/ 1 w 1119117"/>
                <a:gd name="connsiteY3" fmla="*/ 0 h 257442"/>
                <a:gd name="connsiteX0" fmla="*/ 1119117 w 1119117"/>
                <a:gd name="connsiteY0" fmla="*/ 0 h 257442"/>
                <a:gd name="connsiteX1" fmla="*/ 1064395 w 1119117"/>
                <a:gd name="connsiteY1" fmla="*/ 257442 h 257442"/>
                <a:gd name="connsiteX2" fmla="*/ 0 w 1119117"/>
                <a:gd name="connsiteY2" fmla="*/ 257442 h 257442"/>
                <a:gd name="connsiteX3" fmla="*/ 1 w 1119117"/>
                <a:gd name="connsiteY3" fmla="*/ 0 h 257442"/>
                <a:gd name="connsiteX0" fmla="*/ 1287433 w 1287433"/>
                <a:gd name="connsiteY0" fmla="*/ 0 h 257442"/>
                <a:gd name="connsiteX1" fmla="*/ 1064395 w 1287433"/>
                <a:gd name="connsiteY1" fmla="*/ 257442 h 257442"/>
                <a:gd name="connsiteX2" fmla="*/ 0 w 1287433"/>
                <a:gd name="connsiteY2" fmla="*/ 257442 h 257442"/>
                <a:gd name="connsiteX3" fmla="*/ 1 w 1287433"/>
                <a:gd name="connsiteY3" fmla="*/ 0 h 257442"/>
                <a:gd name="connsiteX0" fmla="*/ 1287433 w 1287433"/>
                <a:gd name="connsiteY0" fmla="*/ 0 h 257442"/>
                <a:gd name="connsiteX1" fmla="*/ 1232712 w 1287433"/>
                <a:gd name="connsiteY1" fmla="*/ 257442 h 257442"/>
                <a:gd name="connsiteX2" fmla="*/ 0 w 1287433"/>
                <a:gd name="connsiteY2" fmla="*/ 257442 h 257442"/>
                <a:gd name="connsiteX3" fmla="*/ 1 w 1287433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287433 w 1287433"/>
                <a:gd name="connsiteY0" fmla="*/ 0 h 257442"/>
                <a:gd name="connsiteX1" fmla="*/ 1232712 w 1287433"/>
                <a:gd name="connsiteY1" fmla="*/ 257442 h 257442"/>
                <a:gd name="connsiteX2" fmla="*/ 1 w 1287433"/>
                <a:gd name="connsiteY2" fmla="*/ 257442 h 257442"/>
                <a:gd name="connsiteX3" fmla="*/ 0 w 1287433"/>
                <a:gd name="connsiteY3" fmla="*/ 0 h 257442"/>
                <a:gd name="connsiteX0" fmla="*/ 1455748 w 1455748"/>
                <a:gd name="connsiteY0" fmla="*/ 0 h 257442"/>
                <a:gd name="connsiteX1" fmla="*/ 1232712 w 1455748"/>
                <a:gd name="connsiteY1" fmla="*/ 257442 h 257442"/>
                <a:gd name="connsiteX2" fmla="*/ 1 w 1455748"/>
                <a:gd name="connsiteY2" fmla="*/ 257442 h 257442"/>
                <a:gd name="connsiteX3" fmla="*/ 0 w 1455748"/>
                <a:gd name="connsiteY3" fmla="*/ 0 h 257442"/>
                <a:gd name="connsiteX0" fmla="*/ 1455748 w 1455748"/>
                <a:gd name="connsiteY0" fmla="*/ 0 h 257442"/>
                <a:gd name="connsiteX1" fmla="*/ 1401026 w 1455748"/>
                <a:gd name="connsiteY1" fmla="*/ 257442 h 257442"/>
                <a:gd name="connsiteX2" fmla="*/ 1 w 1455748"/>
                <a:gd name="connsiteY2" fmla="*/ 257442 h 257442"/>
                <a:gd name="connsiteX3" fmla="*/ 0 w 1455748"/>
                <a:gd name="connsiteY3" fmla="*/ 0 h 257442"/>
                <a:gd name="connsiteX0" fmla="*/ 1455748 w 1455748"/>
                <a:gd name="connsiteY0" fmla="*/ 0 h 257442"/>
                <a:gd name="connsiteX1" fmla="*/ 1401026 w 1455748"/>
                <a:gd name="connsiteY1" fmla="*/ 257442 h 257442"/>
                <a:gd name="connsiteX2" fmla="*/ 0 w 1455748"/>
                <a:gd name="connsiteY2" fmla="*/ 257442 h 257442"/>
                <a:gd name="connsiteX3" fmla="*/ 0 w 1455748"/>
                <a:gd name="connsiteY3" fmla="*/ 0 h 257442"/>
                <a:gd name="connsiteX0" fmla="*/ 1455748 w 1455748"/>
                <a:gd name="connsiteY0" fmla="*/ 0 h 257442"/>
                <a:gd name="connsiteX1" fmla="*/ 1401026 w 1455748"/>
                <a:gd name="connsiteY1" fmla="*/ 257442 h 257442"/>
                <a:gd name="connsiteX2" fmla="*/ 0 w 1455748"/>
                <a:gd name="connsiteY2" fmla="*/ 257442 h 257442"/>
                <a:gd name="connsiteX3" fmla="*/ 0 w 1455748"/>
                <a:gd name="connsiteY3" fmla="*/ 0 h 257442"/>
                <a:gd name="connsiteX0" fmla="*/ 1624062 w 1624062"/>
                <a:gd name="connsiteY0" fmla="*/ 0 h 257442"/>
                <a:gd name="connsiteX1" fmla="*/ 1401026 w 1624062"/>
                <a:gd name="connsiteY1" fmla="*/ 257442 h 257442"/>
                <a:gd name="connsiteX2" fmla="*/ 0 w 1624062"/>
                <a:gd name="connsiteY2" fmla="*/ 257442 h 257442"/>
                <a:gd name="connsiteX3" fmla="*/ 0 w 1624062"/>
                <a:gd name="connsiteY3" fmla="*/ 0 h 257442"/>
                <a:gd name="connsiteX0" fmla="*/ 1624062 w 1624062"/>
                <a:gd name="connsiteY0" fmla="*/ 0 h 257442"/>
                <a:gd name="connsiteX1" fmla="*/ 1569341 w 1624062"/>
                <a:gd name="connsiteY1" fmla="*/ 257442 h 257442"/>
                <a:gd name="connsiteX2" fmla="*/ 0 w 1624062"/>
                <a:gd name="connsiteY2" fmla="*/ 257442 h 257442"/>
                <a:gd name="connsiteX3" fmla="*/ 0 w 1624062"/>
                <a:gd name="connsiteY3" fmla="*/ 0 h 257442"/>
                <a:gd name="connsiteX0" fmla="*/ 1624062 w 1624062"/>
                <a:gd name="connsiteY0" fmla="*/ 0 h 257442"/>
                <a:gd name="connsiteX1" fmla="*/ 1569341 w 1624062"/>
                <a:gd name="connsiteY1" fmla="*/ 257442 h 257442"/>
                <a:gd name="connsiteX2" fmla="*/ 0 w 1624062"/>
                <a:gd name="connsiteY2" fmla="*/ 257442 h 257442"/>
                <a:gd name="connsiteX3" fmla="*/ 0 w 1624062"/>
                <a:gd name="connsiteY3" fmla="*/ 0 h 257442"/>
                <a:gd name="connsiteX0" fmla="*/ 1624062 w 1624062"/>
                <a:gd name="connsiteY0" fmla="*/ 0 h 257442"/>
                <a:gd name="connsiteX1" fmla="*/ 1569341 w 1624062"/>
                <a:gd name="connsiteY1" fmla="*/ 257442 h 257442"/>
                <a:gd name="connsiteX2" fmla="*/ 0 w 1624062"/>
                <a:gd name="connsiteY2" fmla="*/ 257442 h 257442"/>
                <a:gd name="connsiteX3" fmla="*/ 0 w 1624062"/>
                <a:gd name="connsiteY3" fmla="*/ 0 h 257442"/>
                <a:gd name="connsiteX0" fmla="*/ 1784363 w 1784363"/>
                <a:gd name="connsiteY0" fmla="*/ 0 h 257442"/>
                <a:gd name="connsiteX1" fmla="*/ 1569341 w 1784363"/>
                <a:gd name="connsiteY1" fmla="*/ 257442 h 257442"/>
                <a:gd name="connsiteX2" fmla="*/ 0 w 1784363"/>
                <a:gd name="connsiteY2" fmla="*/ 257442 h 257442"/>
                <a:gd name="connsiteX3" fmla="*/ 0 w 1784363"/>
                <a:gd name="connsiteY3" fmla="*/ 0 h 257442"/>
                <a:gd name="connsiteX0" fmla="*/ 1784363 w 1784363"/>
                <a:gd name="connsiteY0" fmla="*/ 0 h 257442"/>
                <a:gd name="connsiteX1" fmla="*/ 1729642 w 1784363"/>
                <a:gd name="connsiteY1" fmla="*/ 257442 h 257442"/>
                <a:gd name="connsiteX2" fmla="*/ 0 w 1784363"/>
                <a:gd name="connsiteY2" fmla="*/ 257442 h 257442"/>
                <a:gd name="connsiteX3" fmla="*/ 0 w 1784363"/>
                <a:gd name="connsiteY3" fmla="*/ 0 h 257442"/>
                <a:gd name="connsiteX0" fmla="*/ 1784363 w 1784363"/>
                <a:gd name="connsiteY0" fmla="*/ 0 h 257442"/>
                <a:gd name="connsiteX1" fmla="*/ 1729642 w 1784363"/>
                <a:gd name="connsiteY1" fmla="*/ 257442 h 257442"/>
                <a:gd name="connsiteX2" fmla="*/ 0 w 1784363"/>
                <a:gd name="connsiteY2" fmla="*/ 257442 h 257442"/>
                <a:gd name="connsiteX3" fmla="*/ 0 w 1784363"/>
                <a:gd name="connsiteY3" fmla="*/ 0 h 257442"/>
                <a:gd name="connsiteX0" fmla="*/ 1784363 w 1784363"/>
                <a:gd name="connsiteY0" fmla="*/ 0 h 257442"/>
                <a:gd name="connsiteX1" fmla="*/ 1729642 w 1784363"/>
                <a:gd name="connsiteY1" fmla="*/ 257442 h 257442"/>
                <a:gd name="connsiteX2" fmla="*/ 0 w 1784363"/>
                <a:gd name="connsiteY2" fmla="*/ 257442 h 257442"/>
                <a:gd name="connsiteX3" fmla="*/ 0 w 1784363"/>
                <a:gd name="connsiteY3" fmla="*/ 0 h 257442"/>
                <a:gd name="connsiteX0" fmla="*/ 2034879 w 2034879"/>
                <a:gd name="connsiteY0" fmla="*/ 0 h 257442"/>
                <a:gd name="connsiteX1" fmla="*/ 1729642 w 2034879"/>
                <a:gd name="connsiteY1" fmla="*/ 257442 h 257442"/>
                <a:gd name="connsiteX2" fmla="*/ 0 w 2034879"/>
                <a:gd name="connsiteY2" fmla="*/ 257442 h 257442"/>
                <a:gd name="connsiteX3" fmla="*/ 0 w 2034879"/>
                <a:gd name="connsiteY3" fmla="*/ 0 h 257442"/>
                <a:gd name="connsiteX0" fmla="*/ 2034879 w 2034879"/>
                <a:gd name="connsiteY0" fmla="*/ 0 h 257442"/>
                <a:gd name="connsiteX1" fmla="*/ 1980158 w 2034879"/>
                <a:gd name="connsiteY1" fmla="*/ 257442 h 257442"/>
                <a:gd name="connsiteX2" fmla="*/ 0 w 2034879"/>
                <a:gd name="connsiteY2" fmla="*/ 257442 h 257442"/>
                <a:gd name="connsiteX3" fmla="*/ 0 w 2034879"/>
                <a:gd name="connsiteY3" fmla="*/ 0 h 257442"/>
                <a:gd name="connsiteX0" fmla="*/ 2034879 w 2034879"/>
                <a:gd name="connsiteY0" fmla="*/ 0 h 257442"/>
                <a:gd name="connsiteX1" fmla="*/ 1980158 w 2034879"/>
                <a:gd name="connsiteY1" fmla="*/ 257442 h 257442"/>
                <a:gd name="connsiteX2" fmla="*/ 0 w 2034879"/>
                <a:gd name="connsiteY2" fmla="*/ 257442 h 257442"/>
                <a:gd name="connsiteX3" fmla="*/ 0 w 2034879"/>
                <a:gd name="connsiteY3" fmla="*/ 0 h 257442"/>
                <a:gd name="connsiteX0" fmla="*/ 2034879 w 2034879"/>
                <a:gd name="connsiteY0" fmla="*/ 0 h 257442"/>
                <a:gd name="connsiteX1" fmla="*/ 1980158 w 2034879"/>
                <a:gd name="connsiteY1" fmla="*/ 257442 h 257442"/>
                <a:gd name="connsiteX2" fmla="*/ 0 w 2034879"/>
                <a:gd name="connsiteY2" fmla="*/ 257442 h 257442"/>
                <a:gd name="connsiteX3" fmla="*/ 0 w 2034879"/>
                <a:gd name="connsiteY3" fmla="*/ 0 h 257442"/>
                <a:gd name="connsiteX0" fmla="*/ 2203195 w 2203195"/>
                <a:gd name="connsiteY0" fmla="*/ 0 h 257442"/>
                <a:gd name="connsiteX1" fmla="*/ 1980158 w 2203195"/>
                <a:gd name="connsiteY1" fmla="*/ 257442 h 257442"/>
                <a:gd name="connsiteX2" fmla="*/ 0 w 2203195"/>
                <a:gd name="connsiteY2" fmla="*/ 257442 h 257442"/>
                <a:gd name="connsiteX3" fmla="*/ 0 w 2203195"/>
                <a:gd name="connsiteY3" fmla="*/ 0 h 257442"/>
                <a:gd name="connsiteX0" fmla="*/ 2203195 w 2203195"/>
                <a:gd name="connsiteY0" fmla="*/ 0 h 257442"/>
                <a:gd name="connsiteX1" fmla="*/ 2148474 w 2203195"/>
                <a:gd name="connsiteY1" fmla="*/ 257442 h 257442"/>
                <a:gd name="connsiteX2" fmla="*/ 0 w 2203195"/>
                <a:gd name="connsiteY2" fmla="*/ 257442 h 257442"/>
                <a:gd name="connsiteX3" fmla="*/ 0 w 2203195"/>
                <a:gd name="connsiteY3" fmla="*/ 0 h 257442"/>
                <a:gd name="connsiteX0" fmla="*/ 2203195 w 2203195"/>
                <a:gd name="connsiteY0" fmla="*/ 0 h 257442"/>
                <a:gd name="connsiteX1" fmla="*/ 2148474 w 2203195"/>
                <a:gd name="connsiteY1" fmla="*/ 257442 h 257442"/>
                <a:gd name="connsiteX2" fmla="*/ 0 w 2203195"/>
                <a:gd name="connsiteY2" fmla="*/ 257442 h 257442"/>
                <a:gd name="connsiteX3" fmla="*/ 0 w 2203195"/>
                <a:gd name="connsiteY3" fmla="*/ 0 h 257442"/>
                <a:gd name="connsiteX0" fmla="*/ 2203195 w 2203195"/>
                <a:gd name="connsiteY0" fmla="*/ 0 h 257442"/>
                <a:gd name="connsiteX1" fmla="*/ 2148474 w 2203195"/>
                <a:gd name="connsiteY1" fmla="*/ 257442 h 257442"/>
                <a:gd name="connsiteX2" fmla="*/ 0 w 2203195"/>
                <a:gd name="connsiteY2" fmla="*/ 257442 h 257442"/>
                <a:gd name="connsiteX3" fmla="*/ 0 w 2203195"/>
                <a:gd name="connsiteY3" fmla="*/ 0 h 257442"/>
                <a:gd name="connsiteX0" fmla="*/ 2363496 w 2363496"/>
                <a:gd name="connsiteY0" fmla="*/ 0 h 257442"/>
                <a:gd name="connsiteX1" fmla="*/ 2148474 w 2363496"/>
                <a:gd name="connsiteY1" fmla="*/ 257442 h 257442"/>
                <a:gd name="connsiteX2" fmla="*/ 0 w 2363496"/>
                <a:gd name="connsiteY2" fmla="*/ 257442 h 257442"/>
                <a:gd name="connsiteX3" fmla="*/ 0 w 2363496"/>
                <a:gd name="connsiteY3" fmla="*/ 0 h 257442"/>
                <a:gd name="connsiteX0" fmla="*/ 2363496 w 2363496"/>
                <a:gd name="connsiteY0" fmla="*/ 0 h 257442"/>
                <a:gd name="connsiteX1" fmla="*/ 2308774 w 2363496"/>
                <a:gd name="connsiteY1" fmla="*/ 257442 h 257442"/>
                <a:gd name="connsiteX2" fmla="*/ 0 w 2363496"/>
                <a:gd name="connsiteY2" fmla="*/ 257442 h 257442"/>
                <a:gd name="connsiteX3" fmla="*/ 0 w 2363496"/>
                <a:gd name="connsiteY3" fmla="*/ 0 h 257442"/>
                <a:gd name="connsiteX0" fmla="*/ 2363497 w 2363497"/>
                <a:gd name="connsiteY0" fmla="*/ 0 h 257442"/>
                <a:gd name="connsiteX1" fmla="*/ 2308775 w 2363497"/>
                <a:gd name="connsiteY1" fmla="*/ 257442 h 257442"/>
                <a:gd name="connsiteX2" fmla="*/ 0 w 2363497"/>
                <a:gd name="connsiteY2" fmla="*/ 257442 h 257442"/>
                <a:gd name="connsiteX3" fmla="*/ 1 w 2363497"/>
                <a:gd name="connsiteY3" fmla="*/ 0 h 257442"/>
                <a:gd name="connsiteX0" fmla="*/ 2363497 w 2363497"/>
                <a:gd name="connsiteY0" fmla="*/ 0 h 257442"/>
                <a:gd name="connsiteX1" fmla="*/ 2308775 w 2363497"/>
                <a:gd name="connsiteY1" fmla="*/ 257442 h 257442"/>
                <a:gd name="connsiteX2" fmla="*/ 0 w 2363497"/>
                <a:gd name="connsiteY2" fmla="*/ 257442 h 257442"/>
                <a:gd name="connsiteX3" fmla="*/ 1 w 2363497"/>
                <a:gd name="connsiteY3" fmla="*/ 0 h 257442"/>
                <a:gd name="connsiteX0" fmla="*/ 2531811 w 2531811"/>
                <a:gd name="connsiteY0" fmla="*/ 0 h 257442"/>
                <a:gd name="connsiteX1" fmla="*/ 2308775 w 2531811"/>
                <a:gd name="connsiteY1" fmla="*/ 257442 h 257442"/>
                <a:gd name="connsiteX2" fmla="*/ 0 w 2531811"/>
                <a:gd name="connsiteY2" fmla="*/ 257442 h 257442"/>
                <a:gd name="connsiteX3" fmla="*/ 1 w 2531811"/>
                <a:gd name="connsiteY3" fmla="*/ 0 h 257442"/>
                <a:gd name="connsiteX0" fmla="*/ 2531811 w 2531811"/>
                <a:gd name="connsiteY0" fmla="*/ 0 h 257442"/>
                <a:gd name="connsiteX1" fmla="*/ 2477090 w 2531811"/>
                <a:gd name="connsiteY1" fmla="*/ 257442 h 257442"/>
                <a:gd name="connsiteX2" fmla="*/ 0 w 2531811"/>
                <a:gd name="connsiteY2" fmla="*/ 257442 h 257442"/>
                <a:gd name="connsiteX3" fmla="*/ 1 w 2531811"/>
                <a:gd name="connsiteY3" fmla="*/ 0 h 257442"/>
                <a:gd name="connsiteX0" fmla="*/ 2531810 w 2531810"/>
                <a:gd name="connsiteY0" fmla="*/ 0 h 257442"/>
                <a:gd name="connsiteX1" fmla="*/ 2477089 w 2531810"/>
                <a:gd name="connsiteY1" fmla="*/ 257442 h 257442"/>
                <a:gd name="connsiteX2" fmla="*/ 0 w 2531810"/>
                <a:gd name="connsiteY2" fmla="*/ 257442 h 257442"/>
                <a:gd name="connsiteX3" fmla="*/ 0 w 2531810"/>
                <a:gd name="connsiteY3" fmla="*/ 0 h 257442"/>
                <a:gd name="connsiteX0" fmla="*/ 2531811 w 2531811"/>
                <a:gd name="connsiteY0" fmla="*/ 0 h 257442"/>
                <a:gd name="connsiteX1" fmla="*/ 2477090 w 2531811"/>
                <a:gd name="connsiteY1" fmla="*/ 257442 h 257442"/>
                <a:gd name="connsiteX2" fmla="*/ 1 w 2531811"/>
                <a:gd name="connsiteY2" fmla="*/ 257442 h 257442"/>
                <a:gd name="connsiteX3" fmla="*/ 0 w 2531811"/>
                <a:gd name="connsiteY3" fmla="*/ 0 h 257442"/>
                <a:gd name="connsiteX0" fmla="*/ 2700127 w 2700127"/>
                <a:gd name="connsiteY0" fmla="*/ 0 h 257442"/>
                <a:gd name="connsiteX1" fmla="*/ 2477090 w 2700127"/>
                <a:gd name="connsiteY1" fmla="*/ 257442 h 257442"/>
                <a:gd name="connsiteX2" fmla="*/ 1 w 2700127"/>
                <a:gd name="connsiteY2" fmla="*/ 257442 h 257442"/>
                <a:gd name="connsiteX3" fmla="*/ 0 w 2700127"/>
                <a:gd name="connsiteY3" fmla="*/ 0 h 257442"/>
                <a:gd name="connsiteX0" fmla="*/ 2700127 w 2700127"/>
                <a:gd name="connsiteY0" fmla="*/ 0 h 257442"/>
                <a:gd name="connsiteX1" fmla="*/ 2645406 w 2700127"/>
                <a:gd name="connsiteY1" fmla="*/ 257442 h 257442"/>
                <a:gd name="connsiteX2" fmla="*/ 1 w 2700127"/>
                <a:gd name="connsiteY2" fmla="*/ 257442 h 257442"/>
                <a:gd name="connsiteX3" fmla="*/ 0 w 2700127"/>
                <a:gd name="connsiteY3" fmla="*/ 0 h 257442"/>
                <a:gd name="connsiteX0" fmla="*/ 2700127 w 2700127"/>
                <a:gd name="connsiteY0" fmla="*/ 0 h 257442"/>
                <a:gd name="connsiteX1" fmla="*/ 2645406 w 2700127"/>
                <a:gd name="connsiteY1" fmla="*/ 257442 h 257442"/>
                <a:gd name="connsiteX2" fmla="*/ 1 w 2700127"/>
                <a:gd name="connsiteY2" fmla="*/ 257442 h 257442"/>
                <a:gd name="connsiteX3" fmla="*/ 0 w 2700127"/>
                <a:gd name="connsiteY3" fmla="*/ 0 h 257442"/>
                <a:gd name="connsiteX0" fmla="*/ 2700126 w 2700126"/>
                <a:gd name="connsiteY0" fmla="*/ 0 h 257442"/>
                <a:gd name="connsiteX1" fmla="*/ 2645405 w 2700126"/>
                <a:gd name="connsiteY1" fmla="*/ 257442 h 257442"/>
                <a:gd name="connsiteX2" fmla="*/ 0 w 2700126"/>
                <a:gd name="connsiteY2" fmla="*/ 257442 h 257442"/>
                <a:gd name="connsiteX3" fmla="*/ 0 w 2700126"/>
                <a:gd name="connsiteY3" fmla="*/ 0 h 257442"/>
                <a:gd name="connsiteX0" fmla="*/ 2886074 w 2886074"/>
                <a:gd name="connsiteY0" fmla="*/ 0 h 257442"/>
                <a:gd name="connsiteX1" fmla="*/ 2645405 w 2886074"/>
                <a:gd name="connsiteY1" fmla="*/ 257442 h 257442"/>
                <a:gd name="connsiteX2" fmla="*/ 0 w 2886074"/>
                <a:gd name="connsiteY2" fmla="*/ 257442 h 257442"/>
                <a:gd name="connsiteX3" fmla="*/ 0 w 2886074"/>
                <a:gd name="connsiteY3" fmla="*/ 0 h 257442"/>
                <a:gd name="connsiteX0" fmla="*/ 2886074 w 2886074"/>
                <a:gd name="connsiteY0" fmla="*/ 0 h 257442"/>
                <a:gd name="connsiteX1" fmla="*/ 2831353 w 2886074"/>
                <a:gd name="connsiteY1" fmla="*/ 257442 h 257442"/>
                <a:gd name="connsiteX2" fmla="*/ 0 w 2886074"/>
                <a:gd name="connsiteY2" fmla="*/ 257442 h 257442"/>
                <a:gd name="connsiteX3" fmla="*/ 0 w 2886074"/>
                <a:gd name="connsiteY3" fmla="*/ 0 h 257442"/>
                <a:gd name="connsiteX0" fmla="*/ 2886075 w 2886075"/>
                <a:gd name="connsiteY0" fmla="*/ 0 h 257442"/>
                <a:gd name="connsiteX1" fmla="*/ 2831354 w 2886075"/>
                <a:gd name="connsiteY1" fmla="*/ 257442 h 257442"/>
                <a:gd name="connsiteX2" fmla="*/ 0 w 2886075"/>
                <a:gd name="connsiteY2" fmla="*/ 257442 h 257442"/>
                <a:gd name="connsiteX3" fmla="*/ 1 w 2886075"/>
                <a:gd name="connsiteY3" fmla="*/ 0 h 257442"/>
                <a:gd name="connsiteX0" fmla="*/ 2886075 w 2886075"/>
                <a:gd name="connsiteY0" fmla="*/ 0 h 257442"/>
                <a:gd name="connsiteX1" fmla="*/ 2831354 w 2886075"/>
                <a:gd name="connsiteY1" fmla="*/ 257442 h 257442"/>
                <a:gd name="connsiteX2" fmla="*/ 0 w 2886075"/>
                <a:gd name="connsiteY2" fmla="*/ 257442 h 257442"/>
                <a:gd name="connsiteX3" fmla="*/ 1 w 2886075"/>
                <a:gd name="connsiteY3" fmla="*/ 0 h 257442"/>
                <a:gd name="connsiteX0" fmla="*/ 3155380 w 3155380"/>
                <a:gd name="connsiteY0" fmla="*/ 0 h 257442"/>
                <a:gd name="connsiteX1" fmla="*/ 2831354 w 3155380"/>
                <a:gd name="connsiteY1" fmla="*/ 257442 h 257442"/>
                <a:gd name="connsiteX2" fmla="*/ 0 w 3155380"/>
                <a:gd name="connsiteY2" fmla="*/ 257442 h 257442"/>
                <a:gd name="connsiteX3" fmla="*/ 1 w 3155380"/>
                <a:gd name="connsiteY3" fmla="*/ 0 h 257442"/>
                <a:gd name="connsiteX0" fmla="*/ 3155380 w 3155380"/>
                <a:gd name="connsiteY0" fmla="*/ 0 h 257442"/>
                <a:gd name="connsiteX1" fmla="*/ 3100658 w 3155380"/>
                <a:gd name="connsiteY1" fmla="*/ 257442 h 257442"/>
                <a:gd name="connsiteX2" fmla="*/ 0 w 3155380"/>
                <a:gd name="connsiteY2" fmla="*/ 257442 h 257442"/>
                <a:gd name="connsiteX3" fmla="*/ 1 w 3155380"/>
                <a:gd name="connsiteY3" fmla="*/ 0 h 257442"/>
                <a:gd name="connsiteX0" fmla="*/ 3155380 w 3155380"/>
                <a:gd name="connsiteY0" fmla="*/ 0 h 257442"/>
                <a:gd name="connsiteX1" fmla="*/ 3100658 w 3155380"/>
                <a:gd name="connsiteY1" fmla="*/ 257442 h 257442"/>
                <a:gd name="connsiteX2" fmla="*/ 0 w 3155380"/>
                <a:gd name="connsiteY2" fmla="*/ 257442 h 257442"/>
                <a:gd name="connsiteX3" fmla="*/ 1 w 3155380"/>
                <a:gd name="connsiteY3" fmla="*/ 0 h 257442"/>
                <a:gd name="connsiteX0" fmla="*/ 3155380 w 3155380"/>
                <a:gd name="connsiteY0" fmla="*/ 0 h 257442"/>
                <a:gd name="connsiteX1" fmla="*/ 3100658 w 3155380"/>
                <a:gd name="connsiteY1" fmla="*/ 257442 h 257442"/>
                <a:gd name="connsiteX2" fmla="*/ 0 w 3155380"/>
                <a:gd name="connsiteY2" fmla="*/ 257442 h 257442"/>
                <a:gd name="connsiteX3" fmla="*/ 0 w 3155380"/>
                <a:gd name="connsiteY3" fmla="*/ 0 h 257442"/>
                <a:gd name="connsiteX0" fmla="*/ 3315679 w 3315679"/>
                <a:gd name="connsiteY0" fmla="*/ 0 h 257442"/>
                <a:gd name="connsiteX1" fmla="*/ 3100658 w 3315679"/>
                <a:gd name="connsiteY1" fmla="*/ 257442 h 257442"/>
                <a:gd name="connsiteX2" fmla="*/ 0 w 3315679"/>
                <a:gd name="connsiteY2" fmla="*/ 257442 h 257442"/>
                <a:gd name="connsiteX3" fmla="*/ 0 w 3315679"/>
                <a:gd name="connsiteY3" fmla="*/ 0 h 257442"/>
                <a:gd name="connsiteX0" fmla="*/ 3315679 w 3315679"/>
                <a:gd name="connsiteY0" fmla="*/ 0 h 257442"/>
                <a:gd name="connsiteX1" fmla="*/ 3260958 w 3315679"/>
                <a:gd name="connsiteY1" fmla="*/ 257442 h 257442"/>
                <a:gd name="connsiteX2" fmla="*/ 0 w 3315679"/>
                <a:gd name="connsiteY2" fmla="*/ 257442 h 257442"/>
                <a:gd name="connsiteX3" fmla="*/ 0 w 3315679"/>
                <a:gd name="connsiteY3" fmla="*/ 0 h 257442"/>
                <a:gd name="connsiteX0" fmla="*/ 3315679 w 3315679"/>
                <a:gd name="connsiteY0" fmla="*/ 0 h 257442"/>
                <a:gd name="connsiteX1" fmla="*/ 3260958 w 3315679"/>
                <a:gd name="connsiteY1" fmla="*/ 257442 h 257442"/>
                <a:gd name="connsiteX2" fmla="*/ 0 w 3315679"/>
                <a:gd name="connsiteY2" fmla="*/ 257442 h 257442"/>
                <a:gd name="connsiteX3" fmla="*/ 0 w 3315679"/>
                <a:gd name="connsiteY3" fmla="*/ 0 h 257442"/>
                <a:gd name="connsiteX0" fmla="*/ 3315679 w 3315679"/>
                <a:gd name="connsiteY0" fmla="*/ 0 h 257442"/>
                <a:gd name="connsiteX1" fmla="*/ 3260958 w 3315679"/>
                <a:gd name="connsiteY1" fmla="*/ 257442 h 257442"/>
                <a:gd name="connsiteX2" fmla="*/ 0 w 3315679"/>
                <a:gd name="connsiteY2" fmla="*/ 257442 h 257442"/>
                <a:gd name="connsiteX3" fmla="*/ 0 w 3315679"/>
                <a:gd name="connsiteY3" fmla="*/ 0 h 257442"/>
                <a:gd name="connsiteX0" fmla="*/ 942786 w 3260958"/>
                <a:gd name="connsiteY0" fmla="*/ 0 h 257442"/>
                <a:gd name="connsiteX1" fmla="*/ 3260958 w 3260958"/>
                <a:gd name="connsiteY1" fmla="*/ 257442 h 257442"/>
                <a:gd name="connsiteX2" fmla="*/ 0 w 3260958"/>
                <a:gd name="connsiteY2" fmla="*/ 257442 h 257442"/>
                <a:gd name="connsiteX3" fmla="*/ 0 w 3260958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1270248 w 1270248"/>
                <a:gd name="connsiteY0" fmla="*/ 0 h 257442"/>
                <a:gd name="connsiteX1" fmla="*/ 888065 w 1270248"/>
                <a:gd name="connsiteY1" fmla="*/ 257442 h 257442"/>
                <a:gd name="connsiteX2" fmla="*/ 0 w 1270248"/>
                <a:gd name="connsiteY2" fmla="*/ 257442 h 257442"/>
                <a:gd name="connsiteX3" fmla="*/ 0 w 1270248"/>
                <a:gd name="connsiteY3" fmla="*/ 0 h 257442"/>
                <a:gd name="connsiteX0" fmla="*/ 1270248 w 1270248"/>
                <a:gd name="connsiteY0" fmla="*/ 0 h 257442"/>
                <a:gd name="connsiteX1" fmla="*/ 1215527 w 1270248"/>
                <a:gd name="connsiteY1" fmla="*/ 257442 h 257442"/>
                <a:gd name="connsiteX2" fmla="*/ 0 w 1270248"/>
                <a:gd name="connsiteY2" fmla="*/ 257442 h 257442"/>
                <a:gd name="connsiteX3" fmla="*/ 0 w 1270248"/>
                <a:gd name="connsiteY3" fmla="*/ 0 h 257442"/>
                <a:gd name="connsiteX0" fmla="*/ 1270248 w 1270248"/>
                <a:gd name="connsiteY0" fmla="*/ 0 h 257442"/>
                <a:gd name="connsiteX1" fmla="*/ 1215527 w 1270248"/>
                <a:gd name="connsiteY1" fmla="*/ 257442 h 257442"/>
                <a:gd name="connsiteX2" fmla="*/ 0 w 1270248"/>
                <a:gd name="connsiteY2" fmla="*/ 257442 h 257442"/>
                <a:gd name="connsiteX3" fmla="*/ 0 w 1270248"/>
                <a:gd name="connsiteY3" fmla="*/ 0 h 257442"/>
                <a:gd name="connsiteX0" fmla="*/ 1270248 w 1270248"/>
                <a:gd name="connsiteY0" fmla="*/ 0 h 257442"/>
                <a:gd name="connsiteX1" fmla="*/ 1215527 w 1270248"/>
                <a:gd name="connsiteY1" fmla="*/ 257442 h 257442"/>
                <a:gd name="connsiteX2" fmla="*/ 0 w 1270248"/>
                <a:gd name="connsiteY2" fmla="*/ 257442 h 257442"/>
                <a:gd name="connsiteX3" fmla="*/ 0 w 1270248"/>
                <a:gd name="connsiteY3" fmla="*/ 0 h 257442"/>
                <a:gd name="connsiteX0" fmla="*/ 1438562 w 1438562"/>
                <a:gd name="connsiteY0" fmla="*/ 0 h 257442"/>
                <a:gd name="connsiteX1" fmla="*/ 1215527 w 1438562"/>
                <a:gd name="connsiteY1" fmla="*/ 257442 h 257442"/>
                <a:gd name="connsiteX2" fmla="*/ 0 w 1438562"/>
                <a:gd name="connsiteY2" fmla="*/ 257442 h 257442"/>
                <a:gd name="connsiteX3" fmla="*/ 0 w 1438562"/>
                <a:gd name="connsiteY3" fmla="*/ 0 h 257442"/>
                <a:gd name="connsiteX0" fmla="*/ 1438562 w 1438562"/>
                <a:gd name="connsiteY0" fmla="*/ 0 h 257442"/>
                <a:gd name="connsiteX1" fmla="*/ 1383841 w 1438562"/>
                <a:gd name="connsiteY1" fmla="*/ 257442 h 257442"/>
                <a:gd name="connsiteX2" fmla="*/ 0 w 1438562"/>
                <a:gd name="connsiteY2" fmla="*/ 257442 h 257442"/>
                <a:gd name="connsiteX3" fmla="*/ 0 w 1438562"/>
                <a:gd name="connsiteY3" fmla="*/ 0 h 257442"/>
                <a:gd name="connsiteX0" fmla="*/ 1438562 w 1438562"/>
                <a:gd name="connsiteY0" fmla="*/ 0 h 257442"/>
                <a:gd name="connsiteX1" fmla="*/ 1383841 w 1438562"/>
                <a:gd name="connsiteY1" fmla="*/ 257442 h 257442"/>
                <a:gd name="connsiteX2" fmla="*/ 0 w 1438562"/>
                <a:gd name="connsiteY2" fmla="*/ 257442 h 257442"/>
                <a:gd name="connsiteX3" fmla="*/ 0 w 1438562"/>
                <a:gd name="connsiteY3" fmla="*/ 0 h 257442"/>
                <a:gd name="connsiteX0" fmla="*/ 1438562 w 1438562"/>
                <a:gd name="connsiteY0" fmla="*/ 0 h 257442"/>
                <a:gd name="connsiteX1" fmla="*/ 1383841 w 1438562"/>
                <a:gd name="connsiteY1" fmla="*/ 257442 h 257442"/>
                <a:gd name="connsiteX2" fmla="*/ 0 w 1438562"/>
                <a:gd name="connsiteY2" fmla="*/ 257442 h 257442"/>
                <a:gd name="connsiteX3" fmla="*/ 0 w 1438562"/>
                <a:gd name="connsiteY3" fmla="*/ 0 h 257442"/>
                <a:gd name="connsiteX0" fmla="*/ 1707867 w 1707867"/>
                <a:gd name="connsiteY0" fmla="*/ 0 h 257442"/>
                <a:gd name="connsiteX1" fmla="*/ 1383841 w 1707867"/>
                <a:gd name="connsiteY1" fmla="*/ 257442 h 257442"/>
                <a:gd name="connsiteX2" fmla="*/ 0 w 1707867"/>
                <a:gd name="connsiteY2" fmla="*/ 257442 h 257442"/>
                <a:gd name="connsiteX3" fmla="*/ 0 w 1707867"/>
                <a:gd name="connsiteY3" fmla="*/ 0 h 257442"/>
                <a:gd name="connsiteX0" fmla="*/ 1707867 w 1707867"/>
                <a:gd name="connsiteY0" fmla="*/ 0 h 257442"/>
                <a:gd name="connsiteX1" fmla="*/ 1653146 w 1707867"/>
                <a:gd name="connsiteY1" fmla="*/ 257442 h 257442"/>
                <a:gd name="connsiteX2" fmla="*/ 0 w 1707867"/>
                <a:gd name="connsiteY2" fmla="*/ 257442 h 257442"/>
                <a:gd name="connsiteX3" fmla="*/ 0 w 1707867"/>
                <a:gd name="connsiteY3" fmla="*/ 0 h 257442"/>
                <a:gd name="connsiteX0" fmla="*/ 1707867 w 1707867"/>
                <a:gd name="connsiteY0" fmla="*/ 0 h 257442"/>
                <a:gd name="connsiteX1" fmla="*/ 1653146 w 1707867"/>
                <a:gd name="connsiteY1" fmla="*/ 257442 h 257442"/>
                <a:gd name="connsiteX2" fmla="*/ 0 w 1707867"/>
                <a:gd name="connsiteY2" fmla="*/ 257442 h 257442"/>
                <a:gd name="connsiteX3" fmla="*/ 0 w 1707867"/>
                <a:gd name="connsiteY3" fmla="*/ 0 h 257442"/>
                <a:gd name="connsiteX0" fmla="*/ 1707867 w 1707867"/>
                <a:gd name="connsiteY0" fmla="*/ 0 h 257442"/>
                <a:gd name="connsiteX1" fmla="*/ 1653146 w 1707867"/>
                <a:gd name="connsiteY1" fmla="*/ 257442 h 257442"/>
                <a:gd name="connsiteX2" fmla="*/ 0 w 1707867"/>
                <a:gd name="connsiteY2" fmla="*/ 257442 h 257442"/>
                <a:gd name="connsiteX3" fmla="*/ 0 w 1707867"/>
                <a:gd name="connsiteY3" fmla="*/ 0 h 257442"/>
                <a:gd name="connsiteX0" fmla="*/ 1876183 w 1876183"/>
                <a:gd name="connsiteY0" fmla="*/ 0 h 257442"/>
                <a:gd name="connsiteX1" fmla="*/ 1653146 w 1876183"/>
                <a:gd name="connsiteY1" fmla="*/ 257442 h 257442"/>
                <a:gd name="connsiteX2" fmla="*/ 0 w 1876183"/>
                <a:gd name="connsiteY2" fmla="*/ 257442 h 257442"/>
                <a:gd name="connsiteX3" fmla="*/ 0 w 1876183"/>
                <a:gd name="connsiteY3" fmla="*/ 0 h 257442"/>
                <a:gd name="connsiteX0" fmla="*/ 1876183 w 1876183"/>
                <a:gd name="connsiteY0" fmla="*/ 0 h 257442"/>
                <a:gd name="connsiteX1" fmla="*/ 1821462 w 1876183"/>
                <a:gd name="connsiteY1" fmla="*/ 257442 h 257442"/>
                <a:gd name="connsiteX2" fmla="*/ 0 w 1876183"/>
                <a:gd name="connsiteY2" fmla="*/ 257442 h 257442"/>
                <a:gd name="connsiteX3" fmla="*/ 0 w 1876183"/>
                <a:gd name="connsiteY3" fmla="*/ 0 h 257442"/>
                <a:gd name="connsiteX0" fmla="*/ 1876183 w 1876183"/>
                <a:gd name="connsiteY0" fmla="*/ 0 h 257442"/>
                <a:gd name="connsiteX1" fmla="*/ 1821462 w 1876183"/>
                <a:gd name="connsiteY1" fmla="*/ 257442 h 257442"/>
                <a:gd name="connsiteX2" fmla="*/ 0 w 1876183"/>
                <a:gd name="connsiteY2" fmla="*/ 257442 h 257442"/>
                <a:gd name="connsiteX3" fmla="*/ 0 w 1876183"/>
                <a:gd name="connsiteY3" fmla="*/ 0 h 257442"/>
                <a:gd name="connsiteX0" fmla="*/ 1876183 w 1876183"/>
                <a:gd name="connsiteY0" fmla="*/ 0 h 257442"/>
                <a:gd name="connsiteX1" fmla="*/ 1821462 w 1876183"/>
                <a:gd name="connsiteY1" fmla="*/ 257442 h 257442"/>
                <a:gd name="connsiteX2" fmla="*/ 0 w 1876183"/>
                <a:gd name="connsiteY2" fmla="*/ 257442 h 257442"/>
                <a:gd name="connsiteX3" fmla="*/ 0 w 1876183"/>
                <a:gd name="connsiteY3" fmla="*/ 0 h 257442"/>
                <a:gd name="connsiteX0" fmla="*/ 2044497 w 2044497"/>
                <a:gd name="connsiteY0" fmla="*/ 0 h 257442"/>
                <a:gd name="connsiteX1" fmla="*/ 1821462 w 2044497"/>
                <a:gd name="connsiteY1" fmla="*/ 257442 h 257442"/>
                <a:gd name="connsiteX2" fmla="*/ 0 w 2044497"/>
                <a:gd name="connsiteY2" fmla="*/ 257442 h 257442"/>
                <a:gd name="connsiteX3" fmla="*/ 0 w 2044497"/>
                <a:gd name="connsiteY3" fmla="*/ 0 h 257442"/>
                <a:gd name="connsiteX0" fmla="*/ 2044497 w 2044497"/>
                <a:gd name="connsiteY0" fmla="*/ 0 h 257442"/>
                <a:gd name="connsiteX1" fmla="*/ 1989776 w 2044497"/>
                <a:gd name="connsiteY1" fmla="*/ 257442 h 257442"/>
                <a:gd name="connsiteX2" fmla="*/ 0 w 2044497"/>
                <a:gd name="connsiteY2" fmla="*/ 257442 h 257442"/>
                <a:gd name="connsiteX3" fmla="*/ 0 w 2044497"/>
                <a:gd name="connsiteY3" fmla="*/ 0 h 257442"/>
                <a:gd name="connsiteX0" fmla="*/ 2044497 w 2044497"/>
                <a:gd name="connsiteY0" fmla="*/ 0 h 257442"/>
                <a:gd name="connsiteX1" fmla="*/ 1989776 w 2044497"/>
                <a:gd name="connsiteY1" fmla="*/ 257442 h 257442"/>
                <a:gd name="connsiteX2" fmla="*/ 0 w 2044497"/>
                <a:gd name="connsiteY2" fmla="*/ 257442 h 257442"/>
                <a:gd name="connsiteX3" fmla="*/ 0 w 2044497"/>
                <a:gd name="connsiteY3" fmla="*/ 0 h 257442"/>
                <a:gd name="connsiteX0" fmla="*/ 2044497 w 2044497"/>
                <a:gd name="connsiteY0" fmla="*/ 0 h 257442"/>
                <a:gd name="connsiteX1" fmla="*/ 1989776 w 2044497"/>
                <a:gd name="connsiteY1" fmla="*/ 257442 h 257442"/>
                <a:gd name="connsiteX2" fmla="*/ 0 w 2044497"/>
                <a:gd name="connsiteY2" fmla="*/ 257442 h 257442"/>
                <a:gd name="connsiteX3" fmla="*/ 0 w 2044497"/>
                <a:gd name="connsiteY3" fmla="*/ 0 h 257442"/>
                <a:gd name="connsiteX0" fmla="*/ 2212813 w 2212813"/>
                <a:gd name="connsiteY0" fmla="*/ 0 h 257442"/>
                <a:gd name="connsiteX1" fmla="*/ 1989776 w 2212813"/>
                <a:gd name="connsiteY1" fmla="*/ 257442 h 257442"/>
                <a:gd name="connsiteX2" fmla="*/ 0 w 2212813"/>
                <a:gd name="connsiteY2" fmla="*/ 257442 h 257442"/>
                <a:gd name="connsiteX3" fmla="*/ 0 w 2212813"/>
                <a:gd name="connsiteY3" fmla="*/ 0 h 257442"/>
                <a:gd name="connsiteX0" fmla="*/ 2212813 w 2212813"/>
                <a:gd name="connsiteY0" fmla="*/ 0 h 257442"/>
                <a:gd name="connsiteX1" fmla="*/ 2158092 w 2212813"/>
                <a:gd name="connsiteY1" fmla="*/ 257442 h 257442"/>
                <a:gd name="connsiteX2" fmla="*/ 0 w 2212813"/>
                <a:gd name="connsiteY2" fmla="*/ 257442 h 257442"/>
                <a:gd name="connsiteX3" fmla="*/ 0 w 2212813"/>
                <a:gd name="connsiteY3" fmla="*/ 0 h 257442"/>
                <a:gd name="connsiteX0" fmla="*/ 2212813 w 2212813"/>
                <a:gd name="connsiteY0" fmla="*/ 0 h 257442"/>
                <a:gd name="connsiteX1" fmla="*/ 2158092 w 2212813"/>
                <a:gd name="connsiteY1" fmla="*/ 257442 h 257442"/>
                <a:gd name="connsiteX2" fmla="*/ 0 w 2212813"/>
                <a:gd name="connsiteY2" fmla="*/ 257442 h 257442"/>
                <a:gd name="connsiteX3" fmla="*/ 0 w 2212813"/>
                <a:gd name="connsiteY3" fmla="*/ 0 h 257442"/>
                <a:gd name="connsiteX0" fmla="*/ 2212813 w 2212813"/>
                <a:gd name="connsiteY0" fmla="*/ 0 h 257442"/>
                <a:gd name="connsiteX1" fmla="*/ 2158092 w 2212813"/>
                <a:gd name="connsiteY1" fmla="*/ 257442 h 257442"/>
                <a:gd name="connsiteX2" fmla="*/ 0 w 2212813"/>
                <a:gd name="connsiteY2" fmla="*/ 257442 h 257442"/>
                <a:gd name="connsiteX3" fmla="*/ 0 w 2212813"/>
                <a:gd name="connsiteY3" fmla="*/ 0 h 257442"/>
                <a:gd name="connsiteX0" fmla="*/ 2381128 w 2381128"/>
                <a:gd name="connsiteY0" fmla="*/ 0 h 257442"/>
                <a:gd name="connsiteX1" fmla="*/ 2158092 w 2381128"/>
                <a:gd name="connsiteY1" fmla="*/ 257442 h 257442"/>
                <a:gd name="connsiteX2" fmla="*/ 0 w 2381128"/>
                <a:gd name="connsiteY2" fmla="*/ 257442 h 257442"/>
                <a:gd name="connsiteX3" fmla="*/ 0 w 2381128"/>
                <a:gd name="connsiteY3" fmla="*/ 0 h 257442"/>
                <a:gd name="connsiteX0" fmla="*/ 2381128 w 2381128"/>
                <a:gd name="connsiteY0" fmla="*/ 0 h 257442"/>
                <a:gd name="connsiteX1" fmla="*/ 2326406 w 2381128"/>
                <a:gd name="connsiteY1" fmla="*/ 257442 h 257442"/>
                <a:gd name="connsiteX2" fmla="*/ 0 w 2381128"/>
                <a:gd name="connsiteY2" fmla="*/ 257442 h 257442"/>
                <a:gd name="connsiteX3" fmla="*/ 0 w 2381128"/>
                <a:gd name="connsiteY3" fmla="*/ 0 h 257442"/>
                <a:gd name="connsiteX0" fmla="*/ 2381129 w 2381129"/>
                <a:gd name="connsiteY0" fmla="*/ 0 h 257442"/>
                <a:gd name="connsiteX1" fmla="*/ 2326407 w 2381129"/>
                <a:gd name="connsiteY1" fmla="*/ 257442 h 257442"/>
                <a:gd name="connsiteX2" fmla="*/ 0 w 2381129"/>
                <a:gd name="connsiteY2" fmla="*/ 257442 h 257442"/>
                <a:gd name="connsiteX3" fmla="*/ 1 w 2381129"/>
                <a:gd name="connsiteY3" fmla="*/ 0 h 257442"/>
                <a:gd name="connsiteX0" fmla="*/ 2381129 w 2381129"/>
                <a:gd name="connsiteY0" fmla="*/ 0 h 257442"/>
                <a:gd name="connsiteX1" fmla="*/ 2326407 w 2381129"/>
                <a:gd name="connsiteY1" fmla="*/ 257442 h 257442"/>
                <a:gd name="connsiteX2" fmla="*/ 0 w 2381129"/>
                <a:gd name="connsiteY2" fmla="*/ 257442 h 257442"/>
                <a:gd name="connsiteX3" fmla="*/ 1 w 2381129"/>
                <a:gd name="connsiteY3" fmla="*/ 0 h 257442"/>
                <a:gd name="connsiteX0" fmla="*/ 2541429 w 2541429"/>
                <a:gd name="connsiteY0" fmla="*/ 0 h 257442"/>
                <a:gd name="connsiteX1" fmla="*/ 2326407 w 2541429"/>
                <a:gd name="connsiteY1" fmla="*/ 257442 h 257442"/>
                <a:gd name="connsiteX2" fmla="*/ 0 w 2541429"/>
                <a:gd name="connsiteY2" fmla="*/ 257442 h 257442"/>
                <a:gd name="connsiteX3" fmla="*/ 1 w 2541429"/>
                <a:gd name="connsiteY3" fmla="*/ 0 h 257442"/>
                <a:gd name="connsiteX0" fmla="*/ 2541429 w 2541429"/>
                <a:gd name="connsiteY0" fmla="*/ 0 h 257442"/>
                <a:gd name="connsiteX1" fmla="*/ 2486708 w 2541429"/>
                <a:gd name="connsiteY1" fmla="*/ 257442 h 257442"/>
                <a:gd name="connsiteX2" fmla="*/ 0 w 2541429"/>
                <a:gd name="connsiteY2" fmla="*/ 257442 h 257442"/>
                <a:gd name="connsiteX3" fmla="*/ 1 w 2541429"/>
                <a:gd name="connsiteY3" fmla="*/ 0 h 257442"/>
                <a:gd name="connsiteX0" fmla="*/ 2541428 w 2541428"/>
                <a:gd name="connsiteY0" fmla="*/ 0 h 257442"/>
                <a:gd name="connsiteX1" fmla="*/ 2486707 w 2541428"/>
                <a:gd name="connsiteY1" fmla="*/ 257442 h 257442"/>
                <a:gd name="connsiteX2" fmla="*/ 0 w 2541428"/>
                <a:gd name="connsiteY2" fmla="*/ 257442 h 257442"/>
                <a:gd name="connsiteX3" fmla="*/ 0 w 2541428"/>
                <a:gd name="connsiteY3" fmla="*/ 0 h 257442"/>
                <a:gd name="connsiteX0" fmla="*/ 2541429 w 2541429"/>
                <a:gd name="connsiteY0" fmla="*/ 0 h 257442"/>
                <a:gd name="connsiteX1" fmla="*/ 2486708 w 2541429"/>
                <a:gd name="connsiteY1" fmla="*/ 257442 h 257442"/>
                <a:gd name="connsiteX2" fmla="*/ 1 w 2541429"/>
                <a:gd name="connsiteY2" fmla="*/ 257442 h 257442"/>
                <a:gd name="connsiteX3" fmla="*/ 0 w 2541429"/>
                <a:gd name="connsiteY3" fmla="*/ 0 h 257442"/>
                <a:gd name="connsiteX0" fmla="*/ 2862030 w 2862030"/>
                <a:gd name="connsiteY0" fmla="*/ 0 h 257442"/>
                <a:gd name="connsiteX1" fmla="*/ 2486708 w 2862030"/>
                <a:gd name="connsiteY1" fmla="*/ 257442 h 257442"/>
                <a:gd name="connsiteX2" fmla="*/ 1 w 2862030"/>
                <a:gd name="connsiteY2" fmla="*/ 257442 h 257442"/>
                <a:gd name="connsiteX3" fmla="*/ 0 w 2862030"/>
                <a:gd name="connsiteY3" fmla="*/ 0 h 257442"/>
                <a:gd name="connsiteX0" fmla="*/ 2862030 w 2862030"/>
                <a:gd name="connsiteY0" fmla="*/ 0 h 257442"/>
                <a:gd name="connsiteX1" fmla="*/ 2807308 w 2862030"/>
                <a:gd name="connsiteY1" fmla="*/ 257442 h 257442"/>
                <a:gd name="connsiteX2" fmla="*/ 1 w 2862030"/>
                <a:gd name="connsiteY2" fmla="*/ 257442 h 257442"/>
                <a:gd name="connsiteX3" fmla="*/ 0 w 2862030"/>
                <a:gd name="connsiteY3" fmla="*/ 0 h 257442"/>
                <a:gd name="connsiteX0" fmla="*/ 2862030 w 2862030"/>
                <a:gd name="connsiteY0" fmla="*/ 0 h 257442"/>
                <a:gd name="connsiteX1" fmla="*/ 2807308 w 2862030"/>
                <a:gd name="connsiteY1" fmla="*/ 257442 h 257442"/>
                <a:gd name="connsiteX2" fmla="*/ 0 w 2862030"/>
                <a:gd name="connsiteY2" fmla="*/ 257442 h 257442"/>
                <a:gd name="connsiteX3" fmla="*/ 0 w 2862030"/>
                <a:gd name="connsiteY3" fmla="*/ 0 h 257442"/>
                <a:gd name="connsiteX0" fmla="*/ 2862030 w 2862030"/>
                <a:gd name="connsiteY0" fmla="*/ 0 h 257442"/>
                <a:gd name="connsiteX1" fmla="*/ 2807308 w 2862030"/>
                <a:gd name="connsiteY1" fmla="*/ 257442 h 257442"/>
                <a:gd name="connsiteX2" fmla="*/ 0 w 2862030"/>
                <a:gd name="connsiteY2" fmla="*/ 257442 h 257442"/>
                <a:gd name="connsiteX3" fmla="*/ 0 w 2862030"/>
                <a:gd name="connsiteY3" fmla="*/ 0 h 257442"/>
                <a:gd name="connsiteX0" fmla="*/ 3022329 w 3022329"/>
                <a:gd name="connsiteY0" fmla="*/ 0 h 257442"/>
                <a:gd name="connsiteX1" fmla="*/ 2807308 w 3022329"/>
                <a:gd name="connsiteY1" fmla="*/ 257442 h 257442"/>
                <a:gd name="connsiteX2" fmla="*/ 0 w 3022329"/>
                <a:gd name="connsiteY2" fmla="*/ 257442 h 257442"/>
                <a:gd name="connsiteX3" fmla="*/ 0 w 3022329"/>
                <a:gd name="connsiteY3" fmla="*/ 0 h 257442"/>
                <a:gd name="connsiteX0" fmla="*/ 3022329 w 3022329"/>
                <a:gd name="connsiteY0" fmla="*/ 0 h 257442"/>
                <a:gd name="connsiteX1" fmla="*/ 2967608 w 3022329"/>
                <a:gd name="connsiteY1" fmla="*/ 257442 h 257442"/>
                <a:gd name="connsiteX2" fmla="*/ 0 w 3022329"/>
                <a:gd name="connsiteY2" fmla="*/ 257442 h 257442"/>
                <a:gd name="connsiteX3" fmla="*/ 0 w 3022329"/>
                <a:gd name="connsiteY3" fmla="*/ 0 h 257442"/>
                <a:gd name="connsiteX0" fmla="*/ 3022329 w 3022329"/>
                <a:gd name="connsiteY0" fmla="*/ 0 h 257442"/>
                <a:gd name="connsiteX1" fmla="*/ 2967608 w 3022329"/>
                <a:gd name="connsiteY1" fmla="*/ 257442 h 257442"/>
                <a:gd name="connsiteX2" fmla="*/ 0 w 3022329"/>
                <a:gd name="connsiteY2" fmla="*/ 257442 h 257442"/>
                <a:gd name="connsiteX3" fmla="*/ 0 w 3022329"/>
                <a:gd name="connsiteY3" fmla="*/ 0 h 257442"/>
                <a:gd name="connsiteX0" fmla="*/ 3022329 w 3022329"/>
                <a:gd name="connsiteY0" fmla="*/ 0 h 257442"/>
                <a:gd name="connsiteX1" fmla="*/ 2967608 w 3022329"/>
                <a:gd name="connsiteY1" fmla="*/ 257442 h 257442"/>
                <a:gd name="connsiteX2" fmla="*/ 0 w 3022329"/>
                <a:gd name="connsiteY2" fmla="*/ 257442 h 257442"/>
                <a:gd name="connsiteX3" fmla="*/ 0 w 3022329"/>
                <a:gd name="connsiteY3" fmla="*/ 0 h 257442"/>
                <a:gd name="connsiteX0" fmla="*/ 3182630 w 3182630"/>
                <a:gd name="connsiteY0" fmla="*/ 0 h 257442"/>
                <a:gd name="connsiteX1" fmla="*/ 2967608 w 3182630"/>
                <a:gd name="connsiteY1" fmla="*/ 257442 h 257442"/>
                <a:gd name="connsiteX2" fmla="*/ 0 w 3182630"/>
                <a:gd name="connsiteY2" fmla="*/ 257442 h 257442"/>
                <a:gd name="connsiteX3" fmla="*/ 0 w 3182630"/>
                <a:gd name="connsiteY3" fmla="*/ 0 h 257442"/>
                <a:gd name="connsiteX0" fmla="*/ 3182630 w 3182630"/>
                <a:gd name="connsiteY0" fmla="*/ 0 h 257442"/>
                <a:gd name="connsiteX1" fmla="*/ 3127908 w 3182630"/>
                <a:gd name="connsiteY1" fmla="*/ 257442 h 257442"/>
                <a:gd name="connsiteX2" fmla="*/ 0 w 3182630"/>
                <a:gd name="connsiteY2" fmla="*/ 257442 h 257442"/>
                <a:gd name="connsiteX3" fmla="*/ 0 w 3182630"/>
                <a:gd name="connsiteY3" fmla="*/ 0 h 257442"/>
                <a:gd name="connsiteX0" fmla="*/ 3182631 w 3182631"/>
                <a:gd name="connsiteY0" fmla="*/ 0 h 257442"/>
                <a:gd name="connsiteX1" fmla="*/ 3127909 w 3182631"/>
                <a:gd name="connsiteY1" fmla="*/ 257442 h 257442"/>
                <a:gd name="connsiteX2" fmla="*/ 0 w 3182631"/>
                <a:gd name="connsiteY2" fmla="*/ 257442 h 257442"/>
                <a:gd name="connsiteX3" fmla="*/ 1 w 3182631"/>
                <a:gd name="connsiteY3" fmla="*/ 0 h 257442"/>
                <a:gd name="connsiteX0" fmla="*/ 3182631 w 3182631"/>
                <a:gd name="connsiteY0" fmla="*/ 0 h 257442"/>
                <a:gd name="connsiteX1" fmla="*/ 3127909 w 3182631"/>
                <a:gd name="connsiteY1" fmla="*/ 257442 h 257442"/>
                <a:gd name="connsiteX2" fmla="*/ 0 w 3182631"/>
                <a:gd name="connsiteY2" fmla="*/ 257442 h 257442"/>
                <a:gd name="connsiteX3" fmla="*/ 1 w 3182631"/>
                <a:gd name="connsiteY3" fmla="*/ 0 h 257442"/>
                <a:gd name="connsiteX0" fmla="*/ 3342931 w 3342931"/>
                <a:gd name="connsiteY0" fmla="*/ 0 h 257442"/>
                <a:gd name="connsiteX1" fmla="*/ 3127909 w 3342931"/>
                <a:gd name="connsiteY1" fmla="*/ 257442 h 257442"/>
                <a:gd name="connsiteX2" fmla="*/ 0 w 3342931"/>
                <a:gd name="connsiteY2" fmla="*/ 257442 h 257442"/>
                <a:gd name="connsiteX3" fmla="*/ 1 w 3342931"/>
                <a:gd name="connsiteY3" fmla="*/ 0 h 257442"/>
                <a:gd name="connsiteX0" fmla="*/ 3342931 w 3342931"/>
                <a:gd name="connsiteY0" fmla="*/ 0 h 257442"/>
                <a:gd name="connsiteX1" fmla="*/ 3288210 w 3342931"/>
                <a:gd name="connsiteY1" fmla="*/ 257442 h 257442"/>
                <a:gd name="connsiteX2" fmla="*/ 0 w 3342931"/>
                <a:gd name="connsiteY2" fmla="*/ 257442 h 257442"/>
                <a:gd name="connsiteX3" fmla="*/ 1 w 3342931"/>
                <a:gd name="connsiteY3" fmla="*/ 0 h 257442"/>
                <a:gd name="connsiteX0" fmla="*/ 3342930 w 3342930"/>
                <a:gd name="connsiteY0" fmla="*/ 0 h 257442"/>
                <a:gd name="connsiteX1" fmla="*/ 3288209 w 3342930"/>
                <a:gd name="connsiteY1" fmla="*/ 257442 h 257442"/>
                <a:gd name="connsiteX2" fmla="*/ 0 w 3342930"/>
                <a:gd name="connsiteY2" fmla="*/ 257442 h 257442"/>
                <a:gd name="connsiteX3" fmla="*/ 0 w 3342930"/>
                <a:gd name="connsiteY3" fmla="*/ 0 h 257442"/>
                <a:gd name="connsiteX0" fmla="*/ 3342931 w 3342931"/>
                <a:gd name="connsiteY0" fmla="*/ 0 h 257442"/>
                <a:gd name="connsiteX1" fmla="*/ 3288210 w 3342931"/>
                <a:gd name="connsiteY1" fmla="*/ 257442 h 257442"/>
                <a:gd name="connsiteX2" fmla="*/ 1 w 3342931"/>
                <a:gd name="connsiteY2" fmla="*/ 257442 h 257442"/>
                <a:gd name="connsiteX3" fmla="*/ 0 w 3342931"/>
                <a:gd name="connsiteY3" fmla="*/ 0 h 257442"/>
                <a:gd name="connsiteX0" fmla="*/ 3673149 w 3673149"/>
                <a:gd name="connsiteY0" fmla="*/ 0 h 257442"/>
                <a:gd name="connsiteX1" fmla="*/ 3288210 w 3673149"/>
                <a:gd name="connsiteY1" fmla="*/ 257442 h 257442"/>
                <a:gd name="connsiteX2" fmla="*/ 1 w 3673149"/>
                <a:gd name="connsiteY2" fmla="*/ 257442 h 257442"/>
                <a:gd name="connsiteX3" fmla="*/ 0 w 3673149"/>
                <a:gd name="connsiteY3" fmla="*/ 0 h 257442"/>
                <a:gd name="connsiteX0" fmla="*/ 3673149 w 3673149"/>
                <a:gd name="connsiteY0" fmla="*/ 0 h 257442"/>
                <a:gd name="connsiteX1" fmla="*/ 3618428 w 3673149"/>
                <a:gd name="connsiteY1" fmla="*/ 257442 h 257442"/>
                <a:gd name="connsiteX2" fmla="*/ 1 w 3673149"/>
                <a:gd name="connsiteY2" fmla="*/ 257442 h 257442"/>
                <a:gd name="connsiteX3" fmla="*/ 0 w 3673149"/>
                <a:gd name="connsiteY3" fmla="*/ 0 h 257442"/>
                <a:gd name="connsiteX0" fmla="*/ 3673149 w 3673149"/>
                <a:gd name="connsiteY0" fmla="*/ 0 h 257442"/>
                <a:gd name="connsiteX1" fmla="*/ 3618428 w 3673149"/>
                <a:gd name="connsiteY1" fmla="*/ 257442 h 257442"/>
                <a:gd name="connsiteX2" fmla="*/ 1 w 3673149"/>
                <a:gd name="connsiteY2" fmla="*/ 257442 h 257442"/>
                <a:gd name="connsiteX3" fmla="*/ 0 w 3673149"/>
                <a:gd name="connsiteY3" fmla="*/ 0 h 257442"/>
                <a:gd name="connsiteX0" fmla="*/ 3673148 w 3673148"/>
                <a:gd name="connsiteY0" fmla="*/ 0 h 257442"/>
                <a:gd name="connsiteX1" fmla="*/ 3618427 w 3673148"/>
                <a:gd name="connsiteY1" fmla="*/ 257442 h 257442"/>
                <a:gd name="connsiteX2" fmla="*/ 0 w 3673148"/>
                <a:gd name="connsiteY2" fmla="*/ 257442 h 257442"/>
                <a:gd name="connsiteX3" fmla="*/ 0 w 3673148"/>
                <a:gd name="connsiteY3" fmla="*/ 0 h 257442"/>
                <a:gd name="connsiteX0" fmla="*/ 3833448 w 3833448"/>
                <a:gd name="connsiteY0" fmla="*/ 0 h 257442"/>
                <a:gd name="connsiteX1" fmla="*/ 3618427 w 3833448"/>
                <a:gd name="connsiteY1" fmla="*/ 257442 h 257442"/>
                <a:gd name="connsiteX2" fmla="*/ 0 w 3833448"/>
                <a:gd name="connsiteY2" fmla="*/ 257442 h 257442"/>
                <a:gd name="connsiteX3" fmla="*/ 0 w 3833448"/>
                <a:gd name="connsiteY3" fmla="*/ 0 h 257442"/>
                <a:gd name="connsiteX0" fmla="*/ 3833448 w 3833448"/>
                <a:gd name="connsiteY0" fmla="*/ 0 h 257442"/>
                <a:gd name="connsiteX1" fmla="*/ 3778727 w 3833448"/>
                <a:gd name="connsiteY1" fmla="*/ 257442 h 257442"/>
                <a:gd name="connsiteX2" fmla="*/ 0 w 3833448"/>
                <a:gd name="connsiteY2" fmla="*/ 257442 h 257442"/>
                <a:gd name="connsiteX3" fmla="*/ 0 w 3833448"/>
                <a:gd name="connsiteY3" fmla="*/ 0 h 257442"/>
                <a:gd name="connsiteX0" fmla="*/ 3833449 w 3833449"/>
                <a:gd name="connsiteY0" fmla="*/ 0 h 257442"/>
                <a:gd name="connsiteX1" fmla="*/ 3778728 w 3833449"/>
                <a:gd name="connsiteY1" fmla="*/ 257442 h 257442"/>
                <a:gd name="connsiteX2" fmla="*/ 0 w 3833449"/>
                <a:gd name="connsiteY2" fmla="*/ 257442 h 257442"/>
                <a:gd name="connsiteX3" fmla="*/ 1 w 3833449"/>
                <a:gd name="connsiteY3" fmla="*/ 0 h 257442"/>
                <a:gd name="connsiteX0" fmla="*/ 3833449 w 3833449"/>
                <a:gd name="connsiteY0" fmla="*/ 0 h 257442"/>
                <a:gd name="connsiteX1" fmla="*/ 3778728 w 3833449"/>
                <a:gd name="connsiteY1" fmla="*/ 257442 h 257442"/>
                <a:gd name="connsiteX2" fmla="*/ 0 w 3833449"/>
                <a:gd name="connsiteY2" fmla="*/ 257442 h 257442"/>
                <a:gd name="connsiteX3" fmla="*/ 1 w 3833449"/>
                <a:gd name="connsiteY3" fmla="*/ 0 h 257442"/>
                <a:gd name="connsiteX0" fmla="*/ 4019398 w 4019398"/>
                <a:gd name="connsiteY0" fmla="*/ 0 h 257442"/>
                <a:gd name="connsiteX1" fmla="*/ 3778728 w 4019398"/>
                <a:gd name="connsiteY1" fmla="*/ 257442 h 257442"/>
                <a:gd name="connsiteX2" fmla="*/ 0 w 4019398"/>
                <a:gd name="connsiteY2" fmla="*/ 257442 h 257442"/>
                <a:gd name="connsiteX3" fmla="*/ 1 w 4019398"/>
                <a:gd name="connsiteY3" fmla="*/ 0 h 257442"/>
                <a:gd name="connsiteX0" fmla="*/ 4019398 w 4019398"/>
                <a:gd name="connsiteY0" fmla="*/ 0 h 257442"/>
                <a:gd name="connsiteX1" fmla="*/ 3964676 w 4019398"/>
                <a:gd name="connsiteY1" fmla="*/ 257442 h 257442"/>
                <a:gd name="connsiteX2" fmla="*/ 0 w 4019398"/>
                <a:gd name="connsiteY2" fmla="*/ 257442 h 257442"/>
                <a:gd name="connsiteX3" fmla="*/ 1 w 4019398"/>
                <a:gd name="connsiteY3" fmla="*/ 0 h 257442"/>
                <a:gd name="connsiteX0" fmla="*/ 4019398 w 4019398"/>
                <a:gd name="connsiteY0" fmla="*/ 0 h 257442"/>
                <a:gd name="connsiteX1" fmla="*/ 3964676 w 4019398"/>
                <a:gd name="connsiteY1" fmla="*/ 257442 h 257442"/>
                <a:gd name="connsiteX2" fmla="*/ 0 w 4019398"/>
                <a:gd name="connsiteY2" fmla="*/ 257442 h 257442"/>
                <a:gd name="connsiteX3" fmla="*/ 1 w 4019398"/>
                <a:gd name="connsiteY3" fmla="*/ 0 h 257442"/>
                <a:gd name="connsiteX0" fmla="*/ 4019398 w 4019398"/>
                <a:gd name="connsiteY0" fmla="*/ 0 h 257442"/>
                <a:gd name="connsiteX1" fmla="*/ 3964676 w 4019398"/>
                <a:gd name="connsiteY1" fmla="*/ 257442 h 257442"/>
                <a:gd name="connsiteX2" fmla="*/ 0 w 4019398"/>
                <a:gd name="connsiteY2" fmla="*/ 257442 h 257442"/>
                <a:gd name="connsiteX3" fmla="*/ 0 w 4019398"/>
                <a:gd name="connsiteY3" fmla="*/ 0 h 257442"/>
                <a:gd name="connsiteX0" fmla="*/ 4179697 w 4179697"/>
                <a:gd name="connsiteY0" fmla="*/ 0 h 257442"/>
                <a:gd name="connsiteX1" fmla="*/ 3964676 w 4179697"/>
                <a:gd name="connsiteY1" fmla="*/ 257442 h 257442"/>
                <a:gd name="connsiteX2" fmla="*/ 0 w 4179697"/>
                <a:gd name="connsiteY2" fmla="*/ 257442 h 257442"/>
                <a:gd name="connsiteX3" fmla="*/ 0 w 4179697"/>
                <a:gd name="connsiteY3" fmla="*/ 0 h 257442"/>
                <a:gd name="connsiteX0" fmla="*/ 4179697 w 4179697"/>
                <a:gd name="connsiteY0" fmla="*/ 0 h 257442"/>
                <a:gd name="connsiteX1" fmla="*/ 4124976 w 4179697"/>
                <a:gd name="connsiteY1" fmla="*/ 257442 h 257442"/>
                <a:gd name="connsiteX2" fmla="*/ 0 w 4179697"/>
                <a:gd name="connsiteY2" fmla="*/ 257442 h 257442"/>
                <a:gd name="connsiteX3" fmla="*/ 0 w 4179697"/>
                <a:gd name="connsiteY3" fmla="*/ 0 h 257442"/>
                <a:gd name="connsiteX0" fmla="*/ 4179697 w 4179697"/>
                <a:gd name="connsiteY0" fmla="*/ 0 h 257442"/>
                <a:gd name="connsiteX1" fmla="*/ 4124976 w 4179697"/>
                <a:gd name="connsiteY1" fmla="*/ 257442 h 257442"/>
                <a:gd name="connsiteX2" fmla="*/ 0 w 4179697"/>
                <a:gd name="connsiteY2" fmla="*/ 257442 h 257442"/>
                <a:gd name="connsiteX3" fmla="*/ 0 w 4179697"/>
                <a:gd name="connsiteY3" fmla="*/ 0 h 257442"/>
                <a:gd name="connsiteX0" fmla="*/ 4179697 w 4179697"/>
                <a:gd name="connsiteY0" fmla="*/ 0 h 257442"/>
                <a:gd name="connsiteX1" fmla="*/ 4124976 w 4179697"/>
                <a:gd name="connsiteY1" fmla="*/ 257442 h 257442"/>
                <a:gd name="connsiteX2" fmla="*/ 0 w 4179697"/>
                <a:gd name="connsiteY2" fmla="*/ 257442 h 257442"/>
                <a:gd name="connsiteX3" fmla="*/ 0 w 4179697"/>
                <a:gd name="connsiteY3" fmla="*/ 0 h 257442"/>
                <a:gd name="connsiteX0" fmla="*/ 4348013 w 4348013"/>
                <a:gd name="connsiteY0" fmla="*/ 0 h 257442"/>
                <a:gd name="connsiteX1" fmla="*/ 4124976 w 4348013"/>
                <a:gd name="connsiteY1" fmla="*/ 257442 h 257442"/>
                <a:gd name="connsiteX2" fmla="*/ 0 w 4348013"/>
                <a:gd name="connsiteY2" fmla="*/ 257442 h 257442"/>
                <a:gd name="connsiteX3" fmla="*/ 0 w 4348013"/>
                <a:gd name="connsiteY3" fmla="*/ 0 h 257442"/>
                <a:gd name="connsiteX0" fmla="*/ 4348013 w 4348013"/>
                <a:gd name="connsiteY0" fmla="*/ 0 h 257442"/>
                <a:gd name="connsiteX1" fmla="*/ 4293292 w 4348013"/>
                <a:gd name="connsiteY1" fmla="*/ 257442 h 257442"/>
                <a:gd name="connsiteX2" fmla="*/ 0 w 4348013"/>
                <a:gd name="connsiteY2" fmla="*/ 257442 h 257442"/>
                <a:gd name="connsiteX3" fmla="*/ 0 w 4348013"/>
                <a:gd name="connsiteY3" fmla="*/ 0 h 257442"/>
                <a:gd name="connsiteX0" fmla="*/ 4348013 w 4348013"/>
                <a:gd name="connsiteY0" fmla="*/ 0 h 257442"/>
                <a:gd name="connsiteX1" fmla="*/ 4293292 w 4348013"/>
                <a:gd name="connsiteY1" fmla="*/ 257442 h 257442"/>
                <a:gd name="connsiteX2" fmla="*/ 0 w 4348013"/>
                <a:gd name="connsiteY2" fmla="*/ 257442 h 257442"/>
                <a:gd name="connsiteX3" fmla="*/ 0 w 4348013"/>
                <a:gd name="connsiteY3" fmla="*/ 0 h 257442"/>
                <a:gd name="connsiteX0" fmla="*/ 4348013 w 4348013"/>
                <a:gd name="connsiteY0" fmla="*/ 0 h 257442"/>
                <a:gd name="connsiteX1" fmla="*/ 4293292 w 4348013"/>
                <a:gd name="connsiteY1" fmla="*/ 257442 h 257442"/>
                <a:gd name="connsiteX2" fmla="*/ 0 w 4348013"/>
                <a:gd name="connsiteY2" fmla="*/ 257442 h 257442"/>
                <a:gd name="connsiteX3" fmla="*/ 0 w 4348013"/>
                <a:gd name="connsiteY3" fmla="*/ 0 h 257442"/>
                <a:gd name="connsiteX0" fmla="*/ 4598530 w 4598530"/>
                <a:gd name="connsiteY0" fmla="*/ 0 h 257442"/>
                <a:gd name="connsiteX1" fmla="*/ 4293292 w 4598530"/>
                <a:gd name="connsiteY1" fmla="*/ 257442 h 257442"/>
                <a:gd name="connsiteX2" fmla="*/ 0 w 4598530"/>
                <a:gd name="connsiteY2" fmla="*/ 257442 h 257442"/>
                <a:gd name="connsiteX3" fmla="*/ 0 w 4598530"/>
                <a:gd name="connsiteY3" fmla="*/ 0 h 257442"/>
                <a:gd name="connsiteX0" fmla="*/ 4598530 w 4598530"/>
                <a:gd name="connsiteY0" fmla="*/ 0 h 257442"/>
                <a:gd name="connsiteX1" fmla="*/ 4543808 w 4598530"/>
                <a:gd name="connsiteY1" fmla="*/ 257442 h 257442"/>
                <a:gd name="connsiteX2" fmla="*/ 0 w 4598530"/>
                <a:gd name="connsiteY2" fmla="*/ 257442 h 257442"/>
                <a:gd name="connsiteX3" fmla="*/ 0 w 4598530"/>
                <a:gd name="connsiteY3" fmla="*/ 0 h 257442"/>
                <a:gd name="connsiteX0" fmla="*/ 4598531 w 4598531"/>
                <a:gd name="connsiteY0" fmla="*/ 0 h 257442"/>
                <a:gd name="connsiteX1" fmla="*/ 4543809 w 4598531"/>
                <a:gd name="connsiteY1" fmla="*/ 257442 h 257442"/>
                <a:gd name="connsiteX2" fmla="*/ 0 w 4598531"/>
                <a:gd name="connsiteY2" fmla="*/ 257442 h 257442"/>
                <a:gd name="connsiteX3" fmla="*/ 1 w 4598531"/>
                <a:gd name="connsiteY3" fmla="*/ 0 h 257442"/>
                <a:gd name="connsiteX0" fmla="*/ 4598531 w 4598531"/>
                <a:gd name="connsiteY0" fmla="*/ 0 h 257442"/>
                <a:gd name="connsiteX1" fmla="*/ 4543809 w 4598531"/>
                <a:gd name="connsiteY1" fmla="*/ 257442 h 257442"/>
                <a:gd name="connsiteX2" fmla="*/ 0 w 4598531"/>
                <a:gd name="connsiteY2" fmla="*/ 257442 h 257442"/>
                <a:gd name="connsiteX3" fmla="*/ 1 w 4598531"/>
                <a:gd name="connsiteY3" fmla="*/ 0 h 257442"/>
                <a:gd name="connsiteX0" fmla="*/ 950802 w 4543809"/>
                <a:gd name="connsiteY0" fmla="*/ 0 h 257442"/>
                <a:gd name="connsiteX1" fmla="*/ 4543809 w 4543809"/>
                <a:gd name="connsiteY1" fmla="*/ 257442 h 257442"/>
                <a:gd name="connsiteX2" fmla="*/ 0 w 4543809"/>
                <a:gd name="connsiteY2" fmla="*/ 257442 h 257442"/>
                <a:gd name="connsiteX3" fmla="*/ 1 w 4543809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0 w 950802"/>
                <a:gd name="connsiteY2" fmla="*/ 257442 h 257442"/>
                <a:gd name="connsiteX3" fmla="*/ 1 w 95080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1128734 w 1128734"/>
                <a:gd name="connsiteY0" fmla="*/ 0 h 257442"/>
                <a:gd name="connsiteX1" fmla="*/ 896080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2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314683 w 1314683"/>
                <a:gd name="connsiteY0" fmla="*/ 0 h 257442"/>
                <a:gd name="connsiteX1" fmla="*/ 1074013 w 1314683"/>
                <a:gd name="connsiteY1" fmla="*/ 257442 h 257442"/>
                <a:gd name="connsiteX2" fmla="*/ 0 w 1314683"/>
                <a:gd name="connsiteY2" fmla="*/ 257442 h 257442"/>
                <a:gd name="connsiteX3" fmla="*/ 1 w 1314683"/>
                <a:gd name="connsiteY3" fmla="*/ 0 h 257442"/>
                <a:gd name="connsiteX0" fmla="*/ 1314683 w 1314683"/>
                <a:gd name="connsiteY0" fmla="*/ 0 h 257442"/>
                <a:gd name="connsiteX1" fmla="*/ 1259962 w 1314683"/>
                <a:gd name="connsiteY1" fmla="*/ 257442 h 257442"/>
                <a:gd name="connsiteX2" fmla="*/ 0 w 1314683"/>
                <a:gd name="connsiteY2" fmla="*/ 257442 h 257442"/>
                <a:gd name="connsiteX3" fmla="*/ 1 w 1314683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3 w 1314683"/>
                <a:gd name="connsiteY0" fmla="*/ 0 h 257442"/>
                <a:gd name="connsiteX1" fmla="*/ 1259962 w 1314683"/>
                <a:gd name="connsiteY1" fmla="*/ 257442 h 257442"/>
                <a:gd name="connsiteX2" fmla="*/ 1 w 1314683"/>
                <a:gd name="connsiteY2" fmla="*/ 257442 h 257442"/>
                <a:gd name="connsiteX3" fmla="*/ 0 w 1314683"/>
                <a:gd name="connsiteY3" fmla="*/ 0 h 257442"/>
                <a:gd name="connsiteX0" fmla="*/ 1474984 w 1474984"/>
                <a:gd name="connsiteY0" fmla="*/ 0 h 257442"/>
                <a:gd name="connsiteX1" fmla="*/ 1259962 w 1474984"/>
                <a:gd name="connsiteY1" fmla="*/ 257442 h 257442"/>
                <a:gd name="connsiteX2" fmla="*/ 1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1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635283 w 1635283"/>
                <a:gd name="connsiteY0" fmla="*/ 0 h 257442"/>
                <a:gd name="connsiteX1" fmla="*/ 14202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888557 w 1888557"/>
                <a:gd name="connsiteY0" fmla="*/ 0 h 257442"/>
                <a:gd name="connsiteX1" fmla="*/ 1580562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2141832 w 2141832"/>
                <a:gd name="connsiteY0" fmla="*/ 0 h 257442"/>
                <a:gd name="connsiteX1" fmla="*/ 1833836 w 2141832"/>
                <a:gd name="connsiteY1" fmla="*/ 257442 h 257442"/>
                <a:gd name="connsiteX2" fmla="*/ 0 w 2141832"/>
                <a:gd name="connsiteY2" fmla="*/ 257442 h 257442"/>
                <a:gd name="connsiteX3" fmla="*/ 0 w 2141832"/>
                <a:gd name="connsiteY3" fmla="*/ 0 h 257442"/>
                <a:gd name="connsiteX0" fmla="*/ 2141832 w 2141832"/>
                <a:gd name="connsiteY0" fmla="*/ 0 h 257442"/>
                <a:gd name="connsiteX1" fmla="*/ 2087110 w 2141832"/>
                <a:gd name="connsiteY1" fmla="*/ 257442 h 257442"/>
                <a:gd name="connsiteX2" fmla="*/ 0 w 2141832"/>
                <a:gd name="connsiteY2" fmla="*/ 257442 h 257442"/>
                <a:gd name="connsiteX3" fmla="*/ 0 w 2141832"/>
                <a:gd name="connsiteY3" fmla="*/ 0 h 257442"/>
                <a:gd name="connsiteX0" fmla="*/ 2141833 w 2141833"/>
                <a:gd name="connsiteY0" fmla="*/ 0 h 257442"/>
                <a:gd name="connsiteX1" fmla="*/ 2087111 w 2141833"/>
                <a:gd name="connsiteY1" fmla="*/ 257442 h 257442"/>
                <a:gd name="connsiteX2" fmla="*/ 0 w 2141833"/>
                <a:gd name="connsiteY2" fmla="*/ 257442 h 257442"/>
                <a:gd name="connsiteX3" fmla="*/ 1 w 2141833"/>
                <a:gd name="connsiteY3" fmla="*/ 0 h 257442"/>
                <a:gd name="connsiteX0" fmla="*/ 2141833 w 2141833"/>
                <a:gd name="connsiteY0" fmla="*/ 0 h 257442"/>
                <a:gd name="connsiteX1" fmla="*/ 2087111 w 2141833"/>
                <a:gd name="connsiteY1" fmla="*/ 257442 h 257442"/>
                <a:gd name="connsiteX2" fmla="*/ 0 w 2141833"/>
                <a:gd name="connsiteY2" fmla="*/ 257442 h 257442"/>
                <a:gd name="connsiteX3" fmla="*/ 1 w 2141833"/>
                <a:gd name="connsiteY3" fmla="*/ 0 h 257442"/>
                <a:gd name="connsiteX0" fmla="*/ 2302133 w 2302133"/>
                <a:gd name="connsiteY0" fmla="*/ 0 h 257442"/>
                <a:gd name="connsiteX1" fmla="*/ 2087111 w 2302133"/>
                <a:gd name="connsiteY1" fmla="*/ 257442 h 257442"/>
                <a:gd name="connsiteX2" fmla="*/ 0 w 2302133"/>
                <a:gd name="connsiteY2" fmla="*/ 257442 h 257442"/>
                <a:gd name="connsiteX3" fmla="*/ 1 w 2302133"/>
                <a:gd name="connsiteY3" fmla="*/ 0 h 257442"/>
                <a:gd name="connsiteX0" fmla="*/ 2302133 w 2302133"/>
                <a:gd name="connsiteY0" fmla="*/ 0 h 257442"/>
                <a:gd name="connsiteX1" fmla="*/ 2247412 w 2302133"/>
                <a:gd name="connsiteY1" fmla="*/ 257442 h 257442"/>
                <a:gd name="connsiteX2" fmla="*/ 0 w 2302133"/>
                <a:gd name="connsiteY2" fmla="*/ 257442 h 257442"/>
                <a:gd name="connsiteX3" fmla="*/ 1 w 2302133"/>
                <a:gd name="connsiteY3" fmla="*/ 0 h 257442"/>
                <a:gd name="connsiteX0" fmla="*/ 2302132 w 2302132"/>
                <a:gd name="connsiteY0" fmla="*/ 0 h 257442"/>
                <a:gd name="connsiteX1" fmla="*/ 2247411 w 2302132"/>
                <a:gd name="connsiteY1" fmla="*/ 257442 h 257442"/>
                <a:gd name="connsiteX2" fmla="*/ 0 w 2302132"/>
                <a:gd name="connsiteY2" fmla="*/ 257442 h 257442"/>
                <a:gd name="connsiteX3" fmla="*/ 0 w 2302132"/>
                <a:gd name="connsiteY3" fmla="*/ 0 h 257442"/>
                <a:gd name="connsiteX0" fmla="*/ 2302133 w 2302133"/>
                <a:gd name="connsiteY0" fmla="*/ 0 h 257442"/>
                <a:gd name="connsiteX1" fmla="*/ 2247412 w 2302133"/>
                <a:gd name="connsiteY1" fmla="*/ 257442 h 257442"/>
                <a:gd name="connsiteX2" fmla="*/ 1 w 2302133"/>
                <a:gd name="connsiteY2" fmla="*/ 257442 h 257442"/>
                <a:gd name="connsiteX3" fmla="*/ 0 w 2302133"/>
                <a:gd name="connsiteY3" fmla="*/ 0 h 257442"/>
                <a:gd name="connsiteX0" fmla="*/ 2462433 w 2462433"/>
                <a:gd name="connsiteY0" fmla="*/ 0 h 257442"/>
                <a:gd name="connsiteX1" fmla="*/ 22474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3 w 2462433"/>
                <a:gd name="connsiteY0" fmla="*/ 0 h 257442"/>
                <a:gd name="connsiteX1" fmla="*/ 24077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3 w 2462433"/>
                <a:gd name="connsiteY0" fmla="*/ 0 h 257442"/>
                <a:gd name="connsiteX1" fmla="*/ 24077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2 w 2462432"/>
                <a:gd name="connsiteY0" fmla="*/ 0 h 257442"/>
                <a:gd name="connsiteX1" fmla="*/ 2407711 w 2462432"/>
                <a:gd name="connsiteY1" fmla="*/ 257442 h 257442"/>
                <a:gd name="connsiteX2" fmla="*/ 0 w 2462432"/>
                <a:gd name="connsiteY2" fmla="*/ 257442 h 257442"/>
                <a:gd name="connsiteX3" fmla="*/ 0 w 2462432"/>
                <a:gd name="connsiteY3" fmla="*/ 0 h 257442"/>
                <a:gd name="connsiteX0" fmla="*/ 2715706 w 2715706"/>
                <a:gd name="connsiteY0" fmla="*/ 0 h 257442"/>
                <a:gd name="connsiteX1" fmla="*/ 2407711 w 2715706"/>
                <a:gd name="connsiteY1" fmla="*/ 257442 h 257442"/>
                <a:gd name="connsiteX2" fmla="*/ 0 w 2715706"/>
                <a:gd name="connsiteY2" fmla="*/ 257442 h 257442"/>
                <a:gd name="connsiteX3" fmla="*/ 0 w 2715706"/>
                <a:gd name="connsiteY3" fmla="*/ 0 h 257442"/>
                <a:gd name="connsiteX0" fmla="*/ 2715706 w 2715706"/>
                <a:gd name="connsiteY0" fmla="*/ 0 h 257442"/>
                <a:gd name="connsiteX1" fmla="*/ 2660985 w 2715706"/>
                <a:gd name="connsiteY1" fmla="*/ 257442 h 257442"/>
                <a:gd name="connsiteX2" fmla="*/ 0 w 2715706"/>
                <a:gd name="connsiteY2" fmla="*/ 257442 h 257442"/>
                <a:gd name="connsiteX3" fmla="*/ 0 w 2715706"/>
                <a:gd name="connsiteY3" fmla="*/ 0 h 257442"/>
                <a:gd name="connsiteX0" fmla="*/ 2715707 w 2715707"/>
                <a:gd name="connsiteY0" fmla="*/ 0 h 257442"/>
                <a:gd name="connsiteX1" fmla="*/ 2660986 w 2715707"/>
                <a:gd name="connsiteY1" fmla="*/ 257442 h 257442"/>
                <a:gd name="connsiteX2" fmla="*/ 0 w 2715707"/>
                <a:gd name="connsiteY2" fmla="*/ 257442 h 257442"/>
                <a:gd name="connsiteX3" fmla="*/ 1 w 2715707"/>
                <a:gd name="connsiteY3" fmla="*/ 0 h 257442"/>
                <a:gd name="connsiteX0" fmla="*/ 2715707 w 2715707"/>
                <a:gd name="connsiteY0" fmla="*/ 0 h 257442"/>
                <a:gd name="connsiteX1" fmla="*/ 2660986 w 2715707"/>
                <a:gd name="connsiteY1" fmla="*/ 257442 h 257442"/>
                <a:gd name="connsiteX2" fmla="*/ 0 w 2715707"/>
                <a:gd name="connsiteY2" fmla="*/ 257442 h 257442"/>
                <a:gd name="connsiteX3" fmla="*/ 1 w 2715707"/>
                <a:gd name="connsiteY3" fmla="*/ 0 h 257442"/>
                <a:gd name="connsiteX0" fmla="*/ 2884024 w 2884024"/>
                <a:gd name="connsiteY0" fmla="*/ 0 h 257442"/>
                <a:gd name="connsiteX1" fmla="*/ 2660986 w 2884024"/>
                <a:gd name="connsiteY1" fmla="*/ 257442 h 257442"/>
                <a:gd name="connsiteX2" fmla="*/ 0 w 2884024"/>
                <a:gd name="connsiteY2" fmla="*/ 257442 h 257442"/>
                <a:gd name="connsiteX3" fmla="*/ 1 w 2884024"/>
                <a:gd name="connsiteY3" fmla="*/ 0 h 257442"/>
                <a:gd name="connsiteX0" fmla="*/ 2884024 w 2884024"/>
                <a:gd name="connsiteY0" fmla="*/ 0 h 257442"/>
                <a:gd name="connsiteX1" fmla="*/ 2829302 w 2884024"/>
                <a:gd name="connsiteY1" fmla="*/ 257442 h 257442"/>
                <a:gd name="connsiteX2" fmla="*/ 0 w 2884024"/>
                <a:gd name="connsiteY2" fmla="*/ 257442 h 257442"/>
                <a:gd name="connsiteX3" fmla="*/ 1 w 2884024"/>
                <a:gd name="connsiteY3" fmla="*/ 0 h 257442"/>
                <a:gd name="connsiteX0" fmla="*/ 2884024 w 2884024"/>
                <a:gd name="connsiteY0" fmla="*/ 0 h 257442"/>
                <a:gd name="connsiteX1" fmla="*/ 2829302 w 2884024"/>
                <a:gd name="connsiteY1" fmla="*/ 257442 h 257442"/>
                <a:gd name="connsiteX2" fmla="*/ 0 w 2884024"/>
                <a:gd name="connsiteY2" fmla="*/ 257442 h 257442"/>
                <a:gd name="connsiteX3" fmla="*/ 1 w 2884024"/>
                <a:gd name="connsiteY3" fmla="*/ 0 h 257442"/>
                <a:gd name="connsiteX0" fmla="*/ 2884024 w 2884024"/>
                <a:gd name="connsiteY0" fmla="*/ 0 h 257442"/>
                <a:gd name="connsiteX1" fmla="*/ 2829302 w 2884024"/>
                <a:gd name="connsiteY1" fmla="*/ 257442 h 257442"/>
                <a:gd name="connsiteX2" fmla="*/ 0 w 2884024"/>
                <a:gd name="connsiteY2" fmla="*/ 257442 h 257442"/>
                <a:gd name="connsiteX3" fmla="*/ 0 w 2884024"/>
                <a:gd name="connsiteY3" fmla="*/ 0 h 257442"/>
                <a:gd name="connsiteX0" fmla="*/ 3052337 w 3052337"/>
                <a:gd name="connsiteY0" fmla="*/ 0 h 257442"/>
                <a:gd name="connsiteX1" fmla="*/ 2829302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220653 w 3220653"/>
                <a:gd name="connsiteY0" fmla="*/ 0 h 257442"/>
                <a:gd name="connsiteX1" fmla="*/ 2997616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220653 w 3220653"/>
                <a:gd name="connsiteY0" fmla="*/ 0 h 257442"/>
                <a:gd name="connsiteX1" fmla="*/ 3165932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220653 w 3220653"/>
                <a:gd name="connsiteY0" fmla="*/ 0 h 257442"/>
                <a:gd name="connsiteX1" fmla="*/ 3165932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220653 w 3220653"/>
                <a:gd name="connsiteY0" fmla="*/ 0 h 257442"/>
                <a:gd name="connsiteX1" fmla="*/ 3165932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380954 w 3380954"/>
                <a:gd name="connsiteY0" fmla="*/ 0 h 257442"/>
                <a:gd name="connsiteX1" fmla="*/ 3165932 w 3380954"/>
                <a:gd name="connsiteY1" fmla="*/ 257442 h 257442"/>
                <a:gd name="connsiteX2" fmla="*/ 0 w 3380954"/>
                <a:gd name="connsiteY2" fmla="*/ 257442 h 257442"/>
                <a:gd name="connsiteX3" fmla="*/ 0 w 3380954"/>
                <a:gd name="connsiteY3" fmla="*/ 0 h 257442"/>
                <a:gd name="connsiteX0" fmla="*/ 3380954 w 3380954"/>
                <a:gd name="connsiteY0" fmla="*/ 0 h 257442"/>
                <a:gd name="connsiteX1" fmla="*/ 3326232 w 3380954"/>
                <a:gd name="connsiteY1" fmla="*/ 257442 h 257442"/>
                <a:gd name="connsiteX2" fmla="*/ 0 w 3380954"/>
                <a:gd name="connsiteY2" fmla="*/ 257442 h 257442"/>
                <a:gd name="connsiteX3" fmla="*/ 0 w 3380954"/>
                <a:gd name="connsiteY3" fmla="*/ 0 h 257442"/>
                <a:gd name="connsiteX0" fmla="*/ 3380955 w 3380955"/>
                <a:gd name="connsiteY0" fmla="*/ 0 h 257442"/>
                <a:gd name="connsiteX1" fmla="*/ 3326233 w 3380955"/>
                <a:gd name="connsiteY1" fmla="*/ 257442 h 257442"/>
                <a:gd name="connsiteX2" fmla="*/ 0 w 3380955"/>
                <a:gd name="connsiteY2" fmla="*/ 257442 h 257442"/>
                <a:gd name="connsiteX3" fmla="*/ 1 w 3380955"/>
                <a:gd name="connsiteY3" fmla="*/ 0 h 257442"/>
                <a:gd name="connsiteX0" fmla="*/ 3380955 w 3380955"/>
                <a:gd name="connsiteY0" fmla="*/ 0 h 257442"/>
                <a:gd name="connsiteX1" fmla="*/ 3326233 w 3380955"/>
                <a:gd name="connsiteY1" fmla="*/ 257442 h 257442"/>
                <a:gd name="connsiteX2" fmla="*/ 0 w 3380955"/>
                <a:gd name="connsiteY2" fmla="*/ 257442 h 257442"/>
                <a:gd name="connsiteX3" fmla="*/ 1 w 3380955"/>
                <a:gd name="connsiteY3" fmla="*/ 0 h 257442"/>
                <a:gd name="connsiteX0" fmla="*/ 3549269 w 3549269"/>
                <a:gd name="connsiteY0" fmla="*/ 0 h 257442"/>
                <a:gd name="connsiteX1" fmla="*/ 3326233 w 3549269"/>
                <a:gd name="connsiteY1" fmla="*/ 257442 h 257442"/>
                <a:gd name="connsiteX2" fmla="*/ 0 w 3549269"/>
                <a:gd name="connsiteY2" fmla="*/ 257442 h 257442"/>
                <a:gd name="connsiteX3" fmla="*/ 1 w 3549269"/>
                <a:gd name="connsiteY3" fmla="*/ 0 h 257442"/>
                <a:gd name="connsiteX0" fmla="*/ 3549269 w 3549269"/>
                <a:gd name="connsiteY0" fmla="*/ 0 h 257442"/>
                <a:gd name="connsiteX1" fmla="*/ 3494548 w 3549269"/>
                <a:gd name="connsiteY1" fmla="*/ 257442 h 257442"/>
                <a:gd name="connsiteX2" fmla="*/ 0 w 3549269"/>
                <a:gd name="connsiteY2" fmla="*/ 257442 h 257442"/>
                <a:gd name="connsiteX3" fmla="*/ 1 w 3549269"/>
                <a:gd name="connsiteY3" fmla="*/ 0 h 257442"/>
                <a:gd name="connsiteX0" fmla="*/ 3549268 w 3549268"/>
                <a:gd name="connsiteY0" fmla="*/ 0 h 257442"/>
                <a:gd name="connsiteX1" fmla="*/ 3494547 w 3549268"/>
                <a:gd name="connsiteY1" fmla="*/ 257442 h 257442"/>
                <a:gd name="connsiteX2" fmla="*/ 0 w 3549268"/>
                <a:gd name="connsiteY2" fmla="*/ 257442 h 257442"/>
                <a:gd name="connsiteX3" fmla="*/ 0 w 3549268"/>
                <a:gd name="connsiteY3" fmla="*/ 0 h 257442"/>
                <a:gd name="connsiteX0" fmla="*/ 3549269 w 3549269"/>
                <a:gd name="connsiteY0" fmla="*/ 0 h 257442"/>
                <a:gd name="connsiteX1" fmla="*/ 3494548 w 3549269"/>
                <a:gd name="connsiteY1" fmla="*/ 257442 h 257442"/>
                <a:gd name="connsiteX2" fmla="*/ 1 w 3549269"/>
                <a:gd name="connsiteY2" fmla="*/ 257442 h 257442"/>
                <a:gd name="connsiteX3" fmla="*/ 0 w 3549269"/>
                <a:gd name="connsiteY3" fmla="*/ 0 h 257442"/>
                <a:gd name="connsiteX0" fmla="*/ 3717585 w 3717585"/>
                <a:gd name="connsiteY0" fmla="*/ 0 h 257442"/>
                <a:gd name="connsiteX1" fmla="*/ 3494548 w 3717585"/>
                <a:gd name="connsiteY1" fmla="*/ 257442 h 257442"/>
                <a:gd name="connsiteX2" fmla="*/ 1 w 3717585"/>
                <a:gd name="connsiteY2" fmla="*/ 257442 h 257442"/>
                <a:gd name="connsiteX3" fmla="*/ 0 w 3717585"/>
                <a:gd name="connsiteY3" fmla="*/ 0 h 257442"/>
                <a:gd name="connsiteX0" fmla="*/ 3717585 w 3717585"/>
                <a:gd name="connsiteY0" fmla="*/ 0 h 257442"/>
                <a:gd name="connsiteX1" fmla="*/ 3662864 w 3717585"/>
                <a:gd name="connsiteY1" fmla="*/ 257442 h 257442"/>
                <a:gd name="connsiteX2" fmla="*/ 1 w 3717585"/>
                <a:gd name="connsiteY2" fmla="*/ 257442 h 257442"/>
                <a:gd name="connsiteX3" fmla="*/ 0 w 3717585"/>
                <a:gd name="connsiteY3" fmla="*/ 0 h 257442"/>
                <a:gd name="connsiteX0" fmla="*/ 3717585 w 3717585"/>
                <a:gd name="connsiteY0" fmla="*/ 0 h 257442"/>
                <a:gd name="connsiteX1" fmla="*/ 3662864 w 3717585"/>
                <a:gd name="connsiteY1" fmla="*/ 257442 h 257442"/>
                <a:gd name="connsiteX2" fmla="*/ 1 w 3717585"/>
                <a:gd name="connsiteY2" fmla="*/ 257442 h 257442"/>
                <a:gd name="connsiteX3" fmla="*/ 0 w 3717585"/>
                <a:gd name="connsiteY3" fmla="*/ 0 h 257442"/>
                <a:gd name="connsiteX0" fmla="*/ 3717584 w 3717584"/>
                <a:gd name="connsiteY0" fmla="*/ 0 h 257442"/>
                <a:gd name="connsiteX1" fmla="*/ 3662863 w 3717584"/>
                <a:gd name="connsiteY1" fmla="*/ 257442 h 257442"/>
                <a:gd name="connsiteX2" fmla="*/ 0 w 3717584"/>
                <a:gd name="connsiteY2" fmla="*/ 257442 h 257442"/>
                <a:gd name="connsiteX3" fmla="*/ 0 w 3717584"/>
                <a:gd name="connsiteY3" fmla="*/ 0 h 257442"/>
                <a:gd name="connsiteX0" fmla="*/ 3877884 w 3877884"/>
                <a:gd name="connsiteY0" fmla="*/ 0 h 257442"/>
                <a:gd name="connsiteX1" fmla="*/ 3662863 w 3877884"/>
                <a:gd name="connsiteY1" fmla="*/ 257442 h 257442"/>
                <a:gd name="connsiteX2" fmla="*/ 0 w 3877884"/>
                <a:gd name="connsiteY2" fmla="*/ 257442 h 257442"/>
                <a:gd name="connsiteX3" fmla="*/ 0 w 3877884"/>
                <a:gd name="connsiteY3" fmla="*/ 0 h 257442"/>
                <a:gd name="connsiteX0" fmla="*/ 3877884 w 3877884"/>
                <a:gd name="connsiteY0" fmla="*/ 0 h 257442"/>
                <a:gd name="connsiteX1" fmla="*/ 3823163 w 3877884"/>
                <a:gd name="connsiteY1" fmla="*/ 257442 h 257442"/>
                <a:gd name="connsiteX2" fmla="*/ 0 w 3877884"/>
                <a:gd name="connsiteY2" fmla="*/ 257442 h 257442"/>
                <a:gd name="connsiteX3" fmla="*/ 0 w 3877884"/>
                <a:gd name="connsiteY3" fmla="*/ 0 h 257442"/>
                <a:gd name="connsiteX0" fmla="*/ 3877885 w 3877885"/>
                <a:gd name="connsiteY0" fmla="*/ 0 h 257442"/>
                <a:gd name="connsiteX1" fmla="*/ 3823164 w 3877885"/>
                <a:gd name="connsiteY1" fmla="*/ 257442 h 257442"/>
                <a:gd name="connsiteX2" fmla="*/ 0 w 3877885"/>
                <a:gd name="connsiteY2" fmla="*/ 257442 h 257442"/>
                <a:gd name="connsiteX3" fmla="*/ 1 w 3877885"/>
                <a:gd name="connsiteY3" fmla="*/ 0 h 257442"/>
                <a:gd name="connsiteX0" fmla="*/ 3877885 w 3877885"/>
                <a:gd name="connsiteY0" fmla="*/ 0 h 257442"/>
                <a:gd name="connsiteX1" fmla="*/ 3823164 w 3877885"/>
                <a:gd name="connsiteY1" fmla="*/ 257442 h 257442"/>
                <a:gd name="connsiteX2" fmla="*/ 0 w 3877885"/>
                <a:gd name="connsiteY2" fmla="*/ 257442 h 257442"/>
                <a:gd name="connsiteX3" fmla="*/ 1 w 3877885"/>
                <a:gd name="connsiteY3" fmla="*/ 0 h 257442"/>
                <a:gd name="connsiteX0" fmla="*/ 4038186 w 4038186"/>
                <a:gd name="connsiteY0" fmla="*/ 0 h 257442"/>
                <a:gd name="connsiteX1" fmla="*/ 3823164 w 4038186"/>
                <a:gd name="connsiteY1" fmla="*/ 257442 h 257442"/>
                <a:gd name="connsiteX2" fmla="*/ 0 w 4038186"/>
                <a:gd name="connsiteY2" fmla="*/ 257442 h 257442"/>
                <a:gd name="connsiteX3" fmla="*/ 1 w 4038186"/>
                <a:gd name="connsiteY3" fmla="*/ 0 h 257442"/>
                <a:gd name="connsiteX0" fmla="*/ 4038186 w 4038186"/>
                <a:gd name="connsiteY0" fmla="*/ 0 h 257442"/>
                <a:gd name="connsiteX1" fmla="*/ 3983464 w 4038186"/>
                <a:gd name="connsiteY1" fmla="*/ 257442 h 257442"/>
                <a:gd name="connsiteX2" fmla="*/ 0 w 4038186"/>
                <a:gd name="connsiteY2" fmla="*/ 257442 h 257442"/>
                <a:gd name="connsiteX3" fmla="*/ 1 w 4038186"/>
                <a:gd name="connsiteY3" fmla="*/ 0 h 257442"/>
                <a:gd name="connsiteX0" fmla="*/ 4038186 w 4038186"/>
                <a:gd name="connsiteY0" fmla="*/ 0 h 257442"/>
                <a:gd name="connsiteX1" fmla="*/ 3983464 w 4038186"/>
                <a:gd name="connsiteY1" fmla="*/ 257442 h 257442"/>
                <a:gd name="connsiteX2" fmla="*/ 0 w 4038186"/>
                <a:gd name="connsiteY2" fmla="*/ 257442 h 257442"/>
                <a:gd name="connsiteX3" fmla="*/ 1 w 4038186"/>
                <a:gd name="connsiteY3" fmla="*/ 0 h 257442"/>
                <a:gd name="connsiteX0" fmla="*/ 4038186 w 4038186"/>
                <a:gd name="connsiteY0" fmla="*/ 0 h 257442"/>
                <a:gd name="connsiteX1" fmla="*/ 3983464 w 4038186"/>
                <a:gd name="connsiteY1" fmla="*/ 257442 h 257442"/>
                <a:gd name="connsiteX2" fmla="*/ 0 w 4038186"/>
                <a:gd name="connsiteY2" fmla="*/ 257442 h 257442"/>
                <a:gd name="connsiteX3" fmla="*/ 0 w 4038186"/>
                <a:gd name="connsiteY3" fmla="*/ 0 h 257442"/>
                <a:gd name="connsiteX0" fmla="*/ 950801 w 3983464"/>
                <a:gd name="connsiteY0" fmla="*/ 0 h 257442"/>
                <a:gd name="connsiteX1" fmla="*/ 3983464 w 3983464"/>
                <a:gd name="connsiteY1" fmla="*/ 257442 h 257442"/>
                <a:gd name="connsiteX2" fmla="*/ 0 w 3983464"/>
                <a:gd name="connsiteY2" fmla="*/ 257442 h 257442"/>
                <a:gd name="connsiteX3" fmla="*/ 0 w 3983464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229723 w 1229723"/>
                <a:gd name="connsiteY0" fmla="*/ 0 h 257442"/>
                <a:gd name="connsiteX1" fmla="*/ 896079 w 1229723"/>
                <a:gd name="connsiteY1" fmla="*/ 257442 h 257442"/>
                <a:gd name="connsiteX2" fmla="*/ 0 w 1229723"/>
                <a:gd name="connsiteY2" fmla="*/ 257442 h 257442"/>
                <a:gd name="connsiteX3" fmla="*/ 0 w 1229723"/>
                <a:gd name="connsiteY3" fmla="*/ 0 h 257442"/>
                <a:gd name="connsiteX0" fmla="*/ 1229723 w 1229723"/>
                <a:gd name="connsiteY0" fmla="*/ 0 h 257442"/>
                <a:gd name="connsiteX1" fmla="*/ 1175002 w 1229723"/>
                <a:gd name="connsiteY1" fmla="*/ 257442 h 257442"/>
                <a:gd name="connsiteX2" fmla="*/ 0 w 1229723"/>
                <a:gd name="connsiteY2" fmla="*/ 257442 h 257442"/>
                <a:gd name="connsiteX3" fmla="*/ 0 w 1229723"/>
                <a:gd name="connsiteY3" fmla="*/ 0 h 257442"/>
                <a:gd name="connsiteX0" fmla="*/ 1229724 w 1229724"/>
                <a:gd name="connsiteY0" fmla="*/ 0 h 257442"/>
                <a:gd name="connsiteX1" fmla="*/ 1175003 w 1229724"/>
                <a:gd name="connsiteY1" fmla="*/ 257442 h 257442"/>
                <a:gd name="connsiteX2" fmla="*/ 0 w 1229724"/>
                <a:gd name="connsiteY2" fmla="*/ 257442 h 257442"/>
                <a:gd name="connsiteX3" fmla="*/ 1 w 1229724"/>
                <a:gd name="connsiteY3" fmla="*/ 0 h 257442"/>
                <a:gd name="connsiteX0" fmla="*/ 1229724 w 1229724"/>
                <a:gd name="connsiteY0" fmla="*/ 0 h 257442"/>
                <a:gd name="connsiteX1" fmla="*/ 1175003 w 1229724"/>
                <a:gd name="connsiteY1" fmla="*/ 257442 h 257442"/>
                <a:gd name="connsiteX2" fmla="*/ 0 w 1229724"/>
                <a:gd name="connsiteY2" fmla="*/ 257442 h 257442"/>
                <a:gd name="connsiteX3" fmla="*/ 0 w 1229724"/>
                <a:gd name="connsiteY3" fmla="*/ 0 h 257442"/>
                <a:gd name="connsiteX0" fmla="*/ 1482998 w 1482998"/>
                <a:gd name="connsiteY0" fmla="*/ 0 h 257442"/>
                <a:gd name="connsiteX1" fmla="*/ 1175003 w 1482998"/>
                <a:gd name="connsiteY1" fmla="*/ 257442 h 257442"/>
                <a:gd name="connsiteX2" fmla="*/ 0 w 1482998"/>
                <a:gd name="connsiteY2" fmla="*/ 257442 h 257442"/>
                <a:gd name="connsiteX3" fmla="*/ 0 w 1482998"/>
                <a:gd name="connsiteY3" fmla="*/ 0 h 257442"/>
                <a:gd name="connsiteX0" fmla="*/ 1482998 w 1482998"/>
                <a:gd name="connsiteY0" fmla="*/ 0 h 257442"/>
                <a:gd name="connsiteX1" fmla="*/ 1428277 w 1482998"/>
                <a:gd name="connsiteY1" fmla="*/ 257442 h 257442"/>
                <a:gd name="connsiteX2" fmla="*/ 0 w 1482998"/>
                <a:gd name="connsiteY2" fmla="*/ 257442 h 257442"/>
                <a:gd name="connsiteX3" fmla="*/ 0 w 1482998"/>
                <a:gd name="connsiteY3" fmla="*/ 0 h 257442"/>
                <a:gd name="connsiteX0" fmla="*/ 1482998 w 1482998"/>
                <a:gd name="connsiteY0" fmla="*/ 0 h 257442"/>
                <a:gd name="connsiteX1" fmla="*/ 1428277 w 1482998"/>
                <a:gd name="connsiteY1" fmla="*/ 257442 h 257442"/>
                <a:gd name="connsiteX2" fmla="*/ 0 w 1482998"/>
                <a:gd name="connsiteY2" fmla="*/ 257442 h 257442"/>
                <a:gd name="connsiteX3" fmla="*/ 0 w 1482998"/>
                <a:gd name="connsiteY3" fmla="*/ 0 h 257442"/>
                <a:gd name="connsiteX0" fmla="*/ 1482998 w 1482998"/>
                <a:gd name="connsiteY0" fmla="*/ 0 h 257442"/>
                <a:gd name="connsiteX1" fmla="*/ 1428277 w 1482998"/>
                <a:gd name="connsiteY1" fmla="*/ 257442 h 257442"/>
                <a:gd name="connsiteX2" fmla="*/ 0 w 1482998"/>
                <a:gd name="connsiteY2" fmla="*/ 257442 h 257442"/>
                <a:gd name="connsiteX3" fmla="*/ 0 w 1482998"/>
                <a:gd name="connsiteY3" fmla="*/ 0 h 257442"/>
                <a:gd name="connsiteX0" fmla="*/ 1792185 w 1792185"/>
                <a:gd name="connsiteY0" fmla="*/ 0 h 257442"/>
                <a:gd name="connsiteX1" fmla="*/ 1428277 w 1792185"/>
                <a:gd name="connsiteY1" fmla="*/ 257442 h 257442"/>
                <a:gd name="connsiteX2" fmla="*/ 0 w 1792185"/>
                <a:gd name="connsiteY2" fmla="*/ 257442 h 257442"/>
                <a:gd name="connsiteX3" fmla="*/ 0 w 1792185"/>
                <a:gd name="connsiteY3" fmla="*/ 0 h 257442"/>
                <a:gd name="connsiteX0" fmla="*/ 1792185 w 1792185"/>
                <a:gd name="connsiteY0" fmla="*/ 0 h 257442"/>
                <a:gd name="connsiteX1" fmla="*/ 1737464 w 1792185"/>
                <a:gd name="connsiteY1" fmla="*/ 257442 h 257442"/>
                <a:gd name="connsiteX2" fmla="*/ 0 w 1792185"/>
                <a:gd name="connsiteY2" fmla="*/ 257442 h 257442"/>
                <a:gd name="connsiteX3" fmla="*/ 0 w 1792185"/>
                <a:gd name="connsiteY3" fmla="*/ 0 h 257442"/>
                <a:gd name="connsiteX0" fmla="*/ 1792185 w 1792185"/>
                <a:gd name="connsiteY0" fmla="*/ 0 h 257442"/>
                <a:gd name="connsiteX1" fmla="*/ 1737464 w 1792185"/>
                <a:gd name="connsiteY1" fmla="*/ 257442 h 257442"/>
                <a:gd name="connsiteX2" fmla="*/ 0 w 1792185"/>
                <a:gd name="connsiteY2" fmla="*/ 257442 h 257442"/>
                <a:gd name="connsiteX3" fmla="*/ 0 w 1792185"/>
                <a:gd name="connsiteY3" fmla="*/ 0 h 257442"/>
                <a:gd name="connsiteX0" fmla="*/ 1792185 w 1792185"/>
                <a:gd name="connsiteY0" fmla="*/ 0 h 257442"/>
                <a:gd name="connsiteX1" fmla="*/ 1737464 w 1792185"/>
                <a:gd name="connsiteY1" fmla="*/ 257442 h 257442"/>
                <a:gd name="connsiteX2" fmla="*/ 0 w 1792185"/>
                <a:gd name="connsiteY2" fmla="*/ 257442 h 257442"/>
                <a:gd name="connsiteX3" fmla="*/ 0 w 1792185"/>
                <a:gd name="connsiteY3" fmla="*/ 0 h 257442"/>
                <a:gd name="connsiteX0" fmla="*/ 2050718 w 2050718"/>
                <a:gd name="connsiteY0" fmla="*/ 0 h 257442"/>
                <a:gd name="connsiteX1" fmla="*/ 1737464 w 2050718"/>
                <a:gd name="connsiteY1" fmla="*/ 257442 h 257442"/>
                <a:gd name="connsiteX2" fmla="*/ 0 w 2050718"/>
                <a:gd name="connsiteY2" fmla="*/ 257442 h 257442"/>
                <a:gd name="connsiteX3" fmla="*/ 0 w 2050718"/>
                <a:gd name="connsiteY3" fmla="*/ 0 h 257442"/>
                <a:gd name="connsiteX0" fmla="*/ 2050718 w 2050718"/>
                <a:gd name="connsiteY0" fmla="*/ 0 h 257442"/>
                <a:gd name="connsiteX1" fmla="*/ 1995996 w 2050718"/>
                <a:gd name="connsiteY1" fmla="*/ 257442 h 257442"/>
                <a:gd name="connsiteX2" fmla="*/ 0 w 2050718"/>
                <a:gd name="connsiteY2" fmla="*/ 257442 h 257442"/>
                <a:gd name="connsiteX3" fmla="*/ 0 w 2050718"/>
                <a:gd name="connsiteY3" fmla="*/ 0 h 257442"/>
                <a:gd name="connsiteX0" fmla="*/ 2050719 w 2050719"/>
                <a:gd name="connsiteY0" fmla="*/ 0 h 257442"/>
                <a:gd name="connsiteX1" fmla="*/ 1995997 w 2050719"/>
                <a:gd name="connsiteY1" fmla="*/ 257442 h 257442"/>
                <a:gd name="connsiteX2" fmla="*/ 0 w 2050719"/>
                <a:gd name="connsiteY2" fmla="*/ 257442 h 257442"/>
                <a:gd name="connsiteX3" fmla="*/ 1 w 2050719"/>
                <a:gd name="connsiteY3" fmla="*/ 0 h 257442"/>
                <a:gd name="connsiteX0" fmla="*/ 2050719 w 2050719"/>
                <a:gd name="connsiteY0" fmla="*/ 0 h 257442"/>
                <a:gd name="connsiteX1" fmla="*/ 1995997 w 2050719"/>
                <a:gd name="connsiteY1" fmla="*/ 257442 h 257442"/>
                <a:gd name="connsiteX2" fmla="*/ 0 w 2050719"/>
                <a:gd name="connsiteY2" fmla="*/ 257442 h 257442"/>
                <a:gd name="connsiteX3" fmla="*/ 1 w 2050719"/>
                <a:gd name="connsiteY3" fmla="*/ 0 h 257442"/>
                <a:gd name="connsiteX0" fmla="*/ 2211019 w 2211019"/>
                <a:gd name="connsiteY0" fmla="*/ 0 h 257442"/>
                <a:gd name="connsiteX1" fmla="*/ 1995997 w 2211019"/>
                <a:gd name="connsiteY1" fmla="*/ 257442 h 257442"/>
                <a:gd name="connsiteX2" fmla="*/ 0 w 2211019"/>
                <a:gd name="connsiteY2" fmla="*/ 257442 h 257442"/>
                <a:gd name="connsiteX3" fmla="*/ 1 w 2211019"/>
                <a:gd name="connsiteY3" fmla="*/ 0 h 257442"/>
                <a:gd name="connsiteX0" fmla="*/ 2211019 w 2211019"/>
                <a:gd name="connsiteY0" fmla="*/ 0 h 257442"/>
                <a:gd name="connsiteX1" fmla="*/ 2156298 w 2211019"/>
                <a:gd name="connsiteY1" fmla="*/ 257442 h 257442"/>
                <a:gd name="connsiteX2" fmla="*/ 0 w 2211019"/>
                <a:gd name="connsiteY2" fmla="*/ 257442 h 257442"/>
                <a:gd name="connsiteX3" fmla="*/ 1 w 2211019"/>
                <a:gd name="connsiteY3" fmla="*/ 0 h 257442"/>
                <a:gd name="connsiteX0" fmla="*/ 2211018 w 2211018"/>
                <a:gd name="connsiteY0" fmla="*/ 0 h 257442"/>
                <a:gd name="connsiteX1" fmla="*/ 2156297 w 2211018"/>
                <a:gd name="connsiteY1" fmla="*/ 257442 h 257442"/>
                <a:gd name="connsiteX2" fmla="*/ 0 w 2211018"/>
                <a:gd name="connsiteY2" fmla="*/ 257442 h 257442"/>
                <a:gd name="connsiteX3" fmla="*/ 0 w 2211018"/>
                <a:gd name="connsiteY3" fmla="*/ 0 h 257442"/>
                <a:gd name="connsiteX0" fmla="*/ 2211019 w 2211019"/>
                <a:gd name="connsiteY0" fmla="*/ 0 h 257442"/>
                <a:gd name="connsiteX1" fmla="*/ 2156298 w 2211019"/>
                <a:gd name="connsiteY1" fmla="*/ 257442 h 257442"/>
                <a:gd name="connsiteX2" fmla="*/ 1 w 2211019"/>
                <a:gd name="connsiteY2" fmla="*/ 257442 h 257442"/>
                <a:gd name="connsiteX3" fmla="*/ 0 w 2211019"/>
                <a:gd name="connsiteY3" fmla="*/ 0 h 257442"/>
                <a:gd name="connsiteX0" fmla="*/ 2379334 w 2379334"/>
                <a:gd name="connsiteY0" fmla="*/ 0 h 257442"/>
                <a:gd name="connsiteX1" fmla="*/ 2156298 w 2379334"/>
                <a:gd name="connsiteY1" fmla="*/ 257442 h 257442"/>
                <a:gd name="connsiteX2" fmla="*/ 1 w 2379334"/>
                <a:gd name="connsiteY2" fmla="*/ 257442 h 257442"/>
                <a:gd name="connsiteX3" fmla="*/ 0 w 2379334"/>
                <a:gd name="connsiteY3" fmla="*/ 0 h 257442"/>
                <a:gd name="connsiteX0" fmla="*/ 2379334 w 2379334"/>
                <a:gd name="connsiteY0" fmla="*/ 0 h 257442"/>
                <a:gd name="connsiteX1" fmla="*/ 2324612 w 2379334"/>
                <a:gd name="connsiteY1" fmla="*/ 257442 h 257442"/>
                <a:gd name="connsiteX2" fmla="*/ 1 w 2379334"/>
                <a:gd name="connsiteY2" fmla="*/ 257442 h 257442"/>
                <a:gd name="connsiteX3" fmla="*/ 0 w 2379334"/>
                <a:gd name="connsiteY3" fmla="*/ 0 h 257442"/>
                <a:gd name="connsiteX0" fmla="*/ 2379334 w 2379334"/>
                <a:gd name="connsiteY0" fmla="*/ 0 h 257442"/>
                <a:gd name="connsiteX1" fmla="*/ 2324612 w 2379334"/>
                <a:gd name="connsiteY1" fmla="*/ 257442 h 257442"/>
                <a:gd name="connsiteX2" fmla="*/ 0 w 2379334"/>
                <a:gd name="connsiteY2" fmla="*/ 257442 h 257442"/>
                <a:gd name="connsiteX3" fmla="*/ 0 w 2379334"/>
                <a:gd name="connsiteY3" fmla="*/ 0 h 257442"/>
                <a:gd name="connsiteX0" fmla="*/ 2379334 w 2379334"/>
                <a:gd name="connsiteY0" fmla="*/ 0 h 257442"/>
                <a:gd name="connsiteX1" fmla="*/ 2324612 w 2379334"/>
                <a:gd name="connsiteY1" fmla="*/ 257442 h 257442"/>
                <a:gd name="connsiteX2" fmla="*/ 0 w 2379334"/>
                <a:gd name="connsiteY2" fmla="*/ 257442 h 257442"/>
                <a:gd name="connsiteX3" fmla="*/ 0 w 2379334"/>
                <a:gd name="connsiteY3" fmla="*/ 0 h 257442"/>
                <a:gd name="connsiteX0" fmla="*/ 2709551 w 2709551"/>
                <a:gd name="connsiteY0" fmla="*/ 0 h 257442"/>
                <a:gd name="connsiteX1" fmla="*/ 2324612 w 2709551"/>
                <a:gd name="connsiteY1" fmla="*/ 257442 h 257442"/>
                <a:gd name="connsiteX2" fmla="*/ 0 w 2709551"/>
                <a:gd name="connsiteY2" fmla="*/ 257442 h 257442"/>
                <a:gd name="connsiteX3" fmla="*/ 0 w 2709551"/>
                <a:gd name="connsiteY3" fmla="*/ 0 h 257442"/>
                <a:gd name="connsiteX0" fmla="*/ 2709551 w 2709551"/>
                <a:gd name="connsiteY0" fmla="*/ 0 h 257442"/>
                <a:gd name="connsiteX1" fmla="*/ 2654830 w 2709551"/>
                <a:gd name="connsiteY1" fmla="*/ 257442 h 257442"/>
                <a:gd name="connsiteX2" fmla="*/ 0 w 2709551"/>
                <a:gd name="connsiteY2" fmla="*/ 257442 h 257442"/>
                <a:gd name="connsiteX3" fmla="*/ 0 w 2709551"/>
                <a:gd name="connsiteY3" fmla="*/ 0 h 257442"/>
                <a:gd name="connsiteX0" fmla="*/ 2709551 w 2709551"/>
                <a:gd name="connsiteY0" fmla="*/ 0 h 257442"/>
                <a:gd name="connsiteX1" fmla="*/ 2654830 w 2709551"/>
                <a:gd name="connsiteY1" fmla="*/ 257442 h 257442"/>
                <a:gd name="connsiteX2" fmla="*/ 0 w 2709551"/>
                <a:gd name="connsiteY2" fmla="*/ 257442 h 257442"/>
                <a:gd name="connsiteX3" fmla="*/ 0 w 2709551"/>
                <a:gd name="connsiteY3" fmla="*/ 0 h 257442"/>
                <a:gd name="connsiteX0" fmla="*/ 2709551 w 2709551"/>
                <a:gd name="connsiteY0" fmla="*/ 0 h 257442"/>
                <a:gd name="connsiteX1" fmla="*/ 2654830 w 2709551"/>
                <a:gd name="connsiteY1" fmla="*/ 257442 h 257442"/>
                <a:gd name="connsiteX2" fmla="*/ 0 w 2709551"/>
                <a:gd name="connsiteY2" fmla="*/ 257442 h 257442"/>
                <a:gd name="connsiteX3" fmla="*/ 0 w 2709551"/>
                <a:gd name="connsiteY3" fmla="*/ 0 h 257442"/>
                <a:gd name="connsiteX0" fmla="*/ 2877867 w 2877867"/>
                <a:gd name="connsiteY0" fmla="*/ 0 h 257442"/>
                <a:gd name="connsiteX1" fmla="*/ 2654830 w 2877867"/>
                <a:gd name="connsiteY1" fmla="*/ 257442 h 257442"/>
                <a:gd name="connsiteX2" fmla="*/ 0 w 2877867"/>
                <a:gd name="connsiteY2" fmla="*/ 257442 h 257442"/>
                <a:gd name="connsiteX3" fmla="*/ 0 w 2877867"/>
                <a:gd name="connsiteY3" fmla="*/ 0 h 257442"/>
                <a:gd name="connsiteX0" fmla="*/ 2877867 w 2877867"/>
                <a:gd name="connsiteY0" fmla="*/ 0 h 257442"/>
                <a:gd name="connsiteX1" fmla="*/ 2823146 w 2877867"/>
                <a:gd name="connsiteY1" fmla="*/ 257442 h 257442"/>
                <a:gd name="connsiteX2" fmla="*/ 0 w 2877867"/>
                <a:gd name="connsiteY2" fmla="*/ 257442 h 257442"/>
                <a:gd name="connsiteX3" fmla="*/ 0 w 2877867"/>
                <a:gd name="connsiteY3" fmla="*/ 0 h 257442"/>
                <a:gd name="connsiteX0" fmla="*/ 2877867 w 2877867"/>
                <a:gd name="connsiteY0" fmla="*/ 0 h 257442"/>
                <a:gd name="connsiteX1" fmla="*/ 2823146 w 2877867"/>
                <a:gd name="connsiteY1" fmla="*/ 257442 h 257442"/>
                <a:gd name="connsiteX2" fmla="*/ 0 w 2877867"/>
                <a:gd name="connsiteY2" fmla="*/ 257442 h 257442"/>
                <a:gd name="connsiteX3" fmla="*/ 0 w 2877867"/>
                <a:gd name="connsiteY3" fmla="*/ 0 h 257442"/>
                <a:gd name="connsiteX0" fmla="*/ 2877867 w 2877867"/>
                <a:gd name="connsiteY0" fmla="*/ 0 h 257442"/>
                <a:gd name="connsiteX1" fmla="*/ 2823146 w 2877867"/>
                <a:gd name="connsiteY1" fmla="*/ 257442 h 257442"/>
                <a:gd name="connsiteX2" fmla="*/ 0 w 2877867"/>
                <a:gd name="connsiteY2" fmla="*/ 257442 h 257442"/>
                <a:gd name="connsiteX3" fmla="*/ 0 w 2877867"/>
                <a:gd name="connsiteY3" fmla="*/ 0 h 257442"/>
                <a:gd name="connsiteX0" fmla="*/ 3063815 w 3063815"/>
                <a:gd name="connsiteY0" fmla="*/ 0 h 257442"/>
                <a:gd name="connsiteX1" fmla="*/ 2823146 w 3063815"/>
                <a:gd name="connsiteY1" fmla="*/ 257442 h 257442"/>
                <a:gd name="connsiteX2" fmla="*/ 0 w 3063815"/>
                <a:gd name="connsiteY2" fmla="*/ 257442 h 257442"/>
                <a:gd name="connsiteX3" fmla="*/ 0 w 3063815"/>
                <a:gd name="connsiteY3" fmla="*/ 0 h 257442"/>
                <a:gd name="connsiteX0" fmla="*/ 3063815 w 3063815"/>
                <a:gd name="connsiteY0" fmla="*/ 0 h 257442"/>
                <a:gd name="connsiteX1" fmla="*/ 3009094 w 3063815"/>
                <a:gd name="connsiteY1" fmla="*/ 257442 h 257442"/>
                <a:gd name="connsiteX2" fmla="*/ 0 w 3063815"/>
                <a:gd name="connsiteY2" fmla="*/ 257442 h 257442"/>
                <a:gd name="connsiteX3" fmla="*/ 0 w 3063815"/>
                <a:gd name="connsiteY3" fmla="*/ 0 h 257442"/>
                <a:gd name="connsiteX0" fmla="*/ 3063815 w 3063815"/>
                <a:gd name="connsiteY0" fmla="*/ 0 h 257442"/>
                <a:gd name="connsiteX1" fmla="*/ 3009094 w 3063815"/>
                <a:gd name="connsiteY1" fmla="*/ 257442 h 257442"/>
                <a:gd name="connsiteX2" fmla="*/ 0 w 3063815"/>
                <a:gd name="connsiteY2" fmla="*/ 257442 h 257442"/>
                <a:gd name="connsiteX3" fmla="*/ 0 w 3063815"/>
                <a:gd name="connsiteY3" fmla="*/ 0 h 257442"/>
                <a:gd name="connsiteX0" fmla="*/ 3063815 w 3063815"/>
                <a:gd name="connsiteY0" fmla="*/ 0 h 257442"/>
                <a:gd name="connsiteX1" fmla="*/ 3009094 w 3063815"/>
                <a:gd name="connsiteY1" fmla="*/ 257442 h 257442"/>
                <a:gd name="connsiteX2" fmla="*/ 0 w 3063815"/>
                <a:gd name="connsiteY2" fmla="*/ 257442 h 257442"/>
                <a:gd name="connsiteX3" fmla="*/ 0 w 3063815"/>
                <a:gd name="connsiteY3" fmla="*/ 0 h 257442"/>
                <a:gd name="connsiteX0" fmla="*/ 3232130 w 3232130"/>
                <a:gd name="connsiteY0" fmla="*/ 0 h 257442"/>
                <a:gd name="connsiteX1" fmla="*/ 3009094 w 3232130"/>
                <a:gd name="connsiteY1" fmla="*/ 257442 h 257442"/>
                <a:gd name="connsiteX2" fmla="*/ 0 w 3232130"/>
                <a:gd name="connsiteY2" fmla="*/ 257442 h 257442"/>
                <a:gd name="connsiteX3" fmla="*/ 0 w 3232130"/>
                <a:gd name="connsiteY3" fmla="*/ 0 h 257442"/>
                <a:gd name="connsiteX0" fmla="*/ 3232130 w 3232130"/>
                <a:gd name="connsiteY0" fmla="*/ 0 h 257442"/>
                <a:gd name="connsiteX1" fmla="*/ 3177408 w 3232130"/>
                <a:gd name="connsiteY1" fmla="*/ 257442 h 257442"/>
                <a:gd name="connsiteX2" fmla="*/ 0 w 3232130"/>
                <a:gd name="connsiteY2" fmla="*/ 257442 h 257442"/>
                <a:gd name="connsiteX3" fmla="*/ 0 w 3232130"/>
                <a:gd name="connsiteY3" fmla="*/ 0 h 257442"/>
                <a:gd name="connsiteX0" fmla="*/ 3232131 w 3232131"/>
                <a:gd name="connsiteY0" fmla="*/ 0 h 257442"/>
                <a:gd name="connsiteX1" fmla="*/ 3177409 w 3232131"/>
                <a:gd name="connsiteY1" fmla="*/ 257442 h 257442"/>
                <a:gd name="connsiteX2" fmla="*/ 0 w 3232131"/>
                <a:gd name="connsiteY2" fmla="*/ 257442 h 257442"/>
                <a:gd name="connsiteX3" fmla="*/ 1 w 3232131"/>
                <a:gd name="connsiteY3" fmla="*/ 0 h 257442"/>
                <a:gd name="connsiteX0" fmla="*/ 3232131 w 3232131"/>
                <a:gd name="connsiteY0" fmla="*/ 0 h 257442"/>
                <a:gd name="connsiteX1" fmla="*/ 3177409 w 3232131"/>
                <a:gd name="connsiteY1" fmla="*/ 257442 h 257442"/>
                <a:gd name="connsiteX2" fmla="*/ 0 w 3232131"/>
                <a:gd name="connsiteY2" fmla="*/ 257442 h 257442"/>
                <a:gd name="connsiteX3" fmla="*/ 1 w 3232131"/>
                <a:gd name="connsiteY3" fmla="*/ 0 h 257442"/>
                <a:gd name="connsiteX0" fmla="*/ 3400447 w 3400447"/>
                <a:gd name="connsiteY0" fmla="*/ 0 h 257442"/>
                <a:gd name="connsiteX1" fmla="*/ 3177409 w 3400447"/>
                <a:gd name="connsiteY1" fmla="*/ 257442 h 257442"/>
                <a:gd name="connsiteX2" fmla="*/ 0 w 3400447"/>
                <a:gd name="connsiteY2" fmla="*/ 257442 h 257442"/>
                <a:gd name="connsiteX3" fmla="*/ 1 w 3400447"/>
                <a:gd name="connsiteY3" fmla="*/ 0 h 257442"/>
                <a:gd name="connsiteX0" fmla="*/ 3400447 w 3400447"/>
                <a:gd name="connsiteY0" fmla="*/ 0 h 257442"/>
                <a:gd name="connsiteX1" fmla="*/ 3345726 w 3400447"/>
                <a:gd name="connsiteY1" fmla="*/ 257442 h 257442"/>
                <a:gd name="connsiteX2" fmla="*/ 0 w 3400447"/>
                <a:gd name="connsiteY2" fmla="*/ 257442 h 257442"/>
                <a:gd name="connsiteX3" fmla="*/ 1 w 3400447"/>
                <a:gd name="connsiteY3" fmla="*/ 0 h 257442"/>
                <a:gd name="connsiteX0" fmla="*/ 3400446 w 3400446"/>
                <a:gd name="connsiteY0" fmla="*/ 0 h 257442"/>
                <a:gd name="connsiteX1" fmla="*/ 3345725 w 3400446"/>
                <a:gd name="connsiteY1" fmla="*/ 257442 h 257442"/>
                <a:gd name="connsiteX2" fmla="*/ 0 w 3400446"/>
                <a:gd name="connsiteY2" fmla="*/ 257442 h 257442"/>
                <a:gd name="connsiteX3" fmla="*/ 0 w 3400446"/>
                <a:gd name="connsiteY3" fmla="*/ 0 h 257442"/>
                <a:gd name="connsiteX0" fmla="*/ 3400447 w 3400447"/>
                <a:gd name="connsiteY0" fmla="*/ 0 h 257442"/>
                <a:gd name="connsiteX1" fmla="*/ 3345726 w 3400447"/>
                <a:gd name="connsiteY1" fmla="*/ 257442 h 257442"/>
                <a:gd name="connsiteX2" fmla="*/ 1 w 3400447"/>
                <a:gd name="connsiteY2" fmla="*/ 257442 h 257442"/>
                <a:gd name="connsiteX3" fmla="*/ 0 w 3400447"/>
                <a:gd name="connsiteY3" fmla="*/ 0 h 257442"/>
                <a:gd name="connsiteX0" fmla="*/ 3568762 w 3568762"/>
                <a:gd name="connsiteY0" fmla="*/ 0 h 257442"/>
                <a:gd name="connsiteX1" fmla="*/ 3345726 w 3568762"/>
                <a:gd name="connsiteY1" fmla="*/ 257442 h 257442"/>
                <a:gd name="connsiteX2" fmla="*/ 1 w 3568762"/>
                <a:gd name="connsiteY2" fmla="*/ 257442 h 257442"/>
                <a:gd name="connsiteX3" fmla="*/ 0 w 3568762"/>
                <a:gd name="connsiteY3" fmla="*/ 0 h 257442"/>
                <a:gd name="connsiteX0" fmla="*/ 3568762 w 3568762"/>
                <a:gd name="connsiteY0" fmla="*/ 0 h 257442"/>
                <a:gd name="connsiteX1" fmla="*/ 3514040 w 3568762"/>
                <a:gd name="connsiteY1" fmla="*/ 257442 h 257442"/>
                <a:gd name="connsiteX2" fmla="*/ 1 w 3568762"/>
                <a:gd name="connsiteY2" fmla="*/ 257442 h 257442"/>
                <a:gd name="connsiteX3" fmla="*/ 0 w 3568762"/>
                <a:gd name="connsiteY3" fmla="*/ 0 h 257442"/>
                <a:gd name="connsiteX0" fmla="*/ 3568762 w 3568762"/>
                <a:gd name="connsiteY0" fmla="*/ 0 h 257442"/>
                <a:gd name="connsiteX1" fmla="*/ 3514040 w 3568762"/>
                <a:gd name="connsiteY1" fmla="*/ 257442 h 257442"/>
                <a:gd name="connsiteX2" fmla="*/ 0 w 3568762"/>
                <a:gd name="connsiteY2" fmla="*/ 257442 h 257442"/>
                <a:gd name="connsiteX3" fmla="*/ 0 w 3568762"/>
                <a:gd name="connsiteY3" fmla="*/ 0 h 257442"/>
                <a:gd name="connsiteX0" fmla="*/ 3568762 w 3568762"/>
                <a:gd name="connsiteY0" fmla="*/ 0 h 257442"/>
                <a:gd name="connsiteX1" fmla="*/ 3514040 w 3568762"/>
                <a:gd name="connsiteY1" fmla="*/ 257442 h 257442"/>
                <a:gd name="connsiteX2" fmla="*/ 0 w 3568762"/>
                <a:gd name="connsiteY2" fmla="*/ 257442 h 257442"/>
                <a:gd name="connsiteX3" fmla="*/ 0 w 3568762"/>
                <a:gd name="connsiteY3" fmla="*/ 0 h 257442"/>
                <a:gd name="connsiteX0" fmla="*/ 3729061 w 3729061"/>
                <a:gd name="connsiteY0" fmla="*/ 0 h 257442"/>
                <a:gd name="connsiteX1" fmla="*/ 3514040 w 3729061"/>
                <a:gd name="connsiteY1" fmla="*/ 257442 h 257442"/>
                <a:gd name="connsiteX2" fmla="*/ 0 w 3729061"/>
                <a:gd name="connsiteY2" fmla="*/ 257442 h 257442"/>
                <a:gd name="connsiteX3" fmla="*/ 0 w 3729061"/>
                <a:gd name="connsiteY3" fmla="*/ 0 h 257442"/>
                <a:gd name="connsiteX0" fmla="*/ 3729061 w 3729061"/>
                <a:gd name="connsiteY0" fmla="*/ 0 h 257442"/>
                <a:gd name="connsiteX1" fmla="*/ 3674340 w 3729061"/>
                <a:gd name="connsiteY1" fmla="*/ 257442 h 257442"/>
                <a:gd name="connsiteX2" fmla="*/ 0 w 3729061"/>
                <a:gd name="connsiteY2" fmla="*/ 257442 h 257442"/>
                <a:gd name="connsiteX3" fmla="*/ 0 w 3729061"/>
                <a:gd name="connsiteY3" fmla="*/ 0 h 257442"/>
                <a:gd name="connsiteX0" fmla="*/ 3729061 w 3729061"/>
                <a:gd name="connsiteY0" fmla="*/ 0 h 257442"/>
                <a:gd name="connsiteX1" fmla="*/ 3674340 w 3729061"/>
                <a:gd name="connsiteY1" fmla="*/ 257442 h 257442"/>
                <a:gd name="connsiteX2" fmla="*/ 0 w 3729061"/>
                <a:gd name="connsiteY2" fmla="*/ 257442 h 257442"/>
                <a:gd name="connsiteX3" fmla="*/ 0 w 3729061"/>
                <a:gd name="connsiteY3" fmla="*/ 0 h 257442"/>
                <a:gd name="connsiteX0" fmla="*/ 3729061 w 3729061"/>
                <a:gd name="connsiteY0" fmla="*/ 0 h 257442"/>
                <a:gd name="connsiteX1" fmla="*/ 3674340 w 3729061"/>
                <a:gd name="connsiteY1" fmla="*/ 257442 h 257442"/>
                <a:gd name="connsiteX2" fmla="*/ 0 w 3729061"/>
                <a:gd name="connsiteY2" fmla="*/ 257442 h 257442"/>
                <a:gd name="connsiteX3" fmla="*/ 0 w 3729061"/>
                <a:gd name="connsiteY3" fmla="*/ 0 h 257442"/>
                <a:gd name="connsiteX0" fmla="*/ 986067 w 3674340"/>
                <a:gd name="connsiteY0" fmla="*/ 0 h 257442"/>
                <a:gd name="connsiteX1" fmla="*/ 3674340 w 3674340"/>
                <a:gd name="connsiteY1" fmla="*/ 257442 h 257442"/>
                <a:gd name="connsiteX2" fmla="*/ 0 w 3674340"/>
                <a:gd name="connsiteY2" fmla="*/ 257442 h 257442"/>
                <a:gd name="connsiteX3" fmla="*/ 0 w 3674340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1 w 986067"/>
                <a:gd name="connsiteY2" fmla="*/ 257442 h 257442"/>
                <a:gd name="connsiteX3" fmla="*/ 0 w 986067"/>
                <a:gd name="connsiteY3" fmla="*/ 0 h 257442"/>
                <a:gd name="connsiteX0" fmla="*/ 986066 w 986066"/>
                <a:gd name="connsiteY0" fmla="*/ 0 h 257442"/>
                <a:gd name="connsiteX1" fmla="*/ 931345 w 986066"/>
                <a:gd name="connsiteY1" fmla="*/ 257442 h 257442"/>
                <a:gd name="connsiteX2" fmla="*/ 0 w 986066"/>
                <a:gd name="connsiteY2" fmla="*/ 257442 h 257442"/>
                <a:gd name="connsiteX3" fmla="*/ 0 w 986066"/>
                <a:gd name="connsiteY3" fmla="*/ 0 h 257442"/>
                <a:gd name="connsiteX0" fmla="*/ 1146367 w 1146367"/>
                <a:gd name="connsiteY0" fmla="*/ 0 h 257442"/>
                <a:gd name="connsiteX1" fmla="*/ 931345 w 1146367"/>
                <a:gd name="connsiteY1" fmla="*/ 257442 h 257442"/>
                <a:gd name="connsiteX2" fmla="*/ 0 w 1146367"/>
                <a:gd name="connsiteY2" fmla="*/ 257442 h 257442"/>
                <a:gd name="connsiteX3" fmla="*/ 0 w 1146367"/>
                <a:gd name="connsiteY3" fmla="*/ 0 h 257442"/>
                <a:gd name="connsiteX0" fmla="*/ 1146367 w 1146367"/>
                <a:gd name="connsiteY0" fmla="*/ 0 h 257442"/>
                <a:gd name="connsiteX1" fmla="*/ 1091646 w 1146367"/>
                <a:gd name="connsiteY1" fmla="*/ 257442 h 257442"/>
                <a:gd name="connsiteX2" fmla="*/ 0 w 1146367"/>
                <a:gd name="connsiteY2" fmla="*/ 257442 h 257442"/>
                <a:gd name="connsiteX3" fmla="*/ 0 w 1146367"/>
                <a:gd name="connsiteY3" fmla="*/ 0 h 257442"/>
                <a:gd name="connsiteX0" fmla="*/ 1146368 w 1146368"/>
                <a:gd name="connsiteY0" fmla="*/ 0 h 257442"/>
                <a:gd name="connsiteX1" fmla="*/ 1091647 w 1146368"/>
                <a:gd name="connsiteY1" fmla="*/ 257442 h 257442"/>
                <a:gd name="connsiteX2" fmla="*/ 0 w 1146368"/>
                <a:gd name="connsiteY2" fmla="*/ 257442 h 257442"/>
                <a:gd name="connsiteX3" fmla="*/ 1 w 1146368"/>
                <a:gd name="connsiteY3" fmla="*/ 0 h 257442"/>
                <a:gd name="connsiteX0" fmla="*/ 1146368 w 1146368"/>
                <a:gd name="connsiteY0" fmla="*/ 0 h 257442"/>
                <a:gd name="connsiteX1" fmla="*/ 1091647 w 1146368"/>
                <a:gd name="connsiteY1" fmla="*/ 257442 h 257442"/>
                <a:gd name="connsiteX2" fmla="*/ 0 w 1146368"/>
                <a:gd name="connsiteY2" fmla="*/ 257442 h 257442"/>
                <a:gd name="connsiteX3" fmla="*/ 0 w 1146368"/>
                <a:gd name="connsiteY3" fmla="*/ 0 h 257442"/>
                <a:gd name="connsiteX0" fmla="*/ 1314682 w 1314682"/>
                <a:gd name="connsiteY0" fmla="*/ 0 h 257442"/>
                <a:gd name="connsiteX1" fmla="*/ 1091647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567957 w 1567957"/>
                <a:gd name="connsiteY0" fmla="*/ 0 h 257442"/>
                <a:gd name="connsiteX1" fmla="*/ 1259961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567957 w 1567957"/>
                <a:gd name="connsiteY0" fmla="*/ 0 h 257442"/>
                <a:gd name="connsiteX1" fmla="*/ 1513236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567957 w 1567957"/>
                <a:gd name="connsiteY0" fmla="*/ 0 h 257442"/>
                <a:gd name="connsiteX1" fmla="*/ 1513236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567957 w 1567957"/>
                <a:gd name="connsiteY0" fmla="*/ 0 h 257442"/>
                <a:gd name="connsiteX1" fmla="*/ 1513236 w 1567957"/>
                <a:gd name="connsiteY1" fmla="*/ 257442 h 257442"/>
                <a:gd name="connsiteX2" fmla="*/ 0 w 1567957"/>
                <a:gd name="connsiteY2" fmla="*/ 257442 h 257442"/>
                <a:gd name="connsiteX3" fmla="*/ 0 w 1567957"/>
                <a:gd name="connsiteY3" fmla="*/ 0 h 257442"/>
                <a:gd name="connsiteX0" fmla="*/ 1736273 w 1736273"/>
                <a:gd name="connsiteY0" fmla="*/ 0 h 257442"/>
                <a:gd name="connsiteX1" fmla="*/ 1513236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736273 w 1736273"/>
                <a:gd name="connsiteY0" fmla="*/ 0 h 257442"/>
                <a:gd name="connsiteX1" fmla="*/ 1681552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736273 w 1736273"/>
                <a:gd name="connsiteY0" fmla="*/ 0 h 257442"/>
                <a:gd name="connsiteX1" fmla="*/ 1681552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736273 w 1736273"/>
                <a:gd name="connsiteY0" fmla="*/ 0 h 257442"/>
                <a:gd name="connsiteX1" fmla="*/ 1681552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904587 w 1904587"/>
                <a:gd name="connsiteY0" fmla="*/ 0 h 257442"/>
                <a:gd name="connsiteX1" fmla="*/ 1681552 w 1904587"/>
                <a:gd name="connsiteY1" fmla="*/ 257442 h 257442"/>
                <a:gd name="connsiteX2" fmla="*/ 0 w 1904587"/>
                <a:gd name="connsiteY2" fmla="*/ 257442 h 257442"/>
                <a:gd name="connsiteX3" fmla="*/ 0 w 1904587"/>
                <a:gd name="connsiteY3" fmla="*/ 0 h 257442"/>
                <a:gd name="connsiteX0" fmla="*/ 1904587 w 1904587"/>
                <a:gd name="connsiteY0" fmla="*/ 0 h 257442"/>
                <a:gd name="connsiteX1" fmla="*/ 1849866 w 1904587"/>
                <a:gd name="connsiteY1" fmla="*/ 257442 h 257442"/>
                <a:gd name="connsiteX2" fmla="*/ 0 w 1904587"/>
                <a:gd name="connsiteY2" fmla="*/ 257442 h 257442"/>
                <a:gd name="connsiteX3" fmla="*/ 0 w 1904587"/>
                <a:gd name="connsiteY3" fmla="*/ 0 h 257442"/>
                <a:gd name="connsiteX0" fmla="*/ 1904587 w 1904587"/>
                <a:gd name="connsiteY0" fmla="*/ 0 h 257442"/>
                <a:gd name="connsiteX1" fmla="*/ 1849866 w 1904587"/>
                <a:gd name="connsiteY1" fmla="*/ 257442 h 257442"/>
                <a:gd name="connsiteX2" fmla="*/ 0 w 1904587"/>
                <a:gd name="connsiteY2" fmla="*/ 257442 h 257442"/>
                <a:gd name="connsiteX3" fmla="*/ 0 w 1904587"/>
                <a:gd name="connsiteY3" fmla="*/ 0 h 257442"/>
                <a:gd name="connsiteX0" fmla="*/ 1904587 w 1904587"/>
                <a:gd name="connsiteY0" fmla="*/ 0 h 257442"/>
                <a:gd name="connsiteX1" fmla="*/ 1849866 w 1904587"/>
                <a:gd name="connsiteY1" fmla="*/ 257442 h 257442"/>
                <a:gd name="connsiteX2" fmla="*/ 0 w 1904587"/>
                <a:gd name="connsiteY2" fmla="*/ 257442 h 257442"/>
                <a:gd name="connsiteX3" fmla="*/ 0 w 1904587"/>
                <a:gd name="connsiteY3" fmla="*/ 0 h 257442"/>
                <a:gd name="connsiteX0" fmla="*/ 2209158 w 2209158"/>
                <a:gd name="connsiteY0" fmla="*/ 0 h 257442"/>
                <a:gd name="connsiteX1" fmla="*/ 1849866 w 2209158"/>
                <a:gd name="connsiteY1" fmla="*/ 257442 h 257442"/>
                <a:gd name="connsiteX2" fmla="*/ 0 w 2209158"/>
                <a:gd name="connsiteY2" fmla="*/ 257442 h 257442"/>
                <a:gd name="connsiteX3" fmla="*/ 0 w 2209158"/>
                <a:gd name="connsiteY3" fmla="*/ 0 h 257442"/>
                <a:gd name="connsiteX0" fmla="*/ 2209158 w 2209158"/>
                <a:gd name="connsiteY0" fmla="*/ 0 h 257442"/>
                <a:gd name="connsiteX1" fmla="*/ 2154436 w 2209158"/>
                <a:gd name="connsiteY1" fmla="*/ 257442 h 257442"/>
                <a:gd name="connsiteX2" fmla="*/ 0 w 2209158"/>
                <a:gd name="connsiteY2" fmla="*/ 257442 h 257442"/>
                <a:gd name="connsiteX3" fmla="*/ 0 w 2209158"/>
                <a:gd name="connsiteY3" fmla="*/ 0 h 257442"/>
                <a:gd name="connsiteX0" fmla="*/ 2209159 w 2209159"/>
                <a:gd name="connsiteY0" fmla="*/ 0 h 257442"/>
                <a:gd name="connsiteX1" fmla="*/ 2154437 w 2209159"/>
                <a:gd name="connsiteY1" fmla="*/ 257442 h 257442"/>
                <a:gd name="connsiteX2" fmla="*/ 0 w 2209159"/>
                <a:gd name="connsiteY2" fmla="*/ 257442 h 257442"/>
                <a:gd name="connsiteX3" fmla="*/ 1 w 2209159"/>
                <a:gd name="connsiteY3" fmla="*/ 0 h 257442"/>
                <a:gd name="connsiteX0" fmla="*/ 2209159 w 2209159"/>
                <a:gd name="connsiteY0" fmla="*/ 0 h 257442"/>
                <a:gd name="connsiteX1" fmla="*/ 2154437 w 2209159"/>
                <a:gd name="connsiteY1" fmla="*/ 257442 h 257442"/>
                <a:gd name="connsiteX2" fmla="*/ 0 w 2209159"/>
                <a:gd name="connsiteY2" fmla="*/ 257442 h 257442"/>
                <a:gd name="connsiteX3" fmla="*/ 1 w 2209159"/>
                <a:gd name="connsiteY3" fmla="*/ 0 h 257442"/>
                <a:gd name="connsiteX0" fmla="*/ 2478463 w 2478463"/>
                <a:gd name="connsiteY0" fmla="*/ 0 h 257442"/>
                <a:gd name="connsiteX1" fmla="*/ 2154437 w 2478463"/>
                <a:gd name="connsiteY1" fmla="*/ 257442 h 257442"/>
                <a:gd name="connsiteX2" fmla="*/ 0 w 2478463"/>
                <a:gd name="connsiteY2" fmla="*/ 257442 h 257442"/>
                <a:gd name="connsiteX3" fmla="*/ 1 w 2478463"/>
                <a:gd name="connsiteY3" fmla="*/ 0 h 257442"/>
                <a:gd name="connsiteX0" fmla="*/ 2478463 w 2478463"/>
                <a:gd name="connsiteY0" fmla="*/ 0 h 257442"/>
                <a:gd name="connsiteX1" fmla="*/ 2423742 w 2478463"/>
                <a:gd name="connsiteY1" fmla="*/ 257442 h 257442"/>
                <a:gd name="connsiteX2" fmla="*/ 0 w 2478463"/>
                <a:gd name="connsiteY2" fmla="*/ 257442 h 257442"/>
                <a:gd name="connsiteX3" fmla="*/ 1 w 2478463"/>
                <a:gd name="connsiteY3" fmla="*/ 0 h 257442"/>
                <a:gd name="connsiteX0" fmla="*/ 2478462 w 2478462"/>
                <a:gd name="connsiteY0" fmla="*/ 0 h 257442"/>
                <a:gd name="connsiteX1" fmla="*/ 2423741 w 2478462"/>
                <a:gd name="connsiteY1" fmla="*/ 257442 h 257442"/>
                <a:gd name="connsiteX2" fmla="*/ 0 w 2478462"/>
                <a:gd name="connsiteY2" fmla="*/ 257442 h 257442"/>
                <a:gd name="connsiteX3" fmla="*/ 0 w 2478462"/>
                <a:gd name="connsiteY3" fmla="*/ 0 h 257442"/>
                <a:gd name="connsiteX0" fmla="*/ 2478463 w 2478463"/>
                <a:gd name="connsiteY0" fmla="*/ 0 h 257442"/>
                <a:gd name="connsiteX1" fmla="*/ 2423742 w 2478463"/>
                <a:gd name="connsiteY1" fmla="*/ 257442 h 257442"/>
                <a:gd name="connsiteX2" fmla="*/ 1 w 2478463"/>
                <a:gd name="connsiteY2" fmla="*/ 257442 h 257442"/>
                <a:gd name="connsiteX3" fmla="*/ 0 w 2478463"/>
                <a:gd name="connsiteY3" fmla="*/ 0 h 257442"/>
                <a:gd name="connsiteX0" fmla="*/ 960420 w 2423742"/>
                <a:gd name="connsiteY0" fmla="*/ 0 h 257442"/>
                <a:gd name="connsiteX1" fmla="*/ 2423742 w 2423742"/>
                <a:gd name="connsiteY1" fmla="*/ 257442 h 257442"/>
                <a:gd name="connsiteX2" fmla="*/ 1 w 2423742"/>
                <a:gd name="connsiteY2" fmla="*/ 257442 h 257442"/>
                <a:gd name="connsiteX3" fmla="*/ 0 w 2423742"/>
                <a:gd name="connsiteY3" fmla="*/ 0 h 257442"/>
                <a:gd name="connsiteX0" fmla="*/ 960420 w 960420"/>
                <a:gd name="connsiteY0" fmla="*/ 0 h 257442"/>
                <a:gd name="connsiteX1" fmla="*/ 905699 w 960420"/>
                <a:gd name="connsiteY1" fmla="*/ 257442 h 257442"/>
                <a:gd name="connsiteX2" fmla="*/ 1 w 960420"/>
                <a:gd name="connsiteY2" fmla="*/ 257442 h 257442"/>
                <a:gd name="connsiteX3" fmla="*/ 0 w 960420"/>
                <a:gd name="connsiteY3" fmla="*/ 0 h 257442"/>
                <a:gd name="connsiteX0" fmla="*/ 960420 w 960420"/>
                <a:gd name="connsiteY0" fmla="*/ 0 h 257442"/>
                <a:gd name="connsiteX1" fmla="*/ 905699 w 960420"/>
                <a:gd name="connsiteY1" fmla="*/ 257442 h 257442"/>
                <a:gd name="connsiteX2" fmla="*/ 1 w 960420"/>
                <a:gd name="connsiteY2" fmla="*/ 257442 h 257442"/>
                <a:gd name="connsiteX3" fmla="*/ 0 w 960420"/>
                <a:gd name="connsiteY3" fmla="*/ 0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0 w 960419"/>
                <a:gd name="connsiteY2" fmla="*/ 257442 h 257442"/>
                <a:gd name="connsiteX3" fmla="*/ 0 w 960419"/>
                <a:gd name="connsiteY3" fmla="*/ 0 h 257442"/>
                <a:gd name="connsiteX0" fmla="*/ 782550 w 905698"/>
                <a:gd name="connsiteY0" fmla="*/ 0 h 257442"/>
                <a:gd name="connsiteX1" fmla="*/ 905698 w 905698"/>
                <a:gd name="connsiteY1" fmla="*/ 257442 h 257442"/>
                <a:gd name="connsiteX2" fmla="*/ 0 w 905698"/>
                <a:gd name="connsiteY2" fmla="*/ 257442 h 257442"/>
                <a:gd name="connsiteX3" fmla="*/ 0 w 905698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960419 w 960419"/>
                <a:gd name="connsiteY0" fmla="*/ 0 h 257442"/>
                <a:gd name="connsiteX1" fmla="*/ 727829 w 960419"/>
                <a:gd name="connsiteY1" fmla="*/ 257442 h 257442"/>
                <a:gd name="connsiteX2" fmla="*/ 0 w 960419"/>
                <a:gd name="connsiteY2" fmla="*/ 257442 h 257442"/>
                <a:gd name="connsiteX3" fmla="*/ 0 w 960419"/>
                <a:gd name="connsiteY3" fmla="*/ 0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0 w 960419"/>
                <a:gd name="connsiteY2" fmla="*/ 257442 h 257442"/>
                <a:gd name="connsiteX3" fmla="*/ 0 w 960419"/>
                <a:gd name="connsiteY3" fmla="*/ 0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0 w 960419"/>
                <a:gd name="connsiteY2" fmla="*/ 257442 h 257442"/>
                <a:gd name="connsiteX3" fmla="*/ 0 w 960419"/>
                <a:gd name="connsiteY3" fmla="*/ 0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0 w 960419"/>
                <a:gd name="connsiteY2" fmla="*/ 257442 h 257442"/>
                <a:gd name="connsiteX3" fmla="*/ 0 w 960419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2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306669 w 1306669"/>
                <a:gd name="connsiteY0" fmla="*/ 0 h 257442"/>
                <a:gd name="connsiteX1" fmla="*/ 1074013 w 1306669"/>
                <a:gd name="connsiteY1" fmla="*/ 257442 h 257442"/>
                <a:gd name="connsiteX2" fmla="*/ 0 w 1306669"/>
                <a:gd name="connsiteY2" fmla="*/ 257442 h 257442"/>
                <a:gd name="connsiteX3" fmla="*/ 1 w 1306669"/>
                <a:gd name="connsiteY3" fmla="*/ 0 h 257442"/>
                <a:gd name="connsiteX0" fmla="*/ 1306669 w 1306669"/>
                <a:gd name="connsiteY0" fmla="*/ 0 h 257442"/>
                <a:gd name="connsiteX1" fmla="*/ 1251948 w 1306669"/>
                <a:gd name="connsiteY1" fmla="*/ 257442 h 257442"/>
                <a:gd name="connsiteX2" fmla="*/ 0 w 1306669"/>
                <a:gd name="connsiteY2" fmla="*/ 257442 h 257442"/>
                <a:gd name="connsiteX3" fmla="*/ 1 w 1306669"/>
                <a:gd name="connsiteY3" fmla="*/ 0 h 257442"/>
                <a:gd name="connsiteX0" fmla="*/ 1306668 w 1306668"/>
                <a:gd name="connsiteY0" fmla="*/ 0 h 257442"/>
                <a:gd name="connsiteX1" fmla="*/ 1251947 w 1306668"/>
                <a:gd name="connsiteY1" fmla="*/ 257442 h 257442"/>
                <a:gd name="connsiteX2" fmla="*/ 0 w 1306668"/>
                <a:gd name="connsiteY2" fmla="*/ 257442 h 257442"/>
                <a:gd name="connsiteX3" fmla="*/ 0 w 1306668"/>
                <a:gd name="connsiteY3" fmla="*/ 0 h 257442"/>
                <a:gd name="connsiteX0" fmla="*/ 1306669 w 1306669"/>
                <a:gd name="connsiteY0" fmla="*/ 0 h 257442"/>
                <a:gd name="connsiteX1" fmla="*/ 1251948 w 1306669"/>
                <a:gd name="connsiteY1" fmla="*/ 257442 h 257442"/>
                <a:gd name="connsiteX2" fmla="*/ 1 w 1306669"/>
                <a:gd name="connsiteY2" fmla="*/ 257442 h 257442"/>
                <a:gd name="connsiteX3" fmla="*/ 0 w 1306669"/>
                <a:gd name="connsiteY3" fmla="*/ 0 h 257442"/>
                <a:gd name="connsiteX0" fmla="*/ 1474984 w 1474984"/>
                <a:gd name="connsiteY0" fmla="*/ 0 h 257442"/>
                <a:gd name="connsiteX1" fmla="*/ 1251948 w 1474984"/>
                <a:gd name="connsiteY1" fmla="*/ 257442 h 257442"/>
                <a:gd name="connsiteX2" fmla="*/ 1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1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643298 w 1643298"/>
                <a:gd name="connsiteY0" fmla="*/ 0 h 257442"/>
                <a:gd name="connsiteX1" fmla="*/ 1420262 w 1643298"/>
                <a:gd name="connsiteY1" fmla="*/ 257442 h 257442"/>
                <a:gd name="connsiteX2" fmla="*/ 0 w 1643298"/>
                <a:gd name="connsiteY2" fmla="*/ 257442 h 257442"/>
                <a:gd name="connsiteX3" fmla="*/ 0 w 1643298"/>
                <a:gd name="connsiteY3" fmla="*/ 0 h 257442"/>
                <a:gd name="connsiteX0" fmla="*/ 1643298 w 1643298"/>
                <a:gd name="connsiteY0" fmla="*/ 0 h 257442"/>
                <a:gd name="connsiteX1" fmla="*/ 1588577 w 1643298"/>
                <a:gd name="connsiteY1" fmla="*/ 257442 h 257442"/>
                <a:gd name="connsiteX2" fmla="*/ 0 w 1643298"/>
                <a:gd name="connsiteY2" fmla="*/ 257442 h 257442"/>
                <a:gd name="connsiteX3" fmla="*/ 0 w 1643298"/>
                <a:gd name="connsiteY3" fmla="*/ 0 h 257442"/>
                <a:gd name="connsiteX0" fmla="*/ 1643298 w 1643298"/>
                <a:gd name="connsiteY0" fmla="*/ 0 h 257442"/>
                <a:gd name="connsiteX1" fmla="*/ 1588577 w 1643298"/>
                <a:gd name="connsiteY1" fmla="*/ 257442 h 257442"/>
                <a:gd name="connsiteX2" fmla="*/ 0 w 1643298"/>
                <a:gd name="connsiteY2" fmla="*/ 257442 h 257442"/>
                <a:gd name="connsiteX3" fmla="*/ 0 w 1643298"/>
                <a:gd name="connsiteY3" fmla="*/ 0 h 257442"/>
                <a:gd name="connsiteX0" fmla="*/ 1643298 w 1643298"/>
                <a:gd name="connsiteY0" fmla="*/ 0 h 257442"/>
                <a:gd name="connsiteX1" fmla="*/ 1588577 w 1643298"/>
                <a:gd name="connsiteY1" fmla="*/ 257442 h 257442"/>
                <a:gd name="connsiteX2" fmla="*/ 0 w 1643298"/>
                <a:gd name="connsiteY2" fmla="*/ 257442 h 257442"/>
                <a:gd name="connsiteX3" fmla="*/ 0 w 1643298"/>
                <a:gd name="connsiteY3" fmla="*/ 0 h 257442"/>
                <a:gd name="connsiteX0" fmla="*/ 1912603 w 1912603"/>
                <a:gd name="connsiteY0" fmla="*/ 0 h 257442"/>
                <a:gd name="connsiteX1" fmla="*/ 1588577 w 1912603"/>
                <a:gd name="connsiteY1" fmla="*/ 257442 h 257442"/>
                <a:gd name="connsiteX2" fmla="*/ 0 w 1912603"/>
                <a:gd name="connsiteY2" fmla="*/ 257442 h 257442"/>
                <a:gd name="connsiteX3" fmla="*/ 0 w 1912603"/>
                <a:gd name="connsiteY3" fmla="*/ 0 h 257442"/>
                <a:gd name="connsiteX0" fmla="*/ 1912603 w 1912603"/>
                <a:gd name="connsiteY0" fmla="*/ 0 h 257442"/>
                <a:gd name="connsiteX1" fmla="*/ 1857882 w 1912603"/>
                <a:gd name="connsiteY1" fmla="*/ 257442 h 257442"/>
                <a:gd name="connsiteX2" fmla="*/ 0 w 1912603"/>
                <a:gd name="connsiteY2" fmla="*/ 257442 h 257442"/>
                <a:gd name="connsiteX3" fmla="*/ 0 w 1912603"/>
                <a:gd name="connsiteY3" fmla="*/ 0 h 257442"/>
                <a:gd name="connsiteX0" fmla="*/ 1912603 w 1912603"/>
                <a:gd name="connsiteY0" fmla="*/ 0 h 257442"/>
                <a:gd name="connsiteX1" fmla="*/ 1857882 w 1912603"/>
                <a:gd name="connsiteY1" fmla="*/ 257442 h 257442"/>
                <a:gd name="connsiteX2" fmla="*/ 0 w 1912603"/>
                <a:gd name="connsiteY2" fmla="*/ 257442 h 257442"/>
                <a:gd name="connsiteX3" fmla="*/ 0 w 1912603"/>
                <a:gd name="connsiteY3" fmla="*/ 0 h 257442"/>
                <a:gd name="connsiteX0" fmla="*/ 1912603 w 1912603"/>
                <a:gd name="connsiteY0" fmla="*/ 0 h 257442"/>
                <a:gd name="connsiteX1" fmla="*/ 1857882 w 1912603"/>
                <a:gd name="connsiteY1" fmla="*/ 257442 h 257442"/>
                <a:gd name="connsiteX2" fmla="*/ 0 w 1912603"/>
                <a:gd name="connsiteY2" fmla="*/ 257442 h 257442"/>
                <a:gd name="connsiteX3" fmla="*/ 0 w 1912603"/>
                <a:gd name="connsiteY3" fmla="*/ 0 h 257442"/>
                <a:gd name="connsiteX0" fmla="*/ 2173892 w 2173892"/>
                <a:gd name="connsiteY0" fmla="*/ 0 h 257442"/>
                <a:gd name="connsiteX1" fmla="*/ 1857882 w 2173892"/>
                <a:gd name="connsiteY1" fmla="*/ 257442 h 257442"/>
                <a:gd name="connsiteX2" fmla="*/ 0 w 2173892"/>
                <a:gd name="connsiteY2" fmla="*/ 257442 h 257442"/>
                <a:gd name="connsiteX3" fmla="*/ 0 w 2173892"/>
                <a:gd name="connsiteY3" fmla="*/ 0 h 257442"/>
                <a:gd name="connsiteX0" fmla="*/ 2173892 w 2173892"/>
                <a:gd name="connsiteY0" fmla="*/ 0 h 257442"/>
                <a:gd name="connsiteX1" fmla="*/ 2119170 w 2173892"/>
                <a:gd name="connsiteY1" fmla="*/ 257442 h 257442"/>
                <a:gd name="connsiteX2" fmla="*/ 0 w 2173892"/>
                <a:gd name="connsiteY2" fmla="*/ 257442 h 257442"/>
                <a:gd name="connsiteX3" fmla="*/ 0 w 2173892"/>
                <a:gd name="connsiteY3" fmla="*/ 0 h 257442"/>
                <a:gd name="connsiteX0" fmla="*/ 2173893 w 2173893"/>
                <a:gd name="connsiteY0" fmla="*/ 0 h 257442"/>
                <a:gd name="connsiteX1" fmla="*/ 2119171 w 2173893"/>
                <a:gd name="connsiteY1" fmla="*/ 257442 h 257442"/>
                <a:gd name="connsiteX2" fmla="*/ 0 w 2173893"/>
                <a:gd name="connsiteY2" fmla="*/ 257442 h 257442"/>
                <a:gd name="connsiteX3" fmla="*/ 1 w 2173893"/>
                <a:gd name="connsiteY3" fmla="*/ 0 h 257442"/>
                <a:gd name="connsiteX0" fmla="*/ 2173893 w 2173893"/>
                <a:gd name="connsiteY0" fmla="*/ 0 h 257442"/>
                <a:gd name="connsiteX1" fmla="*/ 2119171 w 2173893"/>
                <a:gd name="connsiteY1" fmla="*/ 257442 h 257442"/>
                <a:gd name="connsiteX2" fmla="*/ 0 w 2173893"/>
                <a:gd name="connsiteY2" fmla="*/ 257442 h 257442"/>
                <a:gd name="connsiteX3" fmla="*/ 1 w 2173893"/>
                <a:gd name="connsiteY3" fmla="*/ 0 h 257442"/>
                <a:gd name="connsiteX0" fmla="*/ 2334193 w 2334193"/>
                <a:gd name="connsiteY0" fmla="*/ 0 h 257442"/>
                <a:gd name="connsiteX1" fmla="*/ 2119171 w 2334193"/>
                <a:gd name="connsiteY1" fmla="*/ 257442 h 257442"/>
                <a:gd name="connsiteX2" fmla="*/ 0 w 2334193"/>
                <a:gd name="connsiteY2" fmla="*/ 257442 h 257442"/>
                <a:gd name="connsiteX3" fmla="*/ 1 w 2334193"/>
                <a:gd name="connsiteY3" fmla="*/ 0 h 257442"/>
                <a:gd name="connsiteX0" fmla="*/ 2334193 w 2334193"/>
                <a:gd name="connsiteY0" fmla="*/ 0 h 257442"/>
                <a:gd name="connsiteX1" fmla="*/ 2279472 w 2334193"/>
                <a:gd name="connsiteY1" fmla="*/ 257442 h 257442"/>
                <a:gd name="connsiteX2" fmla="*/ 0 w 2334193"/>
                <a:gd name="connsiteY2" fmla="*/ 257442 h 257442"/>
                <a:gd name="connsiteX3" fmla="*/ 1 w 2334193"/>
                <a:gd name="connsiteY3" fmla="*/ 0 h 257442"/>
                <a:gd name="connsiteX0" fmla="*/ 2334192 w 2334192"/>
                <a:gd name="connsiteY0" fmla="*/ 0 h 257442"/>
                <a:gd name="connsiteX1" fmla="*/ 2279471 w 2334192"/>
                <a:gd name="connsiteY1" fmla="*/ 257442 h 257442"/>
                <a:gd name="connsiteX2" fmla="*/ 0 w 2334192"/>
                <a:gd name="connsiteY2" fmla="*/ 257442 h 257442"/>
                <a:gd name="connsiteX3" fmla="*/ 0 w 2334192"/>
                <a:gd name="connsiteY3" fmla="*/ 0 h 257442"/>
                <a:gd name="connsiteX0" fmla="*/ 2334193 w 2334193"/>
                <a:gd name="connsiteY0" fmla="*/ 0 h 257442"/>
                <a:gd name="connsiteX1" fmla="*/ 2279472 w 2334193"/>
                <a:gd name="connsiteY1" fmla="*/ 257442 h 257442"/>
                <a:gd name="connsiteX2" fmla="*/ 1 w 2334193"/>
                <a:gd name="connsiteY2" fmla="*/ 257442 h 257442"/>
                <a:gd name="connsiteX3" fmla="*/ 0 w 2334193"/>
                <a:gd name="connsiteY3" fmla="*/ 0 h 257442"/>
                <a:gd name="connsiteX0" fmla="*/ 2502509 w 2502509"/>
                <a:gd name="connsiteY0" fmla="*/ 0 h 257442"/>
                <a:gd name="connsiteX1" fmla="*/ 2279472 w 2502509"/>
                <a:gd name="connsiteY1" fmla="*/ 257442 h 257442"/>
                <a:gd name="connsiteX2" fmla="*/ 1 w 2502509"/>
                <a:gd name="connsiteY2" fmla="*/ 257442 h 257442"/>
                <a:gd name="connsiteX3" fmla="*/ 0 w 2502509"/>
                <a:gd name="connsiteY3" fmla="*/ 0 h 257442"/>
                <a:gd name="connsiteX0" fmla="*/ 2502509 w 2502509"/>
                <a:gd name="connsiteY0" fmla="*/ 0 h 257442"/>
                <a:gd name="connsiteX1" fmla="*/ 2447788 w 2502509"/>
                <a:gd name="connsiteY1" fmla="*/ 257442 h 257442"/>
                <a:gd name="connsiteX2" fmla="*/ 1 w 2502509"/>
                <a:gd name="connsiteY2" fmla="*/ 257442 h 257442"/>
                <a:gd name="connsiteX3" fmla="*/ 0 w 2502509"/>
                <a:gd name="connsiteY3" fmla="*/ 0 h 257442"/>
                <a:gd name="connsiteX0" fmla="*/ 2502509 w 2502509"/>
                <a:gd name="connsiteY0" fmla="*/ 0 h 257442"/>
                <a:gd name="connsiteX1" fmla="*/ 2447788 w 2502509"/>
                <a:gd name="connsiteY1" fmla="*/ 257442 h 257442"/>
                <a:gd name="connsiteX2" fmla="*/ 1 w 2502509"/>
                <a:gd name="connsiteY2" fmla="*/ 257442 h 257442"/>
                <a:gd name="connsiteX3" fmla="*/ 0 w 2502509"/>
                <a:gd name="connsiteY3" fmla="*/ 0 h 257442"/>
                <a:gd name="connsiteX0" fmla="*/ 2502508 w 2502508"/>
                <a:gd name="connsiteY0" fmla="*/ 0 h 257442"/>
                <a:gd name="connsiteX1" fmla="*/ 2447787 w 2502508"/>
                <a:gd name="connsiteY1" fmla="*/ 257442 h 257442"/>
                <a:gd name="connsiteX2" fmla="*/ 0 w 2502508"/>
                <a:gd name="connsiteY2" fmla="*/ 257442 h 257442"/>
                <a:gd name="connsiteX3" fmla="*/ 0 w 2502508"/>
                <a:gd name="connsiteY3" fmla="*/ 0 h 257442"/>
                <a:gd name="connsiteX0" fmla="*/ 2670822 w 2670822"/>
                <a:gd name="connsiteY0" fmla="*/ 0 h 257442"/>
                <a:gd name="connsiteX1" fmla="*/ 2447787 w 2670822"/>
                <a:gd name="connsiteY1" fmla="*/ 257442 h 257442"/>
                <a:gd name="connsiteX2" fmla="*/ 0 w 2670822"/>
                <a:gd name="connsiteY2" fmla="*/ 257442 h 257442"/>
                <a:gd name="connsiteX3" fmla="*/ 0 w 2670822"/>
                <a:gd name="connsiteY3" fmla="*/ 0 h 257442"/>
                <a:gd name="connsiteX0" fmla="*/ 2670822 w 2670822"/>
                <a:gd name="connsiteY0" fmla="*/ 0 h 257442"/>
                <a:gd name="connsiteX1" fmla="*/ 2616101 w 2670822"/>
                <a:gd name="connsiteY1" fmla="*/ 257442 h 257442"/>
                <a:gd name="connsiteX2" fmla="*/ 0 w 2670822"/>
                <a:gd name="connsiteY2" fmla="*/ 257442 h 257442"/>
                <a:gd name="connsiteX3" fmla="*/ 0 w 2670822"/>
                <a:gd name="connsiteY3" fmla="*/ 0 h 257442"/>
                <a:gd name="connsiteX0" fmla="*/ 2670823 w 2670823"/>
                <a:gd name="connsiteY0" fmla="*/ 0 h 257442"/>
                <a:gd name="connsiteX1" fmla="*/ 2616102 w 2670823"/>
                <a:gd name="connsiteY1" fmla="*/ 257442 h 257442"/>
                <a:gd name="connsiteX2" fmla="*/ 0 w 2670823"/>
                <a:gd name="connsiteY2" fmla="*/ 257442 h 257442"/>
                <a:gd name="connsiteX3" fmla="*/ 1 w 2670823"/>
                <a:gd name="connsiteY3" fmla="*/ 0 h 257442"/>
                <a:gd name="connsiteX0" fmla="*/ 2670823 w 2670823"/>
                <a:gd name="connsiteY0" fmla="*/ 0 h 257442"/>
                <a:gd name="connsiteX1" fmla="*/ 2616102 w 2670823"/>
                <a:gd name="connsiteY1" fmla="*/ 257442 h 257442"/>
                <a:gd name="connsiteX2" fmla="*/ 0 w 2670823"/>
                <a:gd name="connsiteY2" fmla="*/ 257442 h 257442"/>
                <a:gd name="connsiteX3" fmla="*/ 1 w 2670823"/>
                <a:gd name="connsiteY3" fmla="*/ 0 h 257442"/>
                <a:gd name="connsiteX0" fmla="*/ 2839140 w 2839140"/>
                <a:gd name="connsiteY0" fmla="*/ 0 h 257442"/>
                <a:gd name="connsiteX1" fmla="*/ 2616102 w 2839140"/>
                <a:gd name="connsiteY1" fmla="*/ 257442 h 257442"/>
                <a:gd name="connsiteX2" fmla="*/ 0 w 2839140"/>
                <a:gd name="connsiteY2" fmla="*/ 257442 h 257442"/>
                <a:gd name="connsiteX3" fmla="*/ 1 w 2839140"/>
                <a:gd name="connsiteY3" fmla="*/ 0 h 257442"/>
                <a:gd name="connsiteX0" fmla="*/ 2839140 w 2839140"/>
                <a:gd name="connsiteY0" fmla="*/ 0 h 257442"/>
                <a:gd name="connsiteX1" fmla="*/ 2784418 w 2839140"/>
                <a:gd name="connsiteY1" fmla="*/ 257442 h 257442"/>
                <a:gd name="connsiteX2" fmla="*/ 0 w 2839140"/>
                <a:gd name="connsiteY2" fmla="*/ 257442 h 257442"/>
                <a:gd name="connsiteX3" fmla="*/ 1 w 2839140"/>
                <a:gd name="connsiteY3" fmla="*/ 0 h 257442"/>
                <a:gd name="connsiteX0" fmla="*/ 2839140 w 2839140"/>
                <a:gd name="connsiteY0" fmla="*/ 0 h 257442"/>
                <a:gd name="connsiteX1" fmla="*/ 2784418 w 2839140"/>
                <a:gd name="connsiteY1" fmla="*/ 257442 h 257442"/>
                <a:gd name="connsiteX2" fmla="*/ 0 w 2839140"/>
                <a:gd name="connsiteY2" fmla="*/ 257442 h 257442"/>
                <a:gd name="connsiteX3" fmla="*/ 1 w 2839140"/>
                <a:gd name="connsiteY3" fmla="*/ 0 h 257442"/>
                <a:gd name="connsiteX0" fmla="*/ 2839140 w 2839140"/>
                <a:gd name="connsiteY0" fmla="*/ 0 h 257442"/>
                <a:gd name="connsiteX1" fmla="*/ 2784418 w 2839140"/>
                <a:gd name="connsiteY1" fmla="*/ 257442 h 257442"/>
                <a:gd name="connsiteX2" fmla="*/ 0 w 2839140"/>
                <a:gd name="connsiteY2" fmla="*/ 257442 h 257442"/>
                <a:gd name="connsiteX3" fmla="*/ 0 w 2839140"/>
                <a:gd name="connsiteY3" fmla="*/ 0 h 257442"/>
                <a:gd name="connsiteX0" fmla="*/ 3017071 w 3017071"/>
                <a:gd name="connsiteY0" fmla="*/ 0 h 257442"/>
                <a:gd name="connsiteX1" fmla="*/ 2784418 w 3017071"/>
                <a:gd name="connsiteY1" fmla="*/ 257442 h 257442"/>
                <a:gd name="connsiteX2" fmla="*/ 0 w 3017071"/>
                <a:gd name="connsiteY2" fmla="*/ 257442 h 257442"/>
                <a:gd name="connsiteX3" fmla="*/ 0 w 3017071"/>
                <a:gd name="connsiteY3" fmla="*/ 0 h 257442"/>
                <a:gd name="connsiteX0" fmla="*/ 3017071 w 3017071"/>
                <a:gd name="connsiteY0" fmla="*/ 0 h 257442"/>
                <a:gd name="connsiteX1" fmla="*/ 2962350 w 3017071"/>
                <a:gd name="connsiteY1" fmla="*/ 257442 h 257442"/>
                <a:gd name="connsiteX2" fmla="*/ 0 w 3017071"/>
                <a:gd name="connsiteY2" fmla="*/ 257442 h 257442"/>
                <a:gd name="connsiteX3" fmla="*/ 0 w 3017071"/>
                <a:gd name="connsiteY3" fmla="*/ 0 h 257442"/>
                <a:gd name="connsiteX0" fmla="*/ 3017071 w 3017071"/>
                <a:gd name="connsiteY0" fmla="*/ 0 h 257442"/>
                <a:gd name="connsiteX1" fmla="*/ 2962350 w 3017071"/>
                <a:gd name="connsiteY1" fmla="*/ 257442 h 257442"/>
                <a:gd name="connsiteX2" fmla="*/ 0 w 3017071"/>
                <a:gd name="connsiteY2" fmla="*/ 257442 h 257442"/>
                <a:gd name="connsiteX3" fmla="*/ 0 w 3017071"/>
                <a:gd name="connsiteY3" fmla="*/ 0 h 257442"/>
                <a:gd name="connsiteX0" fmla="*/ 3017071 w 3017071"/>
                <a:gd name="connsiteY0" fmla="*/ 0 h 257442"/>
                <a:gd name="connsiteX1" fmla="*/ 2962350 w 3017071"/>
                <a:gd name="connsiteY1" fmla="*/ 257442 h 257442"/>
                <a:gd name="connsiteX2" fmla="*/ 0 w 3017071"/>
                <a:gd name="connsiteY2" fmla="*/ 257442 h 257442"/>
                <a:gd name="connsiteX3" fmla="*/ 0 w 3017071"/>
                <a:gd name="connsiteY3" fmla="*/ 0 h 257442"/>
                <a:gd name="connsiteX0" fmla="*/ 2839139 w 2962350"/>
                <a:gd name="connsiteY0" fmla="*/ 0 h 257442"/>
                <a:gd name="connsiteX1" fmla="*/ 2962350 w 2962350"/>
                <a:gd name="connsiteY1" fmla="*/ 257442 h 257442"/>
                <a:gd name="connsiteX2" fmla="*/ 0 w 2962350"/>
                <a:gd name="connsiteY2" fmla="*/ 257442 h 257442"/>
                <a:gd name="connsiteX3" fmla="*/ 0 w 2962350"/>
                <a:gd name="connsiteY3" fmla="*/ 0 h 257442"/>
                <a:gd name="connsiteX0" fmla="*/ 2839139 w 2839139"/>
                <a:gd name="connsiteY0" fmla="*/ 0 h 257442"/>
                <a:gd name="connsiteX1" fmla="*/ 2784418 w 2839139"/>
                <a:gd name="connsiteY1" fmla="*/ 257442 h 257442"/>
                <a:gd name="connsiteX2" fmla="*/ 0 w 2839139"/>
                <a:gd name="connsiteY2" fmla="*/ 257442 h 257442"/>
                <a:gd name="connsiteX3" fmla="*/ 0 w 2839139"/>
                <a:gd name="connsiteY3" fmla="*/ 0 h 257442"/>
                <a:gd name="connsiteX0" fmla="*/ 2839139 w 2839139"/>
                <a:gd name="connsiteY0" fmla="*/ 0 h 257442"/>
                <a:gd name="connsiteX1" fmla="*/ 2784418 w 2839139"/>
                <a:gd name="connsiteY1" fmla="*/ 257442 h 257442"/>
                <a:gd name="connsiteX2" fmla="*/ 1 w 2839139"/>
                <a:gd name="connsiteY2" fmla="*/ 257442 h 257442"/>
                <a:gd name="connsiteX3" fmla="*/ 0 w 2839139"/>
                <a:gd name="connsiteY3" fmla="*/ 0 h 257442"/>
                <a:gd name="connsiteX0" fmla="*/ 2839138 w 2839138"/>
                <a:gd name="connsiteY0" fmla="*/ 0 h 257442"/>
                <a:gd name="connsiteX1" fmla="*/ 2784417 w 2839138"/>
                <a:gd name="connsiteY1" fmla="*/ 257442 h 257442"/>
                <a:gd name="connsiteX2" fmla="*/ 0 w 2839138"/>
                <a:gd name="connsiteY2" fmla="*/ 257442 h 257442"/>
                <a:gd name="connsiteX3" fmla="*/ 0 w 2839138"/>
                <a:gd name="connsiteY3" fmla="*/ 0 h 257442"/>
                <a:gd name="connsiteX0" fmla="*/ 3007452 w 3007452"/>
                <a:gd name="connsiteY0" fmla="*/ 0 h 257442"/>
                <a:gd name="connsiteX1" fmla="*/ 2784417 w 3007452"/>
                <a:gd name="connsiteY1" fmla="*/ 257442 h 257442"/>
                <a:gd name="connsiteX2" fmla="*/ 0 w 3007452"/>
                <a:gd name="connsiteY2" fmla="*/ 257442 h 257442"/>
                <a:gd name="connsiteX3" fmla="*/ 0 w 3007452"/>
                <a:gd name="connsiteY3" fmla="*/ 0 h 257442"/>
                <a:gd name="connsiteX0" fmla="*/ 3007452 w 3007452"/>
                <a:gd name="connsiteY0" fmla="*/ 0 h 257442"/>
                <a:gd name="connsiteX1" fmla="*/ 2952731 w 3007452"/>
                <a:gd name="connsiteY1" fmla="*/ 257442 h 257442"/>
                <a:gd name="connsiteX2" fmla="*/ 0 w 3007452"/>
                <a:gd name="connsiteY2" fmla="*/ 257442 h 257442"/>
                <a:gd name="connsiteX3" fmla="*/ 0 w 3007452"/>
                <a:gd name="connsiteY3" fmla="*/ 0 h 257442"/>
                <a:gd name="connsiteX0" fmla="*/ 3007453 w 3007453"/>
                <a:gd name="connsiteY0" fmla="*/ 0 h 257442"/>
                <a:gd name="connsiteX1" fmla="*/ 2952732 w 3007453"/>
                <a:gd name="connsiteY1" fmla="*/ 257442 h 257442"/>
                <a:gd name="connsiteX2" fmla="*/ 0 w 3007453"/>
                <a:gd name="connsiteY2" fmla="*/ 257442 h 257442"/>
                <a:gd name="connsiteX3" fmla="*/ 1 w 3007453"/>
                <a:gd name="connsiteY3" fmla="*/ 0 h 257442"/>
                <a:gd name="connsiteX0" fmla="*/ 3007453 w 3007453"/>
                <a:gd name="connsiteY0" fmla="*/ 0 h 257442"/>
                <a:gd name="connsiteX1" fmla="*/ 2952732 w 3007453"/>
                <a:gd name="connsiteY1" fmla="*/ 257442 h 257442"/>
                <a:gd name="connsiteX2" fmla="*/ 0 w 3007453"/>
                <a:gd name="connsiteY2" fmla="*/ 257442 h 257442"/>
                <a:gd name="connsiteX3" fmla="*/ 1 w 3007453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07453" h="257442">
                  <a:moveTo>
                    <a:pt x="3007453" y="0"/>
                  </a:moveTo>
                  <a:lnTo>
                    <a:pt x="2952732" y="257442"/>
                  </a:lnTo>
                  <a:lnTo>
                    <a:pt x="0" y="257442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26" name="btfpRunningAgenda1LevelTextLeft385877">
              <a:extLst>
                <a:ext uri="{FF2B5EF4-FFF2-40B4-BE49-F238E27FC236}">
                  <a16:creationId xmlns:a16="http://schemas.microsoft.com/office/drawing/2014/main" id="{4B612212-77F9-E36F-4492-C8235EFA8A3F}"/>
                </a:ext>
              </a:extLst>
            </p:cNvPr>
            <p:cNvSpPr txBox="1"/>
            <p:nvPr/>
          </p:nvSpPr>
          <p:spPr bwMode="gray">
            <a:xfrm>
              <a:off x="0" y="876300"/>
              <a:ext cx="2952732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cap="all" spc="450">
                  <a:solidFill>
                    <a:srgbClr val="FFFFFF"/>
                  </a:solidFill>
                </a:rPr>
                <a:t>ORGANIC SEARCH</a:t>
              </a:r>
            </a:p>
          </p:txBody>
        </p:sp>
      </p:grpSp>
      <p:sp>
        <p:nvSpPr>
          <p:cNvPr id="45" name="btfpNotesBox735198">
            <a:extLst>
              <a:ext uri="{FF2B5EF4-FFF2-40B4-BE49-F238E27FC236}">
                <a16:creationId xmlns:a16="http://schemas.microsoft.com/office/drawing/2014/main" id="{94F5B08E-C80C-E261-1E9D-C0DB42A804B5}"/>
              </a:ext>
            </a:extLst>
          </p:cNvPr>
          <p:cNvSpPr txBox="1"/>
          <p:nvPr>
            <p:custDataLst>
              <p:tags r:id="rId13"/>
            </p:custDataLst>
          </p:nvPr>
        </p:nvSpPr>
        <p:spPr bwMode="gray">
          <a:xfrm>
            <a:off x="330200" y="6464970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CA" sz="800"/>
              <a:t>Source: SEMrush, data for the last 30 days ending 17</a:t>
            </a:r>
            <a:r>
              <a:rPr lang="en-CA" sz="800" baseline="30000"/>
              <a:t>th</a:t>
            </a:r>
            <a:r>
              <a:rPr lang="en-CA" sz="800"/>
              <a:t> April, 2025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09D271E-0C45-5DFC-A9D7-238A25E1A9E9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38" y="946635"/>
            <a:ext cx="252287" cy="25157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989189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BTFPCOLUMNGUIDE" val="Visible"/>
  <p:tag name="MEKKOFORMATS" val="&lt;MekkoFormats&gt;&lt;NumberFormat DecimalSeparator=&quot;.&quot; ThousandSeparator=&quot;,&quot; NegativeNumberFormat=&quot;1&quot; /&gt;&lt;DateFormat CultureID=&quot;1033&quot; FormatString=&quot;M/d/yyyy&quot; /&gt;&lt;Font&gt;&lt;Output_Font_Name Default=&quot;Arial&quot; UsePPTTheme=&quot;True&quot; /&gt;&lt;/Font&gt;&lt;/MekkoFormats&gt;"/>
  <p:tag name="OFFICE" val="Washington DC"/>
  <p:tag name="MEKKOMRUCOLORS" val="&lt;?xml version=&quot;1.0&quot; encoding=&quot;utf-8&quot;?&gt;&#10;&lt;MRU&gt;&#10;  &lt;CustomColorsMRU&gt;&#10;    &lt;Color aRGB=&quot;FFFF0000&quot; Intensity=&quot;3&quot; /&gt;&#10;    &lt;Color aRGB=&quot;FFEA7567&quot; Intensity=&quot;1&quot; /&gt;&#10;    &lt;Color aRGB=&quot;FFA50021&quot; Intensity=&quot;3&quot; /&gt;&#10;    &lt;Color aRGB=&quot;FFCC7EAE&quot; Intensity=&quot;1&quot; /&gt;&#10;  &lt;/CustomColorsMRU&gt;&#10;  &lt;ColorsPatternsMRU&gt;&#10;    &lt;Button ID=&quot;menuFontColor&quot; Color=&quot;28&quot; /&gt;&#10;    &lt;Button ID=&quot;menuSegmentColor&quot; Color=&quot;5&quot; /&gt;&#10;  &lt;/ColorsPatternsMRU&gt;&#10;&lt;/MRU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z2dD7pS103gZfJ6l4USC3jqtWOPR/ue0umjYEY9KlLthURXCUyUuZbmGDPUXB2idlVQc+R1c0j6vNnMaKvr/AghcgjyTjoGcS2U6lyGcWZbvoYqQsrFJ5DN1RdHsB5gZU4BjQJ6xKwDUEsW8X/QQ4uIPkrhyjIfLLN7ZR3puqzBiN1rMnctBA0J594at1EN5QJYMsPufr2eabAYzIDriNpy1GurybA3KWqcTPRKYh436jQqOHiPaCJtAtzpRgB7Igk7tw7BcBhai66Lc0jpyzFEK/4NRoFF+cso+ThI1HNgDMZbpFoCsJQtilLqk9nQPGX6RXGboCTf8hOOcHaKoTUKF81dro10jOa8Xb8mBGZAZ+Iyl7KGHMy03+9hVypQ0ovb/3XGr3KsqmATEDZC67mDheqi/do26sdF0qwDt6bpIHEyYoaw+h0jkFG+lkb10uO1/hnN9P7xwyhiGHryPMEsf0lP8wusIq9m0hb2CSdKi1MLNxmaJ2mUTvgTra542amQ5YQlTgfEeZ4DNYNvP+7NJHSwKhP+W0oxDr5fgsyYkFN5uZmsq6kB+hmzQGifBpXDK3sbCpDjIT5X91MQtPyJU8LFgpQEDZU+w/Gm5+MklTpsMAJvfxvxz/glHIgT51wrROgc6i9HT3DSoJVudQB2GP9InXeS17S8Y95cxYpn1FPo87I7YHou4SATbfgatbQGH9w6TBaHQPK8O6M2AFzKGM/bzPPzNikSxGPH8+M78+W5oO/fmBgUD5Dyhxd7ywbovWelMGfJa15X7nr0tcp+7BzRnUo5y6jCNBZdRNC1NJwd7SUkHjPUwV8cUQHiQzWGQxolA/c1em0KmPtxW9x4B/wfWkm+A2k2KRNr1PuFN6t9zSDcl2P73QIQZJJbTL8nGLN96XlLgGK+Yl3Y1ChCzCkdpulZt/AqPFcD7BHfsameVnBCxyshYuG+hHE3E3YBnrQFnM/sSFwAZyfSuZZ0TxHPcg2K3uT6y2rS9EE/p8VA4Ye8716o5n9mo16lXAdjYAJnVkKJtntIkTz8xets8HpXnZ5kwAbO8ehz7xn91Ug3Ai8BeRS7ZEc23QefHE0IYuNw/pq2i40e4cLRYJS6Y8nbRF5TuuYojfR20/RADXpIlU6FsIfyO9yQLTso8rGlIKbh9Z7yrOsRoJCrzL1bTb3bA2a/Ym26zg3R15AF0kTQ86mrtylMRTdw8Zro0DJh0IYq/3pjlcbk6wxuJb7VofjqwPnVn88Q7vvnn59vAxC0D1GhFlLOyC+M6FUm4bafpISqh+R1Q8xFRCjV6x1KM4rA6P93KydYtLH3ajm5CmleFNTJm5Rc5IboBnSGisMKHtSavJeyO7CuWz91cwSUn4psp3UIG7zz2xvtoBBRJjszMwbWFwZmokFhXACJdRYxSEvD+zVhSVPqo1scrzDTQja/gHDYsp6F9Ny2qM6k8aXmqYDaVuZlDv93cb7ePYaQ0wuCqEcwB9Y+/+ccwSPyyz0iF6njOmZJOZ/YNP3/DGLk12weLfDow1qLAYqb21GX18HzI1HQ9h3CgI2wSD3RUldb6gCsJOjuXJF1LPkyDxfZ7lV3gE6ZQq4nyNOysWhSTQlRM60ToNxv0y0ncgtYY27B+PTldtPSjki4lsa34mu/j07aWSln1427OQTfr0Zf4jBvyjhI4m9G2e2QRMvzpE59DA4DFf2jF5ORL/YlqFiPO7AKyhkijTGm66t4N2sEXrNvk0WUw/ee/4ATCr6oQSYqo6m/xs4OpGV5IK1KdTL4NAoAkzIUoauXJ9S4pbdIQbNOAf7FOkc5zoNBLRLtO+dKOXJqr0xFSTbmDZnx3is6NBal6L1/Q2kr83wuYWm/7Ip2WV99thbu5bExT87QqbOpXUb7qnRNXTNRelfYWAT2OZj/hbo519///ahXp1rSnP90TQGr+q2xT64vZShefb419kH/Wvy7HmPqKteAcZXAgpFjyd1ZqVcGV7EFYd3peVF0ZiM6lomDFbUHscUtbNvtavN0YiouAXpnew+vFyBlSP2A97C+vjvVkW1sPEvkrkqQ01yCr3FJfNUkHik4aAoyYxBRN8pIMiIqipDHqA7FoblFHu7TSRb132fS+SxqDg1/1iM9EV6oIC6i//zjeDWz8Ggt7P55DbfKYVXSoxp18Io/9QQvObHx7W+nRNeQFzKjbNushz6R28fO0hhUm0lW8Ui2+MqRXUpAsauFC5AJVlQwgNyZB0B5qIYNwGFO88yNJtNfG1HWnbi8ERBLAK5tiGjiCBJmP8RpSRcvQ6fUCZU3dj36apDis1qzWs/JJp6G78Fc6qmffUZdZS6cZr0cVFOcoKD54sJU/COPfH+Jq4RwzLFfR5TDN7fzU2ez8n/I93zgsOrRG8a59Fx85RTOyFrq+c4HXPJflwoSV3PWvBUNwC2SG46y5J/bI0itCCXLxRcWG2nJIYiC95cn0Sp/xHKBVVALLsoEcFiVG1hEou0CU1Q7Mbi+ZuR0xvYzG1mW6+25L2Qhj+YA2tnrOprMtpPrxZoAvS3b0FM7sxMrUK0R3Io2WodSntBk+lzN6m9M9tkrOm/57z9Q7qBuaOYdTfzmtxQMPbclGv2PobqadXq78H0fEIOm3RrKZ0oG4fN1aW5AXjmXeXcO4djLeY+07phAwg7mE3EkwmSw1k9q2D6Fxz3rDXHqgcA9qN2ScdF3wk/3AZ6/rczEO6ppkZiK0cJ/6fSxyGsFQddVzqJDymTD09LztHTC9tcxi3OFzc3zn7WIh9y9a+xGRGwYcJcQ0JgpwjuyT3BF7HrCBORnUQHsDQE2yVd/Fv+VljmA9fVySMqD4PK5FaySdjsihGpcWVEeABT/F86JmV3RAo4A4l5EzbFQ/d4dJxhs2/hK7OkhRVoKE0MjcIzi7I52RAiT0iE1zW1n9oB0D3V638SkXlDXJSFnLAoQ4PrYjPu+gCgzdtX1DYu+87AOYjV0T232JZh48S+yt/YLLV4zJXizrSg51RbIKdO9xBg+8Erua6lHtkHrlsX9tAWmMqoopJy+dgXsCKGxmXSY2pP7HJZtfSKXhdvB4gyYtHRg15XWF/n+VE8X2DtjMGmKhOQpmPopAF9loSdl2CZHHodN4+qzH3omQQg/njxprDE2vC2Ga7YH0d1YtJPanYXNr2Aq65gMm8IlSfmdNmOJXy5t/1yl8AEF9AJoC5BMcdNubz2f6a3z0dDnJenMox3UuvaYqWZQmNHcNzKL0V3cd4Gxm6MCjpILwxXw+Z6Vr9gwshGLchT05aundlfJajCGTqm/oM81a3oWBVa7K84/ej+Qyd631zOFrh+Glrwg1oGVsoZvUmMvs6NsWqlnPHDWlsoTomaEU5lJICL1wt6+8jW/uBLbjbF321a4iA3xsAyh7Dl58y9+nmCiVej8nC0QB7tAH94DrJrwHIV6Twm15E9EyDF4Jy663geRLshjutJFpK8WVguoF1F6aCtme77DdzPG+JAlTwqiCXW8jJ84gGVOne1cxloJCT/A35qprdh6TdJT51tWcyO9qQP4hVIGBum8sGxUEGFCI/DHUYYLzbyvUHKxl2Ea918wN3MKs0dBHo/BTmwadi27yHPxw1GJP7qBAXJGQ81NhTfkHEoCaGJ6TJUiVUufWpnQkwquvseYoUHr+K9wQDH3jyGUb4sd9VVlPNMy4UDGRwwTaVEJZNnIdDt1esHA9VM6/QJbsMfDB7wZu9Qzp9A1Eqfis4QufaWuwMgccIwbu8gzZkaW8ICB9w4QfDZx570QbmMG+1OcQ0S+kn6jMGiwW4SlqkT7UKnEjkbKvXua4rgjQwCrVerXY7aS1c2PUm8c9fXclz9kR0E83EUsobVkimsPhM+NVyOMoVBAPdViGcVbEWuoPlmRje62tND/w9UCs1zQgDecgoPK9trA9kUXpr/AWlXBW3gsw5RDSwvwDzEA2c/dhhUXW7D4iwxY5o6zq5EenUngD3UZ0uyjYEcJVjdnceYYmgho7DOB9Mm78EWUQEoVCZleva++1gXMaMu/PzGXCvzdxHmkeBF7vNN4eFyC/Dte4hPkTbZjZBbab9VNgT7Xv95E7ukiGCeTWuOuQJwrpUJYN/cxrBg7dbZmPtLQN06xztIBtO59u3LiADX/fkIN9AgPdbNiJUtgEDWqvecCMffg1RmigOLbx8MkIpHYUZVO2EjzHbIv6dgS/pNh6Mc+JvMCdEXRVt6bqnbHpx4sjJTthlHfXV9dAZRshUSWvAvtATNq+tl5CCDQLKS08VAM1NxXiQs2mBzvaZZMMSIP5liLX2MrOczNuY6hzfMr+gZbeZD8Z3qBnrM+UsAEJYpXiq4mG3oRbx+S617zIPhcNlrNipB1rwdwn5oXJJrQUXSinWWkA9sqG2CrcA+x0SR8uisRBedzqQajmq2suMKeb4WfY3hK7yLx8ctkojoLnhyTeDl0O1qepsgpJNe0ESLGGb3s6E5Nnqus3s5vF7f7FNnJxtkv8hFU+KJE6L2eDQELiraolAOFRxbKQxnyHOayJCA+LUNDv4mv6Biy8cj+wMb8W15jiarvDgCvZp6Lok5TMDuYSH8DFzi/avpHe8opEiJy9K7j1cZTMF2snNVpmC+j/28F9Hfqb8Ld7BT7fyqo0FAnlzEGd1ik/f4gxMYTkpMvMvb4tYBg7TunlZIpoIY0Em8Oo74Fh8sW7G9PH3f++/5Q4DCmP+80RuI2Jlojp0TpzOfRmzcxZAYNw1ZogrwQRTTKPr40ha3F/aVS1aLk6ByGaj9TXcpb24hjgKK/1bx36ISBC7ZGfSZTutgNkwdRBbHcNTWMSMG4LITbr3lyIiD6PWZI/DIzH2WVEm1qTzdcVfDPi6P/eJkcJRUWxnEAH7EaYJVnUXTWpIm/7HDYaNtxROuBCZYUUHOaHVeJaW2jTGPEROmlssdXlSwxZWcP1x25WIYOywPQ/9iKUMpemP4gd3NUlv4pwidJAotRPqYMMw9Ad8BQRBquEEnlod6sKAGyOMhuZDfwYlrK0p4mJ/4RpHsspRt4JrteSxPeWjeVPIP4mAvZcXKxhqmISWHO2vqd2go7zEhPICmT+mN/iITjFCiISEHaPMeqDthXj+4kunnDhZnDYn7KcY3yPYkW8myI4GLhN464x/LrcXKIoXQRviOfv50PDLyRirWdXNfPyZPvphAlCt3Jj19nU6dyePSwJ8WK4IGFa+u5KreNstKYTDe+rLgtsfriEV4j4f+Qv0cIH9vWCXuMvt2j0UEu/qpDYyvKgsoUfgNrW4keE8xASjT/I/+LEjrnd8/kMwdJy/bFRBEcKLLmWlQKrvT58eQgNJy4OwIouI0Pgnlk+ixJGA7eJUZ6eZxm77KWqnlK3p6RfhDgLeWw8y3ZTCdIOHGJZ6zIYtRxgrGNv3XFaXoflUU9QzbphK0X6pYrpZEhLio8exSYOIVnZ/enbEpunlVOG31aTGRthYgzdlY8ISAvTpxY8Anywmv9SDRAZtbsW20RfQ5xdt2mUdyqPD3vMJ4mM7uOgPY4fwAO+2R2txIy+A3QztK7KkI7TfcEI6j8rOzdIMU2Fctgk1e93b4e3SLECdyQ4tWsPuXql0UNl95wVl8irioOooHrlpOc9gkiTXXt/RP9WyeoE/OHKyB7WhoiXVvrIHlfaZXrFPDF6dFVvCukDiTZvInEbCDKHm5dMzyMlIvq+3JOcKBbEsQI3/7RBqkO10DX8g/QMlpB/dDxxDIl6ld8c7fEd6lG2T7Y45avmQBqRg2w5spHfvO1VJ2raK0KRaYDH70kCB6idKo+XWzbey62fLjwJJQZAvSGLAxO/CY6rHnoqtTWWiNZesyXxA8ehvzL2vwvklBPyxRBl6/EO+sBt1mJB3sxxEq93c6/aMF1TcZiyP3oewaIkUQuWwjDA1ahxvwj6RoRYj+bz7jaB9TTG37C9MN13ChLmlePlNF+6DfAty6AwZc1XEzU/UGLkJ6zksaVgliYTJOPbyPrdbF0acKS/bAi2+ClzldFbXs97p5DfwSYLV/iYZwHwEA1vQP6rwuFV/PmypE1xvqZqwAl30hmoRr/ypXFT5f/fc7mU6R3SES0tcoUxwwxmzSjJcBBnc3ZHikMBx7YTkoQZNGwgIaALD717lmKddTAsgSuoylqGePVP4bdomw3SUj7dpxECLpKKP7+4kpmV2+V+kbQ3FSPpARhHVxJVXP8PnPFRM/ONhxbakInZe4jGDSX2TrScupWI2wu6E0us8VKA6WrNpAdMMEOm0MPHdd76mmIJ99gsUKfm7BNtCZPSmS9Ejh6ImeWN0CaxqaEiPwRGtiQu53IOuo/92913tvSW1zHZTzBjAcG1CKTRreOKI+3UJyKU4B+9tGr3op5YAXtdF2AnyEtmhMJFUrHkh/K0OXDhGGbRtu+YUcOZI9UBJ+uTa86YwLpv85+HFrqgG9GTbKfA1StNvf1NoajmBvf8RrLSDCTbV/2kFKDXpKDR/qBY5leLAQYN325xQPI7KF2DwLEMGKJfK4asvKpkvzCiKqI+uGvKCXeytCxXjI5svJ12YSXmw8xZ32cohEelkNnZDDLjXbmbm0D/2f/E9le0DsnBEtH8wTsuLa6TDbAySpRLs76BAk0BDsb86v9ojTB+v1q58dttpn53CyYvSr87WBo3V7De27U9Z/Bm9/KIvE+CBu7FV5NzUHAsDjA2AixtT+RDiKSS2z6ewkWaXkbEdu6PrYbh7eXvqsJ7xHf89GnfcT2NXMXmB3xmSwGoxiEdQWjfPOsZfs9Gg8OLfQISzUPawKy1aZ9sIGixBc+elZ69jpkDUrujYI2lVuYXWGtkdjxhowr5/5BWjtUZbON2ZH0zR//NbSt4FZtLRSLxMr9eTCFTan9GAJuNeK4XiVQhOx7DRoAj4AvQa28gABMX1yLmnQLeruPNe0fgo/qBlkE1929feWqa0epzZzPmv7CbP25RS1e07V7icDNq+Nxkc/00V5lp3NHTRVqUj1ykvvMM2MmITmlobfkE9LM68uTVgCTn5NhJ7FRlxJZmb9o8iB7Lha4PKcW5yfxmZ4VAba7fALzVMr1/dQWdgSw6uf+av5xCIOElynAJjpfqBbnOWO9f1p80zk8tfcKBsE2LlmsUwkkcM+eXj1Zu9WF9ZDVTELopCjJt0G6m+LfLsxzRy9vb/ga6Jko7MSc9c3ANJRsKN2OEmQUmzcq58wmRb1WFgLFPoXkCukfpverbBWe5wHznKlyKsE0OYijAB3/uMMGspJYGKcA1YxQ1fAcMDn3yizYmFwAtVm0uT8FWZHNd0nkbsL6oDa3WhvdyDMA+c3AG45R/3eCmm60GlX/f2J7jEmB/mc4T+Kd5ZWSkvkpHcsxi83KdvhcJra7a4alZKx9X5MWFcWiiZ5oZBwI5AUppPtL3OV5vvZVTxdOlVOOqbFDrZG1eVq5k6jqurMW+1UsvOGoJw54cyBeHEoMIWIqfZv6OqRRlaUXdRfCcTe1bHZc0m3yCiH9ELkGt0qe4vSIVqDRJZQFvkZtbE4pmVEbZ7ZlzwBnjl1EoipNkymdOQ/fYByzcvRkKEJYVVyhEkijQ9YGVXkdwm+GOaO3t8d5mq57UxqGQRboim6pVwkHeI4AZW/pC7x5tCBxALSBUVGApSdwLZUtIJEU/TJ9u0oPPhoKhCOtYDn+D7BOVP0OH7mfPlWWEuajvIVg4qfSIYH3y+dFQl1EOoW6rQmNuArca0yYSjNt8EoEfYBkbQv0L/1pxiEzf+hxvTOeMiNr5XRemlFAgnKe0kLlkEMDlpNImYyVNvoMajNdffIqvzefD7LjmQPfRxS1ZMfZ9nfWpDoMvLXa0HocUgvz8lHboX5EDzn4FVepEhzOKS4hlzUGfFribJGd/eODGCuPe1kbJMKKy4tgtg32BotTHAGzkp5eR/NGfhiO7kx+CoJjE3ZUkUvkA4UpPVcQU0txGMTanZFXO5Hoh0wuk9j4h4OqFkVT5EzkvAG1e997UsmY1JCI6Wvw/5UB0EqTh2uNjq3Bz1rSY2NPuMdeL/E/qy0oh645aNldr7g8pXOhtHgBeU0x3n2fTT0WHjT2N5j4u881fOAD3RgZ2SRIYB+iZjWWr+FTskYyee9LXgRVs83aRz5cYhnDV0EcTuDUHE5ysHtW+sWr7bTxOI8ZC8d9F3XyKNVexXA77QI4kJ3xEStdmAjM1wvf3DcsWeH39xFqGiYex3eYvOaVChsZe8JL2ardcWkItxo8HsAMRQtoH9AAYbs6Onmz1+oHaHmlKBC0s1D1Kc7dzbGF/L51a8iGn5YQMal6LBaSseUj+PmJ4pec/Ru2x1QW3OgyDaZz4TVjtHRzaqdITiaZ52547ZtEUFoDr7pw0fZ88FxBxwwhkPTfcvXOhZa2b4xNUnvbNbfh0byI/HMaZPzPABD+hMCEF3nxoYWjsf+uVf520YyzBNZ4/APqh2k1rwvQsCmGc2D1fl5TBEIPYGGqBYfY3Y8HF1FxXyxOl47Qlt5cEL1se0G2UrcDItyIQslaS21AYsRrlYcq51aNS2aJwhO1BVggitOwZ0YEbQ8Om8W99TbIrtkYfcBrZJaafqI1ygaLA6vHayx3K45ioKmuCFkFaqOBcgUNvtzrGFZtvQw/VLFnpJ8F1LE6hj8t/VPUqs53Qp1im8yHTXptrNL2Elu0vbkQDSk6Rg3G524Vm4hkH8KzYUEXheTOkxTeoJRJuZvkpjmSsiuo1G5Yi8mPSrKqSPYq3Y8XEikwnvQXoLDu/UnG8zgqOpk9mE9gQZpRdLL/oUsq3gXg12Osj7KhuN/4Rk/bZyn6DbRlXyuSQv4vM8Dpqqck7U5PLE8rFUe3Hq+LLk9X4qcIGfKzp2Fm1qaC7ceoEjAk0cULX2Dt+qKHUKxZQoYMyAfMN1b9qnHqBreZgG679S/k+YmHeTjG23QepEx7mDkf50uCL95tRWUXuxTCnEDcrOqcwntXzxAKyOIkTjJhSnPJt/XNLKYXN7jHNADEpsWXNg1IMQNQ+7Ti60pDzUJnQN/pJX4ofrKqdNJ/66mYn1mGxV/YSLtqAEp2E27qeqDvtKCBssAT9psG990bPJm1Aw/RJstc3R9yPhgBNl3cxrOO+kyxERVEn/8oSI22fhNbXcoch28RJxr2SEHHI4ptwxC3CA8Py7BLymxEbDkJ071lOJM2YUkLnB8NI0l53gm3CM5S7UROPN+9aR2iwjxtr71aZLOZDX4zhqnuwLoMqmFPaEPKhFrFUfnrccEsygClSc9zA5hczIuGONN5Tw6nnGd/xVjKuQiFwLOvpMQ4CxXMaJtvdxr5OEIUrsjsdED6ykGOXUsJ/Z++o6OpxhRkmvnAPar3HaerXJxNOZdhqyGiOcQLYXZETOg3BHOrezEZYLIH5Ii5LJMa0UY+SlEoJ3/GsnF6bF4oUsqej+bE77sFl7KUXLs3rNGEE3PIJ6/TduGPgAn+udTubFLdydmc5QvKOcZG+2g5vXm32hKr4NZVE1gag9PyRGggPxgYoRslI7nTQsjWFJK4e+Jm37V20ETbF7SKtEX9kHZYd4iHGAkbQULxhKWW2kg8kgHYoKbYLeP7CGMY0XGzgXqAHZaF2HFSPFsHbmtN0j/4HiLVlu5g4g9yQZLhSLbo1WIYEafjTDxo/jIwj8UzCZjgG4pN9ERpFaDuE3Hl6aCi6FRyKjL+JfYwBPSSq25bqbXSTQPy/gf6lsPjESJgJTCZ4yaM4mHsYkFMxD0y4bxW3e2NcK6YsMnnUqKGMaGZqTARcFAXVzPjTZwGZ/gDuaa5tpCnWQimnDO7uZzM6nKuGVXMhH+f8roLsVJUcynX7jxLJ4ZyrTb/nMzDJ31C0sNVlh+ErBvEeS2rB5HlndB1VzpmpCSJE4lI6G3Mdl9ihQb/fr7DunVC6A//9re7mvV0WuYgVdD5XJTeGxbTv2c0g5KKnOmoXlLU7ggid0I+kf3DiI+ufBZ85r56zL9vB9/rsTRg0r7FBrMfPlYS45Ort1gri3XAhyzszm9o7fPf4qrWLyQu6b0f+L0JPpbh8VTWDHwCMMT0IGKHRRM261Cu2zOPyQ7Oa0xjGR3YWHDWcAr/pEYeaOxMLFkTJOj7Z0S0tr8YQAhqOOVtIeaziYnPpQFG6Rz6njjmgML/y4FAFCZu+sjeTMyklBoZcJIyIbjNvSdfCfxiASJU0t3gNyHUPBLLfCzc5e/EbCPmoJVqt1Ja75UzRTJ0Q86u8YEelqqcxuENFOXuohe/mG7XDspf9YmhUJRW+spv1Oc3PoynwKnyMlVJ0KgTjvtWJQIT6qXpU5m6dC9m8qiOLZKY1nX0HUrh6msxWPyxZNhEc/4A7kGNksYZ5SwvLhjXNvV6+kpLgMpXFHPgTaEqNejzp++shFqRNZFrdDE1nxiQ4dgW++C5wOLCs5XlnoCuleK5AJ/J1MzDmLNx+jQSq4DmOR1q6Xfl32mulgTXab0FCK+0Z0w3PIwjSTCJhCeP0xqdMgme4eNarUkAVYnzDmBYg4ZqOIpp6CKdO76ScneEim8Kpc65XnL6PHWQ4Akz2sHG4N5cBPTqyHpQElD05iAW0UJpVxPGZ3f90dozZct8Q11iTMh7UgFHZkQOoh+MA6jZguDwPU+PU/4DbXBc2tIyF9fytoBA0HLKMpkRaZNryIsdVh9f5YJEgerX+tqWuNZMM4q2E1aOOvnCGbFYy9nTsAdSZHawJcQEUGGOOIWU+mmD+uoYzA/DrXmCfFcPb1x6pSMe/IKnkLsADHbkR15by2mKuDpZCT2121j6Cv7Py3CuA9NJsTUzSjw985VhNS6YshJKhY52nWXmJFoJw1KBWIppMIIJUAyM/XKhfZ2JPD0HUOhktNUOg6qCdHoAb9zELUjLugKgDAw2XKkh8ayq0QMrY6OugaQw+8dniPUn9IRQfSqJeHI5LnFSYXYnVldI3b+AXSws/wWE9u5Tf3wtUxceHS3H9xWARWtQfz4IjDn3bchhycmAbNUj5QrihW7Rg6PERnnLLjKvTqUp3e7GID7L3ouAE6FIaWjk4qOz1ldXK3WCfrDWxigMd1xWkKB4Duh9t74wdfbwrF8p71Yv6LsG3l5iCoXX82jOxrNior0zYyILMvxFAOwWoixhfKVb+g/qI1jMIXP+004ynkVbOe6SUadYfQ3TaHMF5huZNEYFodZ2SS0ofQpUqJ6rV7HUSRMUfjtHBOqAtV7jdQRZRS9cXiN5VIHpkm56T+dBYcubQWamQYb73WEfaOlfugxvjqVij9X+iR6REWMZJfVpgznt9vZTbTjKFU2O+dU2eCGSxzShbpsFoGqTj6Niz+QFSW+eSsrEZYsdj6mE7aRpAkjblLycZ6CguD+7JANJfHr4ohp6zJitD2DY4OAk0Bp0pGA7w/oUYjuAUNluCyBQ62y57Iigu/vGmZeUH3pcipw1nvpTUowV9baX2t43GebVElwyogh+euJoJ/xR5w56vZ2HVOXHvlIKQCo7dIhYsUyFYMOrOZEyVNzrukH11O4j2+Kg+St9eajNQ03OgK6m19FI7d+y0a7OX/53++g2il60lpPpN8pYDIeauXOoa/jaidp9H0OLXoqcsi/cBwNCYKSWbrBTwkZihCvMG2I9kuvMiZ/BBnpSChSoWLass95IP+momneSb1n785aOu9R+sS6o4gMkQ0KsyrPf1607yly1yGZQGjVRqtrAraynf8CnHeNfMGpyxrGFnn5n7ALbM2pqhHBmKZ5FkAKaBgarBFwxCc8BZcYkR6xitJdQ9siRrg1Ga1UCc4USCj0GynrFvvKcQJvmAIWXEjVbfJnsXUJ1Y5ihzOSvSuuDJim+mZC26GFiq1eXAhDUaqcNIJh+355YLUnSQafn+BljjfQtX5nmBQNKGwvKkQwPyKxcfWoqtK8jdFPrfIJ4jsZyuraE4LNUeNEEROWQZXO+sy9L9OJO8/nR2zu+npaQ/FR6rAe2VmqH/o5mHU2TAjkW6cnWk61/UxO4a1mqZETcRZTmWelQeaeg9hb8hqrGvR0JRV/C7AtFB6anDzlddCqO8V1LTHyJC1Wry5awXZY3icBMsLd2hW1hZsTEL0OMFkQdWTIEhQXM9c0BBmSoCnH+awKGFM0GHjIh003bgudMqG9tabac9V14X5dh8zs1VkdikRrG3xxf/Q3seiw2WIrbkYus/j++iQxPbzlTNyDHWnKDfXvSQBkt0V2ZO8dGHZEwhLdIFuGkOMwZ+lo1plSwKnuedPBFt9hnvDoawsHFzAfMqzQfxgKpsijIzd0npjTWbJSrSz5yO1CYuf7V2JxsdrlhnRMDLPeNfM5x103xdOfqdSPE2jScV8T5rYghQnFHhNpAvv/LVx9SUvQRwEK+CTxv8B//g6c9AY/0ku81myAhex2d9KDbMv/6QzEYYMghkSGjfno4/omJobPmTriBpETWO0pPa/mPBGnaysiC/pf6cMys+dxv9sfguNQGn/aPk5wpaZQlfdsbpa/PynkD5/8vRUjTkWHIQliTztJtow8vt0fQaVGZHtrYoKaEimtCQlQV12YYgpmiVG054BHHavfoTtxoKwXZ9woUgYvwJhirP8LlGDjz4zIV4XNI1oW/rT/+t2GS9467Tx2x/O8d8AFhnYZB2i7lqwx/FeQSMSLS2H6jaGPyiLgFp1VxHuriR0x1Q7Kb6jo+JA/Xx7OOR0lBJ2AjQQSVmE5nQf1Sxteei1pSZsLv96yMO+Juw7oMcFhBSYbAZDuJWX8ynvhlhJiH5TxiQEnAnkEQPRE+uScxxWh4OU192lXIoVD45Nl6bVh4XSxeInReWgevzYlGxjKZIHhuADCxhVa2ehe4BGlkc4hmUDKneyM9GUEMPAIap3R38WbEBC/1MPNBA+TjRZoIa9h3CMLR4mLKDwnOrlzKlpWV+LhWInEQiLurpwl9p+DbvObxJFpge3svSGKHw2SIWJ0ixt7xDnj/QQxpARrF+9cs4lgVj7JOY6ttZSO/AaHTeBTJbcd70Jw31ldzjUqkqIeTKyjhUPKEUOEaArBANohoRbP1uELwWp9wFPMM4iXAWEEC1sI143Fsio8m6/LuVZvCGsuWl0pEEBZp4QVMg458mhLQ4YBtslVCQdWIwxefKIvxmE/045n5Iex9oeS99pfUvMpP0R60AaGetRNXEh8Aq5WBgJVj8RrHtQSFDQgE5lCuo0HqKjrUjN9DwtStCPjPh5ebzLf/yo9nfZlFGhBxmeXdNR1LBgysmAeNs2vzcJQ4YCJinUJAYoXOYBuCRwzoQM381CbNFMho4DNaKET6xaGYoFwczKDogEznfTOXHmJpT4Ny/J/NCgpwBC5cizOqiMAuIC5J+rTnzfIwMWUXC62HHhLpoeZqjFq5i+Ujh8/PqzsRyyeBkwkMpILr0fkKr0AGRNNzbzYGAHYFnwGE1MyZ1voBjSJCv3LxnVutGUroeZrzGYdhik+eUNrkEDYDE7nBfwxdKxeBkYdE4tHpn3K+/SL2WNzs1fmjI3Sy1cLDCbYlGjlCpLaeVxE8by62OxImNh7lpYsSr7DA8MUWfTMRwaOroUx6WSjaqWL28JTSp2bnemCoWrWJ2Nk7dhRxNIebuw14lyQ4EwjN5b6FXRHm7wTF1A0BpIoXy5GJk05RV8/xwIpqLwczeZVBK3ER03J49NRS91nSNAU5KmgxUxs483NV1vhG8u9bH98Cxvv4K6n2z5UfXeTRRfnyE+hJfXh95mUkDV/fKinSKlR8TzwP80xN5wZ5Z6pcOuh5g6lbydvOsKvX4e9WWIefQfyYOfihTqcaq2yoKRT2IGNqxqo0eAQ3lSrUMX9V64JyX6HfVID0nwGqy7xX40RG8zliWzcyZ9lkohGYk/jzNi61AaVWMzYCAFcO7EvgZn/V2wT63IGGGGnzJqB1VoSgFABNiVCcFJifvMOq7DnqllfYJb+Et2Jh1JNPunOGh/L+G8HCAxVV0d8JPfA2yG+9Symm1BFgNAJnSquGN7SsrXC4gYIJpBGUMJKkWw4Z/4nDNBdyghOqF+J8OtM5IjFNcY5whKJCFoJjp8wyJLVA5va1nwUnCsQ7Dn6k+qRO2gFWy2YUC5WSuVd5BV0GKWhNhPucLkcbZtwIUVaPR9z2iAgmDSe2F6NycBkyGpeSe1+0NPt7mTBkNhvrBskUCsldeaxO07Da/ZCn/OcYOCZh0vum5OVRfb8XJqOi9Wm637lbb6ql/Eey8aQi84xrIWt2VbR6Cn1NpfTigh0m7uZTnAHgRgEXmMk4yVBY3iLnOTlmGseBdnx2Y2QlbPZi4u8U3JgmQ9LyfhbSzwVQB3Y5z1sndz5DqMuCU3wCH+vpKDU9sYxX5g27QbDdjr/4eGswEbV+xskQSTf9DR7fgZtwUU2kyh0aA8og0ZVEWFilYq1WsxO75GB6yQDPDLC8bmxqaGbHqttW7bWueUZQmCtoBCa/WjNmMS6VJPtkPJafeNG2ZopvAJtzUnlOY8ma+7vP4mi1UBc1r6MvLMJVtuLs2J9bNVuWr9BDR0456eXeCb0uVv2jgSm5PfiuGH+DrHKpmgGtj7bkBL79SQxdjM9dDLhT4urHDbAsGOhv1ctdwPqwzPA+L8oRsIYAKsMzEGVEUok6HcRMHZDY56TQm3bfq92kxGGww1TcCjUQIS3xxS+sCuPJuGOvKavNDEzqUP03Do1+YKPR8tKyHhpQfDDqEIeUyInk0PU8eZlQBVwQl0KeegqrWndfM3FJDcv1XlGV2qge5oPs2fUU0s2A9yB411tIbMHiacNij9fqLeGxM1O54HyGVpxj9H2dmCW7c44ecV9ZE7tAGlyRqmqiG1dX+NGbdDK6iRB6d3onQljvTIRoUAoXlSgYgYfZ/s2uL0zkd4zQsnf28qmsO7xk2lZpBz0OW9745twHS/fnAcdjjrZIWa0Vg1/voyCWYVXD55shD06ssZLUCv4M2p3Oh6MR+zavpaV1Cx3uXZkbHMY1tE3H687IQ1WWhhVOX2knV+OssfGu7LAsmuQqSrJYzLi2kEYyxxMBTvFubgGbp7L4FcHhfgbUXtfgmbedPlXcup7i25OU6fU19hCj1pAJRjmzoe2Wi94lonWuUN6CmnglbD34NrypWoFfiTRyxBueg74EKMOPFgk+/JXk0NCaFGafqGRyedwKfdtGR6XXog3oWCBON2/e/5R2IcvTTqmtSb+c4i8Mw0HWMzolHou/8qSjwCk6Ymhhf622Dn6ZQDXDGLSAjGtCutX9jb5F+DPPyWFK9AHWw+xOUtFVsxcwedUvZDH8sZJxSkFFgDwTLDD9SfaslVwYqXH8WdJIrbwr81GtU+CgY8CKZC7XqFGN7cvWqZhze/eTlHf2tpeHntLa97vTZCB+UtvO5GmdbthRr0h22gwkInIoQi0X/bWdNc236fWe6lPOIlsKtRzLMkPaP7trS7XrgpnX0lvivr1XfFfb7yisxGTG83z+sHdePmK/9QDzWnXpEvJq9Ox+cCjmsSlU5fp0OLOPzUQAQvZTTwO3sur2M7py9WduohNFu8ouo+GkTEnLkFcKFCTdTE7dQ6uqboRhdA+UpU8o0llckSBvwacGxgQFhaNIEv1lHXs7bFIOaeakSr8pyixXCqhW8KOnDKLQlhoRLrLOVZJqxM/q8nhhS5yckUwbz+f3JlMl1uU8tGRF0x6Vn5mCEw377McM2ly9j2J4wev7eXYiEFr2HXjXxfaQdUddR8J+ZjVrMoHaL3UqG22m9RH0WPcqUNKssALa8qJOJMhyNnEkskhUjLRTwJZxi0nVTgZ8sSIoaWoF7K2UFwkxdztauPtFiKJumY1Zpv9xjaPFxLnDFkRx7bN6PqIz8oaiAgG0Ec/aQbt2qh2SqpY2KZaCNhSJFdytdazuZlqbi5EduOaC4vc3WA+TQevsZ48ylwb1FQsFjXaQhLA+eLnLounyJCLlZQLx+qKjIMr3A1jBffEUnlEcPkXW34m+BbbUaiaks3Jgodhx08Ve9VxVHHLzopjP/IG5ATaGXh+n7a/wHVFMunpxCWRKOXNdQqnHdBmNrTNYohXQDgCpMmxkHklwkimf3TkjVL4SgaSvOpBGlZMnoTsPTwUAZd7eCTxB0Gnx/S1FZSyYgxkoqaRKZHZdIvMMhy6FxEH904s0YpYIBCzgZpeM4nuW/W37NaCwmYH6HCfyXHM6+iGltDmrlBPJb1+SL16Biv/4y7JPbATyzbsIr+QoWjghImxPJxP4G8ZxFXDICIKWR60HO5mZzEU5Gp9cAFCZEEeqrdiA9T/FxfYx5CCs3NeunW3ZHbKEIcgYSUCXyLAaC2ZRX+Zn92TmEb5gY+fZugcx+olnk2VIhnv0SJ94utCdY61WsT381sgmegE9GbYkFRySmm3R5ktySh8C7bxU2VSWDgp5lQYXPjKMSKhkRF5b/GWROQRKznJQFHIv96iqogbgh6CDBFZJLBkzVuiSiWJCSFJ2TpRNR59kULRbC01uSGlJDqhkpKKY6ZCoeNxPUORnA5dzAiXB2z9MpiEb6LMeuvmA2t6nFvAJHhbcn/khvz9faVnNbLrrUfZ7Jg4/Veer5jAC2ObUzdi4gmAJ1uCI8XQ9K0cjfX6euECqrfukbIxisT8YK0kvRMNz5gvaFaiWnoYlAgfar7VblUfKh1zZI9ZQZJz5SjVDj7YSjtac9h5+SpTPrf1/tX97I6LZF9Szzlh/NK9oQbLsETrgcSw1yEHjA7ZGhXu14N0w/p6thmC+Jg7KRc2N8iRGU0eJ0asOVnDv2Xbq3gel3f3sjCrJTt4xZj7Vht1ss4xnA0/2O92JqxMZkrAZzJS7OcwYgXudw+a8oLQC+tdAuhvf1UEpId0sx/sDH9b0qU387PyW8r2qty0R9yc75v21q8v6rGOEsusD8n0z/ZM4TXPuj3jXa39f2MNGfs3Ff5n7aVypUb9XXgxOp89gXAB0lwdAqc0/H3VShshu1XnY72RbWDHjtMs4IXr3P+1oCXu1MVwZArfWQanrrynmfchF9/+5GFEsiBON4dEBPyvUlIuD0NS4toYCHEDdXY5hYlmYKSGs4f5kcTqeniMK+WK9M5FnxAYcAAwrOECoOMTS66jmKw2/zlzkjyff5NDysuyAIsJ78W5fH0Zmu5XaRQLX6HgY7p+IPMQeXcRT7QnbWWNegSbawS49MEHwKubQnwXkB1xflmj+qvmO0txjs9Na03bDg7ovEzV45DDWqzfxC3K/oeuC2UbXe0x8FGWxybSJggcobZ8buQSXZLzjF5UyrPbwQPJZIK02WRA4873fsGjAXi8ajg+0Foe7rWk52dLyHXbddCidOkORBKy8AcHHzj5EuESHN3ttw0jaEYf70tJJIVkRrK+k/UAQCXejlJGm9QoJ2FHUjJ8WsL+WuU/TuqfeKNczrjZn8Xf4KP4/1UGTUq2OjHBcIKMUqq71pe/5At7ov6v/EAPkGbIzLpfuCEikQ5dIv9rJLDU+XPfek4cc9HpmugBFlfgCkrl7i6c7w32m7cIRBFp/zd6Winjt5IoXdHBlxynI6+dLXPYNWOj+2wFon9Z1FdyZwzHWPdilyV3T2tj+UHwVmmg7YJsn7LXBYZu6pDw0QDQXqmWOqURilcYx90Gx/e6aRlir4juQir5dhbJh04XgP9ohpW+GPaEyYSxETBOpLYx+8RaW1DVGb1R9KMb/vpw0C7MLk0GnVbrLaGo37YnjG/ba1Kcjg5ERWzjq4GhxvwzgZn0nvE2j0g6prCJsmbgQlhbgirENEVZiFY/OdIYhJ+AziWFD+xVFIeKuXykkFpzIo20/0N046C+EqVccwEPhYJ1OzVoDmDthxh1S5YoF35LUqVYjlPP/Mx7jvr06hzvYC6egEOOgXQNfpzszVW0rfNrUH8GtLR2BQ5+/vRXW0jLDBL75oGwVtpEuYT4dZBzcdoAD2Qkw2pE1rt9gjDt91yhXQq0wBTkgFwHFfrNjwE4yH2M9mzNfd4nno8ibeYssIzup12tRChSfKacOsIPPGfSxX473VidfwoZWfOH0QoP2/K9/WRUieqwL2gB8i7WtsliqJmRXJ7qECBW3khlPyQFOudsrY78b0pMpDQIJ4YdYWOM24JPYGv+0Oi4NoPIPcfjq9WG5I4+PTyhxucSehPnVoexCUMARAkxBwhhkUlEGn4axe9E3E5vQ9HH236hHWqL52Jzo8XHK3h6/aJGqpdcDEAnJkyXereyrrtF49hFHKjoufKjvC//dCTPxqpm+0/wxbxEA7geO0aRuzr/HBUqK5eF14KQOyImegK1+RhU2f11gysysACawOijs1Nqny6yVFMU3r0eTXIBm0X7IH8E9AcFkkeWJM1HX7Hx0cRbx2ZN3MQCamg+S54FUxbNL8Wa67gzGtZnDuT+peVYvjK5LyvH1XxQrUCyu8aG9NMQl2dkviILqCBRj2U83Ose01LAZctNHmYnqDeA4YJRpEFz+bpDQmamNrbm2s3LTVkOcoXDlFsoWTx8I0yNO+AAZcvZR78yCDPCLV80TQfg7F0gVkqpGzWR6zvclbSH7i6SwnmXyO1nFWHXUg1ueNDwxLuKGi1D37ssaSBxaxCjxA8/eJuhYc0QuyTLcHEwAzjTOFTCw8hGF6lE6xGktFlv7K32BLIEHKAjmhVdPO7eud2AEBgFtyEmocplxESmDbgnwec5Fm69giq2olJvBlb7Z33+f8HYVPYNFYA027LlMy+42F7QFT3vLYEFJBwP7QUpkCECoPh3PJkE8YhzHEVYqmANhu93It2yE1JIt63AeuUTM8heO22AgB4zzIxNahEZ+fAXXDE4Rf9X9FgoFKIMlEr2sQN5yt4cQua4HEJ6yCivgd6xxjbu02zjLZa771jIGkpjCgIK8dlB1tlbRE/kL5TvxQTgmy1DIex24xqNIxCoEo8ZicE9DxzPwZU2TpDR9KTKYlGf1/L1q+Do5gHz+9rcmzxNaGeh+jq5fNgZZbl+rt6ggCro1R87rL6MrMLRqxvySocUTKfkyoy09tVQZ21IaDFE6mdkwce3TDB2WfePDzWtKDGmWK5CsEW22vtuniirWz/0+8+5uD0KW9nBeHhcLUQij7JJAm1EWFhXtfaWZ2fFEAIY+cjNUwLtg5uLs16HA06cbxssZIj8ysO94HvHPHlUEB0HuBp6+43Ox0cOuk0zts0DcDnKfoLRS0UWUqOJZHDJNw2pHlTUgyR0+VTH9mzghK5hVcktHDTmgKjYxmQfd7sO27XA72QswySEzi8qkvsDCZ73OGVrCxHo0l6IBcD3EK7+J/KmEhxQ0TmSoLiyRfczk9Dwo6IubSj+PdJrBscBOgGfUgP1XDP2rl23BnN1j3u/DcMw0O0AbioF5ddArR/4YpQecCR0aQtYfk70bNdSDO8JC4KjTw9robemAp3tNQYbN2RZFYAmmXaH8FNvhTnmaM9u+Lf6RucBKlUsEIhGCOZq3cnYr0UpOvNO3yhmE3ro0mU+j7NkF7OXBJRlDFKJqfBnm/1QmGz5jTc034gxqh1cYb3Ssk9+lYSPSSQMiVzXUSbUc1be/hSGl6AcZNL2iackr9Mxf73UutDUh4ucVE1fC2J9VOWheA+/M+VI/Ro+S2herseoEvUf0+lQBOSY/Ukip44+lyJ4FHLCFhDx4O+y4kFGk4PGVZO4p5IN8xylqQdL1vz2OAX1qys8oRBASnTSh+KBlzEpmp2Bk/ofmLZ5cEpS2tcTFI9Bq6umFXWDQVCcf0ACU6+FFVLH3Gly+gVFXw+TI9n2b/2heAIDYfhoyuQym05dTvgk3mX9QPRGlx/4WYB+dCd+G6quvAXxhu354GI3WgVlX+dvr/HQ1lNVhzVUKQMP0E9+4LX/0BsEUJvUbhJDhuF1r+1XBo3C3OzbrUb5Rm/f2DyvDvRBmfJW4PmtxF6zkSs0ElZUS6kEGcSinWNtJbctjqHcT01DmtuRRO09ZWRm2iEKvgVeC33w1riaIqTMybT/aUah5OoMLyRoahG4PeMl0Wuz2pJzhhWoxI7U9LpEi/6uLkhjbuBR7yuM27Yn0mZ8KPPJkOfni0IbbFcgAmutQyAY9MqaSZQPB6Abu6VfptfNuZVf0bvIXxUWuMV490MOdBNDEVIU7bLxQ/mSTccteBlv3jE6IDmLQ4L+1tliFhbXUihwNUFhppXGpWVssAHpLKiwcuScCfqizqjhwkr00eu8HJnvHb51YPqI/YTnbrKubaMIzGAQd1OyMRAgoTM9oArYFamRDvM+KXE5bMLWqT3i568gS/A9iEt0u61sFZeUFfSXQptWP0nnyGpWuvFwslC7S2N0e7xN8kLTx/gk67IEPZ5j/od7KMQSMOoq3SI3YbCEi5q532n0eaopiwcr0lu3Cor5PYkPPUZb3ZhbjksGVq0jdZs7J1lU5mWXU8BtgpYlzuq0wO2oxEKWHNn2kqDGXLPrzALP7cPgymdmXVFjvaZHkLooUeviEBXVcJil6kmgvpiFB/NUjANr55Hy+Te4O53ADlSYFw6RqvnmUznvaoXgxOy10hmnFynf0g/LyfF96bWY6jSWkc8RhPWTg3wWGF1ICfMqj9Rehf0vGaSsKIFrsah9Z0nAdq/kCfBXODB5X6nIxGMcfP89venTLI/6wUNuQMhyB/AqqxPqCLXbGMA1+b6jFx1XLy3rn7Eh7KCtHSE55f3wqhAqGrm8g7HXbDYFx8Ukhf2NYuE9Z6AHijbHQVJG4Vp1kxVVWXV+zjw5NuOyUNtcfBOMHvLpjTLw8s4ShwfxDWZ9slj+ccMKK6w0d4+Kom5B61F96R3vQ/EZBhUuFFQqRTGGyzgmNbLIJZ/S3BXtNVkqCDLPjutCLZJy06B+xk7M0lD6J0L43lqkMRsCJ41ipLWc0+JosLTmKMyAqOX9O0dAV4ISeRkmNAxsa8/2v98Lw6clgsXPrsuc+PgbLNRGsWU1m8JtcsDJhNPwf4o5Z6nU5SwEnrEYWQeBBzf6nOtDacGpgoGYdhGe/tYIFGjLwChqhEUvTrdvyUIEbRjrmelSYNeO1DfcsBo60Tj3af+1COkyvZGX2RUum/TbWm2sBtGs+rVVGUiB4jnQhfItfQrIWirrgEoks0RrjKwfDwus1MKKT7eaJSL5Ow7POHBstkX7B6goz3oi6//MOHb4PRuP8QJmH0HOZXKfeX/u46Rt4BTjBGKeg7TyQV5izfuth9VjezICB6Vel8ZRCjZvN1tayKJfsfp3KtwAAD+osaCguPpF6GdIeOqMMNK7C5uPZ2jvK5gkDrKsoFdKGu4fvXUK6akmnVZJ0LfiQ4EYQk2JFLblieUIW0KJVxWPh00xmH+lLI+KACGiKZgKzVEcphYt1PVkp0TheOdVKrV9XVTepUes3a8/mhbo1zSJMyAX69RX6bQf5H5BqcZi1/6dalisU1HKdD/aMu8/xYjxdtW+HEKwtJgG7wZO5RB21jJbLdrljZbMmHXQHSGRsoX1YBUQaOSzaz0gi2FdP3EL/vNyWxEKNzFX6oMUDT0vEnlJdQBUSkpw89eaR0lucFb13fS+tuqMtQJFk0X1WImGwxtwF1DppHPS/CktwGjFCqpKRu8mwM6T5D9vBni1xP+clR+6zD2cUxnFRGlvnF/eW2w3WMApu5OqjZjOpyWhuOnj8ND3hs3wtmYG8i2jkdf0uBMpvoaD4noeRVLNKKfy7y6edTglhO1QpAmtT2xn3VZM1p5XDrEqudNZJPura2qMqvW7jAUYzuRALCgRgbnTehaaH2qMnum3UO9IeQQ6qbwoC7mD7g0Tn5w/fu1Pt0EQy6L6PK0tuPdPJmSsHEfiLGJksQiKycrPdiCDkykRhKo6yx/xCH0VV6SH0c0ADyJ4LmeCK6OfDuAmGcwPkCGsy48uUJKv3iZtJPZVBt2OIHyszqPvTzzyT7+kzCstXgEwbzLmPn7STBSIUJ3NH5bfx4g6PS+sqwcr2b/CDisgtQXdzwHybLU2EGxiHB7Amy3zc/66o4slAy+l5IzOJOOAiy0+8PgQBke7RcPquybSG6xPKvqpGtY3sGY+34czeuqlWnpWscZSX/xm+G0tYnHwNXFijvR+3JpKb4xA2B+aTC7pBXgJbMnCxoFpjnZ22bUb8ZoO7fLWRzGZQCUgNl9T6bV1YX+iyo7Gt+1aEcKgutqubYdFb5FNEwh6H9pqZUzPMd3RRZOHMv6itYGvSdai5YPIFdny82x5fFysG6APn4UgOa0DJiAGsZDI5vv3qVjbf8JysWSGbSpCwQcTghCZh2HoJW3EmudVnJjM4ubT/0bNBuDefv05XLB1IEA+v6epzpENzyRe+u2UXzjrbIT7xmi5PB4qiHACA8bp6VyyzF96jEpqjyvlgHGTIcKX557dRo/s++qQ6QZp5FO9kbcTIGK1tPErZykk9PUdTC4idua0qAV4WKv9lRR+Z9zGeazWBHHwA61VwQcFkxE9k56tvX17FrlmdZ/N46LTsDewxtKYjNFq0k8/f1MlIlOZp91K07k2fD2o8VrZnADYCHsX+6nCDluDRoDLG4fXeVNrX5w68ItexKm2nCWaJ43iKElDeDRHL8E6SarDsb7G5uAot4BG8rsiWLtH0k4I0xrA+bRbypwWCxal1CdxJerbyNXn6tbJD59zjQfQckGqhq5SzC26HHwuHx23/Ik1rfHHt2zp+T3vG5freVA1RRLgir4qBdCevUbWOxpKFgiacI+j55GPLU/3nXG7dn05pyjoRzTIwBRaE9jp7OPxe86mMDOyO+slxdkoPMm/vSyTGgb+8lMBpFFXE/eBdd2w5WTP2kV2a9T37sv+RPTRsM89B4cALMUiFI6jXX3pR5HXCoX1JEpgzgMBCHf6HS81JDXqhHgbgfkITPEptSYKWl4MqGJy49NPGV+3Pe6kqj8QVhbWJwIwEsTImpGo0CU0ziQps1OTlkOf5FG7PFBb7B4fn6sCHCYrjx76GS+QNjLTUxJrFDcPamokvT4gm9O7h6yA4AgnE/AGc3q/Sz1EZ0LytnwcK/VVeEVVUpdaV2mDFXUVkns8rCx262xEJvGOElpFKvPlIFqmOqWCMPa/FSFYYkwZYhYef1YlIxFHG6IOFB2MWjbsWYTO+kw1DV9BOESY4Fw39YbHnjpZwxgYjtNZLxAvA79KRwAvJ4fEPhePXS0mk9p16Q6tMaFEx04MkkclmhRkZNIovZEE9Yq0UEO804OF9+Spw60+j+LO1U2tTGxaG2/70fl2W2Z080tIRhSmCO3HVJ6zrceFJjAb54osl2mbsolcMs43JCcRdBZWj7uzQbnE4mZJv4hT6u1jBYqiE/F4QeItQc8GhLJhvVK/JlOZ/BcUQ/mLAc+pph5hKdT7cbH8VOmXkLDOVwxRKCQw/sv36hXKuf/KX9aqngCMKbxe9rnkTYyl/FZ52WU/YCoth8TgIUbRuY7Fv8lcxfXUnYnJiClX712bcczvfhOINUp1Am3zc/+JSDQ/rpVDu2o8e+1I5uyielf2VGxbqPX5dzEKXbM0evGlk3UpqBZOmecGLsAWYtzssDNrS17Xt5xHuelV6ltIbmnCZCYgkP19igdRgiItu1p+xFd0CEjg5goPB41tjncvxUi+2XxBgmcS4n7iXfIySprj27jxu1lhEbF7ln0FmQqRcmMWLUQRzu1WvD4jLV6dNTXF46OOWPX8nEZz92emzkWyd+t38gm/XAzzu8zZm6cAC4qrlT/YQ3F7bG+8jZd9+wYW5BXuCmrApCAJ3cJgBmyE/wslm5LOC/NEiRyYJzduAZOLgyua6+op/Ji+uZTJkYqBgYCTRoCjr8P3AUBMgPKWKzXqIUJsJBsSu+MR1gwQeLCTv/Jo+or6QossTL+EmeTKXAwDdVCP+S+jybmNo6V43yIl+0fw3CgMI/lOF7szBy6hZ1rlirKIOzTcflSVJheLU5EcCHnHti/5vaeL230ZmMwoknKJ/ZZwUAW+FPu6tbPQ5YTI6/PM6LGOjLjow1mTpVWZagOvu3Gyt0DcasQcaVmoWa4Q1kYfGGkVJaJnja9D7Fd3ZJouVdZOAV7SCwbP8KrXEznHr+4EzvdYI70wa/vzFuj+xShKOxIs11K2WtOXNlgBaDnqX8LNKDz4PJsdhyHePba3dc5To3E6r54prPwUr8ndzaRk/QR4J+g375Y75kyEUo7iM14cZamGfWEmUWMaJUgMVvUmAyHjYJVGg9RdiVa7gKcqJgamXsNPt6AKGKB3o0XZitG1Md99ccsZhlghPtF+U60/jjAKb82Rxt7DXlanQRdDjkdhOFPmtxVf/106MGYFfLPWCbHKS8LmVU9b2rsbISZfB8DWAUIUa15vk3jBIUipfId9WKS0FhUNoleVEr5gDZx/S66NRKnVbVaW4f6cNkUZlFGChGGlJcYYNrFEtanrv3nHgbG7lAqfj/FyyZlX19+6q8HMoCyf3qM9+moq+J75Gu9szjvA9yvHKFNRNFq5Itn7yJI3J/9vCZsg+TXYMJn6vHYg+LSVTxlbV7Z4Izo4vvLlxArCEuwxd7J3i9kIzDLJgHkNWdakpESVuBM2FDeEhWk/7n3kiz19f6Y3kQgenyndwBgwFoIalyGmfykEECArol2IPaw8NnsCGnFAJKKDLM0KJ2jshsE6YUCMJzkvEsHM0/0zHwG79y4Pe12iq4tmy4AGVZ4i293jQ/ecKJDsQ8vtOKD6+Sk/Z4gymdy6LbW2ziC3B7u1+xMTHhq0MFKOumkREdIzazaRqap4H8oppvyzA5j4teNwp3gCzOyIz7SgT0cwguUj/8SUAqC0vYf/ugrwAmtcSppOCyLKwbdebKBsDRq3SwWZbYamVWFFMB9MQhtFTySM9c4zDylOVPsOfzwP/qtFb4Ax/V8Mv8XmzC3ZM3kEVdztmoAaFeLmglPIqNDFRMBHVnfahTp+iCJGCP2f15BV9d9QVxFyDvI24QHlqb3uQXWK293p1wjvdZ3V2lKtvBgIDp+0yIiwNyM81ljfeddEJAj0SKxbAUCYDSbdZc3/zD6hcZQb1DxApbnaHi+Kx93RUAce2+GXnlj477wMzXxM1nkbKr1VxNEXQGdnHAVKB8U32TXNk/eSs4KMGIPq8iEPsUyohFOhJXaQ+UG9sSfV9jegh1VAagpKsDI5X4dDAqFIprok84dkqQlg27XBI11AENn4+r2X+Lt5CLoti3QnzcParPdtXznlBTzkWp3SaYX4PvVpJqM6nKmJxHwHuDH7nHjH8INbVMB7vkUM+T1karxKUvwG7HpvB4msJmPGwZMMyeCdsq6YyqLOkR01m/zhJhd8f3LCeE4KOAlGBrQBmQmWIH6g8dpdcmkSJptgVNaVAdRPLNj5JSBYjlvhzT86C7msqXIQlGsReIAOawjWnQoRjDeF5Zx2Qg+DCUon5AWRrzdY4iNCTYQcufh4JJPdpflgzYamzIULbcWBscMlRXEAKHVwuYZTlqZE/xRKOBqyrKIgcdLg4XdjRMsE3C1N41eRAFw7tCqUkq+VN2SrlQSou798e0Anib+y8nk4nvF76d9BWhO4Lyct1OfhU/1+bnc0SMYHslnwjAumOPvKGn0Ht9IcGSrTjFH1Ypfgdr8yudb0h55IQbo8JpizODUJMlmAgbkOs74zqH7Aur8fkdq8SKle7rUXX2Noo4LTDQqsCOVyDzdyZgwZhIhzx6NsrJtnbEWLdWaMBgAqHjj9i0aTN4b1ndddCJ40upJ4dC297vJLoQrJWjqfbVUx/dbxNcouWXQnxkW+/iyHG1iI+gGPh7YnAPB2TjqRUiWMm0f2EkOwGxgsszRA141DqH0PdPzbluLulDg2SpUF+sfTn8n/sQYHo9MGLFcnVAD9rqEv+uZm7KXvDYxR1SvoQzMs2MC6E5zua0RizH+tSwr2Z2Zra15cIm9bMpjHJIOtK9KntXiV8i7hx+JOaToP1fNUBkqTOJKChZzAhHUXD5Fsqm/2rCOo5gD/W3prlXYGSUotTfXnUB2Iy9tC38UyfdB8ZCfAGZmhNM4JAJWPXqjP6ny43YFEfnQUJ8872apRfz+Sq7rDgTWabK/5WMoD162tRIOa1gUFeSjXUl3f1CHVM1yTgfy0/mWExFhD1OxsUegX/u8qXF54h9QqnLjnvUjBtPodmFkyld9BcE/rjBCBHb6nb6ClfxHE8rjAOx1h4kY9At9pw9Lrnua9SHTd4THeF1nRQIvbYtXG5TOoIHrAedX8LN40i5vIlbFiLOrxCWSUsnFEFb3G3jDK09qI+ILh19hM/bsitvlyn9k4/x7ZnWGK+1MjbOWWQURb5ajxawM9JEu5nXaETQRUUPM7nRPYRzCvHLEGn4Z08Vm8yBJyFNNaY+LeGYFZ3aB1vdmLof/cISx5nDftEx4Deanlg2BoNGQfYcOj0UDekb8BHQ3dzyGvHg4aOHqfBf+LPWumEeoEXgktJvogC57KKj2dNzHGXNgIRNbF1+cb1UIbdlfcM0IWnporg0LpjfqZF2cwacyF+3VpFfF/lPFY2pXxIG2uCXCq5rDbN0LQ790F8PNQinHRAfP+VR9U1joSdDwpe0ly2a84uxouxO2I0R+yA4ZghysLrwQtrz58ZO5p9Y3PIDmKRzw3ZzEbIJosPMd53f8x2JdARDDWmNPdtZWzBPyuty4PbaGqPbaX9cfZMAHenwrQPaTzH6iUil8SeSWdtHE1a1JT4LzKf/TXhPjKJlHFenIx4LqagJX1Cdu8+6vQvOzybzaPni9uOfMF/usPLoZJDimZm9Dg/WYMJ+E4gCHXzXButD82CyBcHtn3qVi8Wg0P4geqpGzAohrjmDUDuFtArqPHIrNWGJn1aMbKX3Tz0fvYKKO+L1Si8BoXrJ+4TRI7VBOgEexfUH/GOun11w16vLvQVxhXcnbByKjD7M2f+AtiI3t71mZmSJSd045bVezgdTyMaj0rSUK23IxXVDYMUnF/SySvgVMEiwS9cHMhuO5y51mj3WByFFaTNUI9GFvJvQIQXDOrG8Myy4mRoQjN4kQPsZe37Ec2H4ULqyOI5df9yUDfGalvf9mGfviowfAkeCp2mFnz/oj0HPJ8bua8lkYTq5Qw5I9pEvpHi1ni3H+XiLpjNlD/wMGiY7mtN1XDvncqSW1m8JAVGXZcTWTtp8Vtchyy2kF0pc/t4f4gJhjgGoaM/ail995AFRUvVV5aoFnKPl/wawTat/TsvZEq5FQOahLH80PiRY3wTmJMal3Hpx0OOYuMG6wMcaLxFC0kL/tmkdbOftgY94muRidFozvg64iyir0aFIqH0E9dneyRSQsbGmggSa3CZ2vE+YLxjGuTASaSOuIPp3n09E5tfObjqBjjngOweNPImc8BfTrnVuivUzULUPpQlUQvsezZMFdvmoRSxOt14k/9JvyQuJ4tOPKTOpN3DDiQR2fh/jJeWX5+cVCszkZnmcUzhFYggIYh5Dme/T/72COlEI91xzYUdGbyKFbiewtj/bmwGjGQ+UdObL9onszWU6w/lJYw9iWq9bzHGhIpj+7RJHJOsA4r24mAxpA8FXfdqajttSg3G5LO7vAlto1a7DrNrRpqRD83BJ/hUgqdqrgowGxTADolkuU59jtxZ5xn6FK81JgFvx+10sPuBvAOn2DKvwCl7kqitvrfTAMM46B7yyEhJ8en2iGFqGPBQOgGAKFy/dCc0txqxl4gv42ovS7vnFcrp7e8nz1rPE8A/6PxZBpQyxkcluFZQj2Ui2ZsCv41ejFWn8CC26kRhksGcXdY2hihqJadc9XT2Fo6xt+gJmZ6fvgqHCxyrEbSL6SXcdep0Rj7IHqVfmm3t40M554GtGbZkQBbVKUHDujCVmbEPd2zmBY5TnOPwUoXrW5B/Z7IosXfX01ZApfC4aZ0m1Us5rZK5yNOpe10IHnyEu6ATfneLvekvCAQHb1htK/LDbnMfY23th13sDoLQ9bqtrv4SHDMPDnrHJuaxFY4OmJu1xB5fOTT+octTvVJXHNj4T91GErRpWy5xeLvuWXGcuROId5kk2oBFZtWwZ9yyUgoylEyK9tI6P625BYtRTty3EYcsAskTfqFLosfiFocJhhynUTY1CLlfOijAofVVkmnrdvS05Pr22AbRerPKQzz4WyhWjhAjMxO0ERmc89oZCYtsJ6GNE9XK1huaVhz716IUp1RtDKTO2igvWXjCjLUldvRsli2D4vaRaR79Xlzz2+Cx6a7mAylNXTRCAR2eToWIsmSvWbMK8bGi/gfUMh0K+rCYpzS+BzC86tX8qrsz+bmfG65KHoq0rs9iEXnseeu1dpWe/10nPDmVAF6oGg+5SvvYsINhmsd7y0/tP2tNnOGdgrDlMlGy0yRUWGnfi2PZvGG/omXhze0/t3t0Cg+bV5h4b5qXH0xe6X2DUVYUSruOT0r9dbYBgHUEHdvQNymhP+zEZKHSrL1xD3IdGQt3VONR2MMf7SfgrCNXvuLjXcD7m7LYVOwS6l61LbA2ymemH2KEpGkxsUqrBPrkMwqTGYxH4NaLO4UAMYKqQlAVmjClRZbgwkTKIcTHVgXli9dZx12dmUaYoTQT8YU6Q5/f2RaQAx5/R/wlm0DO6zr0resVSKmCisMN7YnV7MQsR0mqNd8MPuwKLikwZsM1ZKARFUisadZWGsW1qJQwF05tYVQCsD7XFSRNNaDCWBDt3Zf878siWXlaN5MSZ9P4BzSSvClDehGztqzC6yH3p/C3hOQPqYGdD4kyrv1AAw3VOfmrtQ7Ch1T+gnFAYluRnOiRJuhAZhpMJKH85EjmgM9a3xpuLz9lY1DIs2V0U5W4qrwFS2rkZKCpaH6GBa8iKnfDh6Nx+b+d2Zz/z3c8YBL0PDYR8BZ4BFs+UehzVgXnDMuwkYnq8YN/ycGFsidWt7MtPuV29wEJ53ZLG9HAbm3EMZbBd39ol/ToCg7PaXyyue15Dg1PpJpo3GAQUX3CeR4ge9VIWYGrPSj59q1Npk1H4tIQGi+xmM0yMbEYy6wYFJIu//wZFm98kRkYxt/D25PtfiTnkXf+wDagm/WGS5W2FJGXtTdoxicgZ0KsHP1HQiyF5zCTRWs8WARD5tPgzYBJWLIdxHBvGoj4FTVrJZYqJ98blI2mI3dKxU5tTs/G5fkCDgyh2Dru9LqX9Jeooxxpyg66HwTJW0c9+2r5Kn1+O9K0RGSXI/KAd4E/KeughgF3aQZgIXPoBsjJdEfdNiGV1QdWUSYkyDNyedIwQFDEd5FuYIZhVYiKWNL1Jkqf6ECKRmFcv+OWzp//IjAAScvvhmVPVgWlU40xICBw+q5GSxT6wjW/oeMtLcAQphXOg13IR3/8LPmdEejdZ4AuOyyV1lLay+fgch0cOQtVqUXugCektvaZ/95EBlR0SgkTmLyvMDQw/bnL0DWL/C+IV0hOvOSp7oRS/eVlibXGcW8awQBXE+trhOiWtCc5eqQjP2f0TjzBABVqWwJlmxeZn7zdfgmy/BqtLm5ENBAJy0twcob8GJHh3JUSzw3NDJ0/UF3kQjer3+sa3Zgszm37UX2VajgjOMe5uyl5Muu/+BI6fyog44NNaRoMpm1ZFm6H8496EFdoGYvQ+WmgRDKrqMoFLliVrKueoubGZ2gO8srZTF2FrSUmCbb9ayaOgdDTl3ZZNITPDfaOtcKJhN0c92MCizi42s5gbHzPPvYZyOkUf/pVoEFoJ3eAUcl++ZXJZKMNRyG5uhIexpxCOiOBfen3F1IoW8x6yDheEiaHtUdy7B024ttFqKeN2nvh4lCBBF2Vpy5a1roeEuywpT+KP6ua/VBILHjltakqHA6f/AVefGYSpscp9x2Az93uE/JDk0vqouGS3/qfm5UPvl+FP+gxkT8gP2P0RATi8Lp5TmY82O+5yXSkOeaAlSIiS8ADZcVudQ39fY6vYa51IHuMl+2r2cGB191uDHefIN5mZZj8NgGgsjyFU9N18sKD2jhnrJAy5FZzh2sZpsgsHnPsYw2ca7/sebxtH5indgcqYlFEiCg9rSkkgGFTbggYj/MXawaT1WIOdAtGeepIEWfDN0NSq1ESAxm8heRdjmd7EP5GizfqhAU75UBJcPL8rNPQZHZ7nuiSiqVNmF8cVGWAza99ooHde/31UMjgX5zBUXlqhBstDbf0CD29xLYJI20vVCVJaG9xLvVu3/d1rtwAiLd+l9vMcajrJ5Ap81Eg0wg0ITPgxrfgFBZ1H/F2LCrc5fGCSXiY8DZUR2WND2s+Jhn/ib9Efe+gh1eZndlIc5LE8ZfQqMzdVhw+bYns8QzPKh5OU3d3hqOaZE/XuD+j7KaalgQg1dkLRxoyhLDWWQOiymK3PE38QkJRcXWWqDMrdpTBdCTv7Y6fwQUVacTkPbNRiTKlCYj+XL2+xVADGRkoVOZ4FulMyttUMDCr1WMcubuXHTIgLYPCRRunEceRboWFk/3qjq+NacRmjZtNSFnD4Pk7OEtnPx4Zu/gRp9hPDAaJkv4U4e1+eUP0lmOZQfePhY4QmTUqLj77sag1e2mraTmzst+MUZm6tpVhYIL0aWXkBxoIuumCCkhAgqun+PRqCGt15ZQeoNxWOLtPDWMwI8LIvX3gvdVJ9nWlNfbOA7qdfMFY6BceMnyxar91QjHfzQs3snip6cRScQTAFdBU2byrYEc0/25SssOz4mBEZUwiirZyVcTqBj3+a0DPR7w9IQK+dqIIzl7+yAM94rn6iNTHvIUpyC4paHCB1itDNXtBnrCRYJBKuhGBeD9smdb+gT2NKWEwqfWubcR2BqghSOJ2IdqvrY91+eGD+yxFEzyM2iROpSw5MzLCAIKm/LFexttknJOPzj8gauxyP9e2alXbzqxriIi2U1i/7heOq+3qMcm9cOpjtccK83HvHoTbtEkIZdkNGCba0C9owbv8FlqJHK3jrPj41nWKs3mRW3VvNgTz6HuOnEh5zCyCMcYq0MlifvGTj8hI4T/1XjOsxTPfC2lpgYFxkghgNGMmzV1fCOfDui827NihVhfmjr+guOxiyS3UjoMKJeaJ+HD5oLC9Kab8snbUtWRk+q4jjr6oTRlAZcwI58uq/yQEP5Ty6RpSt1nnufQfZhQSbfD+S4QByPj5dFbB/c6dp3eUQktaWe+r5RkPgap0AmqHQ/h436sqve10ogi2rFW/kYBOkGtwSANTDA4dC+XihpJ3G44WCS5s+QF0xMo2krdWjO2K9C/jnwORysfkZugJWDWihm5Q1s44yvmpfOQybHTODp+bpnySMYqbJCHMza9sQcoqoCJMUE09GmN9Zv4JYh1vtA84YJk7Ld799GP1UsjJZ+PCEM6hgXVxSKBGCiqw++EWUOTOcgkU9k1eViNBG1QvjR/v/imhFXJhYXfHk68igDtbqdQpnydaIsUIQaH0y2LV/IZHTzMTvRDNRcu2z8V9+s2DRWskCERSmVjxIbCMCCMTD+U2BYE0TeeHqhs5VYuGyPwh3qkaZCYzVSUnoZWx2CLUQ6w8XWvGbTwFANg1CTbYvbDQ8UkbFuol+7Acb8qkF/r00CQ1m4Cr6aBR/wI7f5faJOSRB+S4gPVaXf00PYZPsYFoi5+uDfrKjyfgVZVYn005bbRNc/d1y9MBWqDicY6fuhuXEsFyk+couD8PhR/T+vrzM4RdLibKDV+Py8CNqpfGFq9T8h0n4ydk7kagQMqe9ctVv2LSPUdoxFtcgaLhR+++wifftKb2mzaj+OTzFep2h396izRZva9kM3+Z4MI/mzsxfAsQgZXz5OpX+9b1PERvqiL02BJgmPw+axPNrZfsd9U+8QOHk/hFFxqiqYTNOMLAUFoKZ169+Xq17QTzt3yAAAYLyIwyRkBDcGA2MoSdhfBwmldkEmP3lya7AHcJ6pFuUI9VgOXeVuBaaltd4ddoy4ob/wTpia4BW5x1NLps3bVCK3szv+XxqhA7BLAbfwKY6P0jNWgNv4/KOWrYpOVsp3UFxB0KL5HVXvBegMSr9K30xU75q1mDRbORNerly2l5dfCPXmgk7hM/fIWxkfoDpSTs6acxroRZePXGvzOj2WduzM/DySGxmLmUWNiYVfS/9IwNbZIF6ThxxCAcxiwQ4Gk6YC9LJcMMTsjyGbvKbdO4b0q8tGv09hGl0aJ+Tfzz54nOj590pPA6fo4IHNR1iCwwf38szaJLvXh109RqT51Q1N8PeN5soa/OPNHD+qOWTvHo8DlmJCVyQ3rr4gXycxaTQRDS51qy/qWA3XFOotheNrQ2+9DiFYCBhJJXhdu6JWf7JBcumf5Llt6j+DytwOjHOrE+Mg35yYaOP+CBP6UE+LT7ZTwjQVtkf279kgn1F9Ovs+bBFLzaxLw+LOp5agH+r6LTXD4AFWUVBlr7MXBgCwcYsAW/UKbD1P3tMj97Pz5hFZmrg9qtD5zSlh9Sc4R0WDaVk8TX8RbNl7w/yaextZv/sKHZjG1JZE7AYfAzU6fFhz7EioTeUB1gcCWmmfA9tOjKgpyycaXeZpaHwEo9651AymjZrhRbGNcMqffqLMECmJGvSjCsoD/PqScxT6KJ4tf+iCqojKiZj9Q3Mz+kJfHP9bAlpHkBK3f+D5oob8RxqiJzEmvKcbcS7Rf9VnnuhHX9U/o/8Dv4jpF3mWp93Asz9Y6jlefKCucqSgavku62PaKwgkfqWCne7ECIXshjTlv1WX4fDENKm9dNxDb+n0Ba4EcXRozZKs2FRXjeRHNOhVfDPeJYI8SFifVu0/iGsUxVsZq9DazMJ87FFeM+04tD4qsmHFhOY07lwc7oPOi4cQ+a8eIZD7cNBfVAsFjbHz7kkIqCJUJFPSdmgZ2KtO7/nsuVMNZLv6omeu90FPkJRTPoEec+vB6LZ2mFV3EtxIbCMaO+UJqD2+BQf4WYNbltg3I7k5w08ph8rEWdGmxZAZPCelVWilNIc1ZcIKiZt5r8VwSQhxEWf8KXUNtO8OkO7dhahw3/YFQMQZ0Qt4hF7uImMOh9v6/L3UWsY+Ftbv64SHGOaMaMQylANGTwvC1XDMN+fann84bKmPBG/hT7cYfgDexNaZtd+qW2wUy9rqIIQmM9kIeLVEsnvfKjoFGjwQB08Wf24ojI1h4un4jG1NkeFodM37N80BMbzrQPU886gm8MYPYpW77znohW/hOobeCHoz9hzWdNcmJHXt0vQsYpvpkltqO798PDXWVJEtjZHWxAqajdHV/Jx8/jwGz2vlrrGAQ8zkZ0n5gqkvaGo6TTek9qPfqqg++b34WqposnMUvKx7Gj+W9Bfc7s3YgIJ9QzFemonpojcGK/S2/VWEfRGddWlfBXm7KhWGVqwgbXfpOkKFxR4rUWfJYFV/GKPMyjtVFyxiieeZhZFFDuOUI38daFsgiZBjngl6cvsSuNd5vGXdpHtbvIFZLIyIqAh0JWhg/v/cNzuSsN9Ie43riR1mgfP4pDg6zM2ERqh83nDHfHfBoIiR152oSlFg0snojHo+GVaGNFEWr4EDYoQy6SKW3RTDDlQVtzzfIEb7vtv07p1UjKHAmqjwiC2VF33U0oRTn8svqEt/22XTkxpIZnOuku9umRcunr4FF2qyFsU+qKdmn4KQ+GXpcCO2cJnAlmouWDF5o3Ma5nnWTUOgcV0w7uye68zQhAtdO0Gq1UZWpOKpvmStD1qOdoxzlWZWwnI6vvyr03fC4cZlt203Yyso4Q5YDJ5NpKPCJD0kUdBWDXlwYjipTy+WP22zfwDKb1jbuC/gkPnO3GXE7xDyRdRag5XQApUmtbi3NOatg7tjBgu9sTk7O5LJYM7A8SCKAxbIkMvYoe/oMDTclAsWLHYS8nRvr0kBFFJTznVnxuhmUK19cBSdWt6rCl62eZSrdvOup7vOEEfQkEUq7FUl5iwDnDZN9y94Ez0AiNXR1CFudUkIoq+jCxA74i3fVNjSiRRhM8IDbZ2wrCHX1OyLSL7UKyEjpUv0HwMnbGBrGSxajkD89vxOXK0SR3e1NPKUmYmx4ROQDJaMz/DCiwKcLsTmOfdZU8+qZhfHPa0/e2S0Ywmm6wa8I26Lzu2hTm0oFjQtHmMxzYySBDLXFHsS0ztoV2B5mNGA5Jd5vW16OKnbPSubThl0joYvHKYdmZ171oZczwtg2LT+W+mlboTZT/c832gQPNGv2yRQIMkqc+u1xYMKtFB2gleTnVVEwIqA1WIX5u8/Z7vu83qikNqszkRluK7VE76bwhD6oOdjRzo3hda3/+3tzGqTHqQ9hp/fsLFVnVTcHrCVWeV8qw0K/Q2Hf8BrUJeusfbq80Yj0PGz4TSN8UsQSa8Pda/b0n+3tXxLDMWfzVjvwnRhSuGg4dBWR9YGrCXIXexfFRcYDOPjlWuNu5aojHuwDPFA8E0HtdMDsWUis6XMU5NH3CXw7fjCF/AyrBZPssoY63MYK9C2SOWqrKNfjq6u+wIFf7COAUkSRF+1UhSGdjlTmmvojZuGTjG77uRJMsZoNpeNblT1zqjmHWHcSsyRY87Hw01qMAFG0V+I77AZRHNPIZ297q0U/nz4ZIAReQvj8zE+Y0abJIHAOGSf/HtoeovLS23DtMoXEvdahPE00WL4pWwo0VN5hjMTED6dQiETD0VSw8wRQNArVEZuZ/g4hkqH0ZuH7V39WuXdup0z5MDeZfnFbhyDY52g5DjgG0Tc8d/G+K7kGeZNKmE+nUoz1NL2LxIhSChQoJNehxrbGx71quVqDT6Yn/UAcUD7GoDEm6fgev9N+vSlMfp5ISs7T9r+q+kOTzG+AmtFq5mWgddLHfSjD95IcVqZ9V+KLRV1vIAkbXLKTMR4gq0vuRrIueCXVv/WPXqoL7ltHzB1EoW40gF6iqeyoSyVh7S2DtuEg6TQKvXXN0B9iV8SqpMq32li0lqnZXAsHzZwWNWT3Y1JtiSXlkRxpzAogr1kaKwQrHZ0BgyBQkkaVXaAD6BCZG6AzCjDPZucOrEfA+OW019xvOO02v1U8dvRTUzB6oey2oxma+R4WkJaB24GwysJ0q4vyzXSvRuz1Nia2WwGmNFArFHtWOYo29HvgpmfX2P3C9wzG4qj87PZ8o7/4ysksB2NWqj7CLUy9IpTdlBTF1dh6/osb5/nNm5AV5E4UQqsrz2f7JIRNgljbh3z7lcgQq0FiNiy9zvZQ00xkdA54fe77SEdFnhZMtgaUh0pDjclZMDv6ANYf/J9RVTJ/oKLv5GFiPpKhbVeszpGatZmmGTvStc33O1bNHO8/Gju0s4KwmeRtctGp4DmjiPWFsEN/uXOBVE0XKCx1SoeCuk5UM2IF6+kalsSwYkEC6YY5lvc5In8Rc56M3xs65zEHB+j2Au1Eyi4TDOayEno1nTLaLAedN+dyQK1iSdkdh/TiBXRDMxeA/7KEI9jXbmhafdF6chDt29J4SjIjaCDLsRiHiED4oJFVRlH+2X58hs0YmfKU+PZrBOUYGXkfNibNqBbbDz+CO/DvOXGaqPVk0ACYWQTTAAFxVrve2WYQ7akz9rJP7r1gGVLYwI+0jQ4mlzj7ejrLFx3kl2EyCWlm5BDuCbUd3TLzPWEI1eI8KBO45WpspUyDrKU14IlcqfSAWZE9AlZRnl0/RIz1TXrDPjXho9zCju1UFXMULJD0/wfzoI1r6kmZAdGoKoNd09fCzntcIWoiwtKMWrt8o01tfENoIEXtN7cjje5VBBkd9FukhBXoDBQt+G5u0xCX608pU0V+jPg+O6buT6Z600k8/dpHmRnWgbY2qKWD/px641eG9aLeddXkJTHcaPv+hHunzsmREpZ2MQ4fRUAdrTRN+CZUkE7wsz5FkU9jfRdEKUoxgQ2rLAuwaB9kGasEH0BTGh8UGEx9Iw9IYU8Zf0Mr9gjnrN64iW+N5bpH/jrhMLG2/d71YgRkCPA9BrYfcnr1rTTLYLzbCVoZjUU4fi6KwpILmTiajPy8teLW+a63gjSVQ9PUV6GE9+LqqRNzroyFvjHZzJFrcfv9s5bULV951o5Kl/NysRwUnLl8dJzQ9Zpic/P7Zd/BnY7oVxn0poci2ksRfHlgOPaf30tXQf3MaxVy2oNAJ0CjrEmWfBpn2q2ThXhUhO9mrUL8zlWVOtIfTjd0xYH4eEO2DI0jtMRBSyWuscNwyGqBZTtwAmd/1waFa+qeGUBvAs9xhRvptTDyxFgj0xO23Zy2CKfluWI72Pe6WYNpa1ShGyA8LZUUNSG5nKteg+6n0n9Ou4UkibkiXM2zX7hvXjxSZL8CwLwuzOS8+iThFt8PsPuV5pDBT8TZyF+z3DUXSYhRTx6ebwAWItBopgzcYN+Ep9yyn/HXOUxTdDmUGUFc10PAQhlxCe0/ezlhMQpX4DwOuORvH4x/4TXnadqE95MLRcAE2SGGSeVGUqyskdjFp6crHkydHl0kldW7Fmv3rIre9+i/SjDOZIW9Y1gK8XFHRad+mxMoyPiy2vQLmtLJZXYGMCFWDr7c/be8nCRIPiV6aE+dbWIIBce6OIHTkQDQXR/7uF6uy2DC97ishf9z/GOo+j+mciRRG5iLS5+uC/nYWTHjjs2lxxwJG9o54bm4I5CATHTv1sD4Haj0EKslwYHzJfNLivNhJpQgjChe+3kwuC6nuw4VgV4+bwDtOsQtDmeLIpLlfwiQuVc0EesAzW5dWNHJ4eN9RRqwIEIkysSAaBLuXogU8udcl/cpE5Z5yjAbYzt/kSDVgGwBfAvD2uf1tCN0btwCPsz7GE89GIs4FVKBywgOVQeJeL8/zkZJHcFUTPUenq3UjYGlLFqyEXYH+r0snM0q3eKJIsIuSbD4MIyq+0Ul87yZ+mtMhkfwMWlqVnXIklwFEDLy8eJJlOHkqIV0VzviyQwyYuDckTonj6EtzUSUzCbktKbXOyCg3aOdhLrD572wpnIp82Kc61U4USyHfedkzfgDVZV0sFvlSi3QsNTXBN456xjv+EuNQxYrTM42KJqJinWkYB77o/3Z6ceehz5uSAglkpSRv98g5QYKMkP21LX8gSSCAoPeg99FgGDHX+0pJrmwmXsrrdAvZR+F6chStUslVgio+AGZDQ957JnBU2y6M7zYJtf8OHxzajBqpfapNlc1eRNZ+O82Vi1LLbRb4TNL2PxSguyG4YA+H02Idh8yTAtrrMxjMesorg8AC1B84ET7UUYQofHLo4tRe99Ibla+HUhUEeZyToHQPVhzZoMAA+E5NMOKTnLYdJgCTlBHDde+wC/xhosY5EGPfqRxiKt6vnzqw8ajLHY1YBV5kLcSoUzJHncUkeNWCf7wYAN+P6kFjae7i3XZ553ezG+3P8QGLqC8t1lV7v2xIj5PgugMV6cw9KEZ/99pjN0dkpqxVMCwlRUYuudmJwtcO+GmdYwykXlW9LT50BXGsii0I0vSJFNcjfRPa52UIllVufH0l7FeAm/8dOjK7VBzxj4cvf/211KY4YDM/bsQYFvDqlJAytC1IPptm9DPSyaMq2GIElpRbxgrFNrGBBfraK7Zx+H9QrVUsXntnHbR4fb9GEWDUDMHFA67ZbeUAV0CMLgAXlgxf6gKql6aRpHr3B8/oCiVZFeC7p1U7Nwrnn8xW46pxHM/to6RHriBMcE0yuwtXX0huA9Y+n5QdMFevKaFW5xwMdUCrDX2bqUykHLxJJQs1Xh2KLUXtaHXWQRqlVfwH7Jz9p/9HWrIZIzLrzE2DayxqMgXlp7ePlFTzAfhkjnL7UfecpQTQwAIzIzNUWyWRBgkzuNwlUEYsRv6IzfJrjpfYpJQwNKzHOO7kREh9/tQz96RwMYrfCm2PLMI8dX0STJAeidPb7pnQH2XJEvQYElwoD"/>
  <p:tag name="MEKKOXMLTAGS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z2dD7pS103gZfJ6l4USC3jqtWOPR/ue0umjYEY9KlLthURXCUyUuZbmGDPUXB2idlVQc+R1c0j6vNnMaKvr/AghcgjyTjoGcS2U6lyGcWZbvoYqQsrFJ5DN1RdHsB5gZU4BjQJ6xKwDUEsW8X/QQ4uIPkrhyjIfLLN7ZR3puqzBiN1rMnctBA0J594at1EN5QJYMsPufr2eabAYzIDriNpy1GurybA3KWqcTPRKYh436jQqOHiPaCJtAtzpRgB7Igk7tw7BcBhai66Lc0jpyzFEK/4NRoFF+cso+ThI1HNgDMZbpFoCsJQtilLqk9nQPGX6RXGboCTf8hOOcHaKoTUKF81dro10jOa8Xb8mBGZAZ+Iyl7KGHMy03+9hVypQ0CSOko49FQs3yJAsapV1kKqVztniKxFQgMPMboUsobVlCvoalg0PVXAHvj7N7dxVjxQEO9XaqFNgABMlNtgsOuBwXeWna7LPO8xdEUDydGmCU0ryIm0Jo5oYOTJu/Dd2XM15kOO89gWGrH68gaY2H2NymzOLaQJzq2/CanMqcDKgTC1DDsu57jgdLQwmRqFIgy1JPa9kqB4+sXtg+wCHgxGeXU1qQ2HK+fddvKba8reigAk5z2o3asmCzmKVzooQvdDXPMBusp+xHKPlckUk+cKbp9cEFZ1ceydLS6aCtG858/lj0L0eAyvoO4+HpnjqQQlWak7miBOKM8ZLb/0KKtJ7kcZPqhWCfmn47CBJ/t9WP8uTXzD9JAOZTek1DMIZF8iysbL9b1k66SXQV7IzHwEcCPqWRV/uxp9vElMhQ9cTxdAkxGPeEE94sX9FDSLOkkUVSTYr/N86OvURcjcd1d90YntPlaaMfN2g27trtjrCZozFbSsQbBK0hvJmV78LJzotsPxgFQo//oWOvP/uLd44A9OxiDjmAKC49982m3KC6FMc31zvuzmxdMTGCes+7pCJBSPxHuuOkwOkVG+z2CpIdtyjtfqfd+003mfdB7MXjFMpIcOrJcgUIxcwf0ocWKZNT1af5V5Ha2LYXx17ZpzpfOH5rFTs5Ic6rsjPhp2LqPSrS6rVp41lx5k/8oWBNg2D0z3On+3Sv0p1r77dF+ns5Gc+rN73bO7rMTx0E0QU6yXIf6QdgjyZIUy4Edpw+/FyNhO13uMq+2OjV/Tzh1JwBv8bK8zuBy5y4RGhAiWeHZzpqQabpBle4YjPUecHE1rCBYLcwdImWdoCMj6BdoMIybEpkoobToMpIFrQ/6oyzkpJqaOFPci+0zur9n8yFYSRZM+7Qwyjni6GTwrUlu95AYTepCj8oiNul5NHvGfR10wqoUhz4W3n33m5LCzABPptdS4ROCr060b/NoDg+8nfpt3vVfmRra43mmwosf4nzRNgM1syp73zTo5vgVcIyWzJAyqmaANSd4i4rtYPaIWirTdz79f8yW070wE2zCOYpCZJNZPnKLnMRLXM8AObafs0ktyrCWbj49JHHnnlfLb3QzghCp/uzFvTYOMi0dU37ZtlKWNG/yIWKTmc75BNZ7WdtShNwzBnREGiocmWGnAsjUjO8EQ3yArjfIqmp1fuYBaVXs7ePuo27OQJKJ9U3Yz9IpKxz9CyXMNEt0KPnA7hBU+PmsbmvkCYHU5sXCglu2+lvYkw/yKiQKMPVyQgJB1tPL5J1KjDxbkbv96blZ2+a79u9dinDNkfGZlLxTS9K5RMnZBtcejZqE838ARsZbDwy/o3TgYmmJlDDyBbonkX+ED4hjq5I1z/8Fa0x0yOGwClHO+DjkBCipGj583fWn29Byg3tGnc3LqzRdUkQY0blivw++AZm7OkYVqcVkNkV84ec/9oF5Nf1nsuURIUbmBSgibFuwJdG9/lxhGnEgDrUQr4DzZ/GsvDMRnx2sAP9g5xo6Dz0WIlRB9UMwmC9241khwlvoJgqqIgsQ4IpzpD/YZKWI4ZGX20oKJmGr0MDf+DwW04jgghb+EKuVvZmCVcVmVgJZVIxWMS6BwWkypBYhv22bfHij9MKZo76Z+47esfO4CRkRi59zwkyLznj7ZaPw6nVirINGqHuikAb4ekDskSKv6XdEH6Tgn0TSHA5XCfzMxB2ToGTvYTuIm91NS42Rh+7uy8kWbRLOzNgOPYMyn3acCKou8Qu7Ys+Fi+6MBHS1FV7e/Mj9dpgwfbbDz4q1Vxk/K7zYOUk/Bd+7t6yPm5ZNH/a5r/cEbn3eNvCD0HfqweLkAeEXi4+CvtkPKE89DIO+LTbNpTztdCCJAZOL83iBAqoPNL7FtYXA/tLTphpWuz/YuUIyTFT4JuC6TA5sXyepGXFWPZn2MYY4ip7PqhEsDrEMJNwgEfVVf4UqCLwXaVp69nej//Ee+UFsJdZq2G+KPXBYk4cVtUMJs1eXon9rAqaGAqei/pX8YtaWZfGckIsb4trmr50P/YuWWBDso9nvwmKpqT1laVi9YW307nEKvMD+phiREnlNPG14Cp3E1ttfhKEQFmrn7EcAvbzN7qKfhTInLGaGOU6gd4okVSNkNmL9ECGJatxA/Q8g+0UEuXPoa1epNRzbrmgKZqiaPtvqkmMjh/rkXUxfMn0BpC45B1K9KLeiCm5LKRf2DyPxCPNvUKJ2PxvqmwMbtJ0QJV3FA0mSdUlPWR9eKTkIVWOQ7Kv+4Jy0h+dL8neov9HWXhPF36LAtuh5j8zdmGDqMzsBFEG8Yo+dDygDweGKLuSVN/I/OJtZ0Xbo34VR1nZo+kBN5XQwh5vAeWiuJMDmZ99fsRjoJEvZDJyCafn9INKK21wvHHzT0QEceOo4S4EoeuHOV5YnT1kZeNE/G/7OAS+7kBBNFtFlVGxOWK+TpfNqBQvG93FRUgcznXuJHfqiQqE3jFaIlCFj3fGUQ5yRbMG6FFzLfFFl4C8hAaMgDB8vFPbFU+0tyANFEqkEFe+gpstoo73LVIAFZsxOdCh6MzLfx1n9WL0+Ky1itJjfhlr8yEEpSROYvzeA7IKOCKXn6Q2Jwy0ZVHBoV1wemkKR0aCcVH8WhFz4AsKnbZ+pQjKjEUwwdqySx0PF+a/N62yBtEEjbfifFuHLrBAjcKbZaWaBPchaUJDikSIKSq9hASSd+c8MJQs3ycRWH/Ku+lcYQpfceW/CCsE9J1Ia1/BZ/kydA4wUhYHNuhDL2tp5LeZ3OlRIlHv+APgPauRGmKWX0ByHBVCisYhZFbV2xVZtGuTUo+15YIxQrKOjH5xofMTglGjwtp5rGkCOr9C97+hWQFcMtpAeOkUdDq2boFaLRy/MA9MG7zkfpRcrBSf4U/iobSN08B1W7r/PXlfEiK9lEqmP05u/ij/QRiRgrD20VsqimN1+47rhumT8FoS2VkGEnBOsGF2Fxht4Kynw5YaZzzb9/94+7gM1A7k4zYgv3i8BVBCupDc1O8XpGvTvycV/GOUiSw/WdRAXvJmDYtgRFoGcaChKW35zcGFSCi/mAFBYrbqqXvQFwCVMsgtnSZ4lrmI8AlnjUC5q70j2zncBo/JBTclSVxADr60du8eoylqOHKrkmFps/gTfZ+GJU+DhzsRWQ1dkgCn1UprjXuhrKbJKqegGofm2SxCrLETma9229YYqyYIqSmD96M7+6E8I2VJegITOUWAHHpJ8qaWpi20/gZCXph9N2hGPGj7xD9N85T/2ILAAEU/rGrbXkmGpkCYxOFk75WdgPOqM+L53XWznGM48tdgxdwThVKW3s36a/UUlZCeC2wMLTINtH9DGwCK6qfaMRGg1IHDBvsuF/uDJzaPeqkHrZgYDDIaci3mChRyvEWfib/v6vXUwfFkmtniplVEU4KrQKXNv6OGCjSe5b8fOIZvUuE5mFmcmq6a9IG3TBH3PwvzMmWmTY2DzojCMOJTbwggsHwGWMGlJ0AlfjFAO6ZU71AAYIwsnjGyf7lGTPdKIOZYV7B+wfrHx5Lm7nhUTpKQp5XnyN7emeoSs3d8xj5LGv3cqJPlZPnFFD1iRIJF+9IpZUsVxkktMoH//HY1ONad2T3YRL4INImnPA0cwPXo/AzKZwxzykM0aGp86prOT8FTfd4YZVavmUY/y44PmCVtcvf6tGX4Oex2N+ruiMvJZDrcJsJxyAV4aTRLnDwtcxu6lSKOnHIHTJbSYznSTo3qzf5/ICPVmPSh+tMOabHwzBzZMZJfaQlFkOgYUYau3sTq+MFAVxFUXYmCvU2VMiiXNS2TakpDM3ZhMJgRxPKSSd6akvEhxYeM1vlHtSSPMUub1Kx18C+yASDYejO9FeTWmu/esETPzmHWKcvaesq0YRV4C8IArnSDKimuQcLQkNkmfetKt7sRx4zvVnVNwyASem3ks7Pn0TwCfgLc+UAR0zfsuZmyfL6fcPdDa47mNWpq5fuSuk+rin1AJihEuxlqUg4Ks7XeXVd+Z7tXuVmLhpTJXCvuTRLwo1dMQ1e/PTYEL315Y8NHzATn4NzqmpWtHu7vDk1/GbTvndLCMhPrqjohz029neQqb6vr7TIZSB1Sd4Xqdaild8PBI/vDBKLEZXgrAhMXAApiDPh9ViQ8uGr++nMiDsII5QhHS+ubsCo+eqPCcI6lgI+GehiDAh3aQdmc8qDwYqdidwJNc+lixxccdNCU+ybxBEGPgBkpPc35WA3vdeQId624B7MXqcr8aEXqBKphZFygDGayj7PjIlZOrXAKHcSIkH9pw9gmaGu3dH7V82xg8QMIiVqdeHktCi35P+9yLgUV8fxjGkjgDSZ73R37IQZ4jkOzFupKq0MyAiYrL+zlLKaISxeVD/V5TWfReS2+yDNVZv60oZPuakC52LQXvmM4S9IgcIBd7Ws3WPCvigsr7Dlr5visXpiZISmn6xwjCt7p1ezeK+gYzAbOf6MY6qsjtCBGv9/mP/FuAnqKgZqxS1v+EtjYWRY1hC7AJLAwGr+kHTG8Sbolhnon22m+DRfVDpJnAKB9IlBJbCt3X/UfDfIKp1NZcQS4dr/1nFlfx9Sh74b8pTDrOG7swfpP+i7nLJSS217kiRXinusNahL1iZFdSgO0zX+Xd1B03KaJSJfkkYg6CBSO7Vnl7IuI4/UAimmNjc5OA7l3JystXO6vcIj2ZWJ+HVKkHfR0rcnqa37Eg4fuVbEmbM41KjCP/9gllVQjOy35YxerxZbXb6Lgu9EHfVZFNTqn7OqUH8MuGsQ51BHCNoRBbH35Txxlx0nbHBWAlogA9VjMzcKlgEpPJJIsuhwMd5crTQLHzrtOaBv2v600Ssu4M61jC4E2+W1Y7QdP22NkfF9I6eHiEVdEecqquTXwL6Xr/i3j2uDi+fdZ4xHkaL6sGG9T3dcbcrnlxICgKYaNIM48w+ug9ue8ql6Os9pmzxpwWLirZBU9X8x07cFcVXvwZIcNdoHBJrnlKWD2Bn/PLvBA/GZlLWUa1CbU0MripsKEAdKIr7lV42BUWv0VZzrw6BSzrxyhYk8IAz9YKguQY34/0IbD08PhRcBnAYcWVrCuow58B4ctZ4MDMAQCZwu+z141xlQMhYYDv3uNLYqDWvBm3/u4arGOs9z2dhQpkaq3K3NlLYm4Se44GXh1tDPbTUjkoAnNKp4/1+9u007B5QrYEb5JBP+DxM0FYqkAYyCMzQMZVKLzL+vrWMMccbn33fSYOQSk7JH67VWiRscsiIJaqT29ffuohRCtEEkV8+JgYZud+ovuuKz85Eq2z7WH3xD4oRLc7cafzSGypm0nYnczYV+BAmBKoA77jwbkt9dxw5c+T0iV9R8r4oqwDmQsxsy1gdTW3qP4GW9Npo+v6oFlJiBTqdjoSiVSC16riJlbBrdUBv6rs/RXI4jDABtlPAPOUVF6ooUJmix2a434wagGMlqRSvhXX3WzXyxLNtimDlPOV7ciIWWbyFatG8k0b+Fn5DGdcHBOn79w8uWObYGKZV9ECjiNeGliwuXIs/JWVljeD6rKLsHjm581v8hA2g/vGA1fYjc8E6YOkm8fyTxTATvygB0bLvrihFnnuMosSSRBpnRnKz6OOLHPuotA3otoYRK8jAXuHylvFvoobsxLdGbaQM++L9Ehl6prYbAcjsrwq4yozXOn4PxnBhpAe8yzhxhYmnQB9mi56p6yZM2HLmdr7OtHEdFBcgcNxHMmFxovBScn/D+Un5I8Q+LuxIo9FVDyv31Fwyh7btgjeCrtWcooSdMF7fjNdmFH33nztGayuH1VBF36MAdpY8aQ5F33hwguVHyQ9CgybuyToLqScrGDWc2Sc0mpTmXZrROKskJPw857VK6L0ZP3ak11fCdlLh6KpM5uk9FhogoOG342I+Vu+P4pniZSd8Dd+kpUntc+/e24CU1QkgzC9UmCAxWJ/xTNA0BAOw4mmFLtaHARy52gVuxZF774yYl558J0cPLswEOn8wsoz5JpDoYG1mz0ePcWiTIIaHdsyblL09VQ0zWnu26etUZk2gjpcAEmI6JhV8VUc6oJmtpatB5echF9dy6vOOz7JwHNs3LMnBkyfw+cmazFd4i7MsNWfcSuUgbzsb2PbZ1NTXEvrv0WUF19aHDMLR6gKoNOEqEHbL9ZTMMRlG4eelQCbUqiqymDP1rBkJLrnwBr5m5fyuvGHwa9bG/gAIpfcutcaHjn2M/KfFz3IOozNCOML3sOB6sLiagRbIkmwNXln3PJV/mBbO7jUp+2ZY+N316ZbTQivuRYr9oFDcV1WvxRIaD1h5uqlsNIgL0xAkBgYSabPvfOWqNQold5iECwGaDiD0rwdLd9YGnes4WQIN+wZ6FOrKrLxW6AtW0DUyCQ3N+xMtBFA+stYPsA0q2Uayf2vbn55eP1oSr5cSItazRLJF1T1zSFFaRl+v2owcLJgOncSjnQpVPXeL/m5UlSedvYjZYIbQi93g2HDYzfdYVAkT5+tThDRVGrpW+mwx8kc21/XiMJAD2o+jy6bRSpbPf58YsSsB4NkpKfSyFIIVNqgaDQGyQoK2Nad35aO9HIKklfC5J5dQhP3XIQDIDtdfRsAYfRht7x6z5YjjI/pdiPaBqq+N6SCqaDNpYWue6XZCV507Gwu7tblzTOZQUX4+t7BKfmyPYzzuKHiOdIDoOiMfgG+haCz+K0B3tHbwXDba1KiFv7lq15JmPFr+1Vxt7L+n6UZ1E0a9n1HzLAndbJXEdcaTIpF/HXTmDb7QVirN6pB7gE5ly4FaSiopajSCo8L6WVajVR9FTGK6CsldQRwTvr0ETulZYkIUNf11L/0hDo3PzRZEeXMZoN3x1PWqlTuNIElizUDl2FxZkzsYG737/OwyfZYOGE39/qKPNpd2+AwBwQvROo4BB8bbwBCn7WuLBuAKF9SiiZPBEodecZm5KVIaOBhbCTVnZHWl+bkBGgfTGpcDt+iy6kkOYWGcEpTPsKzkw9tWehu7KsnIHZbCQ/VtCzVKniE0Ef4QgSX+04jdUFZ+xQWMc6UOyUsZQHkKTzboQ591k3Jeg+rxconEvORBuUmCURTLQW00yFUnys1inaedYcFESQJJOwGXsqtmmnRoy0BW9D4UOH4wayLOdCyeP+Hc+UenCVAu/hur61Yy96W2zJmBy1BNz3kcZ9KW+SQz4ORFN1+CVO6RUZvIDGvHzmzbP2CgQCfY3FXbNTZS8fnV6L2Ll1RFdT996utwrRPJvRFjp+jD1p405PC8as3MnjYe6TrNACfAGc+WmI4bvXgU7uUTFWVIA3ATbb3fmWiPSlET29bbHzgNImFFuFay4b0XVz61AYJ9ma/4DEwvNHhKAcS+ocXDh7MivtMRuBSLLrtDqjqLz4uzt7XZWpsbY4ew6wZawcOSySikXNqtfcuSF27/vY51hQzkEQPdVSeMN1FcQkQpyLmrlsChc6JN5o/eI338nLYSFfRsJ3R3yFecitQPy45sxYg+Q3H5KXfSqvGYq9kyTTl7TGjh95wsLtVvSNz1WfjfKt5M71xMjUwrkmK7S8AEGfHvqYbQG1rzrzCKCBjzWMtknmmtgW3mzetU6bx8+HVG4ZW++W7uOtub9QdPOeSGYsrTQCQv/SZ90hT4yZ28r+X3o6aIPETH/42e8xipNk5/fi1SILWXtIBYZYw0j5m49F2nlZmE/s/NGahzXI9BuXIsCNelzNgM9XL4Zv+k2w6pR2+V2aw4UYFA3IENzgmQDbr805m2DEjPIry4w5nHSBKeZNAwZor9RROG/fpZ3IEF8D4l+2l8ogSvAGUuupCsD9Ms+7FsapIs+v3qkOZIoVzgK2TLHRIH5dz9UVR4KtRDoD0U/gmn2qLLI2YKXI61RdsHXlU0Vm+6jgqRDkTyU7fwnYNiWbg1V+ioZ8GbiAFSNfE3jO4NSRGHgSw6JcLXB3sL5Qk4wXZ1dVEK86ZswLETJWYgFxePfggGIljPQ7pNP2ui4jn9EggyqtZHg3fji9zkh1e7iQabIQ0pKAcHNqsGSC9WaAbpv8iG5nIyIwtVVD7yNPPVj+2a0i/JxJQhE4DvcLEcE1kTW//iu/B814ydNr8Y8E55gSPEA07/51lCN3RXHi5aHWwyBM+cj6Fp5DJHfsRS/yTk0JxTfW8yhEwzdR92jFimgT6pJl/P19ZPl1KskD2u6PNhmLzH6+DuYEjirpaxyWlkp9dZIMR5tKViD/2vST2iPgVGD0FwTkA9ehlNNkT1gjH2TeAfsUHHoWCoFKMYKbEJUbBFcJJWnrHG9uVKAa1dv/4WhXqWmA6UirLU+vXvmbO0SubflfEOS5XMb1+/zt2EG7cvaQlrI6VU9zwvbcsS1PMIFfx0+3qkhV4u4NrfjLd+JQYxvB0+iiTK7r1VNoRVktzAU51MwUWJHKX4bXjtvqAuJbPgyx5LuEOKUe/w0+twCObgfPSWPHUN1iKa45y0KTZdrDIPrUSdVa+tIatXlQBWw0t/PPDI1TyUKiWbZDnrrwR3ZcH2AE/s5dv2uAvQorPNM0/GPokyj+BzewvkUVwxn5vBo6CCGQQZOT3Za2kly8UX2S1tqqJzZyya+D4srQvwoV1gAOkiQiASdAIrhLJoyGHigt2p7Jrw37jNDOkRM4FEqdP1BJ2gsLA1VWnqORpVUorVkl5Q1scnYzDsauHMyK7ST/yDHauNJihBOdQrEGPXbEDlDlNkG599x4/IbOYi5ZW7qYLi8m9PvKXqFFyMRCSuwwRW8eAMdmqSlNsfR97T3OlIHDE+jv5HrbmHrlzT/yHprRrfBTd3RFFj6Sv7U6Mxa1ooFKnyvPC6egRfoJ8zWwe+NnJpopspjTHYgkz1SWyrKUapiZhILA0wMVuoF/4aB+BjiZ+n9KVAxhKoF+1JimBs1CmRe1JgeAaczAMk6pfM2cTx1RZ/d++3tfvl2VAEsLom4/wtBZJyokHQmeWH7VePXiw/uhbfR/Q4BlPxqP7ZK/bFE+i8VzM4gj+9noYoh6RlrtpzfXyC4OAubhOteUKC5X3hjkS1T0xeF6vz9jys23JKjukpCCT+nlqCVGMQ447vHJYJZaJddqT/5K3Jea96CkmGQ7st6b+gFahx7FXVHXBsCF1KbHdl2pe4RUnZ75s3cOHPYGqhXyUcTNnaycK9d7lcgXmhHqobOVuE0zOaTRGMj8fGgmDdxWHmkzB5NkmT3ew2JhcJFs638qJf7t3ffW6DuPLKzCyuwOc3r9aV9jiQuyUOw4hSyEslytR8NA0VdLyAheUB6MCxWlttj1HGlG28r5UB4lRLIxHThI8cVOfxtF0G7Mfv8gYrH4SS+XfCrU8n+OmonfvX7IQ4SszROSLc0tOkx5bOJbh+EZPMs4MzYOyemvO1q27/GXmZE27jEBP3JYRZPqLOzLmmZa+z4dlcOFfdsm/tZgZQJ2Gxk6aAyESZYGQpH21aSDKudK4jMl11nSQQO495htNe68rxnjuOJhkf4QP/BGExoUh/m4b2xQBcEQV6zjeND+M2l86zF2zIWIoHeFLfsB/mPwbD6ecy/JUOb5GO2QKDBPTcpQVYAlfD+HfE0m7uMMH40s3yhe8r0QQBE1yyQ7We+e5zPtIp6ZV+hfP3EOgDt0gkwf3hKsGDTfQ3euPdMmlfwrbxp2jFwqsxpJGKUIy0+amtGvazC2Q2l7eF2HCFOFKiiypw+clDKSnmAhVwVIhqsktzCW6GjMaqXc0/VctjzNEAk1HjFHUh8IxBd/vmIWg8bKgsbLOtJsULZujIKtobxx3Kw6P2X80g/xKdzSG43jcA07Bd2tBYd8in0B1KJG8n3tGao1LsT/Dhx3S7ilePqJ7Nw9avTaBt5Pj38QQG9lLja7x3tF4RZSBg0zRlCVKnHqb68YaYldmQagdEXRYMX/D9JewJEW/vfvnu1zqx7k826Paxl1WCgnEnrx6N6nJiV87CirWckTqKHnGJs9TKNPbgrDFYTATBeyWA68m2DS0yxrlxodvgtn1/c/q05w0ig1n/xKHNFhT4kQ6SpkjustlHdXT9GdWQaxDeTg209YjjU4kKtaD0c268aU+yGHs7X4VveFoU/2rNLk8zKP9Af507HktJsyPDbmkjmTWBvCgb99jssjVKgS6NHqZd0pVMGpG11VyL4tfIRE8fAbV0bVqOSGkIY+HbKPn3Cj2zdnVzYX9SUF/T327mMuA8Rx/T4LtEc6FX4HmqimA7cHqANKCCQ70sSDya943qlvUuXcG13Ez4qk01jy4nNxUWFeVa6q71P7L+yGfZxJbWljvh9VfMaW7FAtU0toqTPjSzrPVQH+ag6ejQtSlsooarNxNpXyIZ0gWhq7P0d+MdhfhIuxRtDm+0JHPJA1JnZ8VLStAr+X7n9Rhs3ilDgmhXG3efdfZ4Atuck1ZHT9rWDRPU9TkFfpGI6ejypXrJoH480oqwznOqK9Zs5UFO8nCmA6P3D46O47xUoQy2WuWA52oGqfgOdJePUBsG/BaoliTcd/CtTgLi8O8SXAtq1E9+FGopwqnBwz5j8ErrREWmoDEWlRUw/C0irYim0V03hrLJWjpdMrd0cGwV9vCJlOi6qhXGqhyRZDcWHOOvlsK0ILzJz8rIkjOnyxvnNXXSYyTrbjWNN/DdeAADskGqN1lHjralL1p2AKmWAcuIbvitFvQfByWIgQaoaHgH/XYviJJ41yaf3tklLE1oSqNc/O2auFb7HpztFAs5hNLtABlXDH6+uiB9zDkXv8XA872qkHtWjg9HuBxUtSoNGZqvBBBusOd823CydHguen6c2yxE1GzvGsFjW35kKpgl3OW1PgjPx7iYVeH+kfpDj4Aqw/PAPzfAqFyTD3MeSF5h9fWnqaabf4QwZh0WFcN96J5spBTlnTQ7WzRwusimR63BkppJs8Qmzsxl9T8hDgu2h4UvcvZfKAWywJJCs0uxToXKbzXzed22VXoN/oKQPxfX841W7HzrKU9pYY9W1lYlv5FyOJFtMYBgkJe3koPtP1d2Hdk5rvN29djGPzsZzNPFCeFlJPq8Sa9dM978rdA3KqDBuoCjBYtMySYihISJebkfOm8Pm7yJSJd5w2Ulamnf00TZkOenLeqsKr1xbtViStLIFx1J9wfnDuTaifAsGtAsJx4CvreaKDmACSIq3be/WzpgW9NUPblIGVQPkDdLs0B8McahmXKDM0eiLjUmLWy/gO6+886KhztcZ/57vwp0D8J5BTtw8VUlXogbs/ElCfcd74YGA2Tj/cErdhVXaXIZqisFlCe6h8doxNA3SRyNnBukZTCf4PPzDaPgf78zhLhoo+JhWhwxFQiTPI6N0n7pD5UYT+scjW42UjC8uCsirJsvrGKcKRlaVa13Si3CKul1DLTvaIPtOhNNhip43DRwWMRxJwN+ehICeWQu7wRsicX5p2ov95pP9wY2AqxcRNjKPFCeobSG1C8HqfozoMvsTk0Aa4KSltnWEC0/r4e/oaQYad5o7Smtu1l3DUwxmgBTLCqyk6jyRAP1GMZ6+e+yll/oAaEsvQjzqE5zisipjtyMz8JFg227a8ntO5mTvUremxNoIa1w3XJJMz/csObmelbahQyroxdsF9GAKdrIf5OqJk8EEewglmeO6AcgK+dHP1GdrYwvZfScmsTdBWBhqtA/texGI4kYAx3YplhBo3KbxbPgm/qdJDS/1QfqZ2CRw7EcthfpOLT6B2P+EBk/FFCE+0w5t10y6pQY9mkG16Q1tEARxvq+r2tY2rOBiGg56DPQI5uxRHq/arhezHSFtanOEjMQwbUCrzwcoCe/eLAqn/ffBCDsXM8YSQkdPjkRE2cAR/zipvmTLRStze5iJh3yK6OxHq/ZuqyKa3kH6S0m7Gm3X03ZyNExEpqTplEgG8rBdy8olrG2iPoC0TeGJS2sxDX7ZS4qiUAi/ZQBZY6qNfPUZcbyjPdk3VE2K01HPMnSXVqqt6ExEvKAtRYSvVLWt/FaVFjbVu2aYQZ5jvysM3F4Q5XfKmNbRtJfdqrK5ruyNlRo2h/va2RBynnSIV/QIB7/Bso4s+LlJDGmVvl5yPQ4w/Lk2LUQM6MFjIl8tbnLOUTF8MZ/8NwSDbRxb+pIQWkXJFmHlgprfdrezfH/SXKkTyrgL8mg0TkRje9fIThssdk3dOXZNvBewXzh71LJi4tMA//fQDNUcZGbqqZkch3q1MJvACTF5EPcuQ7oKPRlb/Ank5fDJGbgCkvBqkOkLpRNxfTH8H1pJmWdrJckip+/QINQC4RGzEfI5WJUblb4S7qTaywhywa8JVmLKH5kHgkXsyxpFQO9S7HjsFl0XNwwwpc+2pTE3ftNXqJe0yaWZ3yd581IXod1Sc/vfMhJfjIbPCih35D0fKGzhauskwUx+1IR48Xe6BnB907aA4vfP+EXy1PXB62qxq2qiu6sHLIMn+jr3oP4Nrlx6DEPq0Rwdqsqoqz9e6VWbPkkrYe0rG30FVonvmnFBWoK8jpatdFvk0i80wkU6NBgVbYSycoX/1HVr9tyuh2wopE401RQb1dlkK7dJSGeEBnTKKwrjaEOkHH5gDvjuAxAdUlVW2sMp9JPlojarJS9lpnwsMVEjHLGYtYtPERehCRuTedOnXF5OCjUsb02/uxMLvntHwZw64vhvX0AVwmNZn+vCL60Nz/OEVckCbiedjSHfni8esbNH9vZlNZhGyJ6bMlfA24JXy+fw9+LbgIA6UHf1ci0z6G76MYZe+wZevGgUWZt+j+U0ModOAv0PU8GTAyxezCIxO/5Ht46CzEjmcpgBPcMrjmazgTmVhfyf/HXhyygxjvjZmzVrNoR/F7xbXYY+GatXSc9IzPn4A2YEfdCHihoHwPAZt9R98q+qQLN82Zy/LtjGdcbZM85nBAQ86VHPacOthkfzMbJEog4jsV4/I1m41r3EyZoNOK2xz/ggePPbvNnjG5m9BCn65L/eUmtOnP/mqpe8k025ubjNDt3n1iqxxYRoGXEfE2dcNe6eF4roH0DikeVTMuA225a1h80T8Sfu8jthskWB+jVC34yr+SaX1oveRLYlshqvLJcvZkozeR3P8emmEGfQoLoIIEDCuVThnO1QDZG7CM5PkR+HIWauAtADgLSbHFRSyWsMnj+73v5RB2Q/oimEs7EaS71YnTYGtm32G9n+LLLZS5B3fGCGoV+36hLX69u5Dp1Cs2e/gGSnf4ocggIJT+p5EOavQbMBX/tIKqi65HmyA4sKzQy1o+OeKsNOy4Qux7aG4SRa16ABtwMOMzyI3EvDCSzTROKul5VDrEzDZEk0yG9IqCY1FotvWFEFaLlv+6u2ZyeeCxvY07JYzC21gaFhMbKJZ+RIPiT1xyT8LlU9oYaGWCE0TUp7gpk3oUSWWwIwB7/mp7qcbhHR9nQk9aKW4OPzjZ89LHOcRKO9DmiGgY2CWcj+8c7jb2Tp5VXh/lLTg1Q+1VytRzrxlw+ypnHoxjMWU5Xogs9VX6oFDiot7xI7ZoSiYh57jRqVtsZ5eT5IeULeBiewCX9UWstKiKIbRDB8GHW6xMjGMeTDr+mAwgPsnvtMYiry07ujzAeDnoKZFVm7FCB/l4Fd5oLh3ArO7JozCTb4DLqNK8YdgWiDRR/YrENfSDECArqildn6g8/sSey1fng2vqI+vw91CxIpQTlrUD909Now8vcfwKGZ1OvpBbVP6hGJ3U39HEZmCKXcYy1EENyRCLW0muBxy31UpERfOX1wFYnezLbzrySupBUKqkq+b6X9h78M8KhgMYsTZI0kOcSwiLootJxZ4UWXm5kANn0DOkxjf3gpy29uxqDVILlvFOl+H1Ml4H8FW9w0m7VNJoQRZCA7z/ss8VMasKTIBC5Ucyb9NyHIF7WxQ4Jc4DrmRyb60JBj1Cn4mokIIUaUctbY9imIiM/O5r3qyR835dqkzcyjl1MyOTH7+feWdjAU/wA1Minx3ES3I28Bk3KL+kqFJQmEqYqWd6HbzW5FmeZSwj+C5VxCmhUJTyTbVILshH6qNTxMcCOeTs8Layjf0DbSmEYEpWn38qzYlRrWlXLnZTbHLpSuFBXlO1+XitERrFZCJhRS+x0EDqGdcImgOdqYk39rcwLhUsaNewQfylm5baQm2xbm1ZGWPHU/o1j5lFS8wJIgXeC/l4Z04QXnLwBNMzddbg4eGGDICVYXLf+g9/i2vMb+2iGzHF9M/0e1YZLWIbvjA7yIH49wMbhPQrUg1Reriw2By4xvoBbScnTICQyOSXRcv9waHNgZkNMSnZfkiun4vWN5M4i/RzGaqI3hqEMRbc+GlyONDKTTHQOPeYyBPxFShf3rf/+yu6E6juR1n11F1QgNWTiFHAAEvDLSUIk8+/+zC6/AQw7M9HHMkRLzXGJIO6tCbPVSjc1e3H2pVzDGxAe5Kba2U5yL8MISBnf8gL9jLWtitmUgNnEip6WhYm2tvcyliNiQcMKdSzCmY6k9VlanH5AyML/m7yZmtm3TLJ48ny6GvtXB+N5WeXI7GQlPCzIgCspb5Ujwla0VQBuCv7wz/w92Mee5RXZjDACenSE+R36sEdXvSpcWNbHZRHk3MhbjnyG4/TzrbeMU4Ap8DqE68TMzWPfesfw6IFoIecuICeKx3CPq7cdguUtc+36hFAjebelryZosuGbBjB+w3EIt0nbIRlrqf6LQhwjzjSewEG86VNvhMP8mklElqxK840YejkNCshPQDcH3KK1i0xyk5Z9r4i85GomtwgZ3PEt8eV31XLqEUSQ4jxhdrSH8uwUbmwyhDBy6IUKtPAo/53bOdcIXgc/Jm4CUQVpldacHV2P5oXhAMpbYObr6CDwxnXwrY/SLP7aYghqEeiQsTRWwyE0n2BKWISOJJ0Q34BJtxeqn2RS622rX4Hh5Wf5o2EHqqGjQDobpNjGve6Smlqv1WdOEEEqtNGC++nqmvTEAFlZQlX9bEke7h2E6VQ+tAe57GJOR6fqa/kyZwL/vL1MIWphFIHb2WegYhnOgnXKC/ui8oVEGeFaCrqMuOC3mgZOFdigWsz1R3uLJ/y/1lj8TU5WDAGuOAAEGima47zuyCgHuv3lxcyurJZEfSi+uF798oEz3srKR2RSr2n10rE2syIBWP/redKr2gAK6nZp4L90QbWfLQVWHcoUQ8eMHYpRgMBXaTRfNnB6pmlbS6nl2IQUOnlnSJMC/+I8Tmfia9UGIbVpd2o0VXddWssBoaei1dMcugQi6tnTF4ZgG0aXWFzbSlVn6ykhMxJBR1+/q+Kkh7XCtrGXFAei46H50X8vuCWPl9QADoMtFhzOZ4GB9J4wm8FJcBvfdru1RDklkDzavAph8kVv6omagvvS4TpMxLTA+yrxwxHI2zOxG4SKZNjUnT1qmBn/Tf514VJ0ZMwhT3kq1ij+5n3soaIZ8kgkpZGRTSXojDCeeEyurSV8lMcQXh82+2QY0ksB21lpfb7Td3Sz2ftKPlDZAUNni2w7Eb7huxyjHznh2pZTDyHK6xh92GjxBhfCvMWG1UnONe0BKUkMikU+Cqk+RJkj/64eJjJ+kFcABXZt/G+iNHgByunz/ppNT6n1N+CEYcgC9B1mDoRl+jyl/GgHMWnjF2+Vbm5XHNdSxN2MDO7C9CLe8vDfvPoahVUD1jpLZXWj1cQdkumnk+2q6tap1FlzXibYWm1yA0pRkc7e++veQErT4iDLbvSF+m+e43JpnXW4Mag0H9yioNC13g0cJS3bT7uPTPAkdJux4xC3FegLfXTUP24fdfbiOZklNAUCh5rcVUJJsapGrgIiU9/rqvCE2iwqnbv5yBNmg53rVABZOAklSEiFdU9qmWqkWwZ5W+5DHKOeM0cltn2oFfcl92ZxKza4/4hUetum1/snlPVVgAZrEnCthMblD6VPmq8I36Ianv3fth+n0gErkABJHX+IixxT0z8HxORE5NlAxh/Z3htEdZQRxjZa2ugxywGE0/s7xg/Of4XF+XJi7YihHnjrtuao6SxBcDMnyamFmrPVTND8YFFR+mT2/0b7ytYYfF/qoKevibCKQ2mg8kuhlHt2PQStmKSNk6ikugwgx/OZypzi2v24dcAmM2P0nWkgJwlZceUGpUJtCieY91NVLWlJXVKM4icwrZ6PmUnzu4RZIfxoypOqdpbLJJ1WmhMgs7goJ7k8JPrYL+xJOLzZejh6f2BUROP5oGdNRLly76BacZI8RILohc44j9kSigLfWGkamiwoU9biFYy9LN9bDYV1kF/YzGp8C6GRnTrSfsUolB+hIqoFm7DTMf4UxLs2n7ptaeDYM3lvSmdpYLFGVS/IggSyPrLlhBRfWuSvfTUcm5JTxyjhPHvxsk9I195d3m8bZT4CYIINsfSOXXHOqcqdXLGGhrmKQU5Hs7Fk6gzAyZ/AZOSuSoZG9EvJiXK/rPYTPaSSTOhnYT9l8LbPyq7t+lzWleGQ4k4zreWJFAYTJLDRKVeHy2QzBX/Vr7dq+YPxElDfdPXISkmu9D86nfSwu2ytqO90OuoyXMPh3jQsc+LUDdLz8Cy98Q0qhqnd+C3P3iOJCDYWpl8MsM+EXA5TZ1AyTBgFXeMIZQGCJKbS5tG8HvM/5XyGsIKJ1EMIHa4UlnwZ5ky6B3YX+o9ku3wOyQ5CUPx+T8WJFKJ14aXu/+/J+Yyt1+/C3xyhw4M6UdgRDjQCzt2tY5QwWZGX9DttYTYi8nCVOWE3Iq4/oNBkg5VbCuuBbXpMqgyE+9A4PuebYVN4n2XBRIv4wgv65kD6KJd0jog27tFlFd/WsirvNoN4gsNdkwrcvblUoJgD3EHgMlbII0spweiEtwfWJelJSJ3IQlEaWV5fhCL1/fW303JbEqOrwh/gd3IKHFsKtMq/E0zygxWgU8eFsDycvuEwJ0rI8Px/UiZ5tThsT7WgLTbCoZlAF0jw4eBE5X08g+q46SJqydOtvV4HFMzI47A7YEADusbn8EqNDnr4iTHDD/0XH61yoqO/QxFr1ASwprXmB+lDGbr8QDyTZBqzzvlMc0tBipgKzRlp8dEIgqZ2QtqyjoyCVI0ThdDtOmCaBDeGuN0BGQ6nsWYwPUYuHRXmRTCxyBV6NFwPT6PDd0I07sVLGshHjl5yr30lJ2nb2yZtefkto63mcytnNmEXsF8uXVrKQxtGks0F2opi1fA9Vw5MD/j5FI72mbzXXs3tfIIelK7eblrCFlFR5721VACm7tUdJ1xP9vq1tr7Sx7anwvuUkFmfgONmwT4Y+QbKWWgbjXqUFOapopIvKfezVcqYe6T4x4h9/xva9FT6e4wKeIw/r0cWi4QHLMusRndAKBtSvw5cAcT/nkyioOL0od9sXIOyxZpz1nB8wc4x/EP3n15WA87blqDVPUuQVaiHQ2XuDAgD7ssesecnspeNG8ib79YLFc0K2Ozlf+k8YYkMpyjauQun7cpMDU7PdBB5izNMVxHwa/z+3/KKeWwDLKzoH0eCYGlQsl4OxZBZLBIyHK/RogzUNTJLj4Fo3wEYS6GHhPjOcsh1rrNiik+fv/Kg8bNCGq5m5d6vY1RPbOopAhAWXi8Ekn487zpyAhVHEtTLNaiijYqwso1gdFRM9FYhLvclN3Ds+juotz6wfWKb72WgtmbH88TT08tgFSUh+5XZDZ7UecXnaTKxvQmrVqt73V2VDDOvtx9Q8QHLJyNwcFFw3ivvIprZc33USQfm2sMqGg1oNfK0vk+6zBVvKlMN4Vzx+c2Wue7Vym+Y/gjgs2J/6AkRX7LoPY78oEadUshGtd5xdOxG2rpZUblHV9xsZIpTo/ZIdJUFDcglFx4dUWHBmN7oLtcSTBB+jTXjGma7MCDIDe6Xg/wslwYozuvut9EMuWu5IsL22S5Y96NZ43OAPa39W5ghKUFlSeZbyH8oUngKC/ivDcRkrVqOHYPkeFUD4Se/YZh20MGTdPfxGYDaoltQuO0VcnVYGIHzflKDGYO5WeERlqnj5+w+wY3FY7ME6vNz7DtZzzNTwfyZ5c95fkPLmkGz8IUYQvcIYr5C7UbARm6qh3ZM+NIovdYWw9qLFEbSr8lbQeMV1PYFaXlWuXTxfR0UX8XQtEiWUYeZ8ZUGWJX4B9eh/Di2+/GnCzKe4pzFdJPmd05ZNl6LhG0WRSSHMPScf8Fhd2JfAAiRo8QQkPSGWX7jgBLEo8MM5XPgz9J7V0wZYEmlAq63w5C61dfMrEx0CdbmtBEdIaRK9hV+eRHoi8jKZpKWF1TKW7+L6RqSvgP3B/Y0FgjOUYahcjVatJ1zAT25PW4kAP84uFZ0OtEwpV5d0K3WQau/ZOc2XMcSDt/vDLnjPf0CtbxmRZXJMHMPPOJikb8E83o2tkH46SiyOWHquu+Ot39UgyhXSFlt/JUKe0baex+mou44oHHdauPOHo+TsuIfTqaPyQ8rUY8zwQnIHzVgWPCAxoGu/tjlSHHQnngpx+aG82xlN+0yidfuExU+1sjisylTImkKCwh4A46RBLs1EHygTc9d7JhlqfSq619581S8Z6R0D1nh+Kv9gEqifPFWpaTFyEqZ/qPblyhhZD3rPAOq2at5TgOR6THeD/0jutlw6uuVjEUqDz/sN8lxovTv7RrLO5AjssVW+e5SjnRGQqbObVDfK7dQpqsxOD69t4hbbwkZS/dKJisSzpVo83vKW/2Egc6u3o04DH4ECch74fjn+fWQo8iA2cVYbcPNxsWo2lJaetzNipquCJEYtbSay8d3nzdeiniixG77P2PqVC/8qnTXC/IwHP6EoAlhOMbm27h1uOidFxZvD/fZAQb9VWHtae/9GwcL0TO9Zg/5Ro6V3gKrxivMSHJWcB1Q+wpvE7KuK5cP3z4GcRr4kw5N5BrimHkF1MFcyLHdbk9j89lUC7lemIegcQNFQmnsHK44dWQa3PJQUABuweE13PzRrtJ6EMhsZAp66U497ILtTQNSKJSiUnAV5t3xZm/ODig/bS8l5YbbEfcJo6G+iuAq6w7obV00a0yJ+eZrF6d7lFDzhiaURfCxawliKRK4jlsJGukkUtu1HSgPksyjIddbZSv8sA1ZGKpEuQYqSrvPmE2Xzyy7Oe4rCiTdlMeg8DnCI4GTL63tDn8pRunaSMrL6j4gw8Zo+ZoPboDdysErRZWPVnjwF1ibhspNdYSMimG319C9Op8oO7Q9wzRO8bgMeUKXfFQf4jvRuJ4LIacyvEhY6TSiHEbwuu9BcVKldIQMttcPVKoP8H3kX69HRHga/Z/7JqGUtwkxlXONHUr26XmPRYPeVfLN55C1qTPV0A10AF0k8lP11loEeII5MmkpzIw7/Y6ycnYLmk4HADg6n+fBsvrDvNyke6BkowHl55lnw7NxGKlpYzjk+M6flCSMcAVk7Vt9lXOs+PdfXbeGv7Apoo9+NGzGeTOOnTDnSiTVhwDRi/OVhjlvlbY2h+GmaNggySRWUZTp7FyR5BtGL1RWRZAx4lIFVmQNkZubPH4MkMARfW3b7y9jZ0QvyFeefqMRyASKEsvFV4QkT6uyge7EA5vQRhLnTarLco6wy1fbHtS981T+oxZxiT7+m5tjeSl7kUCZ4EHdK2zotvhPl3t9IiWbGOE0B2tGJIOFBN/rBlSLigEn8LRSLCUeueIHxQXQnp+PHLHexFPu/QM2N+ESRykIzXAmCdwMNnyYyVC2FWqSdnA5VGqKAVIg5VTImYwHWIZmKmlje6uCiRmJ30d46xyfSf0B/mXkjmJR59dJ3EZmunB9kImFiawetGS5T4Aoqcv8Ae0d4bxH99j9fPWyOJWisC3H8NSn4ySj8+rOOn14lH3GRP+DJnK50YD3x14KoB2kilL1TXZEcuJm8d/2whMEMggzZkI9SDH/V/nTN6aomrtK0Sd+FY/hLvLH9hLeDy5utIuvJr4CKMZbfcmTgAH2MdlJtkpLaD5rxX4efGiewt46Sa1xGaQ8cW1mic+KaVqKDPJ/PBAzHd2F0pkYFzx7usrYnrG09zWA9e+PIkys3ytL+ZTis7VeHew9eyOC3bbbkHqIWtRSGfN3hbCp9gMx2crgQNxFtERlWRkSYx+zHbiVBmJtD8fc5QeF4qyIc4ztcKEyAVNkiW77AakJUgnLaWdseM5NibFq7Lbf6GXSn7njGz9o84fdMUjb4bAlR4/VlEYpHA5UEoKthimRfiXOdOK8V/FBZ0lxdk48IB6aVe9e+F6uOpcg2NckEkD4wvuN1LIYfv0dA7RKaDFdzzzsDqpzPSy5Kf34lw5ZE2m1FbSdqv9MRHIZYHBcItlTfz0a3zaLrVArOYDjx/LLmyt9puCELHsjYvBN2GudU3NxtWLiGwUTDtISHc7+wTukn4cdiYPwNj6fH4WuaD5giqzC1tQx7BwhJeqoASvrQxF1fpNJdeJh0MwOy7wyMkjwi+Fcr/UJojV6SFPjT8fIlC6PidTD4qyUSvCy9AN+VJ8+OcHkpIrfdLySC30C079fqay9SdtVuTDtVek8Refe+R46NQ5sQye57WzkJtzQitOe/fPrDXz3TjN3NXorgs/kIOGO0AxySwZREjHWeXvhe9KNwMFzNPjDFUwscLm4qNx2+/HweFDz7F+POl8EZ9Wx7mloZWfvRbrEDkGRcS9K69DnI/WuqUekpHQrH0X1oOGb5gSfbVGfSmXUZROykHGXG/8MJmabe1DDi3wGXT8wkEvc3QK3sApkirWT91x3z1/tsV7oRu0I7bxM2oMpOWBKUZ8vuQr6xHFo6bzy2MJq6JOHCcWTaySvbmvqUKHyoZdOuiTsOAdAh0IX3+eNG1BvQHNMPtyyRBT+CqEGyCrccAs8yRZsHe0oklOY2mZdu3+AHLB7oEKx20tU1k18RR35Ir/WVZABBbumENxIKfaN2e5vl+PvxB0lVtXkOQdajJJrXfc9YB2un4qNNz7qjCafhtDUgXNB/cv/AIbYm5GcYG0jl+zKBo7M8g3SKQ6s8Te2w39+pRqYJ7RqA2XctEyhy9G5hmN4s34vDjX6BJRKa5whjqy+ZFaei/kRE1e0bqLO0+jReitk473SYup5uE/4SHrrnrktQGRyVyGUV8NfYFbchqg0M02TmBXDXa3a5+8zAx1//5dL9wOzDSyjYXAnjaS28jL/2kMIspd9eFrNhr/6zv66sOtzUy+F1dkxr0qrJ9Nh6YNaf9ZhyeCjdHRceKlvnexn0g/CyBtWOtImBodUwEJftgEQh1BQryQjOvYef0E8b8uGejDd8dyYJbo9pggWGM56IUcRF1NWUs/tHKNKKk5ogW4BUMIXly5+znlpFxbyVLjYqzKcdLpcKBMLWIu7qsNovKYaxIJo6SI62qZa/hLHw90q7f9yBEZECu93j7E5pBtN1txTJQ9s/WDp9kmp+L8xLjbuwc1sO/FoG2GjXOUK11Z2jfQHILC1IJyhgPIjYiasJQbOQNvLrAHyB2jhy55J6f8l4nfCOWK2kF9bkTkZYXNUxDvk3aMJ7oxKzUFcl3PrA68QL2eWM9X5PkMJMOT5hrULk/L4i9enMXWUYNSweu7no2f7ifqh22APsqjDcWx6/avIuQj8PehXZ8gPy0udGbI4POyv87Svmjyf/0R0Hu5YCnmEB6kjHpcKPqnRYaIt3Z7/F0dPnbJKTjv3LbO3FLP89EeAriIgeRWH0zcVplNnxJkBZ4JzidAvAq9TT7f1boPNBcQfmTOMI+Vinc8PmyMWyr1QMiEf2dWcMRIvkxdjk5Cm2RGi/cctbECoQmhXj08x20HrC14w1AnFwkmOE/6AhFUNh6F8cxjVJ5x1ojlVeJV5KkNGCKHefX+eajZaC6+4T9iAzuOVXWkDkaXpUlhl8gm5zRgsbNtapK4tYs2IcE20fUvkJSVopLcvsZGsa9fmD1hOHHfHQ6PfQ01MFfGzbwkgkqsUjWPdaVKYP5kzjTdQV12xTX8eUVpYRieVd1vRHdhyb0q0kby4+JoHC13/eDc6SqpPp7+5ZvoCBnH5sg/xwFZdSTEyk+P6navBtys0t9erWsuQ4Wr9teTQnhJNrGO5pQHmmVbETv06WU4oiGRwELUe0sJ0VYylURblNqu07H15uLVDEDtpUBJrJGqth3HuK8//YC35h32TT7Gn+fbV7M76/BWQCwMOSID7GuSRgHABKztkRJhOVMoZygkDr/j1QHA2WdBcDngrAdGamgiGZt77tKRtfOejM/zh0Lu6qA7O2jfwms632y9+41TV2e2d3VJqdqwZ2DGULAsnMvVE/mMiNs+pD5lcZlkjqRmsJK1m9Y0Ik3v4lsHU+akl2GcJQDNTCBVkXvKBdxhmtcpLhTwFUbH3Owj72sFgWvBkfEJG3Yg9V107gqblfel9/A6MLILlJuw0sm5GUxoWkVPnqGgEfPz5a+qvC0Oa+xhp1/shYRf0yGV/8j3xBs9+qvAWyZejIt1/r7+TRUbOAcnS6Uc0Cw3/yc7dJD0CJcghsbQCg/Th5kFnqH0rAz+vq9Y/Gap6mRdjnvGQJN2XVBOFrbhKTzIHHb6JnfdEa9KztICO21mb4/bxKWPdeab7To5MDT+lqUa6YJToM8m26j+7Av1eUMCFusey7ChEMH5B3ogbTDi4PSipqGbiCNbyd3LJnItHdCZ0fwWf6KBUxH7qrPgH4jOosCi8lt592Ko93L3pLlTQWVT72+J/ZI3rCXPnq2D09cUKhm5HrfwFu87238MkhC3Vd13ujUzRhE9+OQaqPIeY5+UGA6dBarkthLJwXWixP3cEWesVrG+7Pu03GVuD28ltv4jZsEKh5TGKw/7JG20pYpJTPgW9YgsQV4UR1AQwiKDW1phiRernCy3eC/ZUpyKx4zitTZgv6JPHYhlYIxdGWodjvlJIccEKcB4nDmkhC/gGOLvDeh5RDuzJzhKwvWEDYQ2Ik0mJKR1jFRlp8hxz410fv3Rs9xYM1ZVAwhmQRrc+n439isBhV4wPbE1Abjbi5EU3EewllZIxuOQEhmIeGwFlMQxlmiLeT1GK2sYERM01XoOpMZRcxjgpIJSrcE/TJ9TnQ8HFBmlucC/QY5F1vkP+oNeiNE/ghDUImWHlcjd/2nsMZSs3JKUtow+fbwkGt0thEBX4WkuJePZ+Cl6Ucvjs9Xy5AT17hATKv8XiX2POlh+9ujoMlsAdtsI1tfh1EyUdtAD5r0HdteyoaBooorLIGDOY6gvO2oFTFY/etnDAHzNSHYoDmiQca36q+L91dQBTwwdxnej5sprRAbJkfjzAYeQnproP11gB0oQWZc5OlXYQKfsgWQ8PQGS258PNs0eMe+7rcCv+62xhuyGv4L/wTszrJ17aokdQjv4NfZmBwek7gYZcBDrnJxGub9AUNi3/3J8cix1md84iada2f0llyENibe0HP5b3Z+BtVpnCyxrDXLGwpMSUOL9l9QMdM3cJnAQ/iAyENC9jVcv/rRsN9lUiBsY62JLvzGc4Ae+LptUNdNn+6ODBs6MEphDmDyV6Ksmg011ouv0mFjMejdOyapvvexD3cANPwhaszMNOVcIccycBAjzSpV9jfauer5SQUHwvnuFuTNZBa+PN+VhD7TEZU0KeGvscpb4BrJEyRT3epYInJbldJXGOntIzVb3ZMHFFAnLjVu1RPp4BaIBD4GnZxyHfTWmxvkEDTe5lXeli3ysZHIVSSh4nclyQDsLR9njS2zHppxob/6KoNoWppmxVTiyaTyrFvG8BcAZdPP2NDbWlr9+3GRLwizd2sAhAPeLapVGv0eweC1+FoH8ezphcY4AEo0Vrukd/vhVZ6LJtd4kv/qav49FYBSSr/ZhFIAYrghBp8PF+Zct6BoxBDYzUULj0knNclAuep3LUW+6Mb29Dc6wF9WznTj21N3nTg4CYIXomTCVvZ/1A7r9OgaZoNaFWIGmfeNkxpXFS7yLl+audbxfKnLKDPsajMBB3OuirVNetjONbLGGrYaIzp0vypScZhqLl1jyrpTVbCVO9sVh4Thgz/9vnhScWmgu4sjGmAiDw3Vy/r/kumMpd7Xs34H94PfXbbjbnzWSV5btJUFq5HYeybbbVDg9Pgg1YKZLPLzGkD1lYGcrgradcpu+Z9bGtLW/mnCSMiCC6r1v2YV4L0nWJMcB12d7e9Pp1OlB/9PmMW+M9930rnCT8VU2kMvRbAuO2tx1or7ujTs3O8efvG9OK4EkXnFipRYVw2ftkqG7/RNKbYqjJ4qyPHPlOxmcvHxaZQ+edOwXtMeQ60tXZU0rquM1kzoUkePdjCeokBbN5kZvXj7O97nUPrZJ4INbOiXGO6QOJ5ynlBsl/0pyOzTvPmKKUNjwGKxxN3xqTI5MRe1RT0hf5km08YUxJuoJJhbmUV1GB8Kv5mRWafnBH6OjY+/f9vkr+EEE+CAgbMhXXuWzI8dcoZXK5191dIPgq98b31A5ABc6oqc72nhN0cjnup/OUjvXZ/TUIv2Z0mV4EEw/Ne3QxQpHg0PkTVqV5VqHQX3jm3Wyyy7+y1b54lprzbEcXfobf9Mi2XN1p4YAIkekzeO/TBgdry+ywnU0jY6Tl9AFepD8+a35oppswRts75Xw49liybYd5joMBgPDLOwwfXZU8d9EZzt87fFA09kqRdLiO0oaWhGJbV9NapPvLo4g06Ck+Ccz66Vs1jnB8pRqOjf5o4xnU1rihBNtzMH1OOq6lfsWUbLSux6gLH3vFYYvLxu0JL1D6uAILB0OfFGQMIzLaiLvDQrHZP/0BF5DRpkfeRIqrABuYX7i1oCMQHJN3qFuHe3XNd4J6zjdFoqEgvmpyIsIifN+sldUnveOLdU2VHszccrc9bvKSiVEjfaPJnGGOSfViuswFA8jU3r4Ol6lMioWEWIsynfK/UHQFk1kiHH4UrGADJquMp0iooPzxoLM3f1BrVcMflxnKBfcy72p6gLfZw63bGSlSUoo/irFiGaMpqcyq4AzbNuIHAgPJuhx6x3oVsQYs6Y4jeLpdJZOtofQacBsdr1ez8A1KGxTOOPCOru2Z8uTnRoW5l3QpuB+Iv1YQJ0yfnvSXKVX7bpuo/oQ+fHjSYYRHHDsbfxqTY4zJOu0O5iOxK6ERDoMAWw3sI5tTAR0Qm52BIsQ9MT8oQDj0O3P+IScGdh32NKeqqweCXDQG+k7i/Z5xQylM0MS9pdRO2wCtjJYmctg06kpMdV3Fmv47kHXo0gGMJp6xodW6nvggDNQDTtkDrJpRVgRT4SgScSOS0IO/KO8y8zIJtvFz9ycbGT40ccEuBMeFkVtqoFEn3AZvD41RERxIQQKMPNuNJOoDzWpQ4sNe6k5WgHqQ47MezuYP+F7jNbM69Hmp7lr5riAhlavkJnWrSU0EA4PYW65wI538I8/DRN8fgGDJ7cbAmJpNqh+SCv7CvMTl4QGiZswEEIAzTf8ilbOCiyNmRabOkX0jo1Ho6XxssODdeK6c/cJEqOBiAJA6rBHvEX4SNj3p1YFHCSqax70p9HhLvCQgR35Of4r00ZWQGV+qB37IWLOLWrBKI3nkmEpsYcsaTSqkLRys+h1lK+5IM+Ur3cU+uMYe0NGmKgkE6gLE+KVk0cNHgxb0TgEj9xDliF24Ynnd5ZLGCYFo8f99deSQovlRUid7IyR256bYoq4rNvfWe8pTalSzPIgUaFL9pENxcMupVuLnBxgQMdCq1pvZYhgXlFcoxDIdiJoGGpHX+qY8x7Tf42+YShxmee+EK4t/6ssAqIGzid0BJ1A7P2IoGf/jmMcERgMA7dqLQ8x3lK0q2vE53H7n8xC082C/8mZ11YuX6ztBYypPVGH0b0eY6ksFE+PsaV76zXKUK8HVI6BCBfTOS3npL5F3qF6nx0YBCuB8+474AG2iNr7+KSfvfrs1RNBclOvYelRcu5woIuKZNn6DpnbkG0LsUuyVqV/79ss2F5S5qEA0ewjImo8frU8nlqgRSeZPMfQ1IFJNu5teS8Ro/7kIBmzh45oHSqPI70x+FXAURn+Y00hlO0uGFfejduBgnmJnh9yBjGfwixoV2M0kCg7dDkRzMXAwlulkidqWR5wsto1l0Ew8BgFjie2d7mx5mmb3Du0Z62qLMu4phai+juUVAqqL3fc3OGXVvS2kCrQ8Uu3Ih7+EzbSoH+ec/yslbZmlxRIxtnUVcNjD88eaPbuliCuERdIQsghbP9afjgji4gCUXcBVXUEvOAHOAh6vTIY3rZXtPcfPUWu0Yf9yf2c/25QCTJi9xLgyt/HgMM92V5Jpz5/V90usP2EuDxXwumynG6zMztXEOeS1/dADk4DkGRrn9UzxvcsfxmK4nqWFNoEcai2S5aQXvq4iXhbJaHcMz0duX3FaQGjuTNhYDJWsip1LmfTN0+VTuDVQxeACR9f6FHhETvNQyvkBVODBVruYMqKMkzJ5cTQ8NgR3+KcpokZvkEICsgGqksPS0IZ8iAGjBvuYOcHUW8BxJuBwv3NQf1BTtWPidJ4bMASDEyvvP+IE3s1r5MXPhFPBGLtCxdRvfRwhBTYxdfjp6kUR+fWPRxfsfD33ybfivHRPANo/Hnj03W2XV1EK/JD/y90Ircns2+QanpIR4lgVfCbMyW+aaVspNfgGd8IImP2ySXecVXGlSveK+AwUGD0lKSPhB67u4Ixfa4RmtUceqlzbKy5KVCvYcpc9kwNV48whKrXdgtHUDMbG9P6TOiEUfm+Uh2gxdcnJ1AqUiAxYOh1yz6PJGuUn7SD2myVXKBZDq0yVVyvaoQk+PFfcmLLE8NjOwJj7iuzfmwflsMdESPjYx9ekWce5xk7JwMtDwmJvrZaRfslld/pUftMgb1F+CUcrK8FDrhOoUBFi8LZUykpWOW36C40nttoyyEFcwFuzj1gDgRJLQbWZlj8aavEmmPPFsSil0KaxTYLAtSNsmK9bD/8OwvmakZH0JcRFVbvUshiabPRgYPi3h+3eDeNe6RFglxW1yoNRxH01sFixjtV8b56uPmN3avIs6UmCXgRpZPUWGdyDpnHWST0JjcnDowMmwqzONX0Fdl6DlJ4IsC+QZ1x06iGNbZ+0R2FPs2E/SjNDBrn3DrislOKCVUJxGKHLRA9m8AKaFp/WnneSNzizMscEgHX4NqrNJn7XCFXyW9CP0fNm1zUk60of9DLObEBr5BwehruUnuB30jTcs184N0Ejcg4QEVL+gKtOEhY+nML6KdUhI9oFNp/8JgzD9leowjblPveMxzqrw8e1k9CkZbrxfL3v6ux5TFaI+6oYeiSV4jC7KpqSIoP0qFsYn6SXUhPHqkqEKF1LxrhTUVjrOS6uIBbShljvRi2Cq9cD59wAFVWGAPTa6EjSQBaeDORc6uR0sNE9PWMg7TSd0D+upRJCTEUYhGdvYmx49+1vUTVZ2QMUxqJwhEi5nhQxZpxw8Byh4TvBoOk7lUqR6vN1ElFIA/KXHJepo2Lr14N9sXGeHVySLMCWBXKKnqCVhA4YrLt3A6J3pzvf6xRG483o2IwL6pPVDSUESObAGNuutSbSGU0k1cPtL8yPvUm1qDsb4KtTquCuRbpVmEdKRbvx3GW83b1drXpbUQugvgJdfnnecPNodFbg65xrJaW3IXvGcmsZ67QED3YMkWjCogiN7K4XPXmT6aCNz5wPjGBDUu3XJo8uykPL/ymOJBn4aAh7MLHaRBpvWu+vFpBCIAb8YDGOAQio4Bc2zzqYCbMbC4rck5cq6xD0vv3Mk2DSv8qvKzEuSt382VTqARb3NYqX1AtTauBB1/S5S904v5UOqWPhOy1VdvYlNoRUslzWbF9f2gIBe3iWj70ANB5uEorN+0zbXYPf2YTK3+XryslhybTxQd88gk+U6dPzbNW2c5Eul2pTQwusJXHTwnEX7GWRleywDRa/541fO1Iot4cGjDa4aL5LrXjRNCbeNqDzeFNFKCrRwyp1IGfjuS5p30S9/7vOvHHWAfAQlnACdJYUJbW8hgTVdTQAj7yQDc1jAGWFYxxSOC02pFhfkezjKrIQez/u2zmq7W+Vo56NikqIN2yLB1yMOPsbP/CxywtRfzEYdu6NjQGNcxrIi5oDd2X4FafoTBIRoPyK0Ns2G7WNatOHHQvpcsURzK8Nrv+EiJW9PLznPzxVICN4r7qT8ekncy+9BVaVAzV/hzWcTmTnOQyf8mRPMkM+14pff3fHtM/NrTyNmx+m8d2w4MNv/G52h8S6frzGJQ41KHElfCsOn5mpLOgIt+h8lxncHfyL4R2GEEvCt2IQwFmFOWExucWpPcZNQ89Ha2vR8k+IOQvqDR+Z9scxrnvdoB2kwSzdi5xeORWHaPFKd+ERhyPdc3weAaP9ngeNb10p4Qu9Fmuy+7/V7oOQo3PlpYHlEhRW/OvZCtohsJPs3UWBRXy4ku3m1XAPric62V5ELV4fO8Gid4V+CRN9RzQDehNseR9mTPVWw1iErgk2F2cH9hmX6EX2J1rWM0rFdl7BnfS8NL5KrSl1+lavC59e8Nd49rdHXVJFyVOrYzMkIslV45hoFk2Y9OL2GqP99CKxZcVZG5dBHq6xLhQ+4U9R2JOTF67W4J010z2E5TJofjw9DsUrAj68O5wpYrtXMfUPbKzP2HE2dgblP4FfYL8xeOnFj1wnYkXWJC9tcF9dtxWFlVD2f36ZfOQu5MB0egN3Nh4rA/YehR6ZmVWe3zeAzJunHrJE0RcDB8vWGjB8PsJbzqPe8DkD2V/XjrPZNyHghkVbd+3YVc242qYyDn6nJGqmRRqjCOIvKJxbbTvM7yR0QEf9l2hY7vCRYazLjnJyGbQGahT21GP2bMoSbVFpAEtydrYoRCR4mnmOfJDuslxqu0WFSp/TjtF83P32h/PK4ycaIJp3Tegsqm9i6ms6hT+kSOK/XVChf5RFYJR0PPqxHEr9N6lBX6EPghH84nhV7pDgQB1efZrIhOCqyndLkbnUJ+l8F4q4VumNRsZrIMhV1rg6VzrkXAw1H0Gp5CDgCG/F8FJ9Oc0sNkeNxcmOAomfMtS2QZ7QUbLgf6Gc8qkdoLYCtzSCtkssh2gpiQ5eYv+iaHwvrDGbm92uwq/0MlnTHWmfaYNhULs51Vl95oxZ6TxLGffeQiu7Nl3yDXKadFqSnhS3oxfdH6ZjY1OLwmiT8ekOwEYSh/FGbgAuB2dv7IYSzyT8T0yZIG17f+owuMqloWIPDjsrunGg8pqUqp6F3c7h1bxQOFpnl+BGVVAd3WmUemYCdw9hKMGXs/wF8RUTVco+OFgl3rtJKbgtOPAo9gVwRv67+qjheYpBD5J/Dbi3qRJRTbunkPOLjEVuB3I9GC2k1OirzprXWWFvRvaaju0OGnDe/WiECHMohgrCEj9pFxSBdSa0gY8V0VRA84u+sP9qRx3xJem87q4i0BUSJLtVdv4rOZcakE+k9Dh3zx+B4wMXEjZall+lB3ki5m/puay2vmlyw+LHhplc7msLCV/7MJf/UopW365IOzNRCX8S514pFbJuYgUP/YVbkrHGA2ISkmumgqW0u7Ev/U6jF23NUTwGVEsuX7GQPxERV5m+3lny9N2g8qjLfcKeUuv85cKaHstkZn/zvzRxYHtg7iqo6Em7E39t+9OTcduNuOjIT9X9Wudz9IMLi48TwCI20wt7y3C4I6dXd1fwQUU0zQBYFc6hOpkJL2bOcemSohI6fI/Kjth7EY6xV1AEr+8OEvHDBjeqH4GwQ1yccR9KfZ+pW6oIZG7pIk1UD5k+cxavKVtCHQOCYBsA/xxLrGeifeOFgMmHP+Awnu5xzU//YVTbxwWsnu3kJ72RBlNp0hhcPTTCZUF4OVelzz3ptAguCJTvP5l7/gRKGI7fnvSIP579eYY+5F928ilbArpKGXVEGYzFaSEZPLIA3JxHk1HKEKY5M3Nwy++lJKoPBF8UCrCeTiUmPquFtw0taYAHW4J5vUBms47zytICIjVylb0yTCdjzgiKt3L8QIAZSYn4tmT2kidlhQektkBqOxO7+ugyzMuU2tuo5Fhv8l4wcsDZmS77DV1tCs/0IJ96YSTXW9KWF7H5gSs3snKmD6oHFgdK9F8Xa4TGhvHDmN/nGoOcRc1yPqw7zifEziqzoKZbNoTRyYWwaj8a5bfTj5KJzhBsSw8MfyrrXWc2cmqzM6SIF7JNQoO5TNLfBlrW5HwusR4hZ/Fw9ywkFNtHnBpCTALD+UJyzbOey8sW7mO1A8p/MTBG8gzLfIq/lSmwBL+i2v234ezzeoHkdn3Iqb4L+ergMdrbGIhLbCZuvodlVzT2CxXE3bU8iX0qw2HsCsEUIPk/ifTgexVXtVXddkuoScrrLRhsnOV6SoYCVldi2LMGmXxxLCIzhfbVE+7eEKcnMIrFUU8Qf8/iw0UfClOjBxROG34QQ++XTyN2Rikc//2q9DbfN2HhqxYdBD4BNhgSDN7mDIv1kuvzb9rRGVV6fAVHDBtbRBkBAyA6x4mXR+2a6r8TmvZOVuJDgTXUXCuS3pxl2Tw+mXSCT/F8qbpRC+meMlCXW/TghpyAYXbBxfgzNObZxP+jKGJRatNKlnp9E1AaMLe03Mu7q7drXkjmJLVE3UkUsu8iUAqGzREybtXdSBFGQ7lDTBec7L4UojOAmzcr48fOZgaxpBO8L+SWqJk3X9d3YWABlfEmxSM/S0aNkL854UAp9a6QRRGVrCkRe3PVIdm5FPhH3+bVechs3ent2P41TvHQEtANPDHLpNe9W0Ca3+ukK+sKj3sc9MEYWocAgR5hbjbyp64W65m6yExijTPowByOD88gbuOIXjDLflSAEM/FvTsn14RNaPVuEiDgjm0Tiwkr1JR8Jr8wH6uTEMnX2ktxJiZKXpWg8nX6kultJs7oSyv0n52VQCbqDdhojKHezgphn1tSIhNgRatdotz1siKDv2vXcCqSyCWS6HM+NLLE+uz5dhWj2b0okhhpJZ+/B86n6B5Hx6V6N1b1uKGHjkJrYZL125gVtrJS4cBxF3ayaHMc2CnPGI7m62WSIzQyRMkEB3D4g4vjn8rW3/4OPdCb8w1t6AwWXPomt8tM5ERHW5Dl49AYIqDBSjDDLw7pzx3OQxuXhPZzDO3pGnxsEYD5QX1YUWlyML+iV6eqQV0xPUAIZM++/nwNedIsOW7Hy7wX8i/AXlrlXxLf21o6VOEWN8TpGqBTl0hJRQVnCOL3Gyjt2y3uvhncovQhpVCgqTrkdhdzaN76gKxJdX6X/3MwQCmAJ/rSlLHbVZNHcAqv18gJaDoGFQnlsb5BjrYPwK9wrYPdXmg3gUcvUve56fsKR9DwlQLQighmE23qTlI0KZt7d44ixJLpgHGM1rT0aazMW1kuJxDKzw7rjqmKgiI9yb9UKY+uQQ1HbGIEa/McbYGE7Zlehkewf+Hyv3sCTMoxZlpLvAjZuk+5tRLQ1s/7zQaw08zu41cVAwIlCt3GpAgtCm+oQJYVi5IWsixjIMVGVc0L/oWWil5ub8XQMgmKSspcudAcBO68iErI+eOsC7UxxVzf9MCMTJBAMxgbcQ2ovFknWUeY6sCbt7ueCU/tKUIjdCZjkpR/xjzJUM9OyxrLf8+lTlIexRrmB9dh+/xurA25gpUNJQLsBH9ZwY9lTkbmWcTmwO6+g1XQZzDQzJ+SMYER6pT2ZyLg0migL1qirPR+EmydTaBiMii5xoJowkpoB+EglptB42A4QNwWafNEqSyJ7mQ7AuEaqCF8ekOGYIGqTz49BGJ3P6194aVhr9SFDOYkosHq2+LxLl3GgFO0nLPHM/UYRmVJL41Fyl0/PrAMN/xCdoba2elC5+EBjAz1e91je3isC/QTKF+AOawUHQIjBft7JvU8b2k2E1aNxYm1fi3wqcUtRhVVD2gbFNYyhueANtsX6n+kJUItp0rruDlcuwyLbCpQC9oXtp48yZpJ0DkTbJK0hVnvpqwxw/pYWkx59gay+ygjLKvxIWFCvo7591LgBhBMpBjHWbCjRo53ArKBWFTTCqDuYsP4MKsXetJV++lA=="/>
  <p:tag name="MEKKOXMLTAGS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z2dD7pS103gZfJ6l4USC3jqtWOPR/ue0umjYEY9KlLthURXCUyUuZbmGDPUXB2idlVQc+R1c0j6vNnMaKvr/AghcgjyTjoGcS2U6lyGcWZbvoYqQsrFJ5DN1RdHsB5gZU4BjQJ6xKwDUEsW8X/QQ4uIPkrhyjIfLLN7ZR3puqzBiN1rMnctBA0J594at1EN5QJYMsPufr2eabAYzIDriNpy1GurybA3KWqcTPRKYh436jQqOHiPaCJtAtzpRgB7Igk7tw7BcBhai66Lc0jpyzFEK/4NRoFF+cso+ThI1HNgDMZbpFoCsJQtilLqk9nQPGX6RXGboCTf8hOOcHaKoTUKF81dro10jOa8Xb8mBGZAZ+Iyl7KGHMy03+9hVypQ0KCMarzpIH1KGddaJQzrOxARl3gDpsMxJ/TgzoJ6WkNOo5RZlV2NtgvQmARQPc9FETEaDbJ3D6VE3B1i9qAP4Lnyf4TucsoHYH9AyhFna2UpG5xY2PBgCEZBjejxeNRItBws/VQIMGSREEvruaqrKup1z9TYtEJVFnUgBO7+EXnvNMIbROWtHBoz3SGtf+jmxfyCEOuTY6+uFdD5xpaGrhWaINmeffZZNH79IZF9i9AlwYKXYgsTgnmIAX2OPV5kZeDygHlF4KMonGI+eR0Xg3iLDfzNM5athyGpZ+P3CiMNNOaPwEUJqArc7D5TFHbUrTzO3KTPIOYn5P4+C14vfx6KATp036Y6dgLHulGZxwi+0ZUWJwt8jMBIKH5/KpMJDNHlIMvC1lVwJmefbReV6k+UpGmY1AFzePNC9tK/aHGVdVKFEWSopwaO235pVK+wCSADE9dXzWOv9daDdv3A2YYOPJqRxzbAGQ4F1mOMhTbAvioACAJSw19akvg501KdBht+hW2kh0MQiqPT9yvh/fhiaA58DNDaNHaojYudd5qkUywg+f+devoGmS4U6zxc9z4/zy/euY0Pzz/Lmx290+q5jOfWjWB3/azrXLeCiKYkJz1ttXgzDvIjRva7bMd4wCauW9SDFbPby+xAXJtj/QRuXMOxzLklEDUdcNwLcO/1h4ZIBFnPhuR+nUeytTTnIPbbUjS9sh02DGsrkrHfiLhpZeY7t2x2byjU1OSCLBnqkqzlOKJAnPO+t6j3rfSZRSKuJ81W5zuOLz3VZ9AxRJh6FuZjKTuTxHq1S/Hj9AjLyqWPDmHuyuQIyvrTQfCs+H/5jIweNtScB37L33hwLvl4gz/lultP1m7iJzyzm9sqNY/SVcuplHAf+UC01y+3VQU0l8vjjU1K5IVyE+Q4TTQr+qqHUijiveT3S7HzPFznOQRC78yvVI/ikwB6doA1H3Bb7K6QptcNmzX55X11gkR8YJUPJnIkYgpKE30EcFc2hFZHVf5PWDXqGEu+SuVEhGbgYRA2i5Kzf9pvzKCBK3FtA6kH07hom9KCY9032vyhaiRAHpeXMiQxqeMqRzm9urRY0Id+GgDHoL8vDwwupcVcCEGfUTo//0g/P0gtwwRk8rZ04HbQAxwxTLpW9IAAEzxZAv+vMxuN/tO1tXj8ckssoSo+uqsnrgfzPnQKJrPgL4uFca+blNT+BBQCJKTdlnrPqQdzTMtQ4Bgn9kDw23xNYwuj+KlEMdG0gocgS42cJkW+35HaK+p6VlkIOmwBlfiYOa44e0gFh15Wkw+0K3uwKGB2AZzUYe4+trNX1TskVi9lNBloG/5KwGiatra80bGN4nyEDKBo1/+YQeeF6ir0gJOGUoMEBP+pp5rWJkwdFk+rgcQ7AQf8UOo2lnMCUP2Gpn5XIAnjA9Uwc/3b4Qd7otAIbKveViCbOlgr4qEA1IKnAk+6xsRW8SuPiZeC8U9cUDnImKMA0L3nKzELqEmuwvMWeZjGzdR0Ns6oSUPBDcG1iuIzzFOfCZomjAsf6TDxoT/Q6V9G/SBgW1ySXbCTTi1f1creX4HrIEzsnn34BjRMFrC04Iiu0Yarc6Hvkm/LStU23G6IZbTJQSJqBOBAmWmMsPLwIxUel9qSphHbao+jIDfImF9D8lOKaU3TPydvkx49zaMVE81wS05DyQWDZxe0+B1YQ/xYJBzj99tSbULO8qAnxdVSly8girkg5MlbDsQRGixXSMy5RtqNryqg2Jfcgo2D2RW/jJBRJhPOfNNoPl5whAl48BZCQONDA5ElUFIB8qYP19ZJcwuQ2hJhNDhkKlxPe7bREtopmYJae69QGsCleLLqjeXR7cqefdX8eNGGDyPTlw60AQn2ZaPiyORO6rla9IF1qFjWQF/XdaOwC2GGT695xUMXtW+TyTFxtuhYl6nNsTSaxftk+m2kEGIFhf5uVxADl/4n038LaUiQIt8c1wKyAGQwFIT2NkRzFDWyc2m+Fig6y/YIncJjNGxG5+Cqb7I77yJRf4xVs7kHLaSR38O0p2cHvn8E+KtnFMOZvya3aqUqSJdHvYsBcU7tomXdClGd9njw4HgxcRX9MtxeIQPWL3kV7zM5mfUFYj+tIF5TRoQLAk0RhMJOCN/nDLCgVlDo0bL8CCc2vMMCDaVbU7m+rRdtFVZOT34bnLr0uRZjUFTS93DYarZCVRqXZ7IcwLja5aQ02Lomu9gzKlTZvdvHA4ZEe3n4oKAa+CM0xTpa/71t4Fyeqevy/cMwuMt1d/ausfQa/pnB4ac/6nP5cWryL2/7XBq0JOt/xDfoHvwBDpXFUJhhHjqFgn5lLRJcFygu3MLv4JN8N92wxTGoG7moBKPvfAP0fR9zpUvhZIY/MBjfs8YQgjViB8G4Dy2OWHAEvRbf8L4eJmsYIG3JyujZC8mNiOBM7DPw101Dk79vQafJQu+HPU+HO6kTSHThpvXR92jQ5ISqnaxOvYC/x37W7LNQ7Ak/82B4bM3Lv0DN7f7z8Yxd9aEypXqo+VmDS5I9X3in3Nbnpigay245RrEp+CJNbTYzWmnBg68Q3/c2mTJGAOooVTlaSzJGxGPUPu6XK5Krv3CNK0cP5Myq7jTOyoqqlVmp7DaL7iuifBRj2s1N9vzojTBNzvEoEPlArMIYDM3FgFTkjieRE4az+7MoBNgrhu15Rls9//7Tcm42mOPiXpSRZvynyqZ352s63hI79m7aPV0mMd9SQ/UyXHiWkuUCKbZ3/04eqng7tgXteR0Gz75AGS5qDc5JTxMKpq48A7fl0HTsRGx2PTGe0wZgYM4aM/BcgrkKjwDNU+riIDEKzdX8o/aRYWumgzpsbRlvccbbLwpMdu9h/0d+F6J14o3iJt7etbaWOpN3XN9e0GypMjfuyAIEDXuICS1WJOCjDvyyhzExF2/NenA8SWTerL640GlXeGLJLge2EKyOXFC7vwvy61UNMyKSscJGuTFETI4VGkMwr6hA6JhoA51IGlmeGW/mQn3HgiSySyMiB5SAf14cN9XemOXPsN64ubyvqd8FzWCqw8suWcd58VefgXhpkTy7W4nsEfWCbiro7i07fIz7OAomOoT0wUc0sEchkjk93k3jCmo/TtP9I44zO+l06iCunZWsCD5pUL9FjsrFiKSx+8qnm+LYCD47pcB/MpeBE4eUHkk/pfAMp2E5ora5FXF0Zs6vVkgWnpAyGhlxO+Gyni2D7uFxDIbYRxH9VefH7Zx5VGqJhQgMjd+I9+tiDH/nOn0wlE0449WV3Bm8ga2yug8DnsrrObOuoPZru2D7zFWmX9iYze4whWV0VXNMtE14KZsV7pmkVdZhRO8mznj68KHu0pawSJ6m5PPksBdE5pW16L44HTov+0bx/T0AmZgBrnMs4+6ju/8zZGCpAPtdxdK7vP87xNVbY9evpSeOJFXtolp6g6uYqNwW1DPdsuJH6N4SJSyfivG3a5q9E3boWvYi88/EPdztTjphhQ6kmSeHPoSEyOFfhshaj31r0xwg47f4xTvfLWGFdZdb3VmX2NoEeZOpWWtj9euJ1YAhyG+3i3finCZZcY1FCQf4pvvrttTPspUTsGIhNCc7xPZFzXvC5xfjEMIMTuRkKaoCW/SwRlbdtQxf6iiwuaeRI6JEATIMfluDyY2tREWn4WnArya69us+6puM71L4gyv3i2LhNKAnAK6U655aumNaCwHiEXkTvss8cIT+Ubo1h7ut1rvpcM9e/hBNToJZCy7mp+8Be1jihRAOuJs5ojpqC1BhxMzVGHKKNSxmFY/alfjyJUL7F/WD/zenIEr35kfHgnFl9P5ATBfCBDV0k/rh5cBREZOmPVviqqf0oXdtGNxaNTfqNnnWquxO4X3NhVKU5t/Wrjxcrvj1arlcpjurv7eK3PJtJCUmDRM1Ha8xLdbwbGVqznxLPP50AUNzWh9d9oAnN747jMmsr/7d0vkbA9MmB+Pt+YDyHgdqbGtZIPH3R2PDCytL9NRN540Rl6f6T5jj1lXr4tx7waC6Q78X4W7Nw8ewPxdZ2WE+bCcbhhzstL9wjtz7V7jw8Ngy1/UwDncDrktiUvYQd3ZcH/DW+sjIKOSV30O1BRUaAYIBSNltUDPubZi360wndF8LxztD060Z4aQPvtH5vD+st/Bw7QmTJNsZ9677wY0n3d8qot2hE9oBL8o4kOyobrQ844G+F97yNENVXWD0tMuOFvwrUEvd3dNLdhxAsk7Ux/Y6/9jn6XnjR5UWi9CWAGjD+aA+P4PVNm8rufgXJqwQE5SuW35W2FO1HPY4sLKOzZpQNvXia4lXZa8g6HdFTOczb9ykOZI+doIccUWIt1d/q0Q7C4KDK7YI+YwJZiBk1JWrGnssJvrlcwbUrySOg3DYDv/5X0rQix+Kwng4HkpMcnRK2l2zrrbjCpovFJ/ZW2I8oZYxEz2V37fd4ROkMEPgUA6GzTuyWdagoAI2WLnDBP7PdD+7uPExOWMWEYnA/mjerh9uxApB4Rs8POutB+t15AT7jDC2r5kQccRI6rEyAjcGngM55xWaQWJB4TFpqJWqxKr9JMvY9zIjhFCpLCMFycOrMV/+7FunZb9hopQtwDu+QkZAZLTE2t90AzHCe1gHjiLjrxmpfluQtq3wPc7UcrKPAQZ8cszH6aKt5wgwtQ/+HxYPN2EYGyc8/xjay6o5x8ernre5CzodE5+sqtQp2Bb0rrW4JzcQw/NpDLqEI7tfY/WTgOuRnA4zS1Xvk73yAkWKSB0S+QnJPMG9RXNOrvICGtSGoDmUoh8sKCP+QCsFX2mgoD/1KyxbejMR1WcTp68JRvSvInTAXMQ+G7vKkU3BdzkdI0+z+ExGncSG5pYSoISqvfQR7NgVLw/GAIJfSwWAwHXEGfgj10pbw/RWp6eWXeb//inLSJs135F6hO7Xo294/d7SM/kMn98KregFpsnRcEAcBh2BRgdYe+LZi9CZ4cDeV8QvjSYUqj2RqHKupMPB9jWRjE5zdrl3xe+iz5kTIWkgtrDGs6yzXgc7RLAqGyizxc5BJIOubtVsnQpiwwUPQHQaA15ODaYa2/52LcmaBAz8rhEuQ71VqEKjDNdAiKYId3NJ9Wwj/sFzj7aSlIj0OrgB6z9MWlf/gXJwONHQq6tEk+hx/A1oqH0VvuITbRrqUU4fB1jMUHcI41iVuANOONZFlZqgi6H4LiXjvrJajyFRFXeGv1xdcwdDZlt/wVUFXyB1HoUQ40gKBS02bdxXBor/HngUmKbJp8xA+AmqjJlnPXE8I8JkuSQv/b9hPFpLhJ9S2b8SiL4Upl7jfJ9J28+XXj19JgU8B90Ei56kVAYXS023toBRG+byd2pEDqSPwd8DeBkPuwCf6WWIVvchvCdMplvR/ko4OHJM2ex0yHHzJ7iSN7hJdryexM8TJelYBU8m7jkXRwNgXT52iuLdm5ydF4Q2bCr1hW4gT0cexh3kYpVTnqLlCYvD5OzDQhQ1S9nhbXWnCpZpdDWWYISTdMJu+pk4xoSdN7vhd3AeDc3ukp4kQrdhXgUPQqZ8OKDRzp796TWJStkNdAQVYMgh5hZbZpMTs114+Qz5NDEWvnJzp1obAm2Wir0uBjJXosLYjXJWLAOzs1dQOczTEM6c/IQRgjVm+TPhAht5b9f3BOH/XFnFlVGFWYx0XHDRn6Nyf0y1N4o/WgnLc2ydKkSGzkR1gkp8rc8NderqO46KRfGq6DVQ2LJ/oNtv8Ergws6mVSmgJiljzAnyezbRkY5Qrfig4GR80Ii1Jrl4MsuSjfQXzC35g8mWkuMuQM6KLgRTRNl86hasXiJmyWpMdUKnLhsRI1u+IEsK8qtiEfnnX4GkZTnKPEDhXxotCYTP3/SbJwcI7L1Lfq49LfeW4YnHXbQzciq1f+1YsxBpN14wFqyEOUc85pBDiaukhcC78y2HjNcbMiCXs6u1qmyC/JgMr6hyvnMdKi2U4R0W9xdcpnECE/rg6cbS1OzHC7we/2ksEZVyVYjEHDIE5vBOI9c1sZyZoeWhpBM17wEqcu8hZLghGOP44hr37M6FhjltmoR2VLMkOmtDJoDfer2KE4gmURiPkU6rgys6PMtKpIzw/dp6sSLmt8ouudDqmyLrJk6GGkl72/QitdPOiwRnC4cvv/EHp1ebrrG0QcUGTNF99lernF/JET0rsw97MY1J+tafNSVcHyQ5b0EW0X1gB5Jqci+EoDfbqX66LiiPK3hOJTed9ZoJnjB2s2aOvsB8nTVPo9GiKM4SRPdnwAdCKHQ6gCXA+V82yIlZnOjyUm5oi7Ok07jnL8awfcoswQJHKZrhUdrcsHRzGAgSp3fXfU0fTEkzJqDKeD+YYuKd1oqF4Um++GZZy8xtLkDgnrRrwGtxvg4EvU0natguffDLCfDHIqRiqS8vZm/E9lgQv8uPHT4WW2bCV/a3RtSNlCAtu4OZG3IhKiOrNG6qiIIZoBKeZhUNqm/m9WXB05fk/vMqPUXzPR/TiqB1zfBW/gcgBykI3ZJ/ftWM/F9PiFjImMAgfWQ3TWpjENNx9V0IXaxAhZeKdiWHVqrMqQbBaUQnHQn+FyX3eIE+EiaV6nWflgQrH16Bm+NGYj7v9QJ0ACjFLtwB7MgusUVzBQYLK0tfdG2HCFoQlqvxEoG4r4TfSvf01NtgAngAfVKWTDSqlyg1vARaS9CcU5LwxT4mcP6qUxhBSCaRbDHmNztRizx2QW863i7iYPfaqPciJHej9nrhKH/NGdAJqLf+ouxy/rbnjwYTG1yInZOYhBsy7y79szBQS52jRiDDmbP0u3FiOdw0tXvPQS61yABQKKVnXfbYCeiUjIXcwdaRRkrjzj6Np6ylMVbFdmfn0gYD2ZjHA35i9MGgbsTKFr5iN61IugaPA8/O1QQw6AYZsnnsKfSghOzAJjUcPIgVP04mLYJWUvLUFtDsYyhy8e7IrOukV7QuF7nmJnIw7DSOl+CCSiJiBB8GP0t+9UoPolH0BIClzPJIlvUH7XC+GYtbSlv5vCXQGiO0k8rqlr2mXUt0kYBUF+7v4f9qDtStLoq//MYI2isIv+7EdvO7ujZtQ7rXQXvz4q31VYteqvgCeiQzUm2rjxfTrPwjBAxvUpViPm2RsuNBdBAmKPnnNaXdVkF39Qak6+x8fHVWrbmec4nwRcmyRnOl4fVaoHTPXNLNVTWCjQaJezoJT+IpVwhsMOOYFHxDcpokQGSV2IwzgpdOENZlc+zY+Duaul+/b7Quk899W1F67eiyZ+BS4nm9oJuq6JONhJjGPayLE/Q8wigz0u7s57HYmfLDN52gPFOCDuNDdLAFAcA2PzCqE6E3Gw9PqFctdK81k1B65ULcmi4Rr3u2DGUrRMWlZTCPM0wJghE+vId3KBoobtFHLG+uvD3cnRpnI4vMEmm2JXs5ZPkQ05TjJ19DpavQEVONFPHmLJEnTGeb5Sh1d2+K71DXx8VKHNhaM9BdXeGfzN5fFcbGZ8EFN9HE+Qio3jkOG+81hp5fIzukaU5/H3bLnMlywbbwI1FCzJTT+PUJMACkkE2paS+xoBHzi3yB3ZXeqBbaO1iPMeOeJv0P2E9oAKfDs/oaPpNpWVXTMyACeP7qoFBaoj/+nYfQ5KbeVgAyBueCssoaWEUHT+dQprxcd0vi715dHy66I/VOGbO9ycpXJXTGA7oxZXPlUAYZLRFQpIMcdocrEvgsPE/8o/IRFFL83/Rhtuouax+jqO/5ZE00OeK16Ta5y57hpfLEeaRAMKAuyNAxBKQFSWuK+OBF4kyAmSC9ot+YgmXvGcqNCnPrtGSTjAycseIH7K7pk+EzPjzNt5sv/5p5KrtgPUrbnGr4dm0R4lF3LS5jHQmzyT9CUZUnmIjGFN8vhN5hbE5R5/tIeb3djE0NJ0KwYhxVwZJ0gjzBnf80ZNb4/MEufZvouD/+UM06RhiACC5GNpUJaBxiw/YEtcY8rI7u8Yg6uAQ9YQ+FgrGy1w3iNh/SDyqVVdBWkU/73N+ZcIQcHmpljgNJNeqHpsJrBmmdaOVMQGq4EgS8UjdkmTERDTw0Sut0uukmZqA4s8EtnrKxGxcXNYQlQlz2adGUflI3CnowkDCKQ6OMcX50VQtnaSrlG0/2wJU4O2lcs/vFBMVJxheAF3mFKXpRUMy2+H4E63KLRto3qa2fUFa98VeegJ0RHIWChzq/26l9OL/s7HzI/N/B+RxzrobeQJzCT6pNbSslRta65QCi5gPykEnRvMj5K+vbd6Lys2m9Gd7eOPCRu2e05l3jFyd30PGOHono9Ruhcn+xskGfQh/nKW6Nn66Ug4eRw/HlgbXatR/zXNreAHE61nZlWfTLsb6Fdhcu70PbJQ9FQHPW2TgbCDqMnk6yoyLPrrd+HhfaoISJQQyuCgbBjZ5X8DTdAg1i8qMXgj3a4qK5v2Bi6ymSn3pFoDHrKPnCTkHyPYhcStdD5jv+WjJxJvOkzjqI25aOBwJDeSC6qSMfLWw7+MIhGqbzq5foqFDQAXPsjzZVGZUxHwAIVkFcIm78SoHt2bpzi7TpNgQrdv7F1qtQJcaR3plNTB93AQCgp2tOmjA/RQ2cBmrJHvGEN0HxIpHGbJ8rI4sQzXQEC96glVqRqSKsbidKHyVq3tpZCr2ywBdUaC01yD8m+9fqZ08G2DihjRrxEWWkF/JVbNBEpDj4QmNQX69JKDgylcbwao0a0PPMBZA1ybbAlSKh6GvsW1BfH62tRlehZY6k6KZDCGwpE/6MrJZr6cqR+5659CHUHbdWVIPdjPuYtcpxdNFkxJ47OyLtzn7tZ/N7SrlyrdS+attwqoMU/CFXOAUikMwhQ3yO5WmSGXiXle6evSzDX6xE9LBGTLHPBzLcMWVycFtuuJuvj4jr0UrzH21vv6qykqCh+gidDrJSdKaW4d8qBbyXtk15NFan/aUNTnvGVqjC1xSv9WNNY1xuXOZyh/5MRgNSbtCAkyDHR6JrCvzZUDo3K34DajnuyzV/ckozR23BjP0XLap2sZjp9mBzSPruWsoWbIUhpicrW2Huh8yof1h6E/wqpMpoFzGPtfwb02DJhAp4ua7CZbuu01GZA+mPszgphemTR6CAhQnvBGPdBw7G3mX/dfNFNwm/8QEXUV0AciJCz8J9d+3A/XHFEEPKbTJf6eQ+8zcwDEkB4PZmlIOwHGSwoCkaHeqDN/UPyVmlu2StuVdJknPLz74EOGDU8LUHjXOJJv3CKXMjKy2FXoLSaEpH03SpRO66zYZ56/wdTqaT51AmAmbTDVXxj/md/CgSoXhf95xL5n0x0BmfH0i+h9GUHLEPjl0UZMUaHbyzNtx7mX73f2jd4rUXlcItmnoNfHwvLIgPYHcRPQ5naPyxxHnI+mxKtQoWNj+SzEr2qtLIkLYkvCuR6ctakNqFovIw0AYYvwDwIwcthctnRLqnofxAJqccfJEFd1Qdv1ijx+Fo/dPA5M4YfXdP/txGeQoDt+NCgvCtxE+OByJ6Xo69GOjdIUzL5D0u4mKHDB8tybBdiiSNdVoATkNOw/juBjlVd1ob03jaTFvzrgRzCcCFAT1QAnyaIp4+E0JJNFdr2GRwWpsh0yuDEJ9M/vM8E9S5upULOsQa7OT8/g302QRgw19q5lhM05FFw0VCDNX2zcs9Vz7tYVMGi++uEeyEFEC1mvN8qtbE7sTvYKkxwDr2R6okluZvpPGUzc8wobgWawl5NmxnSPeZmofFUTFLHP6GtJRPjZuAKSAOfvUGYp/jhq04kfWmoixJvvMs8yLcnAuqc34ZBcRv6183N1LY72aoXKjEhQrlVizhtgs2rScox3zqYhwdTanULb0TVrk+Aoy3mrZjDb9JGR5lx0ka25AVc8k8sPOIqpGcllMkDY5PhZwenOu4vAT5SjYYqMkM4SxcVq7241SwV+xU+P71AQve3dOgJG+s/s9lf5cTEgRgt9Uaxnfq1Z3ehCLz4wgBFoDA/azz57C6zQTw9/vdFRf3LYWwW4XnxT3Vu4D8rCWioRYUDah7E/Vzm2ErmrZ300Cyw08njIX0oSV5k2VXll3oebOjG3Z7eJN/pye58OnKQqSoKuzpTQQDnrgrjJ7ZVv5BwTzRt+yYhPlqtVDSLhnUC6msN5Ymo0/g4snbCwtdUHH+VbFn27RPFoWGJv5pHazOQieLwktu0bRrh1S2o61yydohpUaeXDvaTbYYPQMrwiUyzLP+sZSaI7Zhablmx7GOlpbdVUBZBOGXf1RFwVzIZxjHjzxKZo3sJ1wB0bP2jZxsa2zgsHtIHYxCIPbHpontVSgw4bh7H9iFMiNj7EN9zVCVR+VAYgZWBEcbUgg70iStgk1DCgVfRDxrhzRkyWF/2pgGOGkavYAD/nmYLBzI8tJFJO24Q2yJSQMTFZSkGKnqyg0y2SSgeGRQmPbCU5qoQzgq9JLbXIe2nXVgKIbgn4mP8rg4/6G0MpGDiS8Hg4Zhh6CV0Ps/8zbXefzqEDZFHowAlJJPk0DhXZFVkNB8AsAJEk1uGVOSlPKxecVCT6lxtKDT0mhY8eHhfg9/fJv7pKmXZt20hutKuIqzl/EBryZFrbFio846bcSKWpTBx4X0RRSolHNEbzgNVScxkBtVta5CCzy+Okf7AkwjvGuTS99eFTIVhi0+xJniBswHvKZGadLWyk0BxcCEubR1QUMmQEzZJBtOQQJeLILRLoNXQWWOJaJ53+Ydox8nU8ndFkzUHuXXsE2w2/PsOe9Dv2WBCXfEjw6+v7HXNGUdY+0H6Ol+j8xiBS6JL0iKplqUM9KloPl2GWYw9wyRY9Gwqqcstcl+b/6Mfz13kxqPDl0WOR6LgUfH3yU1RPRBHQAbiJrk4pQcs66HmlzzF+kdkwC4lQ0Lk9pbPG80Br0DU874N9Vl02+OXG1uQG/8U8bhe7WtE5NQoFElAhRIxl/hsFMtMfpgprurHk07o9Z8sugga34ryHtWwXiE9f5Ug3VR8B2OqfUusob1xycLFzS+0KlxHOWGkLHHIQ1uSZVAvy8rRCexB2gH8m02gE6wjqdHJ5qj08HevnfNw9A+pyecQW73tsnM+gT3jSU3cOUIkPKr4oTZwggUpQaouaf6yddR/3BNM/ci2m1taTVhgfhXNLAos0SzGt5QH1IPiYSObfsPdgkHxjjTrgT/C0GL2xJHtr3cm0tfQPwb/4SvqrWXADf3sg3PlkOTQ6DiqkdZXGfDcE+nqcUokhbrFdYNArdNKVASBUqXr9hUEgpLFzEp+RQMLlPIg0qTS0QWhLPznLqRCKhwu97YFScKQflL65WTjViqvIWFy2Y/Pza2waEl0v9gYJDTq3ASWJZdENkxs0UraApPHz22Lo/pOt+/19S6w5IAFBvip9V8SL8hONOrQHQ3Dq75oEDjTHpgdt77cTJyCioEMcPYPU1BTMMi0POfa5K7w11dS8vwSubkQulvrDKbJzOypBJYWH3Pl+i/vGHLOXJSEciZV8j63nOsFdDtn/56i/VlqJ37ykyIX/Spg0X1Um5+RSwenMzokXB2A4OphHqERSuurMd30EKsp2REOPx9mCEtQpTzRfvDcMJ2W1Rxy4NQ2SCjVV/r1cbLy42ESPVCZ0OFZtJjBaMRz5xF91HsokISc1ZXVfhTPysBpMmkCKkiDA2GfInQpM2/hm6gyeiI0mff3WnaZp/EcyDyel9qHKTT6J9jbde4qo/SFAkPDauZHljtF4blcDWSWiZ4ZRWnapLRreGCmlwqWxj6imj1MZU769qyFXdIrLiaXpaqDh5KvXmotSrrIdZHTNt9myfcOU+sj+Ex2HApM2edv/1Mkulhc0e4vEZOut5OIj/wpqEOwFGHXXBvEes1Ni6YUC/OKMqD7dKM5yOGx7CeetqO9w+PTWLE3kqBdLGL9mvgUPhfphe7WkEVsILscuSagLWhhGI/RamgabWqVJvjTYAdsUAiAJeVXlGYHML0+b70DpOlbyiuK9wpv57YUMoNgD7lGPN/JBcltVDGXNjL5zV75poq5ec9cOPfsSWXG+pcNQUTdmNVqPQELRZ3Qxu9M60Nd5DnvRWmRr8QHEjPGUFSOdwzM2zWU0nfP+kONAgErGjo2vCVz+gYlKrBVM/2Jft431qS/cQ4UKAjGu3uh3A8p2+/9hbOiRaXQ8wpHFt4j+VCrah2YFT5kl9rkvsr+3Rwv2wL5ZPBSBNDsAnxUdFDiOXjntMrPMP04yvafXvGkf4NX18TGKd2bwI+fW1LtheGhahbp53VOJhYbMudiIa0bo3FEtCtLywUT44VhWRhg0qyhnPhLOXb00r4IbTALRLNoA3JiTdmEvmAtDQfAxVZlx3Z2jPYotiCNd/UcPRGUZ33U3zktBiyFWYR4iWa2dx4Z6D9B827nhJ5kkQ7WvmxDO+aybw1Yq5bLwAO+HbdaCXejo7PWxCh13xck7lh3SXNSQzCgeXj1OozhH+uJqnshNyEQtYEe/9s8AYSy3OtCXKdNv8IOHPfIM0AVRgPG+58WqXwGxKYUd3G1k8dyXJbZM4F5xuNcPGUDUGyUXei9VN6RR2oXN1h82ATFwnrSHTJBgjGjnhzd75/3syRjVdzHExQFUHcl1jr21dBacb+ZBqeymY6AN/n2MdQf0CSHAGw+LMDCWybUOfAePvteYVNZqGdCqEGNk5Pl7o2CEjWmqNBcYMLfT2rjdtg9Z4TaheYfFkXpRxyBF6mGVD35lIcObQqdTs9A0nWg0hJ72cvXZj14XtuNV9k1G0CWiGwjKWJcngHAbzs/YB0ajpuqYj4lei5AGBkqbooTbJh47sgAAPPesDJCpm6PwYP77dvglpWv4e5IjGdTBaUoXq+q9DDYgFNI7AjGUZhRs62BKenoThjnEMjtWFYWZ3cg4Rk8UNPirZqKJ+Si4jMxXrqlgHpEB53Bt5noub3QxURxF2CZM1lcqhKOesz71iWifaWIF2YLQmNaSU6ij/j+wdeKsbIYUIxoDf/HSWXDqiRF1lq1gVIvz1NsHcdS0qkZVcM62/4ouZ4tEnlVpftvODwWILTnJEwxiU58R59Wjw98J9QXEo4KX4vuOglRDgPrvuWA9A2VrpZUzRgrGa2rAyWJlCNYmdcJ/JLOUIcsVwvq2brtr2mQDNhrVTgTtFpbCkV3MdOPomNd/oKhybtc47WpTy5jmipb91l3/+LviIwHjST/c45uhHdSmWftMGqp7FQAwMGWkb1nLHXQklsCdsP0d7crvwdPFZI3HGNRvl3J4/BkakORxjIr3BX9tA0ojoLi4TgJqGgb+HJT7yz1bTeLd0DzJ+B40lE5ArcLH5M40LcUg35YYpOWUqjsBCcJM0NyUmnr96lNg2/zy0Rt/JVEKy0PJmWVLV9mPKy1pESzK3Jqw7ytpMRIfcH3rCJIdi9ht2YN9pYurHG8LoigsVJFe7CTpObuMluGeC+GByIRzb9trL3oXlpgmXprQUMLi6nSL0+gAEwZFqj3TVIUCKauIHVKg8hzQPRAJqV3CJJg4fyhnDJY0k6RJxlgnt/wB3KLsYVTqD7Hjtj68JHJIZzlv/zrSbdi1hnhvmSwZalhwz9r45zatQtUIjrmFR/Tv1VZW6yJDupAiHjEMT5yQLyhcRnLQZeVoQt+N806YvCLg4NXbpVJcMG/3yuFf9rT5VzMg6LtSye30dMnIRVjW3KlRnlsxubPtGdG3ITwHiagRfy2WQVSLWXgjn2PFWG06/VnbNQheUDaKizt9qDHt/ZE2R1yJiZuq+uddPcZ7KnhjDNJ/IHpsWn1qieMkPlXIya5BZX9AQGDXFbZCKPHMmKe49pB23yL5kMXTqj7qSL0yIP11wHu3oE9cZ9NB9+DRjrgjpptsnQB7w41XsYDv5o4ltbalp7ox9vdAFr+UG1sm3kUbsFCSAfPSXhnDrJjcW2xxg1dQIGZm/gwSo8qebDeHtI/mX9KUrdaKiQ6k2d/0w3Hn7W7OOz3ctpQ2Sop4bEzFhyC7Qlat+lctuN/icQMStJxkJhdSY7pQ9R54nI8Y1CI6tAohqCqZ/OQZ64nFH2P6qZkD9i30dY6jefO4ElUpYG3/5hlmwGZOKXbNL/WCs83E1sNG+GC08UEfGLq5FecLg5r584eXscB7Bm257OVbL/3mTGL7KavnF+uUrSLqeCb5RxPLcm6bfNyyIEoE78Ey4H79h9khGjdg3QrAK2Ks3zcswQy8ZUCrQNYhrgPTRDWqLSPgnrNUFLM2bVxpJ3bz+TQ+iz2SW9BgBlW1LZQXm981SR2VGDMyBpxXoMNXPuTqPJ0rCxjUFw6iXsD551E/S4TPOM7WiiJev3zkduGh/R+tuohrHnYJyksdQUdYtc51A9RTccMGzY6gXBW4ZErtx6eKnCLtqItQ5aHacmftyN2KPzWuU+zOLRAGhLVs05JPKCiS6KCMsC9kQIv/79YGqEOVqh1bpVpc1e+1QOBOrqadlQBq6aeTb6OctGAsKe8lcaKLS88hUqPq24RdV/1GDLIvWy+KBgkpIqmKGEBvH/ZvfZhMIgTcWUgDFw+fDwMS/F9mkeASlmXrTjFOLTUNu9zzMh5Dw6vErVncpQeSG7JHzj9naT1eg+3qLPCdjC7OpWIsagily3gtozR4JNLuVeDHRDzlbbr9eftvmm5UliMMZKZt/yxO1p7F/F+zJn2dzWnGirwDqtzKgbVACPohJRuhAevuTjODAi9eoJKz0JHBIhnWL6tneSwejViGgFZto4iQ2sA4VHrpT9r7OESBQJWYrvkajMBCg5IbImfL0AUR1QKa4E2VDLBv7eaSuhWrojZ6NNo56Hfow7NN5qC+RDoYGJKLlKcDxvKOQviit/Q4TUiDKNTwj6x9MqchIdBwSbZKIun37p4n9pHkmDGzvjzJi+MNUcAf+6STddymTzPXIeU/OpEaKLZsp5QI9RjBTBIYI3Xk27GXejBLiYQpzlNmdmAuI2LuOjUUVMMeKJP+cbVxDRR5IMNrlHOuqfEF/jNcKKTaqLqeQ4pPDORGo52t3uYFn46+DGNG0c6rb6SSHIGZWEJdvjsjIVg4YH9Xbrs3r1xHSK3tXVuYbhXKC6TjjbIDNJNFgdVVd+vsLGbXX2ccYJqvhkfmzr+rNO5dcdt2RyblHOhok9o8n6RkLxIpDY/jZqrpkfVd6vroRmo3S/GhfNvdb4saqgkd7ZEI1f95hfHqbGslcD+2Dqg46jXzcslz5BLeqOyPfp4+L40Lwb5Crc7u1b7SwQEOpJQ2i0zlEyjzav/bFQRPIF6NYGMBwsN9fePWEObLYEA8sFwyaVu38HpuVlbYhfpNVJFFqiTtp1UI8Jp0Xszj8Ll+O3xDysE+kLbHphQE+2WLHuimTDCUgLiv5DbWGEUnTH0KhaqsAANncvl4Jg6IyyL/FGPIBGkF5PdY5CaUnAwWX9CpX/xXGWUcRgMnG43uFufBydgjSA2NWVOLeJ/Yh3ZEqLGdbbQn7QgRhKOHDtLBrHHLFxqpNUI3r0WYJNSSoKrZ+kLPDUDXruoMySd4HWyvtAi+eWF3QM9y/uYam0Xlgo4rVW7NWAuZVGl33BjQ0zlw+tfVocMIaI326/jKewGtz5S2/QSkKbdggUFFNnfFU/FWcCdQLSG9xQkAJBnJ3fylmagjGSG6p9n5iAhtnNH+yDskcfwbWJ6oFuBJ2PK2bFxHI5XAzS1ymqO/T+DHNsP96B/Tkxp9VGhGggQhXZsK18v8UYdTBkQ3ArkW1NrqxTKa+CI4QL/WUb0UpRfsQuBBUff6LUgXM85ealnDOnuPTYYd0agzT1RumRThVLbOzbZlfx6E29qg4gihPcLjwH0TI2rSJ0ovzF/zDvGByK2tGolO7/ZaajoCZErZmw9Fm4ZSfSXhphNtNGdt/a2n6dGpRVxOEEsm4LoAcoZ6JWmLXsfBy7e11sWbxDpUqMYX/pqATyiH2TjUn7J42Ye33ybj7DHQlvHzmINATm6afJYTlp1ZOkxmrgbyM0hYkg9/OgSbKk5em/a90MMIBGRJX44DHM5aFr6932vW03QKWVixLHIsFBLsk48gBjmx9KdHWmNe9rFwUeuipK/JcrM3xIsQtRLtCl93qo6NF8mE5LWGDkNQQGNb1fB6Czoi95aGOa/lJJE3jceVzT8oB9gS9xUN7GFRTcJiHAAgrHNH/igoI1t0K0fPhfS8VdnJlq6Z6bgAMXOiL6sYid7L8ZIh9KcSDq3v51TfHtgI04zHb3f7fYqWm/brf8aBuw0DO/jzQxcVNGjXNVC/hJrdi+wK2ro78ewv2RPPhiuCWYiaQk5wjLZUWH2XHH9Co8Cz19CsQ1DEfOWjrf35p5zuCwoUgwVFmiHRcbipvYtLD7qfx5vj4A8qmf1V8OT+VLjJM3tNXmm9/6DAwctwiS4AqIECRLZKvu4uLwtEpOE+7JST/PLGmO22KPkJxufVP7vPpvUB22slLbGtCE6jGBip9eyfVnPQHeCPyiE8a4GSidhXH98JX5jZiJcrtZbwumn2+yOZYjbAPiFaYgqpRQAZ3bQWo1TOeuPdwd2875Xg2AFy6wtNuIEq3mPhohRH8k9cyEOzHnIkjMpJSqvgt2rGJYfg97kA3WjQObdx+kTaZN4uikwFryDH/njBYLwNpZLHyjWtfVU4icrudhLTDKn2JlRoA5dK52ik2FoGsn7+wj6QPFUXFJYp23uehGCwpcN1fE3cEEkJZQiBiBjnrP8wDfJaGeZUmLF1IsmaS5toZZUxHYCZd9TGqtOa/h855Ghiq3Eaz3msX0kHroImn2sfdUhbAdYPbCLQwbOPG0ov4LldoQ6AXqaQ+mTEJKEaK0e3bvs9xGkEqSELo6EwYvWTd2s6KRlWnTmeBD9LLqvtUIWa7iu37u8Lt4pJ2FQ5gnbp5aXKPLkaZBcJzV8sxeO7Eb9jikQDqLNRqbWB3q5qtFebWoxkG56/TCa8ZO1MxxnK/aQMd6tENZdGJPjmyKv9QN2Mc0gll1zlYL35bScF9331rYs9kEBXAYNPuGekYH1jL2zrXyc6CmZCQv/3gsOa90xADU/LQx9HZUUXfuBJ/MlPaJImRMGnWjqulesQFaRtUisRbJefSIPjZVuhCKZPfguV1W2Nt51nv8TzEswUBh3WFHy9t7eyHNJLPgacdWu22Eh/sxIgn8WwhdWQh7OoaqLkJ8iLYPCw++j6Yk9/BTS4uWMf+2kBIyfdAPTplV65tUaWKCoFm40dVgQmU5o5Y6qkLmCUeLPG94rRzJYDUcWSzkmaxtkvDVzFODtL3w8j0izNAme+mE6wjgYRpjjmzX43UIeK60VfhWwjPQV4r92owv4yNT43JyTPAXaFhf6w9rsWtl+hQOnmxRNOfXpZQ7PdMHigSq5uvqSv4uqLh+TyR4oVYbwGqpkJJRGEuJOlPcUl+Sgq/oDxMjPi5ejUXNGaxqiyU0DXSiAV2uJR/GTmA6Vn5Pzcu/ZYfOHXW32qeNUKhavkDSQNjv2bjnZ3I8Wfo1Pt/SqND8Dknt2+tb7qb2pXKrAV3YWGTDScUSt9/iN5KLpxbHgEox1xDT2tkfB9CTWzyR8tduj/UP52I1/KyT7OY8oIoDuPVT83iGiIJBw7RAg7WZHdntFsvxZo/Xq2KLl7xa/WSvUIGPrTS0gqru9QPjCGOA/4pBb7fTweLtI8MSNWz2QOofkWwupN/5TO1jXC0iSZiARN9ug6gMZTBINACgJVytz5Hh9F7g54CV4ppA2pewzkV/SkeLM166gisiH6ojOAndl/VHI4b3I1TAI324BJ8gW4r/AsmkMTvNnuqX0GLF/Bz6FnECeh7+9Fnycrfu6vl/AqyAhwbYSaEtGQHCGZP7Cck2y4bFVxPXpS3Gc5NAInN+D2WKAfRpGN0+H8GSIIoKQk1jGrTN/5RPTpMlvgALmFLBRZJyLAOtrBGWSyViQsktB+8SmlS0BmnCxym8ewjoIHrrD7l1/mBH1ewrulj/AivmfWOmiiIMHzpFRCKDWhGcu9ef4ajTxldqzKlhAeSy3q1ywmTl84LjTeybsZD45GfmLHlWV4Z1gCJ2WejD9B2f8LKbIo+QJwCd7TfsuzgZDaLd9xsC/M4AuUyKRtOC71gZ19Rx7duD5clLRGtxknvktTzSC1ZFJVAJUCvqZCEzUCS7j8WtFpfQLGI3bNErvRyiK6j9o8/wbpJdo2YTFRjxdGsBbyGaegzCE10EFNj8wp9qQMjvlWFOry9LxwI4MPv96xridNXWtnETiTRHGGLMUhy1Bz+tXRmGrSUfPLVphuoOW3tr6fDpONlJHvdRK5PmJmeRYJHhyOd4A2tRSHVEsbvDdm7bPs/Ikynu2ftJVdC73e3K5NkQ3bItP4WDSimhvuWcPgTDXXY0Lt+ul6erviDuq1e53Qqi8SF+nHHINbnNhReulLMDNwj+MqQ5xfITvKxC5VR8LH4XPVgzwKLG6sz9hwJezSDu8EZDIzytRzjG3OmDMSLlvacdt1balXbkIRup1ObQuWZEFoWOgXNHjw0eKG//IkE3lz93+hywrbhmS7LOwT9bk45VNnOYHQva0zUNqpKS29z2urTon4t1bT7+kwl9bQ5cwTQdJfyx3oxJsIYLG9YRhhQgioOlTQFcIpNYwR0BiOcqWiwlCNwQzd7m22wR4EI/BnLrt2MEzAkfXHgssliPovowNNjtEiwPTF4uaVDkDVJLaZJn0B7CuUTO0duWQNuOfT4yB2yP/LV5S0fUYSFPA8hI65aya5AgVFDsuqFdGqbFC+JnzWgfWzfxsXv541LUkd2WXTtGePnJi30CvAJ4Ai5hgJAnWwb2M4wwikw5ZlN9y/kRjOm/qFr1DqHuwDqgixvMVDpuIe4kmNzTounR7C8R+egdMT/KcLEoCMtwlrfmc6FNNpBQlBjK0mrSx6M5lEF3O6mkpsbCCV1h6OBNHbIcWTmziEQk/bakKSKH534ZxRyZYiAszh+ia5gqSSrDPVlJJWIKeI/194oz32P4Kdo7Wn+85MBKnah8gTvqNJk3IePaWfcf8gEP84+/PNsHwbPTkIjOHuYavqwQFcTUqoh6IhzJL9S/IgbtISKUUm27AofIHFn5kLAt2n/pOvsE+txlIzVpEb7xf3oGel0z09lOfXKYMqYRhqwXJ6Q10yUr94pBJR030e9fZVzGBxw7UsxgEGurY0vvJwhR0OsiXxX+UuJyfXfkAnFgUkGJb1FssRFGFZqKqcnzZ5ZGsXPWpUCfaJNvPteOPjcQygZzBgdED0mA56hXPtZOQCm11Lx3jLzHiAYZYBXYcATqp0bXvAJ8O8pTrLPOBSh9bwA/OGtH32BLHKPfIdgPwVGrWjUNxsQJIEslrtiTEaD8ZXK931ZpyHjDr7R2G/Uvy9tzkhLfSv6I5LB+EVh7qVaxljGVdfiQEIPupaATNIQbxrh6kw59iLq4Nk4u3l6HKg0YuA+YvkeyqxNn6FxpOIedrLESKqSUJELbbhOOo+OVRsEoKkDyqkwwzPJFL3K6M2TCWm19gv7V3oyUq3G/uo4wAcq9pKUdKqMVb/H0SGfyQVS/uZ5SW0Y6MMkrQjSkNUOtL6XYEAIOmbGx6LGr+ZPY+43AXp1ZRwIPSUGHQ3om3czqSzm4ds8noWz7cY+k+jUxLY1XHoYdoivUmQ8+Iwrkmi6qtq2Dc5j8LCv/i09xhv1zncemZTU61J9G3Elub3Aj/LPeEAXwG0KpCaHjY7WeJW5eaKS4ncUNgpo9CgB0V/EfGzxXpV1ythkaMaVhP1V98XZxAc6HBwSTmp9imZcwsF+Z7ncb2FkouXQ9Im8MpYlIS9Qlf2sXjI3OtAbkBMuP3RbVvjuvvrfiVNC2juPodY8KSpRm2rXIOlm834C+9OJzRb9nJzCv4XW+YwhtLKU5M5ZWEAKNHUNbvrhpJxBjasJnA8/Vf5e7w+/RN/sveCxQWoxbhieLrUJK4DbOgDeMMS3VYgKiX0+m+VJjCOQool8WQ3PmxYOCIIVuwmABw8+qE4DoRrsAjRIwiE46le9B9mG/9lLIoFiFOl61vA/zYn6ALm1HSr9ObLpny2uHTD8yPlS440ojGMZtBnTe+lhE4UQhYXoLDrJg0NJtP20d1nfGy4H31AOLu3veB8+tgssqLKD53Fan4zsKiWD+D595gpW8cLs39+rev90d+cdla7GzBml/uYqaNGFGUJvDlAdoC1AcFvhiDxrQ5d2n0QbePNAdb2AXZfQuUPT1AJiqKKqdDGMREcgM7zkxNIR2iMSIpYk+5qZ3P0r8Ow+V6NBeOZOCfqiDjYGBxGLQ9c1S+0fX+/EEj/Q/aMSwaPS9Y8OQ80fqNKJP3mO2+fWMJseQl1ltfnkHxyNkWIOrDt/tchXNwCx8/rkcqFV+OWHI09rOzzkLeeHmuYb/sgwGRgC1gblhHl4fA72zUCFJdRbYy2bbquPp/4/fmmYDkI8ZlqkZLR4Qfc5LxU8ygWQ0oocvw9D2OhjOApaX2FjJK6cgqAqYj16b7AKwCxjy3/ndcguu1oo7zoWI1PAhLzzO8CoLrdGin2oLm9KMSPmryqCVTQfGYV37gpN0TPjKP019gEt0KFXRSdw1xGL+pYaI5/kNBa9AV6NWHVsmRqb8B7TpykWFnO0+XCFrKKH/P01DCT1pxrzYWHlhCuks5Dh6GkT5gBIeNXisywImt5PIfL2hFTuk4g72VRvH5cCLpMO9cVFWEtR3vHkDVPrBRfcJs32EX24wuC19ab7eecAF2PbX9RF6nrpP2QpyqYlnkPkB82cIxKU68bm3zWtYnF9yhBz9MLocts1r3kPaqlzg1SLZVMTcE8iTKUY0T1LJcPKgkQJnoDfZQQnAFMMo5u3Da3Kv60/RduBPd5RJBUWKXohKb19PscUlR4KQVl2HKvysIlPYrNdvuFV6pS/8EVWTOT1rvt9+GpxxFA0faZ5MxxN06XiHcn5AqSYscRUBGMTjEL3U+03bAlC5A2R1QposNrx3OT/D+zykhVjug/yUZYPSHc01f2TjOyKNodDdonujbX2qUaIUKJrMswrmA/FdIynAmcsK4qMQlgPGeV208z2s4HvRJkKUk/Jt2nJxc/DfzDYkWyqK8I4spg1Tnl9ASvnFHYldYSyiHGPzb8+eyfr5AYVVpgiWfWbjKGu9xzN1pq371Xc98beiujs0KJ0qklEXyk84B8iajLO+pioMdJBlK/QPrGEuCCJyLW+wdz8/+RVldkaay6W9oUAhRftCW5vE5TpHatzJpouvBm9HKHhZvyxSN+THg7sy3wW6PsG1orZIUc2/7fwil0Mu7+i6GPucQ0s7xB73jz2Oyp0i899xVTvCfBE4Lxt0urUpAT0va/vgEaTqc1WmuonwK8uSrNcFjik5aaX1SuDRdlU2knfkpeTtegNV2GAAK5Opw2XkI++h0mHRMX8OMAuVY4aeD3A+nyxOWb5lQX1fU//NzEGTbvc6JTqTaJm2VXsYXX+le+KUviDG5kFbyHL5ynnOqLSxZj4DhLoeiD2d3hLSHUbvukzSaipvGfjmSdZBIIe341AXhTjX8zpNWG9EeaOctypj4ems/8iEzKlSL0xya2K7OVchzP4XzZPkQQApv8PsRLQ+iABu+d5RRSrz4z2TW0X9PamTV/YlEP/ESVRGWjT13q9djdRenmXEe4sh4UeaLAjj2l5uXhSgW2xQz/170BqmRlLv9lwqzm0PqdO+CxFuebt4yBBPygasLAuLFF7+Na2XukYD0Fe162QGE0nK1WiiSvt+xh6pR6O/s4owuSGf6028ZuLVPy4kBjUfHDagIJLGSnnYcr5j3awyvLyT4CqgOQky1+er8tfzCfb7ABlp+1g/PCMZpItEDL4uxWC//u9vHQkToV8A/ImToeSXkXPetFeCrOTXU9rfyb5m+mWdDSMNUVvhDNX6lqcH9v+ovp1jYbpTETIqKT9wU3yYfyGUY+pUfmELfHo+KFoel31czo/W+A+g5iyI95PD8lNJPRjbxuzU7noETvXQ/yBSUOkVSo7vaFy+KE/NPvKJb0wokuw77lrBgtqYecKBhF5NuLaSgUTTFNQT7vrwbPFzIbeqj1+wkV7XFQqTvc46nYSEgm1uuSqYVvk2MH7+sdIwMqZ5cOyHmKXcl5271nIVqUrI/Thv/jqpTWJBkFmUM36IuDn7f4gVyrpH+lqpxWHhaECgZbJNPCWK3capXq6eSvbtOyvQatzYvlGTBj0fp/PJIlTqRil1biTBimKqhHL8378qdOwAKBVJrlaA+SIdxSJ71JgaXMl+EcrqMcpTCA+7gXouOda1gPwVSPYyGamShSH0thQlzI7TaEP035+ZICrKwo/PddVsh9M2c9zqsxAx2UimT0xK6cBeEC7XYfvUly3gDzKBje5160+Qd7dN6191nuQ0kknzg98t4ZBo3PJoAOlOtCGKGtWhui8yP1TmNFec5Q+ni6FvzHe22Go8cGZaobtYV3s/ykApk9ZE/ZzMRni0JYMQ7lFhM/5jTzpxa5V9z4QioeYguaj85TgFKaVGP3qu4tpR0dF6jWB65i9gD6vJ7e8Ca2MUxvqkG0WSYi+sWPdZC+BVhyCIUU9BGuuIUwhxHYUmPRG5jCjCD3hc4qTZ9wSHjS1/ob+s98i3bAJRTpOCXXnOApfyA1Zl5NiBm2c8NDM6GOfBJhb4G40kT31/FfJhzYnrah2ddIkIK51S8p20nl3r5zVzP3WKh9f7uFJ83J02Ur67u9WvH3zvrWeOj8LVgryP4RP5WR+gMxwwHg82sdz2PfF1R2d2PV11e1LTAME358CyiYCFCkWIvlW3g8XuUA3Ihh3w+SUK4ms7KZzx3l8JRpx3sT52yKOTvZbqQ0NbqUBBL3ZPXKFa092AK9U/7gbqPODDOyDVY21/yC7Sx+2VfWUZz0ksrfnvsVO5gCnChI0fDPRWlZILFOPAt9MmDrtDvdT7InLlNym5Fb+KYILthdbvIuG9i+8mwgjgo/OmkTcaHPMvXp/Mp/RHemejz22d4LhkThIMMan7O5EaUkt0aqwrL6Tosc9J+NFVesOeYDIbVieuBlUVVkTsK1k/IRc1sCloyyUyGMhi7jdje1mlolc674pTzsgoVMwhfRPm5QzkzeObzxb2mGw0jRxy53WziCBhLAgFtiB686UZPPJYTyKul0dGYhPHn2ZtilciyjRFfK6eks54yiebQufBvnCgaY7IWKydBnbi7QCbXwORcdgqauhm7+MuEY6m8xYnuM1fju0iwXvPJvha/pS5R0uaOI482391KMCduTEuMiOvAzrxyRAnOJGd4nQBUmtN7gAI29I238PgD0zr6sawCBdkwCLPZ1PF4nsck4jNVZXfMU4lVzL5LKVn9g43yUg/ic+n/GsReK6THmO54erYUx2XOigukuOMGTTM4f3zcXgdaCdHjTCdDTfJwj803xC9FJwcG/ndd7y5ivmoPTAaXfmfzXAZLUv1q+cvx4TR8T/5pFxt82s2lctylOFzEYnUDhlyGHVXrJDahauOy2u7cCON5kHwDRycL2fmPykp50VRtvEPh2hW49extG8VrzrbYupZVEVpfyvLvn3N8eqmjvzoXgsoJh5XkMT5rMmEtzI/QIQctDriiGkxRAb+hsYFltkhJSSYtDyEkF7jpnLB57HrUQCrpyu2Hw/Jm0PXI+KAt+9Aa0tHBtR2PHGEv8VbzbyqSgNYH2TzyuyWNyiKT9L/ZDz+aAqsSpkntVd0MCJ1w8CKthOMuwcv2STICEagWcyRR4TUnjCrb2j/rGk6GE9iFo7AWfpzGclpvCTzIq5kvxrTm87f9EkK/BVOLCTvnVi83mwmyhkFjPpU0o3+KRsGVvWE4Nezr6z7RGT3z/hdiPwMYzEa/Bwvb7bdQb6NQ1bbk4OKqtRDy1+mlzNAZDJ0YRcQq+L2popm2VbcxG5RMP9BeoQNMcEn4qoERrE6u+qKkTQlXJVCuCgtq1JLIhxgK71Kl7zet3L/mYFIUVeTth4ur6zdsNSN7uOIsvX1ednhDXRRDh0QoqKqw8sxILRRu0klGguYTwTWpyqTTLadPY7Sj1niyTW9AB5ycjl+aGdHssvDbdoRKFDnjRO5TNpWemgwCFpsGvnR8uU84TCnmDsm21v9idK0HqFrd0SY8A+5HVK3bw8lGJ/TkN8iGDhOpFZW0uq257GEz6JFHa1EyCT85Ql7mZs+igH2NRqd1nJAp4aUPl2vVLvJiHy/LBzESp9gvP0GRSC4P6OIwhw0OkyD0K23EtQMsqdBPK74vqnJN3F60FHogYk5rgXSGp9exxqZyehsGSVcaBtfcwubnsk0J9pufhOG5LvGN1D9svd9QHZ2q374ZASxWVz6b6ajLMH9auXJgPF+TLImM2R6y9y/4VL9Lwg2vQPYpjtg/9pDVdUowMg3bzrlvQZyyDySvnStiVfvRemPvx3A39ZX2fyoKJ11YGFqpAWQ1KLCoJ4IBZiVv7DOTOjJ3NsbghnRo6Di4KEsIqcwLX8C3ap3kYjmLpDrKs+25Q19POy8psbZfo3VQDrjhCaaut89vs2Gu6PiYQaPxnjIIL7UvYkyQwrJfzFv5M9GcbHT3+FXTHIPbB6UX+SvoPS/zOql8FbknGupGJBcFdeXJEmHdx0paXFqzArT3jyZcr6+uhTMmkQ5CvEFdPjUFoyn0y7FNzxF5CtDnyjKm55UMTYOvXiCxNhufAL4C+jUX0i/3ed7UjqlBG14Tw+V7GGDoC+wsgDpQG/IfVXRY1dIzARz+0SOiRbaMaPphtnWU45+pB9qL9iw3QPyXSg2Hp57UXXm+y/d6HYVafX2JOpgIm3g2CtHguhRLv5Saxlz+KAHE1gzCWeQ0MHLGrGRg2Z3K14OTwIERcRyR5GFCJXscih0hCLrOS3pLnNuVgNGw7T94hWT8aPkXhgkSVJyr9rfNVz6Yq4bxzPtK46wvzGN7cMDwWaA36Ix/b7GNTueb95PvEUeHRYdCUrxRcMbf3hLCjKcPiJKIWgkHKDRfdNeCyKxhEyOPbKHfwSR75Ffrwmyg5zuYJL40GbhbgFzFe7WuqoFSrkV/HbdHAdVp+58WqaWKnWgeNfg1TRjc+KhdwWLj5T5nrHfers7ZyszIMMtiWJZmzMFp5rG8WKB2R0eGSVn7uzMthrkZqcFqyVFPRgwronfMi3+S/Di6KPK2vVDo++BeHJKRPxoZeqRK4uV8sOfYZtSOJ3yWCt+s4+mjKdFJuLs3EcIUMb/neaysMtvRwj0BtRHLq3Ff75/328ExAZbsR1FpPJsCIcplK9DZMTy7T2hyD/Mr6Qlw2R0Q0UomZP8kbFKmO9e5aEyAGb4115fPYKAog4irfrgPpAttN4rFMw1KabIvPoM+CXUKTqDBIYylyl1ApnyvD9v5OOxJE1aQOGjryI+QpyY82RyPWKMwpCkFd1qP/6c1jzZc5IBONKtPQXJY8J2draO/ZrJ+3AV0eluW9Vh1zaR7BLwWs6Wm4l9Ix6rH4zBxzkC6Q3yhyK1lG8kwcinyDDvaC5+/m9aLYXYfQmPBN03Vqs9RvlUQjLD25PX0f/pE3l9tH0YpCXokPOHarJCvVngGs4Q+nsFQE2Ug3ZgodsqNW1LBtdVaFEI9VcnElfgDiWiIxryYeeZG905f6QrxMKzOZkfEWyM0j5upQcJyOpaMz/9P9wD5ITkopey1BDA8dhtfcR1rq5fpnCL7NDDcemWOlIlWS0J0mdoHFNQYBEkqFKZW7qXN3KzvK/2CaelmddUTiOmYCrztrKOygokM/x1szJVBk608UrvBYVIohyWAIDQckl/3BNSGjtoRIrKO3L9Vzy3Aa0+rArtfUU/xF1GBzHMxU77KhqzlzYNKdY6vjDfyRQa07PPJVd+8ECoQltU9GU7ezN9uVtjBRgTEXlHOYSALtCI66DaCJNgUtOnTUkhiJbLnO091d+GLtB/gFIzeHjfztrhleGrKhMPF3yjsgnOmKyOR2ta8J9E1aK+3dvBxDLI0U41ncMFCPnzvehQKdKiGxGu7kXgfRuQDKz4Iru6+u8FmcID/ySytjz6oXYj1zZjV1mJ/Vl/NjalA8thb8OlHXAPK2Fpl1EBuVcDRrfOuphn7aq45ZEApDd2+wLmkY8TUx4Ey7EAjXtNwmPtBSySuw+TcVr0fOW57ITC3eI9Su/0c1hh6F/qequ4Smfoc1kgokzXee7Fqbh9DAV/4888Z5YFX4CVS+4Er0Tk045aVGv+fldHwBFNiqY1/obDIF1oe+aUIr7/f6ZQdNoMZ9LusGKuWji1kfTKVQcFRxUx6HXKR2MUXJXTIrZj/qmRQbDwpp1hrplAnMZ9cowapvUVm63pO4RlR3SUP6EEhCSFXACzn0mQwUfGn9MzIr2SbzNjSMcJ62QCCe42WgP+XJD9ITK3yUp3HVz6p8P2KFAn3PEveyYb0rEy2/u9DXs3gwIu/n+MBVw5BjhwUNGarkKB/CA3OPpBIukd4zUaBBSPibKXoBXe4bzmkhAf5jLZ3Ck/bb0McUT6Pccpbsv2E86bm0MZL1n9e5OkNSJ0LJngKSZwNdJq/6gFkDkmtPnTQf0qLAvYPshDsmzPh8/jeznKEQZTG6Dk9mqAPpptIMN96MdMhw/Ey8vp9nNbl1+hLgDwppOftFm+aSXiR1JPh3A/FORDMJFRCeWYWFCecPnN64Pux3C1vpnKjIWLMx/TB9CzlMUGWFzcH/ZxZ4aZmHZeXkIOuzaCO1FTszHlmv4KMDMnFbNxXOOz7vhw9/r2kgax3nNIr6I89+tmbPxn74EZMWnnAwK1hncb4AlMk9HBrLCaw4B5nFD0+qWrjGGzh8RMEq/r//31cgMShL18ThaBv1+YLXyEJV5FEAA6mDNAebO78jOhKQl8Z4qZkW3u0y+cOeAMy6yt6QnKCvu9UxYnc+YDla6omtQniPTTBVkc2c0KfZbb37uWxTmYAiIO82SvI6bViiXqbNzGOPImvckgyATa/GgzpDGjc5cIpfafX1UO5POSWjEAkAzSFzY0vsjlLVS7qEqfV1B3CYll73Ein7WH7jvJ2jX9t6/s+73AB4fp8FCvfaf9FwLbTuwtazsQuQTno/A9VzQ4KcM0yV3/8RLbUi+GmXaJIEW7guefGkHrIf2qZaceJ7JKn8oSkgf6VpwZm0176KGbq8MMiHtYHwYnyNEir/G1ZXA8YdNEQ2g6zebxt8hLzSqcDOxZJzQM3+EdVbf/JwTW1SYFZdqviMf2D8x85tFHS/XiuOGOB+YAaRc25xU5urf4F0eZLkB/jZAA7V0WgNPMHWnNO0ND0vlk74dtHcE6y6BuBwAVXKz+yX9aL5oYuquIhMmkWaoHsVeJpZeie6TKD/GmQ2LJou0/GaRcm7eYJi16GrG040tEBJTvvcYsJeqkN74IlnkHQ7TbZUO5nKLoaTgx09WXiuMlONGBF0J+j7W/wqKLvXvvpBpfnwLujCVIUG9ctAztV5nzwkr2jX46j6m6ea7njz8LKuIn/eJJp1ipLqK6tZbOKdUO4Jgl/JlQi+OKvO5MxGyUJpIxFgZntmKoyhcL26Y/bxWwOieWQhap0Hxst9yy1fNqLsQJGWRcCGb5irTOVGhIYuRxiCHFIzkjiP3uMpD30tw59qqrROdanEyOf5WZX6N8/n9C7ufJiic9qpJq6+S7++9UkNDTtAAzrNR4ymKMcSBTaX6pwDUDne5XLdG3qEhNt1OHN5FoPmxHVoKWfo9vhrSbfvATWLR9tCSy1//tosUHQmaH8tdLstXt2EYrC+T90A0/u2gFJwtylcJc9tsZvdD0s0tOeLV7/KgjMMbdxK8yIPsKNB+wWlxYQJt8xsYqktx1/5S8TrO1gA+7l36okteUIGL266q2eaIXcftBBsqfzk6YYJraYHR4xdNHD52LFWNrOywhXBiOG2pL3b47p1eI4LmaIofPvvq8BvNN5mvdx461hNHykgVpzQhWj3v+DDqJB0IgTVsBFMtP8vdVw+loimwOiyxUFpRv3fDe3fkPqnE3CAhN6d8WIXLDKz5F7pI/77k8ydesessqLny+pURbJEOl8/RzZIEHmJ7NREUGVcY66PJ4WY6/IPxKqkau87huOU51H6eisFmlQkBxw70lljn3+UH89WNSZvh4PI8AiiV2zX3H4iO5tgvHfChWo63BeBw9ib2ZrPDueMIpu1dvhaiICJDDbRiaBfIdx3RaZaK4ZAorg/oz8dOJxcivgXNqnmgtHCRC6mzL7gxMia8jY1vtUPijKphEtT1sbIrffY+OBHvurDIXMmdK1bBeZg1MNdl2q2CKmSbmIXddq4kIOgHPMs6aeqq0KOeJL2zg3uUgTBVwXzKs56Ru7V9f1TlSYLDNmZi5P35SHWL4ILoBnzDuc9wcqzk9EVtPe4pSmuO1/f55KAPTNHfY+eYFJ7wiydP0P5TTNcByVdFgPy1oMNvB1wFwpSSSZYTTMC9ztClPMbPrDiMz1dcKYdrqc3AgmFSVqp9EIMKNRXwlq70TxBCBHUFLzwKex930RoMmUMAoZLgCRYjjPH9tsWjeb1AMq0c8rlqE8NQ/V5vhgY1E60EA8cYfoQjVvuAC+NgxSG1RqAThGH93LsBTzwVdUX7idtobM8Vww+pMzMfedIX+WdjLQ7eRN2i38CMKuBSLzRNYXDiha97+b3VyTuTdig9eH8Xxbo177WOatuGyYqfNam64HRwsv2qHlkUKatCFFi56jGJOPaQz77ebutJsILHOv1ZM/jrCqMDz5TNCMNnKl6dry90DXsbm0XgHVrjckK5LW+kJHvIK7RkBaB7ZZ3h61BnQ29Sx1XEdlIPHOrRUwMdgYqBq5QmFZH7X8XaJyX7VH44xIsjNIpKgoSVxYlUAiNZlKGGY7+17kDOMR62X719O3UITBivm2Aftf749vTUyVKtWMALPqB5sRaRsqHlGuDTC9twiDYn1v2fEyrPUbeLeOF6yPXApmalXGKIHgXtbGULzcNXBvcVn4ZqmLL9AAUDlVWdNw3f2pbbqZEQeMtLf/qSNsjZU/ZFK71WVGs3ChHhWUgZO0aUvbBDbhUTK9N2QOA4K4ZXrFYSYPQikipTdpQXBF/SEBcdVb/+tW5Hv5TuAXAacUorrAPRCA9WplufJkXMYYoCHo0ne7AR3QG0rw4L4yRImscQkFQj/GOhO3DC43VRvL/x3GskBQudZSqsaoixjukyImB2j3/uO2ZnGK+Z5KI/jeh7k5KNmNCUJXi8XCZyTmys3rCk01bRjoKgD8GxH24BFPIK3emubAv7W6LSx0sGbZjfGUm6WmKHUZbINaXsWfb1FEK9Cim3BVdKP3kMf+aC7VJApr2VAE+Dwmp7orks56x1AcizdFCEq6FGyk+udhn0TtKFMw9zesn9JWLBYYwBv+zM8LX1IHPhPV3m+m841C9y9BX7yDzF2t1z1v3DC/gtRyXPj/+i5rD8vJ3dxxhA2T3XxbrYQHdhtnr5wb7bYP624b5xOFJIHAa+1Xnzmq4iwXlOuqCJq/nZUOaFTvO0dJtx76twreOcKnlwl7dSeh5ROcZ7+9bbMvow4k1F/7jcnsWdcE+VzjtqqPR1db/B1rAWyP+G65E9adI6XJY6QNRJ1AVBONUMLZsEnz9tZMX2N1qhBBKOoHXpS5QPMyj6I8MAEAow3sYib8hEPc39wfHWgBM1qhty5isqR4OybX/zK4vTrguLS5z5Q/uVDuzhUFjY5fuQgn4uJYtiF9lU/3KsDEUmMzwZ+g9c35SpqoGNxzNTZtEdNHkojLJx3YWbrkK6m8o5CC89dqRNsQG7XuYxrv2TwPR4oxV0xZlysFEgrOcYFoxbZ3SsPktZyLTf0lYiI2Mkl7cJVwd040wFTKjKwkp8nUPKpwcdumd9IhQHgvMBaT1e4FBi664/ucPLrIfmFxiMBvFGjITDgQQLL0/UrJ8Iqka0/AaNxjQCxcASvVCN9w5gzfhnbIBZltGd+s0H5E4rY+0Qc2VmGxOrr8fvaxs2DJK/Wq7TJT0Sw5z8f+dC8WDZo50B0DxfbhbgbaKbA7J8uwIYQdg0pyBmOJhIDnFeKq0/GoQHMx+7dUT4skKJL764EDZmdmCt7OMRzAE1qLlupr0hXMxDCTB9F6r/7kFsPzSb0Y3GlO9DtC54l6Oqvqjtf+hfKbehM+R6lremHw31vgpZ9Ic4ALxIYV4hp22iuDRqBxX8gXFYSs7RtGO37otDC/z91yDFJ/I01/Gww8MHbOFxtjNFmejmDfYuQ0hnHByo2suV+lLZ570pDWmLFfMiZDa712k+DaHugdDB0P8LBsZs66FW9pwKepv4Zi3DmDCVEqwsmb3YMTSCZwRW/LghQybbuaZGA1wIuMhLWlfZQAxl3Tx+ghR25+AdWsbu3yDZ52wL6WyhMFalgM8utu0fOlaj23IGdVsu/3W3sOIO+GmuaYk9c9c0LAfKjB06BWzyXp+5gFH66ZFRNluL4kKpYycFj0DVjW2EGu1nALSH/RqiocrE5LmlUCjU4mN7eBn3tbVnJA7lGlr45ClBv9ppbisiEaBetLXA5pT5FSHWvWpyGGS6c1VDE/BbrH8M/1tpSZclWJFvMo0tXhGeVxBfrKZ7mvVnMvf5FTDI7o9ST9M6zRjVvLLcg65aIHNllMm+wIzrNO1A6HExJO7BBP81CV2ZATMIzHkbYnvU/W0PouICxg/+Da6tg37rAvXgnT2pSHvfm3GmpM1E31fdf8RURMKIiA+la/5D0YbDPWE51+DxC6y+M6jv66XcQW0G9KdYaB/Z9gNVFsycGWhh5hwTNwe8GJHRUuKkrZplcUTa4phCweSKyj4LxZq4GrxXNylWYkLSDnSQyZUrEBR7UaTquh0DM31rTuBe1XtsM7REk4GFmkmg4K10puMSkqOixaZZSteEJHF8qc4gaINfpoKbDxrho8YDD2tHzCyL3+D68236VUUz8dfr6bWehx6N27RoEnwB4pP+3FDAMLILww7szZx4Yg14y/bGe4C6qHQ+Dvd3BuQmJ+tBkxPGm0cUuDrvM9wtVq91MSvZRunyhxMLvsW+VXHqMbXaALLBYPv4rnz23hEfCHKYMpj9xqhWdwPDddyZzaWzAqYM1cxzNKVshZYxCHvXas+lx+fGNgZ+0mixna0tFAJW/Woe7E8ecR9/JUel9O7SbFKAzyx4WlNYZOKAgaQ204JIeDHOMSMCHFSmAeQafyYS7e5OVmHrdvO8y7p52AQ67XD/NBnYiVhRr4uJQBE1sANIQMZhRub9eG1DnxxqgOZF9gyUUsu+dw8aKOX9GQ43Tz9i2CqDnxf2Eyo5tFu3Wh0E62k+bdBwhgNk/o1Y519UxvZUvo0q0DJK+Yzgqte8mmr9zCgwRVRH8jwAantzzNFoI8mkJuhM/RDdOTAdOvzMTuY6yBxJj2y3zAwi5+7vdEY0LQkCkoC6E9g9CUUAfqaarQ7+YnV1lyH9sqr84+E+a0eX9xGiUG8vmPjFyQW91wZzaZMJgpuBHUuurAx9uTYjmch9LPT0As91i5I9heZnFcJnNd3vu9Jelpizn5En2KW7L4JRfGu63TgL6sYvgqJ+clc5BT/subKkVU8xEYeclqGA=="/>
  <p:tag name="MEKKOXMLTAGS" val="1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aYhHdubK/b9WYMbiqTQFZNRdTaHJ1Coz+gznC5J29/l+uni9WCTqRMIgVGBy5FSCqTCP+Vdrf4pg20L7fH6DBDFZux4Tz8Y6EIG+4ABhVXG1eVDB8FZ0rf6hSs2gwP2iWMPsE4vSr2qZ+sTIxP/yt7nXlzA42FxaXCupq55fRLbI9jA0HOzdgY5JMkcRcNforb2KCbFaDbSZwu/Rm8JQ7chNQ4jlSMIRjZ1s9kX5f8ag4sNcXawzgqPPhgXp9GQCYVL6AcwlGCBlVFlhTKxa5dr/yF1DucexU5Y9+TGXolNIRJQmpQzbM3UkgdDDAiss5IAM30N9pqSCN921KguG+ntbQeer/hdS9FWq27ykqZGBUWn+2TwnniWSeeuahZjW92ghW7N0r5zrJkVX+p8rT0WWCBRPxGTgFLEZSLFIGlp+z3iqFLLYt5zIFK/Un7Q1VpF9ZxFw3eM7ha3mfI0jYFNu7pExocoqdabgYNG2wkMOTd3RWWCvMGa4bip9v+sf+5uD6Tcyfjw38H6LaYdsFp+vJsOpibJuvhFL/mE16yJOZ3WdTbXfaZNs4Vr1L2bZbyW0rYQsKFLvwL+kZpVEXS2HX4e+Yiu7ZlFDhnGEJ2XSs3VsqhyDs+rM3ai5+5BY4WyJk/hctzaidA6ZEUH1ZYCczDAI4Qj+AuJ6gEqGKej0jdsCC0oGJSB0X+goi2tgLVDPKk621Gxd88uYGGKwe6yohrjMO1b2lqY1d8xTEenGWGfxxu7QP4BbmePYPqu083R9v26qbsa5EdZqBoMZEVxvsFle4ElqHUUxYR+qVhdo0WH1/JfOFjBiA1xrL0NahTzQy5ZY55j1VucjzsvAPOh+b0CI13HiDWVwMzzjs6ykXojV1hKisDL9IBs2z7hygzlCEcjiHHpRyQte6NbSOhT0YMXL/CAvcjTwPsZe+zDNqi9tngL2hImYF75/RMkfkra5a7XKx/aZv1QHwCY2cFNkf2oOROrK9RRnkyIh8hy4PCA/Cq0LcFiHAU94XVFGOC4jK/1CCX+Gux3WbYzaGivhmW/o0Md0Rq4Oqcorw5vca34uB19T8n2tiWXn2jU1osPcB2ZmjFKBvj7S7Fsi1vjMhI9Ti17A1OiSoQvx5sK0sG5FFqXR6ueumZnpK/FwmX3kfsCylhKpxvtv8jd2gYXv1bUXdJlU7YA03JCcEjkurGXssL+W1Pa/SNWJ8N6Hx0UBH6bjOh+GaQBsLM03B5U++Y3+PphmfJDn/c2WsR3NHuNIlMmWKl9ePgCWUOra+1U7mN06kCFGACBuzqy7aeSbVg0gRvLwV+XMRcpKlS1u4CDdfmcE2nbkx5LKBNYGAxOv2xAIsO5jv9CM/HySVYBRhZF/LBQAs+uUqXUR/xTxEVx+TtoloHJdnnI10DNaWVsqslHDlgEwL8rduRX+wDilg3SzPgufEDRbOFI5hbq6rtFf3BDiJLBoolQ9wnjSXHUXsKyVk7ZCbxiZ4bp0mEopw7iNbBKHj1ZOqzpsXe7Ak69tNmD6+Q4TYyPfW4u+BnR9C732LOPgqQ2MZYTe5+c2nsYlHZJz3N40uOr7HXGdFVDrZyDP7cQYvhlUmY3bXdiA3PID+q/f8zwQBdvaeICEmAg34HPvbEzwinKEQDT6zP1ket8brW4REWChzJNNPGbwksEGVqyNkFzDMcGSZk+oqlfo9Z8Esv6tfvy5hlhZmfCXVeOH3J9zfP0+z8CKabdPi0gEVrM8ZwKH+5N49l24d3oOPDvENHzFSOXVWbWPn35HaGlrV0XQOba8Jr0K6BfKkIGcTtXrUASpd0hdJw9SuMNw2sUYLWA3ICM/QFBmb05qly1AdAPHx6NKX7xBDe4cFjBewkhlQac25eQ2BmFWKdk1qMuoIBygDVOqJpsVldU9jgtFT5uJEt66Lp0ezCr3rclbuJEU8h1StlXN9m2cO6R7HKCFEer8gycUoAYMw3/iHaflMeCgC20aWpnbhp+I84MhAB4v6UNd+ufSi3RuY/sfgJ1gGy3YK4ZvP6E0zkXJaA5xqqrRevCIrZ6DDNMXCESMGPi6MQpWPTcxMZtS2POIEyi82vTdCaiXPkhCtQAAyN3Xx9Cg+7DkeDbuk3A5BzH9Dz+SEMVYycoCFXJ86gIWc39qIISQ5JjsdekDPoasNnk9eqbnwQS79+E/jA2HKwKqLQYBlp1Agxmx6l0exfkFVZlcbgPi3lUyPGNrLQG5ShFajVihd/zZv081qdg+8UFNyoXGEu1nt5wCZ0ui9vNRSh2QS9Avg+/PkH402LnMmEIv3/hqLA6a6qUKKzrruQiABel8GoqBWH3KCxMme69oyiIqeLCOqICuQk/yk7pS1nyxPiHKX8LfWmmWG8EwU1IwMU4NDUxVjOIcwK4zMXdtk1mWpOMMKaGrYtjzaJOFdtbgQhlrNOVM3KCrxqww38nF20OryGjEmQKZTAM68AXek9wpl/RSFJtPpYT/LAEhRvtOnkxoALaJeZ0eU114WKfkglqpd2lAzObRERhP0SY/TCQLsVldLhTW/BBwLdc+uRyDGWjExm+t4yqCetVDo4t1C0eyWJZR8Ci8SFS+LqcbG1ThE0I2fr4MzGifIM3bApsTMuaxumiLu/1ohqfbIdkYCo2/lUhbKa1eFIQLTM1N3lcPOfh/eq3NF1DCg0iKJXCWJYCHo6K2kuDCpj/NsWe0AyEcL/3+3nL5UHgqr4YpUH+GG+bLjdBZtSVv/H73mZLZ+cQysa2Qm5aAjhANFk21xCKfRRYDRPGu/1iIP19RVw0rMZE9sPezelldUDTs+vv5Ft0cUZv4jcz2N3VppdSKuKLnszhntROv0U9XfZ1c5ovc1LZumBGMb8cHxrk5RfOWiEDCnNd0xScr0pjxvogSJ3CW+/mBZb/OmDCuh+3z3YylthqequT/WNjDRXfp9UwMc9kr3y42YSgsC09kpaYLjJg2J2ZYUcNin9bmfwEc9ROOJSEsG4bUU/Zr0xKO5EfD4NTB2K8xcTyiRXcWVVbzkHZ5dmEBBkZ3vIlOGQt3CeZpqk8RJUrEhlawiAL/YC5Nm+VPWOLy8fSWjfqCkRlzpbbdlLBfn/6c3HAGf8NxyuxvHq2bhmXkXLxgZKxymPuWHtTR+mUmmHgNO/mF9P+iARSNAJng9XvUsXm6vIWO0AO+J8crCdsM+fzlqHqL/uk3WA/l3c5FgThEoAGUGuvahsU/kFelthc3V00tBU7fVGtSleOO7nG7uKj9ccipBNBVv3UgZjJdSJDhf1UsowA5Kw7vOI1GVKMVnsQXFjy8rf0wTekQN1+IY6WcO2YKRqrpQGFD+z91/6Uvd/LWzxOn3PdnsIyTT04lOdIy4ulFqKSMwVONZ4XyPPlRkqX4lYi4IP+LlYXNWJYVlREfaBlASuy+sPPAoBHNwQlG1nRfvF09h4+h+lnkPj9kQj4MhGT5Ppeo659jfPQjxTO3NcJw5MSXzPQTekZFXjSDYrz5DgaTorYk7SIO4hP1bWxGjPW+ysDATkdzPNYnOeqeEv7u8+Onguh0EOnVUd63zYJN32QfT0//6zikBt91lboKiVLBL7g33OCJ3iikz1kzmHg77TabxE9e52Nu2NkIEvTBTf9gexzD4YPt1Ly6Q6YpE/x6VCK0N3WXlc1lo/ihdMfA4EpT3zV9RWbKjfGhlqD+gYzMXyfUO9HX6m7Lj0IzfK4p0p7nLrJPQCu6H/o+JYdGsRGl9CikCdTK1/c3ipDlHJ9ZMRAXPwdnqdVhQPme9/ItKbl5aazgnM3fwUJRcR9PyC1fFwd24kzN5Ur+mBdWn4X/QMKf/6NQuVHohoQjLfHG594BDS9NVz9jFWTFcsHFpJBHX4/AHwzDxi8MG0VCMl73BNZFJ3LX46k1pLAo45TY/wPrsOTbUypbUSo84sLoeVjBt+f2RWPAhsu0gs8GoUC0TbLfbXyDbAvE+N4uVKGnyGPD8XiAuQE+K7iZmZAuwtf+5CHc0kVT5SYNpw5ON3vJ2uOEORplupMf6eomMYzY++DvDpsfRuKPdYbFpHr+2SoPvMCBzEo8SG6SZwuBdk4EcyXkk9JXFfzzIX/a9VsEiiAcyaOsrOxfE8P09TwjA/EUhiGdJemX376JQmLSpjQm7Y3GvbcSTfpcGwUogP8q/+FMq0J0xEgmx538YRQiwcHMmmbOLA5f5FN6H+hAkWtoF2iZBLP1GrPKuxxjjLjNBqFAorz95kzEPqZvZFH2znwdDqe+4jHgX6xTDhode7L+Hpybv5GsrymhfA7un4nie4is1f0n2ck2nP9bx5tm3Z2xT1shTBn67iK06tlc0B3rkixL1D4DAodwH97Rr8VVE9HFLfcjL0NcKASvAfMDUfhjVwaw89HumT+pYT1UOB32FgTI/zvGHmoLDdHGqrAfW1BvHbQSqTvicgs3ZqASd0TbYcpm/bfV3p54RYAe3O1sE9QTtJtLbxhfcv/jtpIjq0W6AHbALOyT4rKk5FtOcXP8KV07gC2NI2AP35v5sDdpIS6Ro56KjjaT04ZK1ipyFk5IjNIMaNP1KC1mO+L7Ht8aiFc7OqOSgSBwQidReg35l0qBN+3KGm46apTwI4lkoMFr0jzsALrnTqo+UNninhBaK32rBD02brIMeaviGJKuJA3s4i6LyDY2e3SbzxkKrTdOHG7mCpA851SbZcxXap0oaMuIs5EL5Xji+b0oXVJYHohz/1nIeWxj8RAeQ1BoRD8EMlRZvgPeciwKmOCAfvNWKHwuv24yoFFyI3YYg7YFkguXX2U89azS1fbLJAO+7MT4Lw3MEId8Zi5hp8/85nqFA3dHaYS3xWgyD4uC0hT9ak3Z3r5VExEk+66AYmqLbmpF3THNk/4KaP7VMXxRySlUIHdI4G4kFSsbX4+J11enUYDeg4fv3L4wWUaWJc41krJH3u6WLa36/TIJTZaTfnh9ziGpZ0VpE/imFGOvZhixO2DB+v1oVQxw6TAh9qkFd38CqWs6J/3V0it1yERhDKgFrAT4o6GCOI1+JkKcooVkJD7tkBZ7I71rI3Lj+Mba0/jHtLhkTTGeP/bCf6OccTB5BJDr+++Gd9q4d6PZvdmjZy1f6TPX1GkC+Fcf5fTJJXj4kGJxAta4U5sv4lvAXEDuq4fzVXO1OgamalRhrR7IqYcxdQeX3O9INWeX9fzCKGmTVJLM2bcxMrxjrN7/LSfSQPbRWmX/D4w8k30xJNwUFrK+3n2zvIRwsJ469WcOCDQjq7SIShy1uMsBzqtHmI+eyGK1Zq1RVtnwc+Oe+nlP+b+QfAJSPXiwn6AA26O+BUNazhw0gCSdHU+zbbLJraxPgDUcHHEym5OTzInfO2v5+HjTSD/22rbrAl/ZgZ7iLhQWBY7UAJLdy2TcjtYRxPFFpAZJHeGCzagiX8y3pH53dJltITOp5IA3trCKXhM7nA8cl4gYbT+mEHgWoTzkC68p7a0oPZmIqWvlAa2XFr51rUTWtq/VkL9PweqW6GeshnwLPltpEGGipNMOreCueu+WBQ31/gOOcrbc+udbGEcFR0IR4RraJ+LHD6o3uXjivhNrmlk4FRPFOvfAuUxcRbKCgKCM5fP6JoAUAVCd8mb0BLX8BwtG6hrGxhNrNfCy5iiba8AToGrtL4e+TEBjNnTp58Xp8WPBMo9Je4eRww4zXE0TouGhEmSZ7Z51myZdggdWvVhTjXzABzjkZg24W6GfhvpKI69Y8WrplLIuv4GFUwGJeUBNu4y+c+tfNDQRQwqj8941dTr9leQTjEI/V5q37EuQ1V73sr8/3GL1U/6uJWSz9e65NQpEQpIr5y9Mjjjvd2rr0JCFyU+e6oPCH8PETFVRtmZhZ6hUzzUEIdZJnjyhjSP2v/81TmGRfjqodPOxxQcihdriBr2Wvm9o0Zt2mBvHpuSIWyJDnayxekqobsv6JTHad1xoXj5dfHEgMs3082wGlsyRV/99KGAm970csrdETve8325i05uaNbxuSRXO3VR/SKbIfasphA8BDQIYFuL1IgcuoJOyeYoNecVw5mMnZx2ktq18sndPhwZlS/nOStZ2PCF7yy6z5M0FFFgQfvwXJWuGgWwxIis+OHre7lgvszmOYyYc53bQbWTNS9LfnVEyoXkGg6EYksyGSl/hqvMORvNA5gjbzfg19kkAlFM+SgmJa6cTzyoceQVVn4w0UoJLMLISgaLWrtP6e6CBAiF/VL2Abw9JHwM8Zu0fjPx0wfZwA91OA/iDT6bkls/wffzmhJIBe3LPZzooGgECnynMgwW+3pJk7QvYdIKyzX3k854xAFfV5bN4az6iEXV4yBlFolTlDh2eNoW488ncdNE9wAw8kK3S9hz7UYPoAlvrHAUtf8GfVj8mCwWTTEKtS59xqYiJRsYV/+7lyufA22M8GoybwQmPhwfqLlaZY0XbmwiDAXzEVsNsgOnMalKy9vnZB440hDoyaQMg+qcrOQglYRktBnBsydOTgrAyo10ekcN2gJSgecKQug6ePGJiOJLYd2Q3vzJz0I3htLXPVQXK6cQe4+ABi85r5xcqq3TojZs7OqSZJeZaDrpt0l4TgaY1gsi2TnWb+/78y1BZOF4Q6haKfXUcM8bWnMUD58ryMZQPGAumHdhtiQLO49+SUiP55lp4fvC+yWq1g7zxRPnOxMOCdVwd1PAKN6+oBPktp1Iv9toJUgfqWGyVmETyevHxgpT+Up/kbRY8YGZ7SuFgcWNkor1UGDnbYiwS5mbr0BpRo5J0kzq6sXa5moggJ3YUA7OCCJr1HGYOnsSSXGQAV6YLer+rChvn3ljTlq7nWPZqEs6jUz8DJQru4D3JL/wd0xaSODP0hUkeJFPzxTjNeso2bmoS1G0Jdplvjb5Dw85vcykI2XWHZpJeTuqtUlwV6R/S9MwYR8OnXdJ+VdG08iA2gZ9Jwl9nN7UzmJYwKQzauURveVibT4iWW+evvtPnzzoypNduO81kw4xvAjemvGRSPSqBAG+LTgwjf5st30ihF2ihHOzTLERfNwJQygoqI+rjeUWH+lxfRK3fxYPegg2/Xd/ZzRFkcJ6RT5KgcywKhQx9QLg9hf+2l6EpF9uGxzgx1mwFqDDw2OT32LQT76fkYedEv+ZUv1St681s4aehzp/hedT6qO1SvqdRKUpCJiDZcoCpdCEnBHPZvK+cDLV8vTSRRJBVdLEFRDWwfzAaQBGJt9bsCjIo4lslZjhjriiWKZavbFhrwkEpw3PbklS6TSOyTV6k0L59jzcYCJ9PRwBA20hk20whgQkstW0wzEmA6j2IFoKxJivKy6oWaihTpHpvRgpaOocKTo3cZSGwm5to/xa8wrqg/uSP39vZmSNonU+FbYMIpZPZV+I3meuIQmm2qT0s8K39ZppwrPrPTyz1sAkDDEJnUuz0gOV0HfnHnH4mutzhFTf39ndOgbz3+H/HCP3GopafV3ptrIozjutDTTB3BrgQ0uPmTAgihrRCbaoxXs4RL9dM+g9AQe+vJuglZZfbBjY493YhlQ8WraEwaKdoyPgUUmbWCvw1+m85FatQVjTtGN36I3AYdphPLOX0DyYRQ0cqrXcwHumibfo0CwGwEdtQry9D5WmEQRe54U1fexwC0dgs5MPdn0bVOLVM+aPXdd8Vw6hu4RxmkQC/BaprvbRc8y97YNzLOGFjJTMQJHgJTL9uQC29oEgWF/xgOcHA+g7goEqNoiGFWFMWPAG/HJ/rCJ64+nXuzd4xovPUnKp+WwBsrGWsP+owpxXB0s+lGtmNzuwqvjhM5p44frhwUBq9wRvpgMxKLKMCmhcRRqf1yI1ZruE3g3hwHePaLiAfIwmMCpKWly/4seYfp5Gm/AHLlMxlweQDrebPD4XGFS63j36HVxNavB9G/AK6tV49vzenTucYX5cxJbu/ydj4a5hRIW0oBFmjScmPW+Tt87VTlqKiR3hNNVilHlpL/Yzk1zRVHQMhnUfKbxChwJMPwnrur0c6DY7E0TZ6xptF+WxN/kpqQNzIvF2JZCOKDk1EpXRvXMbHHVssIo8TKY6lFrKsDwHYAA1I03gtaesGybmjWyDEFoMFpPPmp4Q8czw18oPqfMXUR20caDYqYkGq2Xk2wIvpng8IuFg56pK127er6t3TT5q0AaRPXUsUOM8d4mJFO3iYRl6uDWBT6NI30YPjQ63x4tHqnCuRkjM+A5NSlmXORwhLQUTHTYSlOFPv1KhRi0NaTeBeccqC2TjWo8k650HS3NXlV9BkYXnQQFwnfMeJLZ2LBsImEOd5FCcYt1RwTvEzJo5gh5eH6yxXo9SjzC+Z3im/Zfr3EcFqczzHEwdwy3NyJzTnHi2zSJnylZCoWqNPO+eKkvU2qEcUZ9tDnqkfA+riKpJjn6WSUZ0Qe6Z3oWjO9ULdqsXMuLyQysK/OSO8bHWyw0reywsRA/h1U2WsTARNofj9peWPB6STsJQAhrDVvYQZO7E+2pwkDUsTmEHW1BNNBd9LyjahKmE3aPMRu2CzPrpVVMdEO5pN7h2ENBv06COugIOF8uTsuDoLSO5kdrIJYXwXxuOPTA9rbZrHlODoD7C51TeMIIJKPKvmckTocDTTHgt5Bu+D20EuMhWli0KVj0id3nRl4+reHrGY6YPlAWkBwYzp/lx8QrmXILsF5+PtSGfFpM2GFfiMJ6XPDyAEsJjzxixwwiywAq1naYhCtqsAGKCRwFb3QQZDvfx1O3eXmk7huj7Wwi3vKCn9TZGV1F8JAp1xkYDgnxobYQa2xQ6MfhqQyy8WFdsJkwCbeT9LYczRwzCZXHzazVNzKD632Njus5mEP19a7aiV/igTuyRE3sjwhuiAUKm61HCH0fZdgPwg+8/Ew02WIEQK0OvL8zP/wktV0iUxPxACNv73c6lN08V0z5KEHMt3P8Oy76c0Zum0JFLcGROdoYM5hcaISZJYJvB7Ztad0+LhRQ7xcEZZOYZkHoBwbaj3yR2eLjWgaXc/dWNuG32oUZ9S2j9u2818fN2/RbB3hjkN94mCEh9t66lrZVzweY08UVUsG1ML+VeHVC3YXsv4nV1vLCDPWxnhyBqe0wbAzCnxtn0JxNRcaOxFLBkvveuHf2xMouYSBKGYsxUwg7J6tqZvK16knsRvf6PMCg95Cw/nlnee57IyOttj1NZjU3TfuRSG8B03uZfGxkVLmvpttbfbiCKqTtd/wNEzmCyqNodQOfdHnUnH+rS/NEruYEN3RZ/sdk4jTmC1iTmLhocXPAlOvLYVKHpnASyus85jKJmAudLPKMr3iVdDbsy3WxvpRx59Ol65MopoUeBQCXx7EmKQPE69sQFLLFZHhOj7PXMyR2Y1dTAMJLwHLcFVY1aeTw/9ClNr20SNFZAh94S0dDSOz/D2Drbf05kg4fzCObsiY8ZZfaFXvFjW8AillELY+bskDP6b2xUdr5Q2sYANZaqc6IVAJOGH1iXAyEmVPUIigWiLVLo4GyJUnOYMRvIekD+smt7c5zHxEdvFPGjuxp6x2pUeD5ZZI/GcENu5aoNd/0EFVC0mE02jACyQgl1KzoMHccHWTUZi5kshehrS7eAwH0k1LnDnsmo9W0lk2V42gcVr91hS03N/5Hf2HklRITJjSRagKpSDAEqUCkc85eeOhodZbiizPM+IZRTEoJq84drNl45iN1hd3kAuNsJkmZ3IMU3Mo5jVwJM8yBgU3UKcoM9F1MK6KIpbvPwuhl5hhiGD3rKZvzjbRtu12b9ddiOjwbW6zkufLQEGzVtO5eKZvl1pkqiYxCHM37qGHGiR/X1CsSInPGAZPAvBsCFPopInQARzSxNMmq47CuHsJtLbZDNmB21NYaPSfy2ybIyMMP/pcqyhSAJufmrI2wFPdxU3ecCfY1RAY9sKtVkvVTHVFZZ0a56ZALN4guENf2ZLC6uemWvOw4phh5wG5obOGxLcyyDRZ74t05xLRAnWDiTb+jkbNbpHzhfVwEblCvlQMB9RMAc2vapJwcPPMy5Vgr0afE/cu0HmDCPc9pXfZYanR+uPAygRyMY5bN7bS88+CAgTtL87mBLTHaAGlQ6LLtgfl8HHiQdcncQaRkp3iwBMRrpV/XU6o1Xy6i461hy6bWnWmfb4uU/ydRghx0yRcCdZMzbjXjaj9WLTZp6AaviLdtMvXxO5kiobNyC4e18U5gIf0FCbNr9RaWFNoejGwOQkcO9Oe8erw87OfWV+tVPv2ZCvIG9UEgGS0Yzg5BJNk4iUTIVO/065b5B5BzCLWZgqwzHDv33G7cARJi1s6q/aV0s5tJY6MqKaVwWWVWLvH7AKlUIsl7L5ZfY0PYyaPM61YJTaafaKzLewfeC79SaNy+pMVm3H4jM5jIgeYriw5opiF9LbF/2KaMFyRqvwNEmVHr7fawjZXLAl4kJqAVXmqvBVN8aZ7bojmi44h8LLisyvyxbwqu73q7mN6lceMfHiq5ohVVgdE1sRtKBgJ14Mx3kYvtDxOnXPCrhBuG6DEytH2l8A2kpFxckaj+P3q3QzQkZ1Az1/i5p4VjQYlIg/55vctdoS26Hqu6NlQ1IdOTijkDXw5S++Z+CxEUnVJWk3p7HscB/P8cuxTST7g+NPRRiEMEbvFo1Tb8Mk1CnzDt+XXMb3EaW7JWIVrRrKUP9CTFbnU32D3y+j2yuNzBNjUsQFWN56MPD4LC8f7SzxEc9oWohkWX9bT5Cxj1/sLTatbjZR1n+m8jPkQ1862cY7tiJRsGBk2DmBKElqyZGo88zLQBMfj8rgqsJC4f0lSmibWG/zx8tvFLgl5VP+Qmo/MfnjwcooHr7lES3j88zpswu76veU20qFPWNNP/b9TD/exjbmggff1Aif31sh0enXjuMfa3Q1a3gexxWbf7VoniO3Vtm6Rgrwu5nONY8fxdGkWPkV9O75jS3PY7MZ++pjduSytpoX2rrxzG4ep9Bt4XZ7uIV78wsxJtUf5lAbCgiRxvtkm1UofVlnciUfcfGxxc+TRNhgSUcBCM/BSZojksYkL+WpYhTJRMAh4rC0QpXuEYqJq92nGYaMbHF4pxA7aCggc12NpTJwJLJ4sAxRzNpWA+RtVRJqJcj/VFAvtItPtx986JU3uqmA9jGHC+Fw+xTBgUUDx8AVGZkISrenk7M410tmvZ2RmLWQmbIGU+MpVkm6wdVaQpk+P/m7JBKhMNuzs1cadDaOT7pXLqv5hI3407EzRqPcVZwqn69/pTHvV81ifsa8OcO+qJjpoN8vg0aPlzOp2tWXKjUpChcjFxlE+AbMkK08rSXEneTamAQKRSvijscDTtu6rAggMRHhxr5drLy/quQXE6ibkANHP12QGqClI0anRBBIiwiNWNazYEjoxQx8DS9IZK/q7eDKR8ELRslX3018VGWLTbaYQJLfh9Q3/CjuBdirwFelCBf9nuBpa3A/3PrWcbHNbW/yIpMu3I5XhYsa+ScOSehbDlx2PAn//6QJbE/FtnyHd828r5jLxfYwD6vNxddjdvozHmPq3Vje7qtqwnCsdlWSqe9YKjIxNSZhOQm+NUS5xVop0grcu9fV+ypzynTXKGrfKruDgDabtRiHggEoV6ackG9bpYecCOGeRsgiMAeqNblH1l7gDB/Uf0mclFbcImyTTlrjxgHLVUOxl1FBOw5N6LaFCxd9xkttkUT2vCtcTxle85MMsJTSNos7LGIbNM46hO12phxmYEz7dWI0CdlT9siyZ++v/Lz7HmvpgKo6gUeA2fem5aD+6O+7rcbWV7Yy0JmbsiYhGgxZ2IHNeJit5SNg9hyruU/KBAOiyfpQ/nbbhUgYkW4XezrNRbHOkbz6ZZw7XORnEgL0fkMd3aJZhaXlzRHMV8u9pRVlFzJFwv5oyeSfpDmBAw32L93XH7L5vmEQkcFHovTd4Gx5amRXX1DJja1/HnD5ifUm9xlPCEAsRgxJNidi6dXN+qWMddB5rZqCByEq7oLkOXxC3Qsdj0QaPcvILFlaA7qDo3xPWao8Q4HwBG4avaujR5uPKi73O6+9exO4CqlZ8/Fzu5cJuRZgDh2EfjPlusCerVFgEefn6cpKSdyoatQx1hGrdrLUll0rq7s00uOxyud3pFg3tAZ0jz4Ey8FwxHWK16LO50h3+vFjs7Mg/414BTZyEz6nr1muhjsB6zPSOP9kyR/iZSJknqDk4lEuW0oGmzDEibxNu8+lF6oLisy3PvSHrEbydGnAmNKjE5eeTPrXrV4TUDBn1BdY2JQViuAbxSUQNIawNm/oatpO49NMnaMAug58E/frVOG79cr+i0z6TwmSCvXT9AV+6VI2OJPma3wNqy2pECwKxrLqWKckDcoERHMDUcxjnWB85sYb665qvvSjoaBMzjXCREj3gq6SDCNloCnRoxnrt6jkkqy948gPeNskY/5zjwuapYSHx8+U9+yb8JxvsguaBihmUySZ2wYZd8kDKonT5P986i+dcMpS/P5mjH7d9iNLX3ggnOtZKiNgL5iyImvMGxdr5RavhBe/pHvSvFVnl6DwzZEBATRXt6mREAJ1WqTLmMAiqgz9Dnh19WmD4vniCBCm0Ixdp4aVk9IX8h5ycuwn7yF8Fd/sateGKUfJZSe7tiXa6kJV5sCm6cVBizxlEIoIW08sJJCzy5uN88QFGGTKDObVWqSisiM9/VVYQZZAu2j5XcBsh/1s5QLbF2Fj5rmRUlTzIg59XS3ynkQNHql+fY21akskI6tuC7T4h7coy6Gu+dytz3WD+ZMt9rnkRi4LSL9WGna81ekZXyJ4G4bymsK7EE4drlfzt2hNBAoy3QsA+wfl3SGw3h16Bbk3XjoAvqH3JFi3ojAcd9MmIVmkNo2rXL0q1DDhhhlLU25UWmUxI7SmHtInUzJ1jrANkdjEUppw0mWxR1XUkmU7Wy6O3QX355Z765ILUHEx3IQLXfu9TGWketO+Xmk/dALJqbn8mrYjwerbbkkFI3L8t9fPXpcbM8+l6gnPThK3uixO7SFuSjzcnzV8F76smJQqWVkxNIwvwDa0t7j35g6Ywq0Jg18Ew0SZnldiKF/2Z7HJnCF81or6neaeLBNSaQDkVZBMlf+8O0VaWRRZcQcA7WZyWCeFuVkd733TxP39ik1feZB3yWF7wNcYsGKRDQjzu6czNWgSjn8qmZR4pYKmXJiBr5fPYZp10ZAfNPU1vhj6LwU0KDJh91264foAwsBuJjDhLVW/mK2ubi3bziBpbopDlnHbG9ToI8sQAyBrCFrOTQtBnkXDfrDKQL4umxcExjlubMxkJx24xb8RbT1UqivN2CfYf7SiWmsOiykRMmeY0ifTHlNgfPQyPPdU+u/t1NmMqsDlvFi8XbUmo7YlyTFbVpEQob+g8z1C5qqXsCWHGQqczyGRxCcmABqf/nzjTUIQX05ILaY2PJ/TfDMTb4wQSz+YLZuEspX+AnAtXlH+FA3pR0n/GzGpI2gx6gy2aovcCa4BD0HQKFw7v7tbCe6Zx+zCc/RmGF97SaAOBctblb7LXVvDWoxXQ0/XGX7PZuIK/WdP1lOww1Sapc6gwI2Cz27/YP7RxodfmcymC+l62wr4kPDASoyAXSCdgJNs2Luutmxn8aYivD2yXMkOfdsaqteEQ3H8ibsPXOqHttWU4NrDPJP4T8dhtihsZTprY3y6T7Nm5qz/8RaydkcXf+hCJm3677oNzaBPMDcEKn5eITQqi5/SweLTganRVD5jVGlqva6zLjfxWBRLQEFDNLd4Hg0P1qjvkIirfjB9oLD9hK6XvFhRboMkbw9T1utZ1TaixbS+5vcHVOTUUBUVVYwMRmV5qnn9RVsyMXIsT+xC/Icc8LOR/bKU1JrYGcZLrCMnxC5SC2dqvRZu6efT861W4C2HSYJiV0JHAsstL6Mc9C8c/qZF7EVZ22/AmX9N7vsYrFxIrGPsx0zcSVjItDmiuSyJfX/36pI9gbCIoWFIOANXrhXyXVkFZ0GiKAlULCIRhHGBzJLwYCpfOKVhKlJlRAFr9XCLHSdduPysj5HLoND3EKn8apkuYqrcYwiRwjn8X3ntQxcmX91jFUh48rMw5XJ00HL1/kOpHAJupSBc52KQun2Efmp1wxEaljp71mWgvAkUPlpixbZg9yhbV2hXXSGRtAnPlGHh38/M4nk060MIU3EV0Gg0ytNj/ojMFpiQYtz8DuCAWkpRb09/eoDv5cGNn9yLhIvdPRHeg3YXXuCYPr08p79LulPSDMp3p65Cm79kcIhNrj7AuozVMEie45OF4Z9SSRSmtSuGDDe991BXAAYEHV8Hlz+viWcbEtP+jKC44Zor4OZuqJKmDe1npZp88SvhbOMvNZkz7Abph4s53thF6UzpNnPAdHGN76Ljf8H2gV45idxYXB6q53uwa56YmupaRMXAefDXXDvz1PoBfh3oUjFjQPxcZ6LsFeT71ft6+emFJxusOCahZpOIXcLFnyqSOExAi27lbPiAdy6Z1HNWyBSXlSK30ayrpDMSUEGZbXARvBGcVj9Ia4AE8KBDqtupwq5H1kr6xmaszNnu+rnnTY3r2vSgXhTXSrNUUBlU9uLFOg+Xo9JmiqiDzkxohNIYCrztawS7D04bHHnjyuh/0V/b3zhWvuDVYV00G4PldiiV5xEPyqas3Xn2hALu8s5mdwMhm2eiG7d5qQk6Zn7dXZzhmgel1pxrnJp8zSJAqxbZqomwPNdHxYvPHKL9+/lNOQxolWTnGHaPLgwzGt4kOGN3gTWdfAn+IbjfQqRp8Ys+omO7v/yopeJPjegw+8O+hia0iciR5rLLj9iUgLhEQjHR1iZp5x16HZQAJ/Wodj2Q9Mc9JZwCaAVQ+qAyYgWVvvFxWK5f8DtJ6z91fVIDQrhLK39ZfBKSpS0+CxepBeGiQztJRSuyJTy2mvRZZ2I/f0mI0a1GnyDVnmv2sAgJnzH/hkS/LQDu81FmWcDCUkvE4gnfWqS11t3Gd5jeeqagtu+OEx/L3kP1czixevMxkjMblEl64DmNLY1ukhQac3tq0NE8D6HDpgNhdhB1p9Ui3fyeXWcmurrBtwD2lb9NzyfYRvP2EQ09G974B3EIvh51g7ssthvrgXOOg3DDdvxlf+cx6CsCPohUJy/DSTA1aP5bHcUgl4cVZriBYxIRbkGES11f4Rx9hyl/qLtBehfE1NcmTofpufQ82x4Pv7uXtxBcBdetl6C4XmiwJVmWFX04VBdzH7rFBY5Wv/FzjQENZGhOzTwYVzbuwVxvAVkP9tTbhoqgzkPUqL0ro0AWNp0iXKLJqpCxpNko6Z8Y11/8/bywnD6RBAIK3XOaPgYFBzMQFCbq01urGtUYbj9mAqYzWhR9guC6eKFzZFMG4ZXOd6rMeH1XNr4hIVUGQfJkGZbMhBHgy+XQ/u2Zp12yMkvwHlELBkrsDdtX1jY0T2J9+XUT2i22tbWZJzPOnUD9HV+yDKAML6O55PjvS6BdeaFRDBEuMj7ndMHkIOBOaxEaHWZpE3P+Rzw4Cw8U0oLhT8ANBhpCLYrTC/u+DF9ybwQw5z7sLKuWjW7nSxHKMOmYiLE8ojvUiyezkgvMg5I0a008AI/KaUpDFn5bQEmIubdf/LS3dj9wUtuUqSi9JGijSGc5pxAUQYeuEcw5e3Y+X0rcgSnb+yaklXrqju6nmw10yNKnKUdnYTsWxg3OLMs3Dq4P+ssKtcAyFW4I92Ra/8EB83Bb+a6dLBW9ZZGOgx9Mi418+Xq6XpMoiWQSdajz30qKR8gRmJ2UPTtN5XprCMbcPVgqxOkKgFXYK92OU5of50fNnpUma2BjPuAU7s3TOC1331Hz13EZhkF20SAaEVvxdaLaqg5yOpeVVQ9TSIgz0M6eraRe/r2vWmpZdQ2BtoJiafqUqxQo0VZioyz5X9fAnouyEn9ZoCaCEZ+2YqExY0u/QquZ77R7VwfTPUa3NI8HkIHo+BR8R1XeVg8ytXIrdQInD896+DOU0HS/3KJiAQiTKDjonkWHPWUujDLQ6UTUdoIMhkzz4XSSmcIPJE9/Af0OKamfla+xwojUTPGdWV0Xo3PrbsDvDqB6+VWIOGROhk0CBMUSEqqiqNODdCaTwiC/QAyDEfmA1sGUCyUEIOU2VgYCP74RmgVb4fxKP+ylM1TRGVthQYfsXEaN6L586ATUKzGYoLEg7zRzmLU5t+vaomoJNU1tMCNki2jYW8kkCQ+IFJYkuR8vQvsPO+df9lsljN1h2whwI7sY9NB/HSC+fYjMInNgG4HJBdHFAolUXQ5rB8tTozLREQvK4uNubWozLVUfcJGxGG8/adn9s5BEHHf2mIOXkfaQAxDH+WAXsvXwVtPXtZvq6Uex9np5mADOYX/l9S2XPGDjeiHgXK1qYRz+pcgW0NKyH7SRFMzya3AoEBB7UF02b1heKiLHuvFigAi/j9kIIPA1Ap/17f2t2R+Ji9hwdMsFLHWbeE0+UvpZ076EZ1j1ooS/7CYQrKDnjLJy+72UBhQ6fDlKab+m9E3So7n3qKe+VN3DMcNV2zmonpJJFrbVA7vcaIEW7m593Q4EfqnHzP2ODWDIk+qzNKv9A0Oosz55wv/S26gIRyyIkLDLeAuCPfbIEyM5ucgt0kAQXamQXSm2EcYfGQYaMcvpA87VWGjC8cHS8bwBSmY1WQvFClBESqUByXVjQO0WF5+BjxINyVbnGP7CwL/JChIZ8FCXpp9g+AhCANChN/+MIe8TwM8JTdS+cBnK30Liv2/lEayiJYJ2SuIYgFcC6QVbqL4ttUxBM0Y8bbTwmKbSSUxoHWp/yojeMHO/g91Mcu7hbYOPAqO9/z/fn3CVFKp7/lBxPUnkuxEIeLccCrLfpaVm3iIZgBWHC9MMjoHKOxXw6Xs5/lSw2OUBrbBcVhH+X9S3uR3Rj9QH9Cms4zuvLdc7ZU4Js/wZvFedP16PIONT8RJeUc4bYm2LW/SPvEytrqh5fpvpYCmDjwuc5Y/oyh5pChfJT2yGoLBxEkoFlILMJ3/qCn872xbiVr95jCpH9BEZeq3k8umvpHeEOcRIHpCUeiWD5oaryGDnCayBkOHx66MmzcA6yPvktdCuDA0MX0ys5clgiSskR/ONKu0v+oLcL5TByUUOlbSIG6JyGdconupxpzCnRlYPYQlXoG+YkCnfNw/HKauFDWvdky1sqvdr7woaL7leW7Ws+762i2oJJAVjvW42rtTQ1/1C1icTcf8m2v7fhMi8doSHyFH3GQr4+Ko1vbE8501KUXFt0xussYQ6olha0/BdEqqoeFXdhhY5Fxn15v2vnKUVbTReATd+46BOFDxyD7j66joZiT76XSMaHVZKkpgsw9tNMBVw+uSgcmqC8pLxg9XidWDVWL0BKy4rRDb6slbbVAFJdH3kA/o7bcEP2q9hKx+EjfMZQhN/VdZw8MhbdAwohIvF4plJOIYJLAG+qpXQ1WcJTQfgGLkxJtQZPAbLELX2kRg0lFkYe0MVXYIfu17GzaHmAha/JyMVmDKdmXcXhdbXhO7v9mOXzGMFX3U9QbRpl8Q+V0EA0c+3XGvNVpHJfcpvIln6JHyNnMmut4FUJ6nbDxUq4aLCrm+1wseVTfUGQHmFXg+KJqSpI5ttEBb7i6eNPmL9a0JQVKL+XuTic/qY2X8oR1JlxLtuv8gu5qHG2NkTFV4QyhX+0uWiwbUCz/j3IS/roRao86J8X5mIOOW+x/4OU4IwnOUXUZmXbR3XUd0BOK/Cl6QdEX66NQE1o/DeRk+PmyvN/arXZbanUUGn8bvOBkASEf3mbcimIX+gRR4XP+WOkkqA+zQOML2TBvReinpRVw9HfIlGQbz3U/IOPcw2L1D8GCDOFVTjAnnKAdzAHn05JwMZYacPX2bDSa58EyTVf+eyBOCR+aDrrJOeel2QLNb/ovFhxAqyXy+0zAzLhu+IDL3xB8P0UWCz5pEz4PAQIDbF25SzMzk9rbLjhazgLvj4HG19vDb/1/fy3GN8f/CRi8bgu5Jw0EkYf1Al+/Sh/F0lu997fh05SIxL+DM8SigTJLC/CKMePBac12/I5MqPGv5hvtxZZTklwXkWGU8RoV8gH2/E2uesoGOfmSOyir9avrwIzVgcACD1Zb6xPnx5PyrT++oSEawMhodVK5F2z5mIvF8kgGFZbs9S69KnkBESMzZIYqT91uyVQ8YbbrzMPdOwUbEu9wH1VIpdtDAB23kDVlz2Zp1SKnuLgPVQ/ne/lXu1/ko1eDX9931HEcZIwLduSwWxqvYTBsRvTrt7ssgTTX9ZvX021CMQ0XbCWuR7HbOvtRc7IySgWC841qdJgMpk+cdGJUS31qXX01asOCKB9gNEA4u84m0STw3e2tXjRkoQeAaBgzj37bJRaYacaKrK9bGslicgCt0ztv7tN5Dh4v6UDpzhk2zSWc7oeLUz00aD2M57ouxOAtDiQr4h/YEHEeyTzavR8q52XFAt1bUsvL+8HSnhxPE2TY/mBX/HZ6qHAY+YokHUhEkV1MMG1El342uW5Va17D8i0hCMjCSKp5NEGNkExB8r/WCxEK8Y3oVPmhPa82O/uzdfkLryZMUdCR4zMbfZ2Wm3ld2QXBQ7zK6M9pF2ONHhFmcNqeG9RGZCo6wdW969Q0JOk1/4O/Ts+6/7qJOlxCxxknIvio/0A5+7GAQdFL+MgJUnT8ssm+sNCV3aWUo20dLvdJfOtsIgsJPjHeqad2UwzrYNG6cpwTpzQJQVg7Wtmc0VNqhAM/i/fKBiANkn0aAp4eFod4QD33pxutKKVmlMBM8PsptQhCeh7UNJTRMzfzATrKRKG4iTUvm0JJbi0OMOqzHne2kLUH1oX5uWdxtksYDwgY4m2JT+qm4hK2gfNBISjqZPCjkL+FFRq8WFSg87zaax779+yFn++MFQMCUrIUVoMpmRK7phJ1+wnbBWI/jHtL4SEKvEtgQ87q/iYm77cB9OopaOyqwnYzVcksUPW/1ufEpTOwHUkiwWVdWLR0LNApUfLqDbxvYnTSDVnVsshuSmZN6o6qa0Z5rcXLw5HgD9khZsfsjwwPL31WY7Ht+xAq4kJO9Cni7vDIeTiA+kOkBECSZV2ja4RYI8ngyLBBX+qwoK7FCC/UNFdER80Fox+Y3a9cqGkIv8HAeGeeNuFH+rgZnd0wGiztdSaUGsULQ+ArGfUVsi/KuJg9e6iS4M71/o3H8dtzlcC73haehqjBT9WFs+3K2wlaGIrJvz9ZnyPR2ILD6ELgtzlU6FpQaC5M6woeeO9mA9RzzzIF7kDr94aqOvOeoQnxICuTuX8cuHmSlisAlmH1Clb8nK0WZmO9NFw+9ezaN9J6NQvDCLnxP52k17hL6RH9JnB2QHyFyWd94hxiyM1kslaWZOCt3j3mh3xu0pmiz0NEi7NipI8rXtsEr1Ao4deBKjCX1+nmHoxG7D9F+BvS0fSALdUl4YhokKJvD8rkUH10xmVn/4z5ezaOjX1kMqp6FRAfS3MxbCJ/VMO6ZDwRYW9vY3A6E/tinZVvic8k+3o25vg0IJyK13E26LnqmcEMo/Pbq8VvLIQqAmKh39s2LUQNWZglY1KPvQhcGbcYQQQqp30gsWy/ZKBcL2erThIyLQK5ICUP7Rx4vlGv4ls6Di4LmVRTR14aqfMSp0cwUwLjyrxvNW5Lz/BNQiCyB5wh+eP9J3/D6sLy/5Acw1D1Ogq6cBBEp0lWDLunjg97irnH3B0k6CJnJCL3fVqFGOb3NsZQTMZaC8fJerkakKnHDKVVbtzgVC7F5d77HmWsSfvCBVbWsj3FMRymi8SjiT7bEX5dsGTPsXgmJy/fzqVoVaUUrGlY1zITCy5LAZNKRiWJVP9wDdz6D9KRkVMlsPB54fHne2vw3aQNniCD6t2GcOhEhk/AK1mEXwq8j7X9Lxflm7ryH5nixRBBTror/5SNiAhP0tfXEDR96EtSH1qydgTMwKvosVRRzUXkPoqhJAS7r/wu0+j2Tza3fvq8pb5y4++lkzQnj+LAdmZwGHOoHuS+rZV4UUqrj6NQ1xcYOlWxlG3NgLwx8BJ2V8FMOAeXHjpJkv3FmFw0X7/Vr67Xkrt3XF91kSzTeY23LD9pclkAJNVAm9begbxw6L0wSI5vkWjYY4USGQB1e6n0tPQOTba6uI7Hj/rIqqS+HKUP7yECwPe7wGhhd/dExsCd0qCbLF2Wz8gxtIKF0nc3rTx7bnVjP4z0bFEnEHZs6ViqT5nU6Fqenqe6BdTgdV9phW9tGetHRir6mMSRIt2gTRkHTYfmqkXVKDBy1Oh8pcaKuvZIJmlD/9sntrQtXWc1WUL+Lr3LTpyLexBMiKK5DaIu/0qq+m1VVCf0RiCgWDfdAixWLIaLlcXnHHAfk+MmVXDy/mcE6EG5jQphwj6IeSL/Mq2iF9TcEAb69RgcVgnsyQZvdHjVVCRHhR/GKHcmZNjMFTxAIN8ZMtfJ70TxrHWlMmw6wu+6/iYYOrdwtA2O3QWJ6bRE+TtUpkJCp0YqKqISCUcoTcMGAl8P7BBFXQ8rIb4GpHzlWXZgWtAAX4hCsJzUZ5fd71QeT6hb5V3HTBD4WKpPPwcJhjoQqVMy5fWxYGFWznHDSTQ34T5GMreR5LHrdkAsaV72n6FWEdUCGAF5OKS7Nee+EGwUzxWd9fLNkfLefcum86B73NfyO+9u4dsCWQj6W32wQyn/j76epnKoi26tAa3A3q1GzHfmBoK7nelzr8KK0zgnwOr7DkWJndjhPdD6FVuNocVMPS7dUzDwAQU1yxu9NK8Gd2oCLm89TLEVQqckwb+cKafLQxkPfpPz0WKHnWGoUOCo5uKEMVA0RK0y0sa0YTrRdOeIv+zXe2TqnFDdWWNP309npWzzfHPpzPKg+Jof7sf05kn41wNMnOfhZ9qYBPbiJBQJk1JOV9Wg+c9Q7lDx5b5C92s4YzHsRwZ2hRFNSYubfLUMAuIoDnnsMV+9Qd4ylc+VkpnUcXvcB9YS6kHjZz7+byf2cm5bHpcC341NDlbj6hSA+L59CL9NSbGer1GA4Y94qDmoyS3dWiyiI8zvqfuXZwvBktg0oR3kxGW3vX/djFqTIkitF8m06h9nMjeWr8p9d+hDYSBTxqjvuHlHxBBacrZohxO8ICehYII1jTqS9Sn4j8DkVX1IOcQClbWhTM66pcIpTQ89JsjFKwS+bdX77FQoNJxBp5RhMGOhrojFXK3VsYK8WaCcz3/D12CbvTfDqtRtJ1aJ0Qb8ljZNtuHfEWk7lLChLFIgaJHsXaWegTsZL1WMWBXs/CcvicLar9R9zOhLhm1HDAXqTbWNli9/qTPvH2bzfNyhDOaLENmRxRGRSwg+SicFojsbsBPY/4ch8UiANzYITBPmLUVIGepoiJVhoOoVIQb7jQZzknG7SXyWe0R+dozUDvJ3DsyS+eAZ6otszMwAyEhKeHZWlVqQVm+a8P9jenyvr2W7uWg/uOvW+xyFI8I9Nydt5HRmT1GrJolqoJH1EUjhyBYpqUUG3HnUs7K8zFpVPDvlmY/oycwZFamvjFt9F1a8B7deLRisG2WPW8xVLvcPs1jhUv11sVdiJ0a20SYJCIzFEd/PY5Bxhis3usD/NV+lxEBHAFpUsVXi52lSwxtnIMiDtuhg957gqNnrMurRPK8OBCkRhlNC+utKCT2/pYxWYhk4t5lG0BGYz/9KkHbxb3sNrpzqV/G+8ZNKJB9JA47Q6n62ONnQdKnDmRe48tBWYl/SaN4wUjeBNQOa2b1GSLYmuKui0/mcaL3m0btnuBdzBt7C8zcHgyndOHvwNtXaeKDysz5G++aXgrcJWHesCcWykbI52+cZQpM2mcWdvvQ7Muvr0WVgweVxDBvyX8K9vxcF2ri47HS7vKGIs0AmRhoeffKZ+0by8nun03KsZc7nhlssFJ7Gif80CXpTs+5Ivwg2F3+EbvMjLkKH70ENDJXeIF5MyiBnAlNB7/x3REGgP1M7XqmIBucsJcuvaXu82fz86fwa/8UQh+GRb7I639MyvkLm8pj8qQZLV8Ir1QVZBrQsnOxQBo2Uc8V6t7WPJlXSOUKzGljdyK4yFo71DmlsyUBXMEeVhrVjvRni51kx05xM3u4dZJiH31DU/b61LX7tGwnia/2iE2CAz4RzBKBM9hYfIZd3kfhOe3HYGXgMJmLhK7tI1chZolUQ28Sa6+EC3pnJMFHkOnvcu2gnZmw2Q3nDOZAJ+KvVtE+/N79V6WK5vKDte4IdiSg0i6JoeG0ta1jFp6x+Uiyv5FKFVqkRWRDcyFOHdp2tWZ+2Sx/c2ylXc0A3qBjZ1UNLzJP9jkTwTtQnMYAqsylVYokB0J7CmYhRgi/dpoOgGltdYhSsdMqZm/vCP99s64K7pYNKCaJy3FEyvzZldeIW83gNkg5iofp9qQ4QerXJ4S2+R+iP6LwPEjjruklvyV3d+34CYe8tTObKueNoy9pNW1WCD5FvscYDe1lftoVqK4+yloh3FpOczlOoJ4aHiB4i53jNt7h8DyhmGvJ8Kqs3UPOfzMdXbRvmod0sgIKS9gjE+AwJAfRvyu6t3WyHdZayo56uhHo/yTl+fSctmCYMGR3MP+wYIOHV4ryz54gzytj9l7tX5+a4m1caCi++JfgLW8oQYaLWItPuDahH8rWKuKGjAsqZPyUcD9jpNu7jX2KN4cYAmDe5Tfgat3GUBpfd8ySs0AyQCG+sw3EHyilCya3CJPaiuDj9umT9bizefGq1NFxsiLGgEv4RBxXuzvOuwXfpHf5gNQSMvZa68eTHyFYQgncaoiXZb0XG1ReBE3EORgYo7c4cgKno+XO93XmGk5r/hOWhqkco6LolbdQCaJk7jv34XaG4OcODahpSmR0Ro7O5hdE2F/PdQCS/nxLbaBUFRvXpT/idcTslBHe8nShUiC8ydwY8L3sjOzn6b6i4D41umzTmY/kDr7qB6pDn3qTg6l9BEhCc0dl0KGNlW/PhlQRfC4BOKKSleNJS8fdn5RWA0N7FYsdgTurLL7cTFKvUTXKNPcF1Hr9JHeimSbIOwW+ux7Pj+gAbCyjY3gAgNJ7EmjwO5xcvko06VNJwElaxBKwb4zCQA9pAMjb45lLpqJDSaE7HQjVfzP0oigcHSYhjKPXs7ZPndPLpPBpuKCApSco5IlMxH0QCKPEFd1rPK9lvvwv2R4W+jNTP7AD4fe2qm2en31Y4VJsCPIpEkvwYPhpKTOcY6FzDi8I0hWaSGyyufH0Hy70JREUuYfgyxaiia3pkwjZAFxg9C4a0QLsHqG5lgbYdGDn2fVIWCStmaABTV+zg7YAT2q8QR6np9585vVNfC4mFk8v+90i+btAf/105/6UshhnNiyxOd4lC0a6hZPJg//krilK32UVuPSFbruiMOGTbtCEgJNWkBK0btDDZPaBULzuW5eurWTbkAbD3eEqZ9AEr1sdC9vju+l40Pso/dWiqeMXXtRVmV0LH6krlK2c5UPUbXMqOyKfXtond0402ChQj02mu274or2YWfGtIfA8/hJ/uTeuLOFDty2PwTyKucQ1xoIXnPJjq2+aJUmyQIja0vtL9MJEowppd8lNCDoIpCYbHyaUP309losJDwZozPeiRUdh9D+9bBu4FDlYzlB0ebmdWMDN8+2A3nERMPc+Jf2VFxY74fKBGTINTpPyld1xCL/iuiNpaSZrNz1tva0lo44Xv6LjBLM3S7mVouyYcmq+l5y89Fvj6HPgzl3dW91RSxV5X5aJnTJ0T3PVj1F3CTz4OaeCoeJsLVgiEejb+JeJ2TOM03aJkd5SkNzzNuyxJn+4k7lAWC1ST4lExLOnFORb6sUadtQC4/kTkHqhy8QD+wckkriq+nX/+EO97JeVZLEMqKkoRhzG4d8snM0UI1T85mWGR01fKrk6loQokr7wX3wKaxQuHfRnKzHhkOlDpquw/SS03T3Xr5ffEf0+JvF02Vna+BPFPL2JIzI1vbg6+pHUN+U2SjoGI85+Qt1oGQMkUjAgH7qWTbqKeS30vxWHoYkOdbAmgtq0wG9aZBu0KeHubYKbr5uG4uRNZ2Z3gpsBgIWuwGpIJSkCgcWT7ZzQukrX+R89jzndqtYWyoGxtkVZomijCssC6L625caKwJpY7w5jMk5HqNJnzMUhxluRazTf1ymQpXIgymBdPB8SeeB3uq+/Z2r7QaGUp3hDpzqEZCw+kwSXOxySAe5xbTO2dSy9HwPw3BAvvSyh4RMR0vqZffRzrzlOQKc1xzNwGRPZqtWBNLXjlj3ZhaSqYB16FAqDjYtK2y76X6UOg+sTehR1CY+Irfx18DmRXOiiQChl3yPKihX2Sjawpg49kbShjvQWqr0mqhON5fMGAX19CmbrZoIPT6BrHHdhzN4yE82Cw+HbGgmnbpekF4wxT7UO0oJhAjwQl9uSKLktxYTLFJObQzHEAo6sTdZkiZ8AUPCARFylkjs5eDS5akSUXBYBz9rkMnSsSJfh0/8wj7ea7/2VNyak6NODP/C4ku9A8alGAyKklv7REVlMrlcPL86AoUnz+iA9x2UK3j92Tq21Xi6gVLLQb0nVlUaeXC/S/eA+ZA3lP0SuTSBMWlATLd3gomG8T1R9iQOMN9Rywrm5j4NdOgJYwRN7WJrOteNF8wgbEEc0fQc8hv2Fkbtwa4U4qEum953LG04mB8aO6KMk0eGtSNedbaWFkqdOsT3xn3D6V19uYs6pSyVM6WfCTo1qmYhw+E13VPXjXoewAvDMY9qQJLBYpM9SjhwQGPHE8mmqfxGsPR2bd9L5oL8y3frT1ZNABH/PzPm6us5gVAygpCcBui7uKEhtYHL2414t/RCj5LphjScOwnWoxDgStAH+uYLYmQf9A2qKTVWcs+/f+fEFsr+5/hhkH8UfxZf6eTjeFHYMmtde3r0E0Q53SSBjXMVDiZdVL77zIu0gMW5fpc+Lty1I9LudUFnmv45MZbyZ0sCVF6+SBL6RRFIOQ283fy44D92viHKdmaNM8NKQ8YSFSGsgMqxkYCokFweuximOUanm1SGjCAddmYDzpztdCxQJTt6zqQ1OBK24kXhW19FqwC9CcG5v8dyXhml3cmVVu+HwFxAGc9HOJUjwb8P1kHVSZqbj+ss+suz/LtS6I2/6T7BCSIvh3A+R3+DXqZYEt5Kv1m3PRzUrX6E2YSQd7A88VSDsGQ0XkRYBPNCLHeJh3JHeN+sU/6adsC+NyDiNtGw4qz6bXhRkkkalfluW64xpFRsLnplDi7S7KkI7dl/dLBMzrpZe+1z8tHSEZ+X2efe7J5KhzA1u3+iY1lgzLqIEKmNn2Iu7RE/nwTWTjs68xN6T2aMIhmI0WLyEPcttWHeW4E4GonD9hh7sbuduaVfC+kPmXRQqi8lt1QwN7FZFwxJ2k9PHJuQScuht3XUMM/7RcjAf9BuCcDwnxMUdUJnCrvsKwo7t4zKE4aJLLH1qNcRGdoycLurVa2LOx4mOsjOY5yKF9b5Q5trGmv54USx1sYQ8aewLbCxus8YRE0soFNU4FTMLIKgbigZGdFXXqucv67aX9TETZ4B+Al+8VMbv/d/oB/5zF01rIpotLzzF8UUdyEjFGNIgWtZh7zL+ffzlqoPUDU7+0byjBeolsMO0QO1yRWg40tLLdYwziII4uuNHylAPhozXwTbsD2oX+f+lyoHVx9hO5lp/oH5r68aFGyaM50yo8za4eU0lO6HfCVp3Si3t8t3f2FZ+hGyD9luGsWEdSl361x5LaR4TDzqq/vqv8tE1oSZgmLPUwH8xpsM8wHtLg7rcm8boZOSl7AsO6n10jlvyy86s8YflaZvkHetB/CJkGwNTG3SFXMKBItVZzpRRkk7AqVHQSg1LePFWge2zV02Fz5avgD5JPsbAwNama7D+AragHfqqv5uwqPPa6/VBLu4spSok3CQOtBfbtKilWMB7epRLNKqHwe3u/yqzhXE+8IYoMYXjJ/+879qbz3pnzcMQZUGnJWjJ8Ut2Qk+gveLBbf04WztJ3BVl0P/a/OwQ7L+1hOPTa+5JhiHGjrgITRH0ify2UhkDDrHX4Qjn5+xvhQ4DoICTc2NvHaEOYuieX/48WJF3+wwSkdB770PZwVoJv0Qrh97YtbMyeRI+55RBvrk5jILpvrnxus3WmY8T3/nyqnfoYqiZtuyJQVRBvRE3hAL+HZICjnS7lM09apPWT86vLcGEfB90JkThshb00wAQzpnLi8rRMO8SzrUEpnSv2X0D9c12UP5kaweVtTZv5ZLYdDuFqeAyKpA0RDkP8bjO25z5tnHJLaTNf1WMucZdSPTK1WKcJfphJRGGpv2Q1yqkxiYbmhz/3LhNpOvWeb/d2hHOqcC4KVsrW431PVAhkoDNIEe6sLhhKTkT+JlCICyia4qBlKOvICX5x+rf3XYSdiCkmd4iKNx7dR6bAGsWEHn6EYIy/49onOfPIfk1t7uEy1Ua0tAkz3SV60UyrQ3gVeEsPFgXKPauyz+wQVGKLMUSwBel7M6HDPMcJb/jWPJ8fvG3RhBxcvrH9eFY0+3hEHctd5DmHQ+9YjXNNEKzyH9CK8YpFOdiVuVD9quwdzQfUMmVRRFk+JWMUT7DsoUX4cG8amA/vRKhr6rrT+SCDGJEmG+su2+9G1MgJBGCGQ/aPVAGOwMz41yeDQb4QFHndK3oTx9436MXKvm//Fwwhv/Rsh1nfxuPfJEaLbu48vJEo7zeNqo6MVE3R/ckcJmOAxwZ2Ji92crNGbh0QwnkrfQIdQBAA90FC/y1B3XdcUUKRfd7DC3FBDQmcFkOMsOFQNw7KCV0YgsTx9jfdMdBNBZ6sCOV+bcxmRYNMTsn1FGKEekOzEZixbGAjSh5RtYCSA8U8myC5c5TMIJYptj5dxWyDDZhcIHDb+RSKsGRA+b1GEpdEGZnaqwqBPWeaDHah/dvAfS7l8PHGmrqdkfHYIZbrNaCFew7ttoThkIc3ts66DolOl/NrPDMQoKItYVUk7/EB2LR1jMa/QejVSiNgtRhnTMb/0Xd2jzV0q8M6h/4IPtv23pALFHfcngz7cDZdwjOypSoILD3d+/mWn50HjNI8DbsOk4RzINuiAxuLuI0tWsXd2iQwquAsM8uH4I8iMX3Y+iMkRyw4FMl+aSP3TgIxitMLpjNMhsD1K8qv9fM1nhDVMMXe8ATNim3HbcOM1hv3QuyTsE9L2IWdrN0b418iKNTDe7PSTRQnISVrLJAHZbMFNikMHstsF1AjP9dRkhomBUDa6rDssyeJBzPsLGOGfARIsNoWLCOpEJQwV7mbE7Fn5zExNh6sHkpaJgJ4OTjziU494aVECJk5+EiDyNgyVxPh57m52wCwcamKKoC4capILw7jvRbxy243FnsLkSrHeVmflddC7kMf/HiCGEmt0UkT/Tq9gvRGQQKWef3ynz1klrx3S670c5UBrynXlQnmOBt1ZGCJ+wKGyjOtP1hPqw0L41UZWsDqJsjhGZoWAGRAFOkaRtaNBwbV6dsGUdrohTgmNp/TvrbxSwjVfoPJWMPcnhcECuAvzfF8ZVspr4qLIp5tSqK6H9QPzmP9DyFc1E8+taOLmcJ+bVXzrmy3nKuhlyYKkBwIdLqOWi4gINZ/DzmrY/mVgsb4gWd+kj28VTi65bOdHu32TJqineQlGD5MO2fIsA6g2En7zDJIIDcCibKyUdtyFlI3phPiRs/8dHjDAdt2J3E2I0aaS1JIHd8OU24t9g25pBzWGB0lom9O1jk56yjfXvsAtU3inELPgdxRGowAFkwLwB+ZB1d2xeta3340nsw0HFji1iGeq1hEj24nWKRz9DL9WuzcWQJLBQONZLwpmhJS+jKy8h4L8PcBm3rEHjJZbNPIFkEXadSo50CF7IPc8GvnqYQBAkHyEoejEJP7X9sNWcY2i2pjnj9oQHRA/hkda33cDag9G62fmfiqChPrzh7GhJJA0gy8ZKFBHXpBFGX4/diHaaAtP/2IxTi0RVMj0ealOZ0KHH02KtKn7Z+sftmmXsvzb/IuuWNO/dTqMUo6vxGvQp7+6KVhFf0iEZxTCI5XP/oBgGoDBUmgnHzxF/YZvh7jZfxDqGJqW+URBn/K/d3TELqxm+gDE/o882eHtSQFGik4/OeULy/98gkhj9fbhg2fHfbbBng5jsO7iIRrwvzLOLwMBf9XD327zoE5YSrrQtS3U15FvnfeGb9HtRDU1qEO4fp0KXwMcTQSlSkihIOtpNwXDXTurj8r3pRypAMukuS/vFDbquhKACJn4hdZSvVYT4zuWz+mcecrs1Iq8Aug77FgZZoAUIcsrrRy9w2Pdw55NhGIS69dRXld/nzUZHP8bvejCV9sUs3V+RUivgINn7ZShHhc0EwGyz6pdiRVe/BFskyJ+ryZmP4fJpeLqz3WD6gglPSpiMiXuAn1h59sgf+VayXbQmTxXxQmsWv5xL79Da3xN50vbaxCgAaD8qDoQSZfcjeuUPRDVeTUMJsgQpJwWWxajrKtqYK6oM1LuvuuyzzJV5sg1z7oZ91zY2w8YwCL0rNRn6DODjcwPd0oP8KMulPJ9QHtOsCi8BWXZNlxY+pZ3Pv5lc33RwYcoRbysNJgH0U/VlGqBj6qlGB85pU3KqZuGWOKbrYHseNOEQalDyky6KfjKBJrLbPQEzptD7pdkpcuAyUuUcvYQ0C13AYLBkaG/wWqoAmHHcl2ICr60apV7vkpD/u4SBpHEyR1IzUKxfWZAb0yBSJy1/K+zWNOpqtXvoHcQAHRCMGAe4Dwa6a9X7RWMjGBRGiwonzQ+iEDaiO1AiOLfVcKvCp7cvN7hrbj8z4htxvTtuzv5BguuWsT+VhoAAq33+0dtNgQbUBE74CQ9ltoLjTJ6pItdjpROx0807Pkc4j16piS1BYdlPlG0npN3UOa+hPIWVL305Usg/bFn/TJwsSaocJq+ZLJcJUgmsWfkhT0cReq5ndv9hUXSw2lGzMnhmD0+oh7EJacURYrIgT4gu11xbh4YASShAoc41eBWsVcESa8mtekdDsdzw8fN1Upqxvl0jxFUet+0eUaAMMcqhTPrzUo2HWzQrlWn08EZtmKpqZQHblBopRwXECRWhUjov62mvdLqW4wJkRuyhwABaB1kxJZ5y3yZtOj7YY/6exvd9qKycJrSmZPMhJFFrxlX3z6HAsKaedCtXr3RxE8I2Ivs/m60N2rRUpe39B/mZWnWZ6n7iuKJeh3hYuQDiCaJxYB/v+tBxKI0WCgMqzdmYkOCJzZm8TGKQ3QQvhWbuuv9lsbeoOGOF3WLxYuKNgk+9SS5wKhhIqng63Q1lA1zAD1IqzEJaoONyjgcnuf33P2W/v8cOYqcHzcJN+XhJAuQpt/FHb++a/Qq4Fc1JGXvJVOGTdse3QU24Ii4l32qFVLJjcycXNYQv65qtwPSa8aJOuidNcoOErz3/jhfnQNXwFbhViwpu9oxc4C9N2QJ8jzTS5VOd4y1y34oSNRi7YwVWs0vfHvUKXUKbnr46VxxVl8hqIGEPJ/tJpD3+u7wEEgDC3xW+cPvZslrAaCpdIBux7KBjSHWppVqcWfclxq4/UwKvSMIzZ9twblsUVrLIUPrcXBXnT+KcO77I1M0TNg+OGj6Qhj0CIi+kLtRCOtZJzCo26dABizIaFNv1LeBpXFbJOc5ND2QVjFS/jq/P6V2gBLPosJ5rWYrHXwGqo07kPTYrLJuRUtAAnq+BY5CKxg4cCkQApkveKNJfWdhy4r0MVQac8gdEBdEx3JjA0gbU8h3HxGVvAF1WFWXtTy7uJesB68FNTSb//LImrO1/e0iCnP6C+8kqn6tPItu+X6zqiHfFck2E4wsCtu/Uec++HNJ7OBG+OT/8SZ4jvYk2ojVQpjHih3eKh3lu9NVfj9nJVrRnBZZAMLRDEhU8L/r8CJeFRhw/hlbkaP0gi+REfhrT38Rrs5sqxhRcUhdLSKZe2ODKgaf4M1ysUT3v/moEYneFy9I+hlXcuTD59kDa9V6ux/WcSEAF/0EX6dhLHaC8aVWJcUm3e8TNTAvb0ByBIZCUEa9txOezlW8ngZ9JryGS56WVrkFVcJZ9Ss71SAwJvpbGpvQPXY3nr87a/gjxKw+7/QVa37Inzq02x8qnT8S/5nlQZsk7bLd/3eZf03nwX0kA/Ow4xPptE+MFTcHIDD5Pf2BuDAzb/O/FBwAR5j1XzBSuIY5pPEvoIPfWBtEDdKqJnA++eBUEUGd7rOJnqH/1ZApyEmSQu58pv6zR/JGQiikvOIRZ9nzAcz/JleuL9OTjmaUGI2XwR4+n9t5KzK0sLeRrJs9TtJd2Zd5N9imHV/cEV5Z2wqVBlyH2cbt/9T8TCgtGGx/Tczu07QzvTeYZl1K1EAQhFfKZg4isS0C/J2kFdAnWvDtiCb7R8ysW97JVYie6aAWpYpFAeCalHaZm1IdyZ4RzwHillsOqElfNUF6jf+e8UCIvC4PKW7jUhVktOREYbLl+453aFELdG1EARgsfoOjOo8iPNrJlR7c3b+wt5ja3K9Irx+CChTY8CnuIBp7+sD+sR/3YU24jvSwwnagzvp2CrdPwN/P3aQw2jFPkxBsPs/i18tfRDTFzavOZVLJWf61gvJDgRBO9h+zhAxQu4D7GFnbPH4MXZgkWE1okEEerb3LhZxzc7SiX9SfMEhH0+hbdkobbDNDrDAvX64s2EfEJ+DL00/971Sb1E911wsJ3LrnEG5yAok8cpOqiBaCM7TYSB6880+bXohhyIAJKJjlBkw+sOBX3Tv4dQ+0bR3Z6GVGXORaHT016iCJWZ8JwhR8ieyYGLKvlVrKn4iSrylqcbqvuVKC0FjnOXhN6SfY79NhtuS5LB1MZV8MCEWu+XzpbwCgotde4yBU5vpexFcfv3u+yxuRiA2oQEFNoCyU42GDIjwKBtOVNpToCKKzV2bDYMTjZGp+dzFurli16rQFrnzJoClk/ND5V7qTooybCnll1HucC05tb5OaqFFJnRcGZEuHleGhMlSTP/TqVvfIYsPPu2i7P3DY3983wS2gsZznYvMobz4M9Hu29OioUcce6L0+ui+yWI6KiFTVqKI3jnsqaWYKTg6LUPqcLuZT5TDvejTUuob+AY5At9Q4G+0KWCs9n1t0ST+mJOvp3ydwynnev/ZQ7tqGrLRmN/eo0BU6sGnzRr25TskU3OtfF7HT2/3pTTDOXpK3485cmpKOuSR+ydpK+Ha5NnFJW26oShx4Zs1XMc5+uG498XG3LHPtZ80sPfNuVpNpyjmXwfXq9rrsSzCPjuicCeQqWp9YADGBnmfTZjqpK01GuC4Kpa6BlQDwYwiSzhzHtE+U7iSiWDr9sfOJTUmBolqPpQ+FEZ7wiEgO/OxOnHtwFVy9g3EZtYvlij43hgr6vDuYu3HeMyoJ/jQHlIxUexr0JwH27IxyCyKtL8OzCE4pPcje4sUcmclNcpKhGbKaAd6ZZosqT9hB9Ny/5hw7tEvljDfSrPQqko+XoKJa4gY83Gj/7XKM2pcxOtvEFKsMrI1LZD7XSUsw+z0tlBvO6jDUOFsl/Kq7m9sS+UM0I5OBhXVY1poweHfiOfntWzyilk1N3vIJREqTdSX1U6wIc02CJ4rmO9NhjAtlDKemTP1PmMaU630PQlArFhBQ1sv5PReFmr7/t++Ui51TNEPi6cYbNxCO78aKCkG6So6Q7G9U++dttnBls+/3/TUNZMImKf1QtdJY2oyuILLlZIPigHEfATIJkj9PDuhkcyHqq2ncpRxPXwCO3H33lXYZyueroYKgUIkgz+7c/1Nzqs+QvT7U+YCunSOSX8rngA71DGJfVF4FIJoBLWhODDlcB+eZ+bBjQEbaRxx9IN4ruFAXTiBVsMqJVVAt/H37Tsu8GrOMU+b3oVbqb6VFgYDxoH/gBlYICXSkDnMdNb8KRWuUdAlXv/RcCGoY4jsDCgeQ7yVNqWtg8B//NCN10v1+mTZXZMVHS5M/XZ4EwPCRwjQCjut8m2bZmc+i0L6P/ffctCEJ5vT9e77PGJ/f2C2DSll750H5hr8PNUf8ZkOKA0i27BiLjLMqymKOrRZeJ9o/2N9Kd+MYEWmftixP57p+i/msZ1+LiAtsfdZbsdF/i4obJt7yh926zdmzBYAocjIln8IkCV84Ua+YX5/drcUUK2Jpc3CTxycQHNrNAPO0t4joVQqW7BL+vTpR+oy8hpN+aPy8FZzOGxfZTaefa86+2cHreGh/H7kW7U3Ukc7xIQ5hkOl/cJE6FFZHyGaZemqa2aP6o8jSi1XEWf/Uct+N/iK2rX876Inq6/gyr7kXbTzUYwjRz5oIW6UwhBBYF71QwKDBkUHblLdfo7qE4OXXpq/BagGUU6CJ52AQFCzhxUQSBlmjrHoSytrnnZYEJZanabmREMoxri+DbP6JgS6vPHZB/pJcNzPR63lpD6tWyT259kFPw2HQdplr7yTt3KEJ6sRsCKecJiSH+83P5SiVLn7V0Kw07ozenc8bRH539BNpdTwcvq+Cdm+xtHTuCldPwY3k3hOprEPWADa3cn2Rwapv/DLFfm03T4a07V3gCa8riTIRPk0MbpQWNTeHB2Rb4Kvsnc2beQvMDyrTvwya999j87zcBQ5AWLJ2sBtqTzLF46ddDFeWMYSucD3j5e39y6u1bFliNdlzolLFttdTYs+/y9si5A4nBYbqQ52T7vYgKQwFG8t5MOfMKWn41CXEzVVu7ib0S7vhHJMxJ/60Sxinwtt7nNj5rNSbkA+IjEUTYRT2akbnEFls+1+lrD6elIjZC7u49/8QcjSmFt1qnN6gFIGwadUVorjC5Q+YL4U0Ctpz53OhNnHReETuBMeDGttRu1QRe1oxACMlrPNijPLjxVy4DtKexUhf4U9P9783WVvgJDLTJWstaS6TnOjgCaCaJyyDHYQwFez9eglYiiZj011WVf0l1bjJ3/ib6VwkfxShpUHdmITehHfduFNK2G90B8ltOFyd+3htPbCMibAlEQManmgsKA86g1q2qAy9V4cDGNbYxRKEZxTmf3m5L0+ybIpHC+51MXICVrRdF/7G1HwdEyzWdnfqFtDi0/V4HY93N4zJHKwqCd4Q+JX2Id5RZz7e29s9AH+sjptgwFO6/jQF9qjSes3UkDsKUKpmMKYer1SYoO6SP0Uv2kuQpT5gKmrzs6DLQOA/7p1ARGadfJwR7tOJZz/junsxrgxp1Yqxz4vTYxOJ6lrMoO6sNSxGXB6C65p6+y5oNIwfNi6s33zZx5HYpVhcbKMuVzJL3IKbdG3pqT89B10K+Hehshr0iugq5HqonJ7pw038sXxoaxL2pzgzUSqu7k9K52dMSQCRd5XDGFspzegxx6MmiTQWg+cqZH78qpPSobcsNOalqvAO92uP4CSxkDUz8wGFma8asKC0jFVk1DyHb9JPGeQAywSXQFxklXIg3or3xdySfcTq+W55chrE5GxPKzlk9IGkIcMBopMSm+2kt7RclPrjk463A/q6MsILUaJ+V9y3gwPaErIHFO2mvIxCnSWAVWn6d5mhDR819o4JaW+tuDaLoQug2RihdVdtkVxWPMyXWGmWVrqA7llnhHrqJUiGMjX/yFGMXXABmw5oqIFvOtfHU9gQM7c3Lx4RhxuDyOt0w4wjbBvbHoCjQH8kplBkpLicricK6x4ucUx9PZPUEpdp9ARz3PEgK2jwM99oaUXkA2GYT5arqAmjr9++JcOWxYBOI5mlEninwn5+j28uFTZ48o9xRIT8nIBEv1h19MZuBKxLKBbiUxQSwtu4uIUBJ42rUBmC6R0E/7gi1x4l9h7e3MBKs4+zxYlftUaT3EAc9kfdYby1NwcWwKRW3yFVoaxlMVELJJnBcin90bmHPKZIxzkP8M2OWT7BAjjUlufr4QMKGjcx+C9DheTp3yt8x1zOpd9ej8YBNmF75zZLaQ/hXyOjVhitxDJDbiJZDRHEW6JqswhZ1bltyP+xT1Bo5sMslGmjtu3RDxvs9Y9uctljDujLGRJfMHgIjn57L25nVFJJ9/Vv7PUogQdTZUfZovG+xZLr4ukZChfv3bDmhsLfUJWjDtP5S/mDatgitALJ4JOHXFSP3WwEc60OtKIYRh7baHcxo/HurNxznIvdsY45GsUVCOYa5VVwsYumOy2+ZSpVKVc+ElHHUiwiit88JpI3ExkhjS4l1ZHeKH4pL4XbcfRsUEYg/AUhS3PzhO/VT+TmN88teePjr7Kdwjd6fZttGl0euBQS7lySM4PwECgxZgPb2CRNc5abAgSY6mf0pZM86NYXaAfGa5mBZ+UvUbZqPd9mVznRPy3f+u/IUwp2Owe/xLW4SuESblW3LLM8GRF9AAaafAVVd0aOkPKcBDU/tBmQgV+eUY5fE2Gn0ofA5vGcsiV8ChEObjnqeejwreAmYAQsVSFTD8L4pdykZUv6vPD4LV3zHtSatb+h/xFLJhp1XNIgM+CazBXcGdLXVhudQxtubDUNY/uGjPUaMEetT7Ggz9qqejJTZwO5hv7fX7Moq1ThYSlWzjrPJwzOT5bpisrArGDuvPubrv/5FHFvlix61gZAGRqsdQF5o6i3iPwCUWzvAScsNtdpxorMfagjhYpR5l0R9zgRDJdmdcFUZIgz6bSBgtfaPe9IOmFuQ2WQFySu2u64Ffr5uB45XZw9xuzDTUgVecBtZILcGChdWHHfvAiW78Eo+RBKoeE11Xfu9Q5jeojspnbDF1rziaO2REHq9PL4bcoRfCGDkisb8u1e5S/ZROXt4Oysaj533cYredNi7Z+IIP1t7dqTeZ5dXL896jzF3u3q6sL9OyT4b96bRnFJC3aqm37pEMGLBoiwBUJb7wXRBKMO/VeUS3GqQj+qSmeyr58rsSIZulPgv0whfeSG2RfacpCKSXOaToBtZdKi4mht7i18HYJ+01o/y3sAtJKGm189zJ5rGZt601/dPI/v9TsyRPQ9yVzveDMtTY7nrOCWlT/ThnEHQgiBg6FOI06BcBfMa72Yu03f13dqTuB7nN6udfSeI3wiFHegDVAhwguVxlac8WxteTLaiB0/6HK+Duj2mVnnkIuKNVa7lt0o5weXlV0HnniByiw7Cq+TfAS69kOssDPM2U1eD2oDXPtXx6b5wR+PuiNSoJ2ff0WtU9Kcw7PMCiZ9yWD90gBcLOW4FtB7vJuG/JxubXnNGjXSXyuAJwTyQi23sV17Jmvx/MZt8IkCSIh6xc7d4KKS7JwabjF7HPlXKpSlpzwmFNFBP3jAKKYpkuoS4aYHlqBCoTUTLO72m3t32bflYBgx5PhXanqZLucSGS2NflgKuvuUxOWxmZtFYOyE5qzlm7q3Wze0qT3Q9DDvw0EFRSa/cTH+rhCy64k0+FdfirROG8aWeUTan1DL4wT5Y1pA2VEyjRg9xMkfr08RR2pnoobfisWuTtIjHi/Lv9A0R3GqGvYksDnviZUgEfezsQ5c5Bgk0TtWOWnZM1ER9yHZPpWUzyMOt+9t4De3GEnnN2v+8lxK0LphGq0XewrKwwYb3txh1X/Q4ZP44YIGkWyJEI0XMLgXy1BTyCkpSfhs5qZzbgrrHV7xNru+8hxBqXmv18wfP6obePJ2w9QbW5oUBEQu/WbKEmKxUKid5HTZzL1CDHNyIwqeX6th5KQ/uABSieBrNz/S+nOd1y23JBty6YomNPFQ2ZBrOyeKbF78AmeORKhGq1WyR/74Z4ytjwde2GUfEWqx4PHi9DIcuTzO8H0zo+PI2Y/S0socOMaUJpLo+Cu0o9bx7qVDp7rTdCO6v/+AB0cLw/o8KM33O3/rve+OETU8wkGfa2xgjGO7oJ5pKDdg09joIe/eYv2p1pIdKqRbQF4a1VJfoJ86PkD1q15aBPupdrpgKFdo0tvHqHeceCYw0udg1OjL9GMbcC+AOH6BRCVIpGCeCu/rtqCV2z+ebmNc7czjpVGQzHYzNcx2RnncD7wGJnXKnS7a4cNs9KOX5UQUPBARSWWJ6hd3ZvcFYYJHAdeI9AZEEXyGJAMTA7pm7uWQgcuAoF5RmnrH9VLy0jEN3xJeQiKdfcdviLN4Ae6yUQqc0hFOKMqL7kVADQVx0z05HsA8WEL4avqHGRZKvy7tSMicYdcJXZJYIyYo+ufg9nGNVkYeyo3VXmPXxqzYLuGQxKwYRm1NRXRcVpWl1O6+SvBaDPEKoJ7EgA0BCN30AU097AjWw8YyAfBUXV0eXxygI1FOGAIAl03Gndbt3eAlzFuwHcxlOEkwkftrGhuGwMjYT/M7XM7/eQpm1U3Q6ezhZXNEwhZt5rKN+vHm6H0c/x8oMwZ9T/FphILU24NKP6Bch5pRRS7Yx1U4r7A4GNzeM2M6bu6GtIWb1kpNpe4afOEHR4Bg1CqjWfOMQ5zPDlfpnpEt9QeV71r2aFORV96NLWs3NMFIq68/r3EVDhSCffulACKgqXVA2284rUMZKwbx+Au3692MI1wnfV/QjQVKuvr3j1PB2leOct54MNNAAaHcfHTcgKAjvYIIVs2czPmObK4T49iIt2TSoHTH3CHTsGuyI3n21BIPvgClZ063Rw1Xc/Zmo/yI43gd2NmKtUus1aKbULS69YfC6+HgQ9ZKzu7Ppr8kWiuYLEHQmSw3IwTo4xeg8xCHllhMvMMmHhBdrjV1PL7qx29qfZcU1SohAKiYxjHYWKFNiHndj679k/PQ8K7Wh9LsBOMUO7PpZXO4kUIGOPhMIzd1v2v+IcavQIxnN5X9OkuhLTpaNRZhKZveaDOtXWeFPkF/P78tdkhl5wFJS7cO9Em+CYOsrcRF/GI3NLbqVoGyDrtg0ydSlryOnlpkKkeIQjUonFTT9xp5NHmRTQ8099irTAJSi/NEWTMpq/fthyW1sz3EXLLqmQNr+PRAmDWkkbCv5azjbDcuDfjtl/Aom3XEaXJB0tcJhRbIjQw+9ztD3V83MAhQnD6Qr9DgMkFTImLUGUJjXU1mxvfWxYGwhdzdOqspfWxBmfgh6B9y0A3Za04ge3Xsx8dKPcI6GshhcrHWz+90N2xKeR33mijEs62o906g/aymdS05nJyr+55EPGTNdC5ULffyQX/IZSrfqMFHVdiYH7mSSWFB3fl5mWnphFyPw/mmz6LcIioR1gftcsbm7VpWsJJeReDB3cHxYvg4NuIw9PedqFGIMiGw3P9Q8aJc6XGWQeSCn67p1zmTopNp5bf098IbjjPymsMKL3nxoGBNWKXFEpi8CZUiHfYiolje/VYADM2L8BxU7m0r2fJMUsYhnXIHRU/a694n0Q9i+wsAVQoKOGMSH95fwk1h03lK15LKG/wn81wmnu8SCodmm20Hx/jVqPGWbftujEDA95mD4Rl3hhtJ1xZrsMBCup60iA3myfpLzYtO5b2h/Gpjdu75cRmwKVo2TYIIdFuWvR17asTGnuboDgJdZCzC4rAXUJvOYpREQWZ2u/h5BVDr1QYnyAbd2b/8WAR+u0VfEdS8qOvR2tgpxuBCELNBpMEdE3zP45YgzzydCrd9wmG2gilOviSQqs8bZ/9BmCdVxQPgLZ7qN6inuW+UWeI6NlHxpEtL11cSGQyYvdzmyPoRPGdYMtl2DGVAM1IPW5t4fJV+k7XxdU8k3UXSyF9lzk036NCuRcK7GQwfpMLXhRLSJKTXDGFEsUYV4bJUE+LnR+IdV9agrENTnIlceplZQzGdj2AbVHg15dDlh0HlQInKN3wLRGENcaPxwF96OepW80mGbnXF0cN8x3aSz4Ewj6aLqr3ny8Y7KkhGNaBTAucZTqejbYIcgF/WYb9KtlpmQItugXJfkEjgmmW/UWmhN1Z+Pgtawwdk2dLIVXZwqRthGMmV4YISv205DVm15ayrtnuCwMTgH422B5MHLPJaeYVHFuhYOWLn6fi9gWCJQ4Ylmg6Ao5tDJIqQScE/a5trjUr1k6m5gLMxLKO4DgGXShJYT8ra3K/uF16Y8sj7tWRJQ2J/431vk21weNYsdg8RP6K8xCQe2vSDKuK3zr36d10/ax6rnew9mvax8uuYR8dGd+qvZfZhQQ871+6vhIhskgb94c25nqMqbjuHYE4VzDCsWj5pHG1diIV35lyzSSxl37Uj4VwCOR+1f7LH1c7/tNOI02JnnN//NTnZLIzvdDsB/iTvKjxmKMmsNUQgU3VMXVBOpx2z6uv08pJ0qXVY7ohR7Lx9WXXmOUfpRhvH+STWNmnhhQlfApfL7GK7TL+2PJTwwIyH2WdrtChjE1S0coklAXS1bdQYIsvncN21XV0/8vs+USqy4MxxWBgjd3kzQUc71CCKkXjloxQGyFTROzyuy15SjtG3SP91ZS7XZawcTqEZzmJjJmgy5Ib6eu0JdG4joi7XAx/q9Ox0cFX+TNrGMu4yWNVDz/5e+hyskHxUdB4F/G6O4pkj+eRY/yGGk4dayB5PwqiirdIqD+KX8YJgFVDdxCL7sqa3Xo13rLJTtTlpZBHGVLrhqCJLI32H8gVdbfrLIbXbsBH8B0HPHNySqfQKVgxesJt0uu/nbUSFW5vgm/UGprHA0c2va5CObj4EYtShdjxrgE0cONUjNbxkTtFYFfk8rFjFaZrXKTSvhPQdlgHiHfIfqc5LoHUUiFvXAav59axw/hB18uzUHvJLlNdv6Me1qomnvdTNL9xmJeSBmCg0Vu0yk/j1+Ay7rnNG3QQOrHQ6ID9TjaacwyumvsvBUOj/Cd09Z81QVw77UvMbwNCVOypaRo5vxXX9F7Xase/cITyK9fCIj0mQGM5mOTUzGvKJQNI9Wa5KZQYKGss9GR5vh8SAiHrH4BoBrj2yw7rsGrnn31y9hr5BnwPyJu/iA5ioriTrVuU7RBullAcWTlPko/qb7mONacGAXjo5qTPa7RVQRHe6S1W47RB2AoS25sR8dxzuhImOkAKaVjDqgE0HB0eGuedZVcNgsU4sLSagqZQCQyzrnsdM/RnvIjA+5GEBmefT5Ocm0UOZH2Qx8iORQ0VOAyGH08Yey7F8nB1LnaAnmLmv4rKvwyraEpcfNyeeG4zFTeU3iSleMl7UXF7eXcKDwtf+bdE+U2dQor5Erl3J1TCiOBwVdSYMtTMKuUvwqlO8AZLad1G2fNc8uNOTr2jy7QAos5wdChrdbWP80xQMU/UkMMnk4GLEtXEBE+kbhu1mdGAr8hGSh0RoiLrjvZLW7BOHGJrV0mO+V0NL/vWcc8YBRh+KORLmECwqdC3K4gBSlRrDUTmNvuPQGM1ltZE8zsFINcsyv5kEJbqRccF/xUT/kcpCRAq+3oDULb+nWQ5aP74DMHI16ooHO4JARiCrKZCDS8gIzV11Aly30rdLevGFstKErC0Ru9V+PN6ACYDydbqJ5cTpcb1hiu9AxKx45lRxxlUbTbvULSsc2t8kejmtniixiMC7QPbUS9WMBHdSmLZeA4g+GMiJwgjqz5ccSTtD8umXg34yx5MYyVMQ3qFCeaCTnduKSg6A4IZ+UsZMAIbfbvGG5bVzust1Dq2zqfFaAMfNSZJi83kK2q70/a+YVcXzH1v/fajGTqyNu9kb2G1/OVmbgf4lFZHMLYl8j/oh2+EbFT5A1OQ6C/f5oMzMSUWFV1yFEZqp2pN88WLLh9nV9tZ4cWraxFYy8HtVy+wBA8JRKmy06o0l7P9nWzzZivnlubGo28onTtGC32LOGvTuGuqAOTkAmZSfLzH3hrQjaRvzcxhwZfpTGR1hdjG/b3L1oA1WSrIqMs5LdAHpRVJMyL49RnU8yp/PB5ywRsC6cEuanvr8AaXBrb13ZQ5ZESX+2nYgx2Ozlzgd2kZiUD8ynfIPjS3rzvaOpDRXSVDBUH1AG8T7JMRPBqcTISxlphOHA21np+v6D/1AUG5OqRyytkVikDZX1Ffh4/JlIqqWMJtuOjlCd4mSq2FPrUJA3CrTB0nF/HbY1t0/WGcbmT/JD5wDikHTi4ne72OAUIVsE6t/78MZCvdTbTQ8X1AiKJZ7rO/qbfrJ2EjbChKTgXSbj169bcogVkcQ4gN5nN4qfGIzTLk9BZ76jng5ZIQ/O0VZrLlGwMtoZ0Y3dkUSwkb4cany6FPZ2dWhcs490nh5Y4aj+vWLBdWsE/DzFaDIogagzBYbZZDkkbissRkbHw+WBIcbk8RTkqsfo6r2VVWyWATjkkMRZeuHVgcjZ+NVbaVrETbsGpx8PV6Yv0RpoZHdw0OChdlpE62+TwG4QEDFYbe/D+Gyl3RpejgI5kAOJ7JvIWjmpsgK6ypLe7/qfkyEFSnjOqX8olZw/CSJU706Jq6fP4Qr/s4FSulvbCbfd0sfVSNAvyJIMNijU8LE2e9Ms5/Dg8Gqx6ptR/x+BNatJ55jayhP0nrb+nJgEnweX69Okgj7a0tKtTNSiDwlEGVomefvprIL3tJh5wb2ErZRCIuZi99DxWmrHVsUHdQOa7AvvVNtSjWkJJE1Sxy6pDTR52IOx3QB+qWjBkMNJ1FkTM519eZmA6bp2vYZJH7qhBS7Ox2ZsSLcn4FJZNapW+2NSmGoWEqvIWMCr/m8Uzb0d3ChGLWhNRFPNvV7rSgaI2yE0njClQQo0kKme9VRYgAYgknEfIhLwEGPLOQmeszxqIKQA0TMD2yarbeiU/aiXLpfm1ePxo77K6f+ueadEXJmGJZrYq27zF66QF0ePYHdc7gl52/x0EV9QdA0Ah8AdB/4UJj85qr04P4qDqbHRKtNk/4amWoTjqKPshsiD3PK79+fJ9yZKARU0eUr3xCevsPllQQKHYtQEJNs/DqIOTAj8Xe0CUPfnHA1G4Tnt+zyZgmewpVaZRkcHrdWRGVfj7StnfkVU16ghwuc15f6sXp7OoPwTbvlmcTw4vQGy0Dv2ytWmYj0tvPFBxgeoeD032Q2O1fMFuZYmxqB2xOAHEV/2KZsF1p6SUBWRbe9agPFJF4LU+9vkPAeeEbQYG9miXmAilJU/uMKZ+rA9QgEUCZW+54bn9ZfekDkti814FEaUlJLFPqltbg=="/>
  <p:tag name="MEKKOXMLTAGS" val="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z2dD7pS103gZfJ6l4USC3jqtWOPR/ue0umjYEY9KlLthURXCUyUuZbmGDPUXB2idlVQc+R1c0j6vNnMaKvr/AghcgjyTjoGcS2U6lyGcWZbvoYqQsrFJ5DN1RdHsB5gZU4BjQJ6xKwDUEsW8X/QQ4uIPkrhyjIfLLN7ZR3puqzBiN1rMnctBA0J594at1EN5QJYMsPufr2eabAYzIDriNpy1GurybA3KWqcTPRKYh436jQqOHiPaCJtAtzpRgB7Igk7tw7BcBhai66Lc0jpyzFEK/4NRoFF+cso+ThI1HNgDMZbpFoCsJQtilLqk9nQPGX6RXGboCTf8hOOcHaKoTUKF81dro10jOa8Xb8mBGZAZ+Iyl7KGHMy03+9hVypQ0KdN8DTIQKzskQMQgwNkn9U0RtWU+jC/1Mrq3/G73VHS7fsUVieM17+ZZftP3v7t1qFR+LhvODGxVcwiTCxowoYt3WHzfGJBP1ZT/2PGOukXYruoytcXw1KRacMnPylbG7Qlz8RV0rIz3wSb1Fp3JBihiotosGJbZPqi6jVpR1bTOj3guxlOZJvNY+AODmLvxFtK+hF1S7p6OkpZTbbQM1nxQHAyk8WzHPtzpH/yj8X8pToUc69KnIaLODGHkillZznZcPu3MixkAmff+vIHtwD0eBPO/qfM5uWH1yTAC5/pw/mvB5wGzVdbv0kLJG/SXtzAyEIp643Mzx6AUXBH+oLqTyKU0dilyLjYw5RUg4B6c9s7CvHArrZrLmhGqbdVnYGPU0Y/c9Mrjx7s8HTCzlnDXrnPuiFBYz5oQTqTNaZ3kxhO2UJdvuVuyQfk/AEzelnpR4p20ifap3pDKmsZIJXPINBHeC4LfWxLfoDrpCEgSzIVyouKsPUEonyYOxqotFmn+zTzjaAKCMcmQg8U8rYXlrGjLkTkuEY77HvZtFQWGjdqXbNpcWzFlirlDulxxQ9REmBOlc51pK66MMiyG2lczBsJkzDEPwN7Fsrli+dOizyT5TLUd7KV2SqY+dHg81vIfFX2D/KTYXWLaF2z2U+TaKwE26cue+YmWD8MirQAFNht/W1DxlNQWBdHXI/lTAShH6h551dSZC5noQqXh9Jwn6WeyP3QIxweSy0PwOmACZvc62hIeu83vGIMr5F5TokJQf7siqen1+RrvVHvzGJsRD4M5XZ4d+e7rq2jc04I6YhYpp2URDITqBOJinfgZnCFuZQfGb4Ich/CIGkS2Wg6kKf9WIR14/W9sFJ0JZvDe6ociBu1J6SgAy7eroutyQq72dphfa0KTODFS9kXm+fKNQgSsiC3Vjyh5P0QcLRjAMOyaUNGYWHZ1GaQThoF3Z8DOVxTTU30MMOpnKrpEHEmoQ1ErayAmsteXum48z5oGsRgWRurVMafK0R0kLMJ1qAIciEkyLhtZ8T0FOhNO5SJCYrif904qOMEWbZRinLnBQdSxWycu54eYTQTzttzCjcb36EepvdxRVK9Z1Xcy+9u+UaR9VS6eM7iG6ozwIzRVDsHMOvi1+GeNE59hwsqV7We2f/WSxodTw+JOHYEh5xn98VSp2tVj5TFFo4T+XY7zuzQpmmOhiZzFyXaTLYHNj05pYg2kyOBragg8nCkolADSroLFsxHEqzumqCf4tz4qyDv2Habn7t+6gJYzitU4T4HJOjAeTRwfLYiQnclT280Ve/6B8LIwgiyPZxwizbijJbHysAZBj6kcu6+VzgVNvqN78UaSuuTx+NTKCpOq58jODhzxkl6tw1p0AMNzFv8fsdIC54/OiyxwhBNmQN9HYEcKo48LmyvCJEVf8hchT5spqdlGQ9nl59GjWxPwVB20IDKyxf/fL3jG0gcsb+yJy39sRi/FoSb5BvU8qzfGWmr/qQFH15yfiSa0LdtZBiUHHFL9JUAf8fD/gjKSJX05TFrAZfIXz745L+XCbEy3rtK112CPen17TdOstbm9asUEnp24+PU1Qyq1PDEfCr2L+dpavB5QkWmLktz2yHnSB8GRuYRqMYfwq9mC+NtArfymDUVO2Vj/EFCTa5M4UlSkSsRmmwSi+jntTRtAZZn0Je905PfBt8KPBx2ac7/y9hCONZuJyYdlmdGXGWKx0Bl9DfzafNpSZdX0hwRMwV99TeCuVsBJsBIo/8BcPS9wy5sBzvuF4P8HGwC+v21jPUp8LeuFIEVdeRrYKFlVZmeZnZcnJPCEyheLrJgAIEbZg0tIuXN8EMWnPBR8+fGvNDLx2BnYS5d5sa066Kp07cBgIcviWU7nW0PeqTSd3tiXZX++aOlddH5Np9LvLMZFO/a5JAcVikmntiibRL4VC2mTddrZM+MbDe/69nAzgWGlqUgOnHVxsWJae4jpCJdwcXl7OGDJvx0u3udW33TSwl/lER1WLJZPHaQEC4xWHAYdUll4sJr+lEnS6UPQLq3qHb5p1p8HX0DvtqhVrjjHhSp6KFzYNpF3J/BLRdu4CP2YUigqnqLyR0VbWSAC9Wp0yQs4MkonlkXiXKKboda3PtjWT4S212qdJxUoY2UNfSO43AO3yy9WvULpW0Rnp6gXummVPAla3Ddq8hf0epjApPKQWqdq8Db73tjHDs/WAIcKrozpMRZsClmCUFnTFa+7Gi0lgqB/yc6hzdznVnDlvwXSmgraZNVVbd15x/OFt+gTKTlrUFLtSVSlSpcnd4wRop7gFxqMR1TlcQHAt8EtpiWRSSe4IZTuP8nNrOeqxqFJCtuB3x1r8k+ihUnfOx57B/X9oU36zg1+K9oERCFN8Qqs/DytbJiGkgFRCxPDWKhlRVZ2j33UCP1SoMIS1GLKLUnf2TfvOiByB0qGS5UuzZScQHf17fIpiLsXiRgdD8mPt0+7OXT1zkgHOZDZdI0/OWBUhTVZ55ca2plS5QDKNWtq8fjAeHc4CgQupdTGevrLfy4Q7nQQPz8xAWTDvz9rGHs5Jc8hFmx/zVZ93oigvJ/tZ66GN8Kpz7Jb5Z2xgmsBIDqqTtkI7qXqu6VvmDiUX4YYPukwSYdjgTGg+pVfMrPhKP0HIXYL+RfM+Deyi7eji0zO+xOEhQTmYqGVUN2o4HTgXQNs9PJdKLAWYKIbN4EGCxewzJjC+Iy3PcfyA798UGAM3Hz96v/VhxE206h2FSSk1L6RHuM2JjbF5GYi2tfv252lDCNEDn/TWSdg2u0GpWgjKGxHpmZUFNuCNh98ukIV36oUaVtxnnuEYCiZUv1TzfrwthFqjDdDwkz2u3MLWipDNpPbnCheHIrdIk3ecrTHQ5ff9jGUKhsMN3VucNL4+O7qmfSJE5fFL6W9Uc/C32XdGSzhNF0P5Ey4w7Q99WBFmGbf821ID5Iu76J9eUQY/0B/F/pOTvfRY/3dxZLILV0LHmQyygaj5wTg7IOPkNNCAM1+G3PwKqkLj7Cehu4m3EHFl8yMzQHAQkXg6MIETz11+Zh/okmtyIZtrEk93EIVXjTJ/S9p+PCqqfG8UEKkYqJ9YjAFjxuwag2PJq+GkH7RPJKbN6jzZ0PyPHTuG4O6mSolNgrlk1ZSKN8sHhwLuPBB9Rm+/lDTfboc0Zg3DO6lakuD0KCiNeZ58Wd3O6uQmQIjBHRQKsQlOoCzSh2LQ3wWTyqheWsea08XXhFp8Z/8w5vwO2oHOiZbidC/I+ICVAtbhas3yRZqvzFLAALEMfT9Zohx91qupUsq1FFuuNXqvZNdjtROms17CXkgK4s1GJJB8z9inEdafTUSwhLdayN7pN0V4cdqfBPGAYiP58VMEGnBfKTAUQBs7duOEoXFlIkTEflNmWiUSePob0A8/+aKTU2X2Q+hWADx5OIcxtXqnPsue+dLjTUEcGaDnTnMw/nXUFRL+zcz1QkiX3wPMffhfF3V2URBNlyuHhGKBj+rr5/8RSzaZPeTMrLNuyrEWIjwKmL8jfQI2sDgpmVkJv3RrJnHYoXLZwlW3/xQzr+aIoxZtKs2KEx8CUbh5gFkW2v5VN3JV++UBXM0oZGOWle9u1+P3EQfZbMepXYfnTHc2plpUQ550CmMD/8uvGtejxa4pUTzv9ZMbVXQs0jno/VSDcHu29CXhSSWwin1h6ghSCG12s4aDPmdgK7ZM/7FpxNzumdgy1r2z+QN010xUqtxDB1XWkJDSgB0aEO/BLYVWceUg30ZMNMWXNONwXTQuC92j8D+Lq7XhJoPtyAMShDc8AheVpXgBmj6It3XnfLZG74APU2eyj1WQhuXJa7jD2/M210FRFTMnesEwcmRzT7V15JhdMimxDTW3r36fZn1wGwZ69u6H7Lo1IePqfX/GeUwPmTHE6o56UmAeykrpozyXV6tbRZ0D0IMyjQqZrKUpLOG5r91wRq198ZnNohbRYn/81PedzM3V2HwZHHSxAdNsCelzfKS5tsV2aqg4B1VhiLXzXinVEbb+tbd0IvXip0BX4kw/7Yo68IH1wjwRl/k2Y/xdMPpRUICfvr7L+ZL5QqCf7A9/+vHaPibcf5rMlC2R9CLDGskqQ6YjsFEAL7L24nYshs+MTjNsxLCyi4mfs5DPm2ZdFQOaY1tHEA/HhIK/01/XrhOdHpCh2sL0Q61L6nQc0kdYY5aCZrOSDhRVC4jHKLGTDvEUu8RWIQ8U+B+daFa6QOlIFnjHk4zhMoMUcs1dx6xhuDMGpTZgwE9G/LhJR2o6e89mPdSG3vg3nrISuRVHY8lTuGWV2z9/hxpTMIMPu30EW/cjbA/FyR080nHbmqBWtwyj2++YeulraupnpabJOBK9V/YqE3Q/yWZeUMp5jQcTAEK2LQ6Ft+JUvor259yxRXS2uHgL3QgMedTm5AgHK4zEVpkq9n6VLP8egUDyuoPTCmBPaTot0lJeObQ1z4l+2bjP1Uy486UwOwVXlvlOxHbLSD2vb/YmmeyBNE7oOR4os18o0RVzGRkxKs0dLLxn0sNAvymXvBFXtsj6TdWjDik4tRvdjr+G2yh4zBIn3stIoseEUoV9anOMe18gU0flJU4sZuiogZbiIK7h+tf+R6KvHftBht7TuFV6DsaPWaVnQeT1UivTY+pNm9AQZt7rVmDrR7cNUTynZqK+2v1BAK8M1epTyk6c3KMbFSTTevfG6reKAC4PO6sJ2gTqHAUT3Ay9VtRcJqCU01RXceCuvk4o0ZB14Z8GddZQexa4Ho1/OEWdFt5Hq9JVOe7itYb+O7VU8Lc0NRvZM97IEA26YmM/Omw3xlBQTJ46lYQ8izbIO2AT9C8oaH3ZgKV6IiINIHm0/aZnaN+cpU2GHAlA7FMryevd5SY63/JjD+1Y92Dn4h3OnNnStf9dKji00uLdOoaMZki6oRv/0+i8SF2WLlbAwHJIjGx28SnkjsxmzzTD1rIj6ZLvokHQyx+k7vlqF3pYwcvKy+SAus0IURCnCcC0yB1ohAahuqSn97hUHSDByKw59YGdps6FXVWnPD6SunXKRofpbou+ouH0/kKSWniU1dG4a0w31EU1MgtaAfH9mJBMkkiHGxpedP2jvzdJpNUbqN+8qA6aRUlliQRxziLGqSue1ZGILfG+VY5WCqyFoEDnXEYptLPfXCulaiEDIDmK3aOqFIZGOD0odl5n0g2g4+hAeJWtqnON5Cw9ieowQxcpQcgR//kILgFvjyuhTzwqXIkdba5PFFt9QcIrxpDjdNUpUH6bbt+UvNkECdvgIbAJsE1xpRy1T0wPfGe+YFC6FI0Lkz0ePJTpmy0jG5JcxIEpICfLsO4/z+LkHmxIResSWSdf8dPqca0Ti9iUJtHgZIFoCnei7ebjHZpBMiNKcZHRCdCoX9X6Nm9UdR6oSrpg+2nzmCCASjGDRjC0WqPfXIxCMsfZ1K1Uadetyqq5DlkTK5xpfrRORLO/R9ZGod+JAsNgoCVP4aOYeAbNVBNE0SUL0G7Oame2GXOTY/FQ5LMvDCv1coaNrjT7CKDqhkK7x9xuqIi/3gFAmcGRrU6U3t9y86Nd4UuGozg5oamtKNIDFQzm27b7BtOeu8tqoN97tdKs6L7YX7dcu7nF4Kfu1pziz/rded3smAwF0NGuoeTsQxYRH2PT/Uywi91ki/56Ns/65x57EB/jjGHVz4KwYv2WpHW7Au1HEDBsw6Fv4HguZpik2Sz/jxdgZDChPkFF0q15vJYhSD3RbvT5xpFvxCuqDks67SwzkBkvXUX0DVCNC7lj1vRqlZTPYGkW8TJePU8DsAX5Q2jbNV53F2QdLGhIC9xzZMrJ+vAjudj3SB9mCcK9u3CGt2cZgfCyBWMx+klYE1ukky1ftTicoeT1ngm+xBfHe/WbQ27Qaej4nc0ImLxF2sObSxzc1Z19vBs9y8kov+pHehAk8uaFiHrmF+yhQ/2Przh/lFH9eADZWa5jPqXnBDBkxWWwW5oV7EfFKjDjRQFFgGmL5wqUEsTQAtazyFY6UI0pzrc2vyDvRJac6ZLytZS2pT63ie5rZQhZb9e+9ZqFqpZFSD5XTzDrXujaQcNK2N2baY4/Lh/vSN1TWBfN2ov6XOv0Yv4h6GeJz1Zg2LbImq7V/bsABY/j3iAAuC0wtMpvMWXworyYzz0DEfjHGTSB/hGzujMIQWZM1o16VGOP82N3I3v2y71pDXgDsb5Bl+OvT4yTqbBoqJw32LSW01CJ8iXoTeHHCn3kQVEKjE9I5/FRU6J8E0mkXsYL23IXo7tL95lHYMGgh6PbfUCHfgHh/a1JeSo03nqu/R0LnI6bWiyA8fSLFKzuVvJGu8urDme6/VmM8MiEEkPEEQwbTTRov3dfuqOlLDnofG56BDfrHq9J0uV/luJlJTOGsiRozGzQAUCnOnyR+BreJyjDe8e2YD4q4itytDxxSOgD5hZvz/aAegTSWgfLfS5LMWsPNM1m0awe2FZLNS6xYEFNjapLiAF27jv2mHZgYSF4bc17yE7H2+iIeTA2AsX4bD7A55PAJDANrpKvxicXWKJZSflM7IY+fTfzK8XoonqcBYErMc1BeIuY14RUqtNktYbr3GDdGBFGOSWChRBKZiuNbaSmIxAuiw6M505f39l9gpf4ADZ+6lgHHDPYZTsq1U3cPdVtUonI1eYDM3lBL5Xa16YcQ5Pn6UEonr//RCRV1ZFj9ar1dmxyGV4x22Vm7WMBKaDHDK3brFhQI7KNiiE1KYpo4Js7ZJ9hwwh5wUOHb7xMswdjyE4n1BiloCtSpGlcN/DLBasWA/J5YX77efmGfWeGLZ4cR5wtMM5/JkTYaLOeb1CpZomt4e4t22yNNQhDb4skPz7J3vcsJRAIbwUTETE8LBtUm8w9MBuJoKKV82H2ogp7DNcQx6LJK6/SYPcsQUFgB39kq8xHzl9oCMnrLWdEg6PLwcgqKd2D94V1okmAKsF44emD9rOlbg8Fy7OoTadx++2mCn7cEWr+jD0YtQ5j3EumEWsYxQNZsmTNpe6KsyBMVnCWLkJlQzRa+FqxQ0uUQ/luRyz6Mz4FLlWdQMUJ3NseeHiqBaSf2rLgTJgk9SDN1K/gdq+KiYhQaCiIHo4OglkWwXMatLbrtM4Ma5+AzicAuf5F8TPtbXCef3AGfPyH4bU/quRnEcRny995oZplzXD8gATWKGiN26WyA+9ZBrhRoefNJdEt2x9/zbMa/L/XDLY9XrpDNrjwFH4C7kRgJyWp/JIxfuBlZPcz1ENFQqEFQ4uwhZQRAxoAOTalsi6gEZiTmaEjAvrG3n204Evk7ZxaTEW4uJ1gYmDoVCwKmS5S4xjvrCZUP+gTIsXGx+WHm68Wvo3YcctbL2e48jBVe8HXRariVDBqnHZGJ51ck5GoP9r+nxJSi0Y7s5HrQ1DJPIbGNTclcD1VNSyd5gVK8QMvVGUgzmP6FsIz6bzk5zaYm0WwVXOeIMD6lPONQ7jkfTIg9PEy/b1TG+PhQRU0sTjknKlkkAa4A+fpuQp1bEy3QC928uZh4Tj9b9QBK71tm0yZKhLU6wOrPZH4STnef5hSUc8ytFOgXTNaXhxu4G8ES6k6TkIWv80sVcqAUgAj5VW4pvPJCVzsoZSDlTHBpYRSk69QhHb7eNUXeWF1kIe3/MCK9gRWdCn3+O1JaQ2KLFvOHKGQkKIWMfMio/j4XdcKpTOfyCAo/NLoHwI+drJaxT95B8RoRMi1TkGnzklm1oyw0YKdxA3Z470oXp2taqVB0lJR6mhswG2cHtHSbf6uS14yS6sJh6z7dWCAmlFAu5Bl5F0Bu/kkXpTU2fEf7fu7E09WVcYMq23KL8iGvYnKSpRCysj1EyMbOcQ5fTQkGBB8FgApMZk/4J5MKkT6tf5GStatWy6l/YGOP7k3d4tOGoIK6Sh11tcSdwvZHmifXqN6eZODnWRCcf1GFkcE1w1arMkKJEMCbFeNzts70A+b6Leo+nvKyikK3Hu5fIPOlKWXMxrkd/H3F56Crfc7fdarLoFlghUgpbODxfgHVwsS1m0JwowNKqtgjUVsL5iIkdZiA822AkN8hLlIzy3D/Cv3gmCkZYwXds8cgnuVQ90uB8lSdFrHSnneUt53Rc88tSudmwxVcmiTQvPUZFGM5D+RcUkyDENFSZwly2e1wYQHjsgy43rj/T4PLxRVsUhjhXh4s2Q6mZ4RtNbT2KLOwNBp00k4LgpZAX28b5mJGqK3lPQrWEeWhbCRnmLI9n38zUJMoUjA2/DTU7+5SFp4fBsVT5r8HCqmZjvMM4kzNeYbKuzVCze6ZvMERr11oozIwRgWMbzIRUSEg/OqC9+HGxYjccbY1bX3WBuFnAhK5nyHf//OY23MEUOqFLO3lG6A39CyIxRvJy9Z6ZqYM3dsPdReW2kSE1wFnMZgb7DTW77GPr4vlkHf8M2BFXbDOH63KxwaOKi7q9VqWsr0HVfr56RY7oBAqsN/kCIrkdJ/qcpQ5OKbAlzxKZZ+ihgj+yTcHmtkRTQr+7913S/JsEwft294ohM1e+C39fo7Ml1nnfDBPyV1U6dSjJLCpFnz9W/kh0wt9WGmK3gfjlb7kEqLMuBA+2d+iv8B0t+f9aJC03xTafO+f+H/9+dnHmlcFTD1rRooq7SVFaYjICBaWe1ftxOBak4GwzjD2vlCNEyRHVh3GsbfJY/dJ7d+DccaulSqtaoTMBKHzP5tlWclnd3zNqLB869/eblnldoCvWrCCui1zFNifOiqoP1hoAdu2T3vMznsOjN6lYVK8mF2JFJPq082w+fl99nL0F3Nr6dKdn0vC5HyH/DpmAIQtTbxuyhk4Wdsj6uyV6tfIngmta+LxgfKl9COEWyowwMEODYPL0y+2WuNEjv+6u1+3Ya9lG0diVglVzYDHFQ1DA2NPqE8jgLTVgC/ygKKU42W3nlrdq9g5q/ahW3Wzcf0gwklhOgmLhw43vrIF3gSs+w83SzVAlahAY8C1wi46OLtGgfJvR05PjCs3XAckl1rXA8q05gWYeCvAJ0s2viloYrOZgCGCEaVX/hd3LLAFx5rQ9XUBnptocMsQVUKH2e/QuvBt3arz1lsJSLnDvINOo4z9+xrK6d6l1pMmRrG9BkGriRyECbzolkQPfQOcDBfSJQtM9stsLeSIdkc3d+wSVd9GyqFgeHo2yWRJN8TDPxxUgygMrff3guzeCWxB51gfYm/u6SAvmKGm/elGgTM7gxt2fSDzRdIltygOHuQTwNXnLyRlINNiBNxDxZ39fJ6Vl/aIfl9rFPcmPuxh3cqpm8SherWJM8vDbfcLl4IDKTueZRqI+VnubJ+mr97ulQxchd1K5Qwd8EBX55mn+TaVUZX0xfnMweQYU5CQ7kKXyFxzq1VV2Lk5KQQ/c7mfsJVXl0phOuz2/7zOGweMnUVd0IV+27JWADVhVpXJy5Djb7epdfEn+KE0eTdpLkk32JSnpH6PbnGkZXR9xJrKyfIxuclAt1gJqXsPcctt7iBEv0m7Xwz6hBoRtG3gh/g7TdOFZdFCg/83nqwjqjzY3GW5u3ZGzCAwvql5kaE6xEMZ0x7bm0+ttzDS/LVsaGyWREQJBsEgkCrnDoDWpkCkUOKBjUxbcxSfWniHTCdtBzRQC+pntgDDshHLE1cUeXc2jefvvGyB41eCYEVGjYTLD2fkXLlRYZ4LBzzYC5nM47yIJeLpgl9G5VLQy6tmugZFk8yyXU8vaeUOas/v2VJyjrDxdinIcO9xA+wR686Nm2KhtZcGQeeEGk2/JYwMicGADW8gKwNLhbxL1e+O67Y5K4m4dGWjyue/Mu9c6C+d5a+1t/qANQfQR6c3PEZiiS3/IWUjVEME/arY3QsJc/E7xpGK1sLyS+4HIT13r9SjgFNpqxts4WlUFNjZMXy6nKC9QI+6FbWOGEbk74JiVYnr7dGja2skvDxgaM070zEeFVXeefQP3sW8hGSAolxqtodPNZMD2mm5QlZGVAaxxl5Ylw8XSTYYwCTnnIC20scOqRpZ508pzYjAQdneYQkvBpqi+a8ULUYq9wW+SZUWvAhEgo9vBIRrcTHm0x0Uo2boLcOzC74OMpYEKNdzRQR1cXdyILqxMPa+s6EdSfL+tMTNyo+q9CNCvvUdmK5R5CidvJepQMaVpfMKASIZtsdbWMgq7bY9Ak0iDx2rxrivpTbFLAEmpHvnOFQssMljg2wKXvflsE72UqFHT0cIswSk2Sl1ZYbDgAlu+LPcyMzSciyLGvHADj8FNUbOdUxzPQW/l9FKbdjV9a3bMgZCvdx27Ta8fcS/Q+S1lFUko2EnlL1miztFsxuyS2J7Wjrna/t6Oz3c+odySqzE2PtoMMvpSKwOCkxkMfCvSaM4bgb+rZfSo4wxUDDHspbN0IzXgwkUydCCwdcJM95Gz07e26qUecA3WSeu60rY/s8WUtdhYVctkpGAspgmIKLzkL9uV3REZwc/dRrKEh4b+pyQYauO7m7exGg7uXWSf9NOpLMiFusvpMLzyRJjF1HNxRpvaOWm6b8HUVq+9PfmEO/k9vRIOHXLQrIOz1i8OVZb6q734XhUoy1dXb5t8YJzdZO3/9RlrC52O9+t//YYlp32Lny5D4dT+cq2nWF6qSg8lNLQnzpwplxPeNgiIcyTUeTgAZWZtC/SAW3V+XXzSt1YG1uIpcxhNIC7UdmOKkU3N9k1+xOw7oIO2niEM5ARB5MMneOTDZiYv3wmPWD49pUwN7FSnSUVoNXD7FfpsLgrrM3yjN6s9LLe9zFbp+/S3eVWWvUwmrWUZfXXBrPVrDqKSMqOOQtJTnTDPs2ToBrDC+ns2NpYywhZOed1KsQ96ZhnIJd4M1ZgmDMRPYyte3JyV3TSlOFOnWrJGA8PzJPqtEMIlRHR1hjwhS7R0rqDJ2yQRvn/18IV3XXtPlD5EobBsfl0aiQdGDZWB3uw/J1Uf+ITj7v/ouVI3517VCFUMeatU6YYGlCGhrsWKBNeGh49v82jBIs5UdCMRF9WNlCeaZn3MT+zvY/J+XFm3RfVRFiidBpF72VBI+FDC/1lUpepb2h+V3LhZgFNpZYd6k7xQtJQoKZSvgKxWfrUKsEoJSR6n9AVQc7POzPeN199ROklD1jDm52SsMxrcJAmDhXkoir4eyXTFaeW3F073g3HS1xtHdaEf0kPEzHwlpi4EAbASd2xbyF85PRpti2m+i16K+ZjFtjPF0hx+cyPjWGt148KyGT7MeBBad+Uwpk3n2fgx83muGHgRZ37Ly8K2izxwv8Mg1vgIyVYOaXCOSCpub5CakGyjLBwTbFt+97kB1dTFI1viXbuU45EgIbLEb2cVDj9qTEDBvczIAxFdGL9MSDFPPGpqX7CMM7Dc0mGLwx6+nhw3ciGNDxAma6hPUwwIH74RvK1BxzVUPzY9wnaRxVc9zT5syG8W+CDrRx5wetrET3chJ79H6XhpKRmTrEBXuMrO+A0Zcl2oP3X1MqsCzJCN9O1jqlmzDtA3fkJe9+92EPrGhEK9GIeV0wiwt4iw4uBtn4KxlK7uVxmjfxA73m8N0SEYkqrCGNK018wsXEC1yjDnHs3OG5fdPq68ILLFuG28oivpHigGYkGA6iKhLREheQ/3uhAApRCPS+ZweYHu7K7VMBktNuUDjT5m/Fx2NkCsZQelDx9RwfvMIh9AA5ZNPUteFvDbdbj1gblpYfzVXq+Zgq9Cpkj0XWoN284seXLdmJws4d30sQr/D7HuLSAiiEJWkyOmMptHNKI5dP8X0Qooq6x09RTfbA1tM2OQX0rwAdgd9SI49n1FrWHhxvly2JX974ZQpLi+2038UXmB8BJWeniEhwhyUG2HxTY9zOPOwDDaKfv0SuWKc6ZLYrpG8XDNkU9Ol5ol/U0IMTTQFdwqMLQLmIMTTCaysIzKi8oA5fKFjVW01gf8y+gcWg0hd/rZjrcJ9Z5qsk5dzPUtkarAzvVYF158lrYU7F6pDEPe2HpJw99YotveOcGAKx6aWji/5mfISOftt66+EcurHHqvVIEmS+rB7CKq0VxNW0SrSwVSJC/NZRpuvuG5aL3Grasfz9ZKgr4IxWRCN9lnk3lHzJ12leO1w110kqyhrgiDPIWXcXwNyMImCjzrYS4AcRpRde/z9syFpbrT4VZvquL/4EzrSNSo9LyXi9gkZnlR0xzQ/b03JuPSjKtRv+2QfT+yoN6njkNwjmbc4Jod9pbTQLX+2Je0nEZCaTjiF4M0ipooFJXDitNxUeUO8FDYDb+k+ATVO7yrO7FaZJxgwczZodagi8zCUCsNLOxbe92TShKvAjWNZnzUNymWOUcLVd0J0SJ+Z8+2H6/ZdBtdT2z81SlhqcC6vgGJ3kd+E0KvtAiwwsIzRE1J2SgOmqO0bzL9eMcrBJn29zGqjTkRetVvRyo5dFVtRxtAT3ZIBLoxImimZZBeUJAe5o2wNTSFP8CstsKbFqWEhAJ4Sjivwp/z6omUwiTUjrLebiE7mMY4AlhYiTo0Y7/ijwA90zZRKenQdH090nf0gUS2N+DQn/UEUUd7ev5V0IKlic5Zf8b/+fd7RrqH6RAhae/ur6o+/GrNw5CsWs1L5fFh531tBglI6T8L9nQYfKVBPHg+53fqS/cmCIKfhpLeFvTws2sNWlg6L/VssyAqUxbCnD2dcrWXlCrASOtWQ9/jUD3HM1cWRQDpt4ejUjuBRLYfYcMGLbz5wSZQKkoH+mAF8Rbz/OcNnC9wEa/NQzhKG7ZFz2JawEn+mYtmoxGoelcq5p1b/fp6GFYjlYiDdO5ORYpGZusynXPatcwVpNgf2XXEVU3T6Qmfub97CHZkm/MmxZvXbjVSFCNmtZvkaIgTPyJvqbKRczC/YvGmqfF4/OLSvNuhKNEK98JHD44b5Seqp364OFBVk/md15YxGi2qAXB6p2MFQts/FFZV87jxzXoXafJkTS90SH94Mj8Uo5rIA3xVQ+253YFSRn+j0zfVIXCABz5FWGep+ywUOWpLm/088+j+B1OaREEhG4hsQLfd56Z0vTKfDnmLMAzvx4D3K0p/jSRyt1wW8sAmaVn5QsUkGcAu6kXdbyj7fDD1mUXfwZtJJ1cEZ3cXqNUfcAXdYbf4uKItyL5rQFJwzYo363rpRripjUleI4VNwZS88kJrsyw8h4Eq9FbxABXpHtvnrnLKUEA7ptCDV7QAb9qXdoD4hGE7xJsl3CVIUZHoNZcE/uDzXPsK3UkPqi7UzPkuYGlBon0kxl2qFF8urapzJwZD4SLO589tWpF0tEA/BqsiXcwzz292YmHQd6YvAI5/V+JuOAoi9fkZGFwm1M9CvEv6jm0xuQIBQbTIgeFvy82JlASRpukAmkXXdviCdyzBAg/xmUafgNfXSx8eE7UE1eI/kLw8kaD8FbHopwmHHS8Ns39jhE5b4nJzNMDrQ1RjJO85sMcIU3DKJk1hDRI7j+I3QgZRb5tTH4zNxeREmeKcmfcxauwhvIJqOEujq+Zn15WGlE2SSIPcCJEhO/2q64JwuoryHK87Bs7fj9RVZD/dYokDKpBubfx0/8MCqA1BQkK/U9gG3i4QCcfI6BQ4zvFs5e1zbcvw/B8bSapmWe5s0w/J0IDGrQy9Jkr2NctFx3WjiRjPSXmEmYq9CkZwuZbpiTebdDjekz4wzQxuDkQfrxsses0H2SaoM+hKDH993+bu4M21MlWMGxazzZml4tludMTW9eBo+fpUbKJuKS4AwIfJoLCJOpVgE9/gvTbx8TiRzsSVlIucY6YKN5ibTsmZ8KO519myNDNsD3QwbQsbcyoTmmXvOUa+UAbbvP5IQGt9BBNb3VOCvcpGKGCXTmI5hI8ATppnQPU3TjKUt9ztI/BwbYxF9rfyStu2m0a4+jQjwWIu+wakmggxCtIw17+r6W+ez3xeQVCcXp7ENrL4xXWz9c8zxTRrfKJNkAA6syJ95Jj2fv+4OmPvRUY4KyJr9vn7NYyXTMC0V/Ggg8+jx/c3FIOnfoZJ3NCYqnca7TE0utVzLfPE5s3P4ttWcFcIX0qPxPh1BR2AQN+1O5tIEcdZrn8BDU//UlqLVjMjlxvrkfdMSS3go0yEfVRj2M3WMJykDuvn/RB9PrvlgbxqeuahYShz4Zusl61ezCl3+nbUmSv403ha8ftftaIc8qzjNgH8GPM9lQqTy+Dsfbh0QDFyqyrrdAPNsf1BSZFTql3RAkugVeLmSiyl/y7OHWL+nSpY9gSkUNFzjc1J00iv4vmgkmaYHwpCC72bjHUkC3FZZ+95Sh82yZQetEwUm1zKTrbdzfHSOiBK4Qd53EG5F7TDKwFx01ohiQBHPrwY9w9vPkZH02Unu0J5dM2TZngKF7MfLMaRBrh66PyihuwCzAxmXciyfana+m6vIjlAdCUxjbg99j4ciPHwzeu2R5ehmi3WZo3iCkZrB9YZ0tp7BZaJsbZ9mSkR3xoIlBrfaUMgpJ98WKqsjI/IOtKTfGOWdzBb5qPjx08bPp0xs/Wn34Lhaxv8R7zP6lfxRF7+OLBQi9rdmzzNnzX5EDb2SPOpWtbHwOS931UZoFwTCvlZGQOihey4QUKzx6UTvU18h8ITzfs9Qlgk4H7ggV+3Hn4PvXEqAas9RsitPe29AgWIz/IZXHY6dEz+2xTu8ieBCELw7AVdE39UfM20sgF0ZN96kaWkp5vu2ItAjMwLQ6KwvIavkwHKaYHxNasL5huginETG0w9Ri0H3oV1Hd3u7NcTSTznIb7Ybn5cXBzDxWFr9svDwemPnbU2ssFLf7k20Erh6IVpstmQqxPmUju4moDtGAFvTvBw7TF1ny5gFYhv6D1fIy5IsMqyaeSOdSZXF0rJvm7+IPfG+dTD+1JLHrypF0P/1MkmdmL9Dn7hr293Mphd0usouoEcFI46jfYpiRDgWHi/qW1iEJreunsxwBE0VDdED9g31H9C2n1HYetT0Zg5M/08OREPAgIiO32rrwSuiIXxY6Ce9ylQCWScoPAjApDShZD1UTfqOvqJr0m6P08VyX465mOlXci7YOTWkDBjvjN51yIEfHkeuoT9oAvINBVUJIwyQdT//B1/VacjvkLFIzKlIMu648XqyMwzqUvGcSgWH3mIp7XveVcJctvByFlLA8aSFAAGFYjrFn8NYlqgJ6mNCn+H/PwFRXEcgkYSA/Uw8d3hH2HCxrYw3/qV6evvuDb4efAO7UZOgugH1Bojy3AgUx8IRCA5zFhJHal+yjJFtsLAPZeGSKgvQ0jCpBrBz3+Ea94Bs2t1IoMbX3+T8DUpSw/P1b/96cpdstQQlPEojC/5As9HTZ8NTN4ZLKWbt7w64HKZrV0v54NqdnuZYGv94A3mjQXzdxOJKnkkpFu8zBwS4dS3s2U14lGE6jUdq6n0WrCPl9eIozA31OQnQJxxGE6EJuUksk/4rspAJVqCiQ3aj3KP3ge/tVm6IDGe9FXCEt9WZ8pnn/0ks8tq/xC0+suFhyoKLKksyMrcqfgdGbWGGbx6IvnD6XsefE8cAfOhxKiKjSwtxlhZVzXulaUbNongAck8DRAXmx01/K/Cxq3QyicgHbn+rqwDOQ0byFrV9AIny3f2xcxn1ynh8F077AYfTKO0BdKn9v3kVW4LXgS7Gp6M0h33+ZrSilwIUi/fEMIUTaJ3xWi0jr2jr7ANtTdUYI7BiwYv++/fiwCYTrI3ELQJA/RgWjaHWrcFDhXGkvfj0JvBfnds333x2r+IKS2uVsto4eKiUu5PR/kO00+HZAG9LMw/z0L6PjjWf0sk1hVAt/QTYuLTeW6k/Z7wEF48o3eqjc7oRYX8jGlMfGXZPO1Z1KtNkCu4oOVq44WD9H5rePZV4rOAKCI2prgdbVpxP/As8Hw+5VJKNlokEskHlIy+hueAyF8X6ITaUyfB9KFOwP+BygnQgBO1VuCPuBPerwODQvRtwohFi5bImn1JJPrH0jrPQRpFdqm4D8AEnsBTKUE4IWxS6fV8AiXM/txi2LWgRDEBI9oIIA8il9RARg9d9N/RMp5OlNMbsqB8ISf7FK7Fg4Scg3kdEkZ55meHpMmw28BK2cEIeOG3v5twvQS5yy1zsZsxRd1jBL/GkndyC+3qfZe9yeckjvv6cBS1L2m33/HQdA9tFj9/WCm3a7HOQR7TdMq9BMwu8h+4zVYXeA6zpuhpWNxAUwNRnzq1BStF0WEMSg8Ue0KTAiKnEr6ZK6KgDWJCIYRIn9FSZCwJ1YOFLB5sA0F86rOgudPltYTzDVt+f1vS7CbOdlRVC0GvEC3YhHSgwocVfF3AnxW90FthLZq1D03RY6P7Ixv9BE3AbE8AmwYevEMgDlHA75rvXTnrJYnSKnzm6x/BNuRE/bUDtGOWo+EBblhrnTVQfW2ye+GWvpmSu5O2gosU8xMSaeBN1rcpeYs4ydmhaYY3f3Abwy3zJ+rjOf+0YSuhMm3fIcrVfDdjxrcFRp3GEuYxMGyOEmToMtVlSEOmQ4Hczcgb0sVb1B0gTAfDGzh2lZoXtoCM3yxNI5xWFFlLj8WZgyDVlELr/4aLD99DW0mJiJAMLwaxJH+l6L0rAWruIs1CnuVsvQlPNPmQcZkJIfrrlsnbfdqQXE4uQkCXEJFey+rfTU4/ayDW7aLxjchzia8+PP31cTilC/LZ1YkqIhYyVYipHu1dyUOV3ZBiu55ln+Wy0jo0Xasuth+IPIKV8/pgQTF0BBTOsv1FH/lLDSIv3KM8dlKre5p6CcWvpqPZ3bk0wQPp/RrVWLX+uI+DWa/iqBKB/dTTUvyz3NqvGrSoN6QSyC5Z9b27nXvnfSFf6ujSUh66kZP3WErQ4xCtgUdSF6J3lzQJdeWEqDU7JH+7j0YVWxpMgf3FN3w4k82N8Eax96d8S/trniKhk5QfHKqAecpMaFfZ/zAhtP7s/ij9g58NdTsA8j7ECTp5LE5akCXe2IVweO6BjkJGc40KxOuwYxI2beyZhdU4kAsDCcWMDiaUfQhjhh2D8Ii8cT0Wzz0pqs4QDVzAwap06BbYTmhk7aFGYIa6givtlNR7vQgrLkCY+rUTgHXs7WEFIBTegmfiZMEIHzs4QyrlKo8d/GoZUNOnFesMTj8/U+4DShxcGVbHBAFNSgQOaagolNN8AGWhY239RxV/bobKCT2kiocqMT/fokeDZDXdy1m7R5sqiZd+4vCuPuipp8b7jel+W/Ql+01TbwR4zkOjpPwiBE3RZhpCRrdadda7ns4MK7DH1vGRkoTvbFQ9EcKWMrryjkBYrK3YVEYORXWtULtA2kbiCdmbdp64AUPq5x///8fRWlJev3riEvq+Nsz8uU6gPp29VRa9UJcv3QQHD3KrYLjPX+xxUSi0BC7kr9Rb1lSHoWDGZWsadfk1c8M+ZJ8vvhDVsDuGmWhvep/yBNq9llyazOWavvRGLZjRghfLpDA22yEIHmpPGhkj0tNR7mcnPSeimjKIGeoRlaaEOzMterOWrdmXNyao5Dad5+w/BNHcoGzFRqYU7xgF/vtLNggMVDvC/9cg6R+EuCvhFpUR3Our7e3CVzFoVQglxnLhLdAF0tdpsfjrzS2vBZV53D9Kj9vDV6hnFk/0Hy9yS8VAly8KpYx+31I4uzFfSEEsxn4gxLE1LLqVNUw2LeqmUn7EDUUFaGwM9HKnQqS8u7TI/5uVJVAwkgN/ugb2qp0p0isJchSjoffJBA4y8hJpMiDDsg0L83B4rDCku9aoPmfcuEdZyhD28iQLvygB2tx58D0g+lxJnBELK/07P9FHecAamHWJqskfThd7IjjwQgdOcv7xqfJG4vdy5pHfEX1lrrnd8YAWwdctGj++zTpbZ2W8lA23AOUQxYd7Yw7Jxx9KWBg9yg4VwNtgTDf7beV/CwEQDR4OM6QhYv/qqZWa0fpCvst/HHEhmtZVogyHL5meop0iWyH+WQXH5WI7xJxt+CRybS+7wQr6wZfUzfHuDZ10+vYN0vNdYjkE9I5NQ+HeeIDYXYOmmFKj5bAmGFvwWkIu4YV89xWNl/ykjE1PGWD+tjKSBMB4BMlblVne0wxDhq1ML3zkb/vTqz34rEYb+Y0B3UMriStSorjrIQGbcuWi9s0eN/ar/5O+vLKbfd55ihJ03kpoEVma1nbwNZzCqr1OYUnizKhBhmDmysxA4mR+4t3gaE/qvJ75KW5/NN40HMSikS7kZxzbYiJQG+An83wg1JPwL4v0Heok0xkuIb1qcrf5adCuT50dV5hAvcBj5ZUHzGLsJPiaKNHQluNfhFEMlK05fG8W8sO/dVI3JCWSlauq81a5nHJa9GQa6/s3PdPKrj8hFxrxQ5QzeB3R+3zfUcU0Z0V6HilIyjhJKen4liV9HbpVM0/lcwI/d6OGSUxV9tVmUy++DYDwB80EQfzNfzEzLSLJxWFmwMY11jx0gUIZ9IDuCoPohMSIo5LRU2q+6XycVacBP0+8KrJbcZN1SJm/0hI/ikUGrs8UaE8WiuR5GnmQvpg1i1EqTgbo/vguBUhvpY0n+xMuOx6EI5l6YNVf3Tr8kI0cy5akzqko35Uq03OpLSHE1POUmWccoNq7hznH0vbs29H7VgTadPWWAi0lrY2vv4ZryOBJ+NQoN6m8+/1LtByUX1Mi/KjfR/I6BOMrwr0KhAYlQtBRQ4cEJsJbvsmn5bjoFE8SqCqjyUI2+RHsr//3xSg4DX+uEv5u0jGWf2toE3NLlEcQKgzwswfc5M4k1lcd8l2DsCEJMWuIYcZmjjD2CjXzVU6ePVsQwcHWXIhizE+4KT89z+zjft73A6Zo2mexDNJw19Jne0S6o7189otwOWv/rZGRiSD8cHm85XqUK8xQcxwt2KSF3tJTic7FjUtD8Ty/YMV05Mmk8tbOnHlguZL5oV3dbhpltby6hvKtP6aoe4PrPh64PJhQM5M+X69j/8geGcbkFewuCcXALjsJeLe9py2pKtvliqLszuUWPHfDCtmVRA2I5QJubG5ZqVNs1JYeDSTsu3ffXR8ESzvezEK2ENZDCYgdmCqXBY3sLNeJtJ7mafE6NfEsSbkR7y6jGjEB1zkjxTHyQQsX2y4p+zqewht25wqp4mCAQ7aWci6sS68fKww2tCWLDvwCsKVSqpOnubBdL1laBMnnLHTAQXP/adQyX7o4dKHzByKNeJl7n9s4agoLzzYNND7c/nvrsmyMA0k5/CNbdjOJmRKyfnk7YfxuzEVnCER82P5u73WpLRsQUEub5JeQ3+COvy1BMr1ZqwTbWAo6/ZgpxjdHgsZaB6hSqtM3tDXnJvwvu323fd7N1q0ZHCfKpPPXgoQHq/mgj5ZfvEf7uWatPmeglBFmZsDRpodekMsTcGt5gOdSSCVilwaTrHL0uOWO+/qbI26J9roKcyGwg5wvUwINSJvtMZaARldsNm3nEtvQCebwZF5vhClh1eADc8Bd5atErcHRdOpIPefqVMHK6kuzaRrrcyGN6WnTuXBS9NXr6JJqgv0vsWiaWUFSlffEOHtSd+R4VJ3e4CcdpQ4c/9WvHO0S2QxvhdeJxXsZcPlKnWaZPDePHjA12KIzph9/95/ikI4sWMprkhNYFT2U/+1L0Hm5QlPSDoCZgz5YFITjTbHE+fft2tv5QC99pXPja5BoduTQUTM1b4oVTT0zivvDVLkK8SrH6YqTyYgp7PJuo1jzln3Egi0TLegjD1Fy+8k1Un9M/u/optkzDKptRdxa2vuSxLhMMmiDGnencEdFWoLZeW1ENdcOjW3H6TCfxiO2UPFhCo/4AyNp/l5462vG+NDzHhsC/9BGcwHJd6MXN/PBXFIine8VGalsTm/xluYyyiRUbim82wJv/9L43n4q/ljEk9ZdGuYRhfAlvM8eH0xfWdmUXmkgNRsxAHVQYtZegICx0yIfq7CdLnxU0E9rOX2xhHTGvWSj2CJ+GLYN0wtm0Mq2Kc+pDQKzvrpim5Jy1csPrEp0CFzZjwX5eYfgJHqO9SVcM4e5ed/KxrPOFTq4qSbII1faUkXMDglvH/1EMXmQ1MOqXdSaejmz7foV5LGZJepYYjgpbks4G0lQaeaHNKCsGGrhMYR1uuRe4cO45bCJaIdxxLSlljooDW3lmB1YYTYjVTVTsjKyAcMpzn/6yQsFx8hyJgD9lM7N6akNOz67QLMNtXZMMes6zq8ZbC/kOj35YPxEQJMk14MCVMgjJdCpbtZRxBgVaHYiKmEvhwHThH+BLmOrdIl5naKLUbEAayA516/Rb0yZBmYE/Bhhn7wgFkop1rJnS1BMPOWS3AFPw/5HdENBvu2Egep5JNvCEW5rXrb3fwOPbEmyFvD6OgSs3Kcxr7ACZafDThULHFn/cmxCkF723wa0fB+vrPxndIwQ8RkhcIQGinc1XchrbwNckjnQYZH38u05fW9YRJGDf0z8+dT3pFEv3DZmFDfH8mJfNn2dhbn1k6fxylz1yISVmPfN8HZvK1B1Jjd5d+LUJgK5AgwKwxBVlonJrV1Vue8YCWqjRW/h4njsoDHnOfCv9aXptDOALCURj3xA1fRp+r+ud0Ck4Hm7jBzNefh1k/J9UlThK+J91LnvVYXHMy+gntrnhYa3W6nymlcUnduZjh5O5F5cZOc7zf0wBf2Tg7xZAg4hbcpnRFsvjsl9MukbY6UH5mCA41HOHJBzwJ0UkFag/yymap4fIhkNtteTaW6jTJfJZ3mMBCBCNHVPc/R7sxSdHZnynRf4as3KNQvC5gVU5YNEu4Dt3Gg18Ltp01E6pgd1GFVwMjY/QaTSDlqgfzie6xMv6WQsph/DP0ssizQQ3WJKBNL4sDKXrXQ9v2FryPmBjO+8eKKjzK0OzeC/Wlb/IKRSY2vD7sl8kuZTPKozKrKY0lRjiGwNwCk5vjxg8lHbis417VxrRbWDUWmxx5wHeqVsvsgSCWEGA1gKACj2B/QC9Ha5yNoiEaXBB7R1gdUzPin5l5+mpMuz3GjXtInBGRMyKYybz8/H7Bbr9QN7t00psiUB5wMNDU8tjI55Wb2shpwh5JWSNrYIIeCRusxXGCCyI3PJyWHF/va4CzC+LFeHxPXM28QG1WUiSn+SkuQXW2Sx6PDrZIHxiNCqS9iZ0C/2RZ1rG2LDWVgwr5zSamEIlC+/iMEqU4dPlC2mEBBadJ3RWYhMwhW3hu3W73jKsK+/SR5CpZCc1V1VHGRUtberEYXJVWyNwqGNzLSK9cEAOsxnmeO/dONJnl6qmeD/0jfqc2fQkdviB/Cick9OoMZCEkI+RY7OBUuUEpc8AC8lauSoFdFNURY+UlSx6dFz8bdpPqJg7ClHkKabYekFRFZcavfA5aBUt+qYt9VrJH5WNlRErAysVsqJSg+UEn60mwv/yvY3OWfrUjl5Cqulag3VAPU9dAeCmYIr62PFxMInzKtPYMwj8hAicD6HBNqdqfcuqihSJ3VZfcXx/KqL9cJ6BlFSniYtWNJBqz+ElbFkoEouSTgCNsF+v5NrWggIxVX1jtFSvOLjmrltpwSYLxVJoPnIN2tFGQGK/y1pUkVLsBUKBCu4YmDOBYjhLIeKYiicHX3q5kiNZRoW9hQt66i/tHsH7/xM57O/zl+P9A8t2/g0ZNegjFHwMts3rXe7pC5cvS/evj3bnCWic/2+o7EAbRHtC2xbJhu6x1a7SxhVdwlNGEUaq5cBa/u/E6rmx3f3dXoFdz+oGDZRjU+CFC9byHyzUsBhXHctVQfPWJQcwLshvILJ/Cw3ViIqkc7mvrCeII68DPodYZzZRnK5AUKTTphgd1kVLFsBf0x9t4skXpNCaA1wcU8skjFloxyWwVuok8/oBbNc9zuhR4HbtRLJzEIEBSSIybLR618qWRmj/H0Qv7QkL77hDbD7yLIWKn6p6OTVNVtYM4HhRPVfc+7IbZsx/e1ZcCXgLOCL00WAwdvk7FZCe2wg8efI56hX4qSTAcg/iNl5Daq5s6De7bgYO3QTcX5+WoACdB7DR5eJNOswhmwYs4DLRFtdDfaFQ+MS8FtGFfSTmnMiR8bhN3K4SrMEbkWvJ0CT+Y3sp3Y+W2CMcDLpinwZn4IqG11Gsg1Ex/ALgOqm7LZMcfv2q3DA9fUQZniY1VKmJ9ClbC3P1ZzaAD6OPgvvdWKN+O8wzOTHXSwMA0sXNfzIy9SG3whLurhUQd//U1UKhxp/ZRAPlG+GkpuS+DM5BmlyWgqlVo7vyblFVav0qZ51JALPP+zHUMhkCw6fKu9z5i+8rtqRPoCRWdFYVhYrpnuraWY0o9zy9CgjDJ7+Tv0pdtHkgVZNRjXcCa24PBCcdl6HJotefwk9vmXTakU3yCWMHKSyT/2+8j3zHiSPbrgwtXYF9wOVIH0+rmHJ8kt9l1hljR8VqeWb+crek9FUUZcZEl7suJMXqlPRzJDC4gZGvq34M7tHvI0/Xq2C0AKOVHvbyQqG/ODE66bUK8oBdlx2in9zNRFEiY5I5eHJ1HTd0EJr6WglsYZavaroBMOiwcw/Rmnf9vy3YhtEyqrVwcz++cQwjVVbH6DqQUoeCu9U6PF3h+oO4k+IroDJZDpyMgiAdP1qtfeoV1Sey+LxtjAQC34jLYQWwq/KObNjFOCnlOtBf2Z3t5GsZv7YI3wgcXuTVWLdjPQMA9vsMd3VkQCZzShZZjZHw5/Ao5+2JVF8au2rIS6+CQQs8Fx7fDdHwXuiL8eEwyRY+SygHEgXlPa2GEHqLZfSYsbcF2iDt5PtjQndrvCTA4mhyHqWOU4rHY0Qe9NOtFcXKlvP9o2k0wmRpL0m8s/cfY0kmCTlx95vgbnpCbVb4jVB99PsJtx7O+cdJd+Jka1/6H92r1qZuFTtKIP7JNVxbeoHelkox105mf3FOadW9fTojD+ZE4KQ5rJKYzuVBn/N2yAFxnhDLcCn+uXqTwOribBLcAXpeLs8KLSDiMvSdufdu6GawoDRkBBMJP+ogzt2r8XO7p0dKh1Wqsz4jnT1AGXHzBqA1Ag0MKKGXyYBXypwuFqunQFCBHUnpt9p+ZUZUBumF5vwZSSfZVIXmHmjOV0jVMMSKJ9Jurfx764m2BFqAE1jgduIjNGhA63Xsjg5S9ak7NK765BzWaYXI9GLPDL6kHA4ffhhYTHGuFZFfZkMmomOMOQ7VEQEjbKDgCjo9yHSDL7jbL2tZ4ZRc/V7gyoSxWty3hJvCoDC0eH7ZiQTc3ylLTmDJMvZFg+ILj/t2drFRNfiK/XPwPRI8QL7OBRvj3BEtxWSRwGznlCCOENb6+SUfNakxasCblunmPBIxPE/JVzZP33ZHgmw+EXZNdVQFIlWMzON9ojdzwRKpAbRKyPYppYjqouCuOBznLtrluvlANs3SkX/y0LzzBDueCVLGvaH+bxpwMIxoT/+fkBvyOk+zK0/iFsZ1oBhHaxOqPpsKZU0h72PacqpWjNZ70O/szuOsGZcQPanuC/XMQouEze0a8KsJGpvurYFyC84TLzGASQiqhwQ/kdr9cCb1HGcmKt95v6sifcDe/NW03o2wQfDuzKAcMWCVqLm6SF2ubPi/hZMh3n3mT9jL+ndiHVhzPDLpHBu397xEprzpjaXaO0sbY8qGxWXNH8popKaU4WshrkVGhjFiyuM9O4I9FDlRp+ZwakJ0l9ovA6081p7uQPrDzzamKQYl3xrR0GUGLSkB+O1TUmsqNlyUFwkk2qnQfVf07Kilar14aMYbr8RcZPUQjFGwfZ6UmqVzmO7zd1Pow5KhbK6d6BQyQX7RYE/i622kLe0RX6WDYBkJJ+P54mM6efCr2yDeDZPQ3mf4K2fG0/YiNFiWxvg/8qwe8/ZWdj5bhSVA8DJ6eh3Wr4NS1AiHtIMf3GCnp8I/7cyheK4abqUve7ucF597MWM25OK0DbPcdZQ7ER4GA977dgulcF62ZRL5E2D4H/qKTu4hVnwwSbro2Y2aHSKh4L69CsGczSBzPDZ6LK50j6fbsbpc769fO+kSanwh7kbuV6Y6L2JP1c5Qpe9KIqhl784pA0vrWReP2nk51o2mPgAyi3/MXtkRI9V0F4YyDk49dyVhEgT1JcgXm+l8+RYv8QmPCLQGo5qCH789mDKPGct5sWNlN5w6LnbXF5dTpIH61S8ZSu63pGEi1VvnA98rtKfjxumKdZpvIkTL1jBkB7XiqVODbpqu+DxJBhItuMj5hqUKxjZkzG9BbwFS5bIuCY7bOo/q59XTeHAV0HpKbdxgISw6nYKuwUYVMPnHhQzk6jSXXXipKuDnl3sEf9Wjs+fxZpvStdw2MMG4uKpHmL4n9AvQCm5WjWGD7/1i4gSHI5YSV7+YJDBFkJ2MQTSRoqiSJWlskNmdzGrlNsCQtzKrjVRYW/2/ZWKoIPT98HQ953EbVYumo91tC1i9ADZSNHe0En6J++U4xuqe5cwuRhf9jF4DLBnkAZKc1Yh9dX3tPY0CYPgV1MIk1ilTFNwcTQKFdvCKb4jykSF4a8jGWVtjRIw940qNrX9774svbNkMqO/sGtZ6dGMx0maqWSRTZfWNgkQ3omU6Sh/fMDLBvrF0qkHUvHmrYcuvBYveRGoHIqz8pma5zl0qsxmdTemjuFQNfl+KyJNXy1Zr3dhUQKwBRYjuJdWow8gM0pHlF0k6DlShyJxbqVf9EF5nV546pNU/3fohiLhVDTTZtKp0rWeUM/Y/z/W9TXjRziXm90Sb+16qWq+D7Br0ufmtbV2GavQqDnWDRbbknMggGeXyn0a0BltocPO4JOAfbgpT1OYvYhMJr+BPVfg35vdXpJe7CPiMp/VegARaek2tUSZxQltKMaaWOTQmT4bNcwCTypZ7TgsfaCbX3aubjjwfvDHL4XuH6WRrfrf9ZdUgQT6idn/bqCNj4gbtBt1fdK1lSGzK5lUxIiGJK/eQxK19i8F4cahL3dFNYbJ+f0pijuiUxvw6SJFQtkZr5z3HrLdMc1t/xc5cTmv8voKAdLyyhmf2i/Y9ydWluhem5F8QhFOhCs53jkAyQMjdqDBMfP80wBuKJRKKkpijTX2JIfJUYsdoFeETKj4pLfZ4vIUdeFzj5NyOIGNpb53zQ0OiZrOZEioBNE4sBcrSvWSUsQobfpziatVj1Ji3dywlpKulg8WtH/BIJoDps0hLz0+Bz5QcI/Yx4M/cjfoWn2dNoixr8ppCRn0aQXyJXwIAD1CWRtazH6BigyMT9H+KcKrsWTAPlp8jgWUOpzh6u34a1RJpyKlcFCZlru+h6QW0XQEDS7Moq9770NewtXW34RBDGh824uyV/QBWaIMKQnhHu1akhJd+R+dI7tJYV2hwzg6Xp0jGacGyQQeUf6q/U7ZkA1CMNBJ188945amBWIZSSt6s9gAtn9gsVfPvUEtwrdoI2T0dAoldzb4/tlsVAZ9b4qiaTAxmZqE81isz1NJEfz29J6cBxN6aA2yzAElXhpn1IJ+GuNBEyPH1CW8UQoXu5FVgDLOJhpfjm9ZG+2eFMljH+tym2mcdPQ5tggNhnx35k60p3c2P3Oxrh7i/rlW9ZQcFklVetkzLLzRMwyHLNtzsqKIh1mgHzpjMPK/+xS+1ks8ZmmFnRDipm7hC0IKddqpTlBGBE72r/YNxG9reMjZswGPyBGyphYe7UAy87lLtDj1Zrio+vasjZ0KKhL2i+auJ/TC+1oB/LvmIWioPmOuhT+Pgrnv6MQfO2FBP89q5jZh7I59afI9XxMtpgC24r1CCLcPmLqGb3Xyk7uXfjt74LGoUrOOhrWvohszGqEj2SSBCrH+ClLsNlyQP1Nm0XupDImPNVkyPiTnYOKWx9oLC7h44rC/iXFDbFvGOSgvnDkRDjo8cf7a45+Q+erxilGW/lP+9zYNxzjqc4PoAERXlqHohc6AAEWi9wN+XnPYmvdG/hOsPZi450iWnxXpUaGMQVG6YzgrwSZCK4KjOV+39jDCbm5THlbcLpg3qmPvFUNwzhimqbB8obSUvn5ieAjBenQXK8gblasYA433MZwWcrCq5QgHWSmt4TLOVQE9cctL7n5GnU3tvcnfWyR/fY0i4g5EebiQFkzfOKtW9xRZFw/tycto4kn7TKrp6PCbVOwLfJ/sHFNfC0uSm8gkcynstVDBAuBPxBDRtBvQjQHbuGg6TtGRu28gl06vXZUAeeluQK7Er/RyeJSuD+g/qv7UnpMRb01dIcrRTn2S5fTsUkfldBTRZOMIMfSBefatGEhQGGqovNfJPH3NR934jxlW5at9Y58SRh5U021e1nrqzMRJeoP2p2EKqS8jR4vNcJbKmRfvBDf9lj6+36+mAVfhgOUY8zd1HcoglGvsNAwmWRsUFV92mVuYfS4fyqOtyWajdTmNip2zjb8Hg5znZuhPu4lnLG9pJEeC2NeVvOqx4xbPrYhcqZ0oPlRFWXaWspaJzobVWCcrCBsXFfixFs9LWS9ZWkr024BFKD+u5Ro3zVpEItjclfiP8VZ8UhUAxQBDj29MzvLpV8qmBH8lAeuBnGGhxalkU2bvHT4AkL+c/LbILR1lXxUWXWUOlnCDJQgetMgmVBuMcAfob3rflTqyqOz/2l3TyCVbZeA9txtxOtBPYW+7dngg0iPlHCDQ5NntLLr6SA+eoJ2VOYlr+ZZ7Zfeid8W7RkUvQOukpTxs3lGgSRXi0FOiJZq0p65NAddKZvmi29j19baDbk09LSxTH95vNVWpIMISW9j7DjvwBxveh0DxKo7gkceQj6R8xXaZy8Qqm3r2e+NwmqYJXP4qlrWhTN5QwV2ZQJAejIQqDTlkE7CZ+Ne32/CXc0FT9Yodx72yc5HsoH1w3k5gwtdm6d0D8oqkjzYsEkBmpGVhXOuSIWr+WHNgz2t6ZH/3YxNctAzvao5w9oCpnnrqDTfZxSvEWZRCjDiKOfQqJIv6og0ntg0hM88PCc7c8o0lpenb5lIYc6jq69iOsivwQ+rn+5Rhe3EGW2aubSrl8Ja1nQF7MyYdJBDoMubjdBvlI3rI5DUXNyIZR83yKSNWzRsD1dGJsdpt6EB3pmJkND6o1B7DfYUsqP/UaWbLZY+zFBzAoS2RJcCG72nA08AZerU16p9+8bGoyOTMNkLDy6qeVzTDT5RvJeJPrIh821TiKy4jsdEqmj4l24sLxATRgtlxrsK726zULkJ9xUgMc54w76V0Dej8ffPvDtMfpfb8PYYpYlT1KgrzlUgKExQeV1FX6hbK0/hGYaDDIw+AMDuqPhP5FZVu3cfucAli3Q0Sq4bP7ou0fie6tnRHJvo8g1Y4LhGJI5KYt1qT1GXiyYi7Lhye9yp7wJnIb8h+JRvL/1P1n1D9GoAw3BrZSJNUA2gTQ7bKssDg4W0aXs9sLHnB/IhF7MsHdmRS1S+l7dryheKdqAnYuVBBi2jpu9FLWouLW/uA3DW4lEhePovcO8jfNT/rMagt2f97Si6MDPOpxYY8zGoBcoLeFzomDsFQNR8viDhvcG1mAWSAPX2DiBRDXhHN0KkSY//NGLcuCOoTJbP2ZgpRr91mRKjI8lsJulBdtxBooCnJC+berw1WLkElC/rrppUoRejizlL2Jalf1tLLZITaXP/BSGbjqTFRxWvUXJ7xPQ+bMws3dnYpyMvYeipR1vOcg5+UQtbPEARyODb78bmWkzfZxQ9vIrEXXbtfnQSL3sncwXrHoVqFEQHTCNRLsqIFuh0NOoUlRbh/AIopI4chJG/ILlSCl43cdKurMVduvacvxdL0pYQVOya0GoA1SafEBhv/x0y8WZ0RtUfJDKDrvi9Hl73Sw6UM2IRjlxqhLFprCRV7Jko0feBUYAcp0upBZme9YXU7IbjJV9S6IwdtT5vIRVjlzSYbYYwkjgpelSF0VZ2qEzKd4qkXi9MkobiaWlYKxrHXZhOAEE2Qk0JHKIYCTX/vD8cAI3MIxb3/V7e89ckqpoL485dmTzWShmpNXJk6x2EKCreyZLpL+M09oYnzAEQOfx/ICPa9FwIe/ovl0LU5NNCU5l/5YGOxvB9GxKap3u1aQqcLwW+rX9wi1DibMg8aHlI+FwFvcRO00kifyLJYInHxPFcx/eAPsOCmQyiEb7rKLp72bliGIqaNQUDpjluApi29kYOibkRMuqVMK1/1XNzHHRERCtmCvGNt7kUqQ+8NV3iQ7cEolsCtgECyLFHVHiB4HeJMKIFWoupXZBIseN5BEkLqHebv9M88n3dg6zSPZeaI9tA3uS9hpGV/FBGy62vCgNass1b6DyOA7qBx3WVU1ZcPcfmPDmOB2iNd/ECR7vT+/0GDsm5oILkzG6TYbMF2NW9nYSp0zEmvL0s9OrQBi8Csma6Ph7T4y04FfzT1p/GARb876an9HBODZEXn2v2NmM8m6yIOhApqxC61UV9ZAi8TewHU4XCCp8ezpw3/f9n3nDiBkq4O1CRSSpLZQUzf8nocNG1FHp1VqrjD/HH8BcZ4BAleQp/qNbEb/DdWDsSpLPxH3InL7irafHON1sQgK+tMl+aFgWkBfqSS6437Abtv8PeO6JtO/sZGb+6PQHxY56HRiwPAEGoFeQXbbu9GdHpG51Zk9I0nUTicbfdXrgkWB/knMXIt6UB7NSGiHSIQOJgvFXlx0yRrc/H8CQqubQzJ17OyniSkWl+/pu445Ysj6sWThRaqmxY67RmJ4Ehqx8g+2111Gdfji7nu4XnGABmvJk8zHBkaEbq/0tN6rWjq2u4QRGTu496aghibSHvwcAQE9NGtVJSWKBJHeBfy2e2r7SvSHtJIYzpqSFaInsqvepDjoaSzPujMH77yIHEx8XtI1uK1keOy3kxkhHaK8LxjBBYKR2umylYRrCg+df+uyM5Us73keYpeTNyJX7bN+hrhWFoAIoGI/tA5JPv3ZvlHbNHyLEj9PHK8CMgaCyRf4yAxnDQfPahmhTqcUfV9hdecSO9A9GnPOMs7GYkCnWmfS5HtoODThrsgvuQi6DhxkmVbZL/UU53WdqY8hnPggcxHV7sblcr6sGHIlx7BIZaAcZGWdNMOHEEiwr7RpYYkZrAVg2nxR3eRptlhsBEBMMREL3sqBjHWrvvMelUEAH2NOOTL9xv4VhEoITpbFJiQL8HJyCvpAs+mjb24LjXjcItUbVxxqbEJyKNkT9UgBJsNRqyZALh1CFUubair2Vki2GtNOpVqi6iiZ/Go1DzpjwhALbqSz+3my9tik4jebm0Uw9uNwnyymzbeOYqoGfK0fLXKwyEPZGt9eqdN4D4sVHws/A4ssGxlsP7q8foEzjPx0enyEBWhkHS9okrLDp3zKMAKzZwzTZE4B4zQ+wm+Rex0DZcKfFcQaiMRymhWKO1lI9rTUnhc0zhHjH9DobEKgxyh32qDdfWc5rqqYnBMvR+G/5rVuW+vuIvbgXfYQvU2IaRQK5JcixhkzT4MUOWukTqF9RXcTZFGQomeMctiRaNwDuFz3rFwL2wIiQ5l9bwl1lFCbXMZeve/P3CfasXrHymZybLOmTvuAuAbvG2pc7nJzFM4H8F7XOKnRxtq/s3benZwmzekLpp0qnGU2DgWbGZ79Kihm/b8htyAgzGHF+sdT/1bXTnFHUzlTUDEbMg7OEjDxuxpiPpfCWdq2I7/qOBHWEFa4Hbff3fGX+cze6gNEqitIMkKrssiRNQYwXbmWNqnUmThhlo+UiH/OAbk0SRNtwcksouT9Iw5TFLkFirxDSSWBL6xYpt72Mf3TbX+KgNjiLgSBtLN8QTXEcqvIDKbkH/hDQ0wBF80ZFcRaILxHRGskGDmI8BrdPME359AqFQFPM4dK4C89zT0pjsN6m5NR/RkY0Et9AzOWNxTXb/sivCZLWsyhzkrpRViJFbPiSJ+BoWDy2TxkolPBLNpGyZwMBvYcyr2dQRB4+F8L1RBDNQNoS0FY9kMohjXVKzZYg4tEwgadgTuObVCQ2XGbPrFkPHXRYNF7HN/AGON5zOBN4b0C/4MFWLw3wS5EOCFiGBbnnQU6eJMK2RAgnMH4c4VikU1yMTkeluM6I7wgUqMg2B3PA5hLjRZlftDczb8XJpJiHjfs/v0OjTODc+HfNyIoZA46HSZr6/66PcjfQDWcZ1WmkzMvcqpgF5E7K4rSg8JQ9MvAtT57v6ZRoqsZzpDmx7way++3A/kqz2jgCsnvp/CJwMy9ayrft10EKfRzc/7SgbHXzDqA9DyXX6c8GAQ0tjE/NXBaU+2IAQu5j99y0oU1csKlJzpgT4YMvabHftJIghkDou1bX+w1MJ8k36zvfZVq1BNBLg3lYoDQWuIsGxo0QALDb5Sjs4MU4wPHkzGIN3en4VB9X23DmkcYcPwjN0Z8ZRiZFyhDK+Tmp7DQOKfiv6qDr8xw/HKp9wS3SukfdTnOZFY7ggesUAy2XonALJXKWMyeekanPt+HtfD1mYcHa53gFQnMUP7cxJhBALD02e9zzxI/3dxoQNpdU4v+AotjJ6Q3XKQlCGxVYUr9sjd4pO6xN0tKxfSM9eHwfbUZBZAd61R53Dr2FEXQPnnsIXBzFzBt/PPRZeSD4ZQenBFD32MrNVfMqTRtY+OJEjFEbcbUZxTc+kvWpYmyReZVojbB1VMZ0+9TLZk7q8u2ps5fDZ17k0E828EbHasVdnRRnW4mVnR613rnDLm6PdB6MZoYp55lKz6mm0hT6zPPs+A7DTg9XSNttt38zoisocGK8Q6HMZ8YkrAKESJWV8bHPN9uf0Og+UMx7g/dKT+9HV0++tIfDWrD+ShFa9nknfDGNFo+QtrCZKEoM5DOwnM13xDi21744jI4ocWMnL4sJ9sOIj+vVEcl5TYqn470BEYjWa9zNI5KrjZS1AqJfLVNOOvLyqMtTfMrKN4yqu4UYbZsnmKFjV1oQdVklOQwOLu1s2yOEIrITpKTEgLse1qAWLTmgPgcYoquvu6paWe+3oQ7K/LNoO3zKc/cz7HQ0zjCLJGShy0/k7+CrQPEVf1S+Z2+s80Wt6GkOncDTOCYMuzGIrMFmDM1snHnDDj4ZuiK6/iLBzVT4J+ppz/MXfnTbJ4t+mhx+ihxDDA40J0AMCms3KsR8OczR0QZcPgjYK72ndWhxTAYPunTXdpJZ3K0hYOJ095nL4d79uMb6QpWsg0K0gkdQEyzBEpevB2nsyIVJyEY0YlLpwLcv1s/oQ4aMuA1kRJw2R444CaHuEmbd2mXmikbANVhDSdUf6H4vnXY2OoZl4Dc/equZ5+ugli+IkpOdbmYeSG+81uSqo7rPk40B7bd16FhDIb9NJR/SekynFuKSvxm185BPrBPs8WhGaDfdTLHsRPXXulnD1A9bwID3/HO2vCfCiH5vUbtQzkBEXsAMSFzVwYjTKWAVOWyK8rkqsMSzV76Fk47UWtcApGsUaUZBC0+Nzw/yVG6s3mJJGjwwCFRj1gxicLO3EsYzgRT8BGIJUorjsX25zTrTovsvjlir8KQUaLLCPBoY0O4ubaJj6Lk0Fjtje6ezvBvfo0RBzVnWSDU1UrrzfRVostqLYwBNfJn+Q+krvijtm3Gi1h6I5tGJegNZ1g5ii8FNVNfirxZjDAQU5Zg+OPyQ1x8JdC7jqtNjyOz9Phu2D9sJqdQBQ6A3D958Sk7+2O+Wb1ueXfEu4T06bR4ed1ZAIFWSlwN24wocE6vgpuyzPzZSjXuCK/gOvcPEI1KbcZTV1FDpjzA3DqtDoZcVjzRAp28Ex+4QAvoOfEK8MRICpXh/LkFuDYKQq7HzLK/B51YEIzOdpAUy7P+KyJw+MfT0N+dQ4VJVIOj74qO1VYkQaC67+xuemn2Odx/ZbLTdQprLIcy99lmy5a4B8oNfIuX5onSEXVUMDnsV+BgMizq1S81yPD9GuSlBS5yaXHOcydFWVRcH6ecwrf3DOMdaM7enhyOBoeaV/SFh6+9Fe1EXo2M8d/FkVMZqGJTtszQHSbj22u7Jfg4Z5W0jKkRFQ/iRPb3KgQppgL3PusIXgRJxOoLrn4nSuIaG8NRDZtqKKGU8BE2ft6VPlAzXsMSAxRPI4qN0Sc5Xy1EwtYhASUGt7uhswCGztybHkM+36dyJMvPsJTLiEhHD9VDjwRCXyJDekVjqZQm8rGqGXnydjLJ3gJlZqS6kJ+/738Fll0uFvKp1GzbE9nRw7QnWIWOp+ygKKNSMfEoBn64K+0hydF7BE9uw6M8xDsk3cp8yzRh11m7ol3Yfxy0PRp0v6l56CavT2bWIdU4rOB3jW8LifJGI9XZdR2ZWEr6clws2gJiMHasaONd7X08YgsV+pCaANWsHY8UV/8j3J7ZglovCflseJLTFFKq9qGE35GOfS+mKc1O3alo5BsSR22Kmuz5zeYyApveCfH2grM2HoMZBn2hKOEwdVvr0+IOYLfLm5hV4vtgSboxMCkhcBYn/OkzSxWIeh2gAIds5mEcUg8DuirLA+zohASwcWmIx8RMjS/RmXyNQEGEIWCey0OHyG5zMc+yV5QzYnPbrkQNd+yyRWYFkTInZPlgOHFIztjtflPO6oB+kM0pHrYHbm0lgngsMYwiMF9BoTLSo/Nwx1pojNyLq1o7zkVrD3xMTzkJIriX9ns/47ZIXDHLo34HDD1fyNxudqDvAt85X0+3oiJBXrbJbxRvvCGj54LUiOwx570MC3ZYg5xszDGbZQTHwoZWYnbiW9p6HmzN/D8doXPMPEbNklzB+jBMjYFVngv8Iwg1nAUKvUxCQip7g8eVNv0oB26nIAiqeXxAIf6y+4CxBDaiTuPrXHWyQmMBKWpKckqXLjGc/dIflxgEl/UmLPAh8OcgW3J5EnOkjwyVvZark53/qv3GT+ZJq1yKQXh0eODX8RSVxj3wxv3Yw2lZFrItiZYvIYI+YHTekgF0gXBQPdnRwfMNeTRKMD3B9rnz6A+NmEmKLml58acEZCFg6a/7sJ0hrbWLLjFziOIkYR8u/feIULY4Ot/R5HMNQmHipJKyPrW+9W/1Xm+eNVBp8RcY/BjOrV9QioRuJ2bCAqNkfbq0jtbh7PVYJyobh8lwbdNC6Y34WQMphjja4UwSIQoB+XEoQ+goU9E9uYvVcr9I35uTYyRMbRceq4cQpgeV1XK8YzCV1+XYn2PKDAUcBpDU3VGMlR00rxoC90EJ9ccfLUWOTTf12wtVCpIlUkJmIa8T9T9JeO4FSXtSYsS6slxKYZMzovqM0w3zxk4etSmIdTa/gxJvVtB0lxMFXrqhAlhEcbqz8zjCCWiWGAYItaVYyFGK+eX6W2akFA7UFMJssDdRrGGnjfto6c8NTBVGfHzXyVx7d33holmG/7QBMBml97GT8jgCyCLhPI53SeV7l2g/lvZq5gOi69pBXyfkL+x2zf89iFJBh6FGt7qw1X26ZrBSlb6z4igpAbdAfE4XGuH1wuAteK58L06jxcTagZU4G81q54Ml5wfCYxvww6ZO1dfTGY7UuvypvocL8wbtLYahNtkuUjSDRak/j0h9kHASaSwWVorAnqegjkrPI6Iw28WbKk7uFQ4xXHPREg2YrN+c4CfOxG5zs8UZPita2RPvBrvtnP5Amkyjqr06i9RpNZHDlnp6hwq6D/FnRknTXhr2u4bLPzfbohz93Yzw5Dq77fyPDeu7bMTjExYYCF2wrYbDYACRgv0CCsQ8w3ud+dIaiPWkrs03/1dV3ZFomNQzHHpPGLdtmHY/BxSqWYd/CvSGGbuVELiq0DdfkVGiaq5ljbaRBRyR7H0xkKmerEGUnku4J7abcTpuCCp+Cm14J9PaHq4XczG1eL/H1NwqqTq+Zn7r6iYNevZltBSaSOwe87wUnCkvm8Zvt0ZOKAj24K72UQEI7CJ69JlYX2StOB3Z86MgQnvzujmyb3O1sCi+qVKRmgLtDL5qhtIB5iOTdGQ2x5tbTQC5w7r+OqmZy5H24OwWySVgJJfyNHBltfb3lZfmd/1HY6BAumcdkT9eJLjvgvgilmoVJX828/5b3AHqmKBIVDLUd7Cv//W2I11FcsvrC7Qb7vBbVKiNZIPD2WizoX5cz/ttRPBUT/ZNBQkaUNtxxkRPHvOtFudPvo2+kl6UJPBuecIwPCWrt30vcV81Q/mLQdWiPL35Sawu3J3pqnMjGdSh01vkHLxgYEUJL23U38GmhRrYgDOauodzGNTsjPKhGLcI+EcVHkxhrajYhwpfvoCI/gN77Q4w2NGnh8ZdbIjpMnrbJaWQxRX4JxtALusMdmQfQHSHBU1K9zYPTIr4lXSDFC7WOYib7YhiPdwun+xfbkoQF7GL0HQfvjxRUqBYsXi+nwE7OvFsLtMXlDntdj/WzTmCpof/vlDnnhZP8EQ24t1T8uACCwnJ+VyygRSqDf5scRanfqSptSFWt8e2FD5LlKh/fzu1V8BF2SDwfKWhpv+6BCk4FGXgwi6qbg0y9Y7r4OfvC+Wr0rsHVDqvpqaEsQTsY7sOd0uH07x4b5Q4a3Y4gUKaR7FlwXTM"/>
  <p:tag name="MEKKOXMLTAGS" val="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z2dD7pS103gZfJ6l4USC3jqtWOPR/ue0umjYEY9KlLthURXCUyUuZbmGDPUXB2idlVQc+R1c0j6vNnMaKvr/AghcgjyTjoGcS2U6lyGcWZbvoYqQsrFJ5DN1RdHsB5gZU4BjQJ6xKwDUEsW8X/QQ4uIPkrhyjIfLLN7ZR3puqzBiN1rMnctBA0J594at1EN5QJYMsPufr2eabAYzIDriNpy1GurybA3KWqcTPRKYh436jQqOHiPaCJtAtzpRgB7Igk7tw7BcBhai66Lc0jpyzFEK/4NRoFF+cso+ThI1HNgDMZbpFoCsJQtilLqk9nQPGX6RXGboCTf8hOOcHaKoTUKF81dro10jOa8Xb8mBGZAZ+Iyl7KGHMy03+9hVypQ0bPH7FLW3DbHqpkMwHY3oocT7YNBb2icEm/uCiqJKRMC2f5nlXVRrrjdFiIRSHh8s2xUZibeNJ/YgTF3YRHYvaE3CK/klLmzGFS6N41CSN3aMoW277BK65TvfwxE50lN5piHzbTyBguzINaQRlj9GUvPZnoxub84Gljn5jthbYORlWbIvXLORV9QLQN6VuXzx+LNrs7LOLbRcZ6oNcEvKAhJaP4phgHtnJ4zKOA3ZeZ5UqqfeJvYuEB+x3oDMmws0ge1NFSMXcnj5HqxBcH+6YJ1BwkG6dVWLouY4NqtK2vA8J7oZIGH2U9LFrXpr1oFQgInvjBe0ZhafwWNzQqJKC6zGVbIcWN6n3Ve1j+Lx5g8uB7JTrmF1S6TezZG6/CK/nfNDTCnBAk/v9YTavq/b1S3mGRf7e7fVfXlhdnj3vKPGeAwPO2lYj7oTRCY4PjyfYviKcf9gtSLT8ZuyZVsueUm/I2QXEy3ll/Hkb6p9MaWaliZju4jPvqiqY3JK/sWJBT4D6cgO1RdTBLL66gfRcAnGGLzh7z//ScZwycXJBbe7VPDOg8ApcGr4eUjUV11o3HFJDBXG0R4atHAfIU8/683DqQFCFYT6p17HFsMUZEJuwd8BCU7+I37wnjU9htinNJEskdWI7ILRrq854QsYd/lCCUPwf89zHQI9vC+899roqwgSvgs0z+QzIrg8D1P6B4eYER78MgkFh6tOT6odd3HfWB33vPZvH3NDkZAaJYss2n1cXNAGDk4L8qn422IgRmZCV3jegow3+qfor64lt00pcecut5pkPYV6+zBnw9b/bHFau/PeqDoWQKvndZjLjzA/JsLU1NoJswXtIUonAHicmTXS98QwJyQT8XLNZogCDRmfWJ/z+StYK0TgqqCB6oxYcASYzE+vmT8ExtDyxdwl6eEIIgweOZw05akyNL4FtKUkf9i5KxSS3MLEE4pLC5WQP12+2Lj0ytkc5DErDB72DBw7igOcV9RJ8JCqmfw1aVhqPFtgVogGxvmjmlKokHDUx44wJanYKZvFOXV6I7BBudtjer3JZQG1ftlq1Mspj5Xx0mN05sSFKvi0APfgLMP12HEb1bBRKh0fMWOguLoZo4GDYlYRO9iz0mrfEqo9PLQEGicNybstmoQkO2PAHrSAWTscBt4o/l3UR141HotNxARi0A1BpTfdPNx/fi2ZvNxMnLYJ4jBA5CDxWCNJLQNLIH8D7t02bNCZAKdl4U81ki73c9eq3bAVr5bWoll1hWT9sMLDKzU+mgeRSGG5HL7lzNYiBVAGP2a/TCXogi/EJUuwV57R7u3kOJxQhG07h62xnTpabQYsi1f1AM/6+BJRyvA3Oul1E0IwS8CZZoPZ4U2SBK+RZTMnSCbs0PekilmIu0i3Yj7FeaJ0Bjj/tjkI/xxS42Vou9ifdYhr9rl/KFsx6jDUD1Ro3MvTtWaLVwzxerJlDN9iPG/ePDQx7enuUHV8oEgJn0re6x+W6QJK30/oerzR6bSro2lK5fx9SlMaKdNPd4EjZWKaGq6ugMHQoy4+6JAqxnxdH0D4JdVEyG+92Em6M5JATBXoYy/ItcRVtkF372adtVELiYxHbi99xZPtgGuDDomLd60SNOXOVFZoOHARUyDfrDSLMm+Zpu4Zg0HIov9QggqEXViikQYBRqWGijlim1x6x4UY9nIZ6QMutqEwi8hsCt18M6GcFmoJZlWPwbyh8438dQB8JRpLOHm8dzyv5EDxhc+D0KkyLcLDsFsRdJBmKI90UmUxAAmlJ7y05A40b/DPQxqT9iZlKw8oGjORBmUNTklganIOWyvl7iGFFtxm0BYRt5WGVaRZ73FVmaLr3gjiggxADv8N4PGcMtps1vxnZ+ZVLfsBb/i5tlynCZxL4FiQvrdPrHW0w9IUUQ6Y/RW6HJLcWvJLILwtH6tNWqpdL3S/G5rEYNWab/5Q+zIm5AxQJPaN36OOi5fM7hW9Yy2b80+b2YxyoK7dg7OSyPrTwZ1aesmQ+RYGBaxxWtx6VUmZUqpD9LKzEXDRZrzWaqVSVeHFycZ4Vhs4rMr84KI9Q+JxesKLSUgOa7FJQHw3jgyD6g4z0Y12b5jZO2knAqegqNO0gT+9gHHqhAUr7akug19LJlfzYSAcpXxZ6FjwLtClW0x7t1JYSmulJUtDF8jEQeLZj4b1wuEP7Jol83QVNHA2RJLfAQZl1/JWAPprZe//Q6r8F2akI4GYWuG3VXVwIf4JQ4MPPVcb4viMVrkeK00i1FR5Dn7JArGRpIMHsfKYKiLWYQ9sgk7vTzsJtZJHT/Q51D6wGev16KSjjVNCNJlGj6O5FHEJ5cOr25N4h9Cwu9QUSxBlPqSqOlLQ56cUH4zjtemHop9Oj0nyEqQtBtBOBJbHe3G6sAChvEocKiuNUkyzNC3f5ZNyJ7NQnMkTAXE3lPykm3qhnbI0zyaKihRgC8MJb1vTqLqEQ9y9T7n1VCibifc0uXr7CzIE4REE0U4xbnCwZLEK6vstnFJ7jfk5PGvOXjgkZtueEUHOI29S0wCg98ntOGqJbSCdNxECvLOlvdD2ALrduXb/D1mJ/2L/Gab+1VHiEv+gWMg8nnpmsG6G6JQTSC3K9z2D6bo/fZ/X0XIsL/z0M3PbwkmsP5bzwjSOXgeKfVxXstnPcCoWCwOu0XfUx30/UwGXWQTPi7mK8hyr3PqXi69Tk8SWJDk0y4aK+qQv0fEJP7djjMm7PO8zMmLi9LwfpHwMjExsbqLpX3Q4Wj/bEzxWRwr3oN7tVmicurzxMyQyFodXZndFtCg6e+YVwz/rXnG71IIk1f7ehbT3A3e5DSiqTiVmbt3DFT40J9YPeZLbQTHMbN7EbTVcXndMPDqu7sNhECxT2RsohtG9kFp0jqpn4D90KD2WfEyS6FWWFbL2JeEkgb6yY4/LculxK9JlcoNfHQ1KUgVOs7TDbMiyuq0iIOqDLnNedTsrAWyOBiYqFzZVcgG/v53l4FOE1PgRiwW/H1B7DY9G6MzJSWTclfIzAD1lWu/8Nzk16nLGz58BSM06htgNZm3mNc+seht/7kECASVEE1RKiozenHM0nU8Qq3oGw0src8YFBSTVItW87/u2V/On3JxEotaVa1n2Yia7VIOvA+tii/XA25UlbJmE8qscU6IlWR371LlnLwYUAB7+7qYdzTtCBPOoy+93SwpEugwLptiC+kgrxogl3dKJKPjM+/ZmyK0Is1jIU9+sciDLIELk0YFKIGqByNKmnZZKm1M0D583nOGvu6JTbRJr9FBPK0nJqoVfjVKWKh3kbBBjY2bL0aZix97nhu2Ycv+WMsaoxVcYf5kuqmyDsmAuDMHq6kt362EavjXuzME2QZ0amxAKnOuTOgz5jzsIilC4y6sfgg367Qo+OGtziKeEWAkJC4kvgqZVLyNB7j1F9Af3iWeZTNO+hHyloIuXG+wE5P/UaaPNSzN6ch4y3sW/KCvbXbtdu1mhlW1zX5CMRPMrlhvrPti+YWm9Xc5B2ohGg4Vfm+hq3Py1IVJyR8RQDv3bH/Sd/n0OvIXmV3ivTqW2/HsTzhbbwiUH3nDjybGEOQ/SqE9d1uXthNVD3TCB+rWJy6f3yd1GNy/v3HqJ/Wa8188GSrHI8SQ+KAgRb9QHAfm9SzQY2WY3Q/4phdyOEN906DZvsOwuHf2ZkE5FCo/yljYIc3xp0tSooYmYAI5GKoxzzwT/Dsp4tVnVGfhHJcTz48Xf+Y/gTXC0pzJxt6fJqYD8LuTuSkcU6UfaiCy8f6PHN6T6A6J3LsyH4RpFm4j+L2qgiLXeGtxa+nKgXTPpogwPjQ9EBmpVq5/WToWQIlRE6gLIZeV8BmQUrTwpnl+DTB5Arxhj4OdpCAiHlyX0HfxPpiyYS/SyzzU3ad1J8mPpKs5LvBTREghs/KMVCxx2xnhnKo2f3LXSg2qqe9AcpdiC4Mkf+i/D2K3VgTCOoPhGi+tlp3+Z1n6rY3CvhEjWM53nOw/EeGJmDYLVKH2RZisvXXNW0xmBmjsgegj64mLGtdOI3v5Jo1XJWN7qAfNOx7UpGr66Z/Fw5EFxHOt1ahlCNjr88wqtflfCkzWeMKFxye4osUAvvx4eRbfz8KGkKjZoOWgTvgYbZR5UV5E6XCFTVZ+7XK52l5TIVUJWufY/rGU/A5XtPkAphkvZUHeirDB2qYR6IKUyMYPSH0Mjq6m7plBQznVMxEkAdjrnGqkgp3FUH1lCUC8rcbO9RFhdaCNoDZ3KHC2XYZYwDLWBxV0rXEzUJDH0nyi1bQt45z5OoSvAvhoIykFKF23T/HsVvcZCTr4i45bgr6HrCoUyk0WhLIeTFl3wjWFv08KUomuwpLOPrhqlJXHA/HJ5ldZXLoeS9zKrgFItlRSPGfwjW9/6LrtOAk6D1r36Vle6bECZHY+aAw6RfNmlHI6aVa3gyEcQWKRmctf20KvmKlR49dD7iWUvcbUbRRdeQ8/yqXkvw5kDRupKpGj/IpzA/sfKH5qWFNwqRQbZw/j5YrwkshrryDnO6hGsOESvwONyKHfyjjyDXf1EO6B+JSetc4X7TK/zDJHvlZZA0v3E/83nI62kFfppddpg16Nnd48BJJAYthlAQZgvRf3CU7rhL6UlpwtmM/LeqpPpJcuNBSnEgFkTmP6NCT9p9SClZKZBWgnds1iqB4ObL/6tHVhn/TAkTv9bheK6yRNM0M5MdmoCt9BtlhEuDeSBej3O5emcJtXTHhEgAlUbPl3XZtiz+U13krlN4XqlRcFRT4Jo9DgEoF8qoF9yuilBCDlFxdyYL2gDlbU6+SsY0TrEP1IADYE5HQbLA4J2kVR68kqMbiJd8G5/s7xef+cRg4hWw3Zz2uyxoougkPZF5VLgf9YUtXfverjmRrzTzcuY4wM0tx1yvCYGWa1zGZyeQ41J2PwmZcGhqcv0+Ayf57TSU18kURrAIrmW1rrcY9+IwY3uvoxkFRPcUksYpLKPjcXgwnV5x1/OctmFzABbX4Nf2g38RUKXu1Tk5DWb09dtwH4LGqFsh02T5GZNVcAnfeGvln4FY/QEarGKNKCYkopAGZAs9fo1T5/X1IhXZQsPgLWBUA9KQ6tw16c6mzyms0o4SJFE6yv9IBQG5DUyJtKZQYrzLozRb80KhT3lFR48/+yzln7qlT0mTMniV4uCxan430Gz1TWK8+VXy85Edw/hxd6uKXnZI7bs83gMz3BRel3Nmc+UYytUG1YdYMCAote6Luf244qmUI9WctIGOLreJL/t9O+y/xu9DrImeelG0kMsFZyOU1BnUANCSO/G86BUz7FFgYwL8eoqIpcmSiULaseJbF/QSymIsb9ciyL9XmBAgEGRS3Uu7prkhByPXGu7nINXX4QM55RLX38jbpYCqyfB50h6Njz3g6o9G+vun1BVwzhcbFcpceW5luC658fIr2UrkTSvWeObMnbTpbyn2xUIyCURvZYz1q8rCxPSRhwhBdWUYuoGgCfNTa9RhnuwUuteu3TDwohCWymuQ68CGrhw0pmHj5MA+GhMV+1rM7XItkyTb2DivGhRAfXYCG92rpec52AkJhf/jBBFeN+vk0ZetNt+9G+WOlE3ZkBTpQyBl6QnEIQPgYP+QTGD1mwWzXY1K/kEhOXTMkxcjMItCx6z3ftUcTFiMkIUS1GGFtl6fQupASOxNASbKX7Y1OlgPQ4J6BADBCMlBKRYCeyhcFnEjbPjO+3GaaXRoVHVx4SVNFyynse5rqK4THfJX19PkK4TKier1lMiUwHYoOGEiy7f6cAL6ixWIZqA+r96ZcrP8hl9l9JFEA0m+hb8QYuvF3gclOxleLwrW/G43Js/XHyhHMZ1Q6hJz3p/WnG67CWRBRabRrrWIjTkvyhmLFd1jzzU5QfJn3dEEMbngTLxjubqswry9qQ4aNAt48ZpKnsaoZysW0xPK9VMAehpwHjlV9LtjpxreSjyd5AtGSrUucMsxZUQ7CDj/l1+WVQeTwNZ6JBqqDmjHccysVYMUD6xGzdkY3LmTDRXb9CkFz08v1MNbpFAHQLFQbVSWXtTxO5Xak/56cyKNUH86qJ0ybC49uNWTFgU5kxilH6okTdpYSGtIn1I2pB0C8oEa7mVX+U+JIMG809D8fa86IGWiVUkoqfr9uvFewmvOKUjKiduy+X3JKKadIhCQ7DOk0P5nDIimQr6+exJA/FTJjlURjwLsa0SuAOjy53EZQ+Yo/Dh1ORaWl5BPweDfnzHBNadiPqV1afJNYvURfyRAJ6f2nLazoOBpD8bBN2TaGIq/DkPWtQquv02YtL0CHzoZQBsQQm+Uogz4ofgMTMoUkry9MULWdAbJilb67BiIZNZLSj6vKFZ23COcv94wPIphQ6mQO2rKIlwJXdxVFvcSIBivwNm72RcbWB3X1YBuzy4O+thjIgNQqkBR1xjmbmtoSICj8KncI5gehk1d+bCOlC9dXlJQrplTsBJ0pLksgBNvEaqCPhwQDU9ecfhXTMFJJyH0/TLTso/IHmB9qgpdOJzTMc3bUUvAhGcGZeJD0fLdZGEK4MfoktxxxCR7Dfaq2SfookI4Vllj+PeaVOuaKwkVLEQ7elR3Mm4oJXwPBEWfCrPlKZKqD5It9gcJDVOMw1s+tHzz1EpI4b6dfS7cMpEFOt+7xcPUK8FC8GXa8ZVI7mJS+g/oDzkWN1JPMgrgA+OI7g2JuNGSbdl2U3x83fgmHNXRPSdXqJL88BYypMDDrgvqu7mW0pYAwyGwmKP35j+2wGFGZRQBGkSZuTq0JcgCMFV7IA4VbPefweqDDDDkZ8ehqIgySaiS4oDxYDAdb5B5XLGn2pn5XffLaDjlNVKDbTvRmd8O0WCYCOCZVkkqJBFP9SFRZER+poHQvl8B+4yp3Ub0i6bLobSJWl6NVLOdk88g5C26/5KJ2AyQuw6cbM1igcLv1kYHdphpz5qYnyPxI+x6hKr3Fw3+Axek+lIWPO2gse0GRYwHKvAPS2bGpGiSpNjKjoFYHOF3saQcw3KUQGkjAZ+ZrG43X2DDCMjgfDD6J97gzEdECFg10L5/didBoZVja5z8QC5AUnngQo1zyu74qvc7V2n3aADR60wq/EJU25qD8vEUnz8jGfRuRaRDqY1hz3+oEQKzRlptkrrYaXtBEQHDJnM31sFsGIVnrCyAIHJxk/NfkMM3C8zPnIF0JQXpTQpU+9+uxNoWxS+RfOTYJp7c7G0pubXjjNlM52rdDX2fNkY0rcyeMIx5oalOvpdVAm0snX1PpO21tg7OErhPXChsQ9S+H5j0Vl6dm+lUiy0RRpAxQTaAIdogowiCBtCoteWDc7iDTd6RFMZ3St53UE9KtuEr1wRx7hQcR2O2d2bCEhG7K5RfFWzCk0YctDMjQv1pWYeJYT2gTFX9OpIJ/gjQYd34lFZl7kPqlAJrGKpKMxF6dDU+74zLSMlT5L25uk5ZJswyqKxYnVf2dHLNRml0YkpW8ix/6SG2XSpdMIsqWg792aH35SM+SBYWMGPjqtDx22DhYRdvoLm9lbUuG/xDYuxV1tRFkG7+7VVW1HDmlWqpgU3bdYx1nD8odPQ/D1xtUWFXdS/FtANM3tZUAfJDII7Z655P5PDiTxI17biqmGJiqr4FMTRl1CvYhDYsC2jYGdsW5sF8+Oo8ie5Xzn2jWAJENypMTdg5rqVKvS+vKiQB5rd6LfM3zDB7ld15+y0fRi46cPPvQ0pYyOLwA577Kny3lZ0btACH710c9n2bLba466GYN4SaEqvlW3JZmy1Lra21hMzd3PrukAPcPqxU+zGHfWlYqZB1pmbULsDMUhRxo7Jv3ruz6zx7E3IFSLER95LNraQ9l8HY4v00Bh6mQQ/gOhh6eFDFzdaqP/nxG8QsUgsfWAXNPe2tXo3h8RAijdPzCTQd1V6kGA3uORu/qagE2B+9ln1MpluTf5/7OBYAAXYKAjTsAIYzGZ7utjCBMiNkersfOBZezKu5UZZn6DmlcgKSZAYuxyxz7jLWt514rIZjmunanTse9laNlBAyZL/SEZsECgGFwaWN3V1kMfRQGM+XHBQRreqJ48NzMOm7Hzzd+8ECg7ApX2rVCO9x3cK2/eS5xY2XThiRpG97eoZgc6a5Go2B+rZ/BVrCjinl/DCN+RNN9ulbeK9IhT6dYHUfouqdijRvv4nhW9etLlQA/AP5uOpNb6AIwmfT5lilNwFC/F9948GI8vG40le3Jiu849UAinNOaINXhIyJRNNrWWemE2Fuhwk1j/aAD/srJDCWxvM/ncWaGhBa/irz/VgXl2mW3bMSKa1ZlkKzxSZNXOM75Pwx3vV445F2iWbsxTAaJdyVPBYb65exVlWo7dG6/P9skIFDsVh3yPAdAku5RCUeb7RXRXNNnSkvIJN5wXJ4cG6JietB85qg0MAFzA+EaN9cb7kMvhiSUvIr/MyuczmtXOVaOO6N18z+k/eUVKTv1yL2CH6T92t4kxhEHKBhD8HIO9BVW5ePZ+O1XeC6HPZlafM3OcYRboT3lypYUWUa943c7LNXhOBQOZwwJm95wsXr7jQhsMjaV0aY9o1HcGswTrD7wYxG4ghwqhNVEAhGLSxEVnp6HbxC/L9sCLmTdCmkuFIBLY0RExxJvuzEtbVXdnXx8nj79oNkX6zVML2Beu3lScJj3wpJbsV4/GewM/EHXurqE0NWroQbNCd3gKE82/h033s/2hUmVsu9YERhDKTjcn6jF9bGTKZQ0ErUz2w8cDs8moOCuDGZ8jMml1ID/HalnsFin21Q0kbel350YwuJl2ankY571V9ZXNnfVyp46QwLYikVBGnhCHXVWW4Gp4nkYUr8IIil1yn7DVf39NInmc/iaTABA04SZOFh6tTb+k9R08+BIOgPP4nk+gBzO64aq9fBz6+eUlqX/JGMUPwHQ4f7pML27L6oVCU0V542zQQ/+WoUUQcDG7RP71dEDawRWck8lQRjXRaF6fqilyHo2i2CJDXj7kPim7izev1kOKSUqR2XFMP5uGWaPFOvkuPRdcBCmsg5qQKKL9BdPkWXugmzxitjTUnYAOt71AI7MjAOMpmCk3RMVJvRK56MixtOxepH4zU/k2MZSxBIFFF/SuGHdEsnuBH865mwgg8mNU/zz0vPK6Rc8qNzZxiG039Aa4dQNRKngq1w3aeKetJjc/dkln9CbAQTEk4kcAnQXd6VIcGlGfSCI8XsDw5Bpe6b2w43ccmJQjaGKrCfWCVDnmXnBEpGe0PC7qFaukwwdSc8qnViM3NGSySpzA4MfM8taDnE3ComYO9agy1i3RUzOYNn0CauA72mm5urf5xjlpEsdzuUhbG++TJco0py7uj85WTIRnw7JbI6GHYW9E95x/SOpLhsSV3JA+AmnFaCWZpNYxxSxi61hybNP6g/flFlDrDBKEmK/hH2cu9Zo+VgbNugnTxUUcYwhCUkCq+5nnkn8OHeXtrghl2RWMLollsnJQO6ASQ6BV4ROybvXabh4gVXW65DZkDiYQa5WQS+ov2i54ZpGcuKRb4CS3XBt+flqf0RLadqtb9EriAovDsqnjAtk2as9U1G6oCvvgupkeP4BvihEvdOQ4EEotYeZOTxErTTyACkeqs4ELoOkZlXSWRDr15tYXMQzlCMHpbLgqzvvHYW98kr/7LbesCpPQPHiEokoM5qC8lJILZePSDUYhJeA58O13NX/jo1y1MA4b2tmZU4CHeEy6W44/CU5jUZu2pEDCMfTYrJIs1wyuzLo5dRASnJ1DmFA4Q1tbTJj03W6zJpLGWk76DBuVzYqgW+MIlUmlxXM/mXCnCjXJxQey1MBg6peK6nBk72yPXR7urrMPevSY3kd+Sw6I3zPyo6I4+HWXCHtVxztf57kA1kYm5Fp/M3nJyY/LKYciJBcrMKIzZt8mmbhzeqCTOars+t7zyuqDUwVyf5AqASwp7hFD8wWIIYbS0eookHY/QAbol2qJgZMpLKBsY0Jn6Xp7I4hzYgk3t3wcOi81itK75et+H+C0gbhmZS6M5//e2JY/HLhj8Fle10+jPPWt2Jce3DnmfUPUUygDJph3AmJaENktOt+ceeWyNq5N6kRtiCjpi9x1xoDZLpHK1ztv4mmAWtUW3GGfWPCYPkka7+zkuEgtWDWBSCMI8qNzZK4+iIpD7AVEpsnP+OzDsCLgQgR4cVO0KFPD6I9vaIVq9wZ8XbNqsh0lEhds1ymVw4I5Xa4Guc0UoGsDsaaVXeuL749WTkWAKY0gyQobCXxAvE49xJMAdjqJrvYoCjjj8cQVozR/+zw4iDtuy/Svon3qWFGZTGz8ISvMq71oG7rVXOp84BB7VvN2e2fl8bxd90ecRAB4rT353Smg2ttopVa8/YAgtow5cVcwmObjO+VEOwBOqFi1GUhFOD24uCUPBFxFWomQWIxfQE4l1WdfO2q3IZyYgcxeDeGCHKqHCn7bi3Tc6RTPLskpT7Ln+ajzZ+P9XjVhZz/6+UFkgMVpHPNC+QfOzsWMsOFe7/jSBCHlAbpkyGy7dhKDACFCvGU7WZuznVnBc3H5cO0aWcknBZMUFrmwLNbqrWtA5Df4FlGPXa4EmdmkQeSBcy3P8Pe7xxnvFCTvfx4iNm0+h0Q11H2SgOnt77hGkc0Tgd99FcplhaSpYJP0j+fJZgTjQi+lx2qoYF6QJIbWJ2WlRvFGkUpvxShSJ5WViWsKtfJqTlSFsp0VWWu4HBzT3SrE8HNj6BZwErlSNZ9Cl8nq0IJ55v3ByYuLDBH/+C9ENrroQKm6vHplpKOLJaGPMX5KmbZ9LredBb+bPaQ30K0CgrEIRmXJe8kcVy2x/oWqtYiwGsLkJJPvhiJ6H/CONyS6MPnp2/pgCzbrAAufnIeqYNU2bd/dMzS5ehVmvk8kwGEpLn1uxcbPf34xlLpKOSfvrRHy6YvXcYOPPCaYAOZXe/GHQ1UzV/gGj5EHSwHPgkm3RfiSRCYs4+WAtzJwbHSWim6JdzVBM/PeHviN6nfqTby5CEXOx05MGKqN8GtKWqAEPRaUxxN4GcV1U7qKVYlZ0WTPbWXRubcHjI17Z2vulWSC0t4iapGaGHYnrTfdJhc1MA7sfnGTJf5MUbjlAiRLkqrMJJFEHaX27UrqTn+KY3MS86ipQHObMOLXLZ+06gRQsvh0YsHcezB5BSDFQ/u5gonIwOck0scZDHlTTTaa6jyNdTAu3J1QSUiJsfQ/8SAObpcpd3rEGzpt8TT//ACIpU7kbWd2aIXiiQpW3xwYlFVIXd8ddpDs5vCxdaygnoUmsDgESpx20RZxnOrx9Ha3J0nQqMSN6cXFAtiNdTq/caUV2wFb+iuAK/hCPuQ8gF+k1DXVx0jydVYIOMr7uy8UKgHZkyjdDC45FTaJDpii/8SQWflkRM8Nfh1sojXO0KofG47MulxakMtx8W4luSo5t3hVaeeRABFGZgoBIoZizszqzAnCCZhZGtLXMHR+ug7/hkODRL26Ka3MfrLJ+eJByOom4dj56pKBOyPgZhcbMtDGt4xsQJUEOQsGEPze83npOpSM7jIywAjtx+LWp0csbnoH1rzCXZAi5Jwzdrutygs00xfmq39hddmhSccTYDT+XHiirgVlLi2iXJvTKQ/S6CWkJPWjzqP9AxsldLFRWVii9/yr5uCR6BvKFRT43k+6HSi8byUf6O2snc0ncIvToSoJorh5c6dcvsi5OmhSjnpqTW2lhjtGmqYb/zhvHAgX7iQp3gZxUUIQ6GraxeqdWi/o6NS4YhsOI0Jxlf/SWilnWXEvSfhwRufydsy3dVy3UX3gy0u10GHdwgTyg2C6Uxg3AnTMSSPYCpzzzXhxnLWd4sVu4mehx8cS91D2HVBc/PCuEImK7xrDtTcVNeMZKFbm+PvfLQZpkLQ/vkQAvZyf+PcLetVPnluK5YHpK868NiAuHeAYsUz7wNN93CUFH+QdLRv9NFpT5gMdk0qfyoYpy+C2FxRhJRf1heFXJTcn4BJQe3F9bW8F9tKKdTVKMoxkTlk28D8buNiFiW94NnRaP8OJxsG65ywbCtq0c9wlcW3fEYjrBhihbUmy9QrR7w51Ub7fBnFbkumpmqGFP6phje7ovPd6ff/r/v+q+sVVJ5c09UG4S2uvRKDaETUI7PuUYAW7W2cxQfXXQWcsv0TWrUoa5CO791axTVsI8bqYQ1IE6624UFs2a65BFN6Pl71ITHfERQ91SC6qOctOj2q0RSXhPM9ugGWRpmpX8MSPKwUNOZknFNo+JTD76Bqwp+ElkKleK2GRstwAZF89ZUF/VGpqMdlvR3DiX1vp8i6Y5YJ+J1g2ijnbQNnoxyj9sy/ufE4mfoEyyTk25ENL3uLkPjNo0DT1O7jX5joz3yfF8ZF7FqVy/h5Az73HXgGUYvpruvjAwI5nWACRDOMU72ti8lGr+ZfXDguVSTWHPagBnl9OX/+n+4/yRQAdb/Wtn2HvPYWh7PAwZmqrogr4nIZ6/muZDq0iogvH1OlsxLIKJNUCUfW5hyqDUn2U5W1gH20Io+DH5DMZiRhaw2hX8bneQGACX6ZqUZwX1UGA5SUKGl2siqDagi2SFTbmZGwL+fEB4GDEioJNLPdm7q/OrMQMjEA4Gu9md3HGWiVvz6rSBBbD5EPqH6QhKgwiaZq3OkKgtpkvaYN+KFhnX3Fu+MuBxP5lNTaM99zAveNeO0buTyciOZMt+z1es6ZWb4/gZ13+zfydNpA4antEQgFrGWI5bXp76Uzla3KteWlX0N4NbL8nFAdIsanADG/6Ymjs7hATx3S1+CyGsYNYfQIeyc08Mw5f/cQXNPfE29FnLzy9+BcOSGsVvhi1WK4jsnUyHpe4XHSVQ9TDdQcy3C7vM8QZTrjA/UFh1o4HwkMMk+Ityp1QTC6OfZxtxYwuCZYMZ8sHV7V+ohB+KlJwydXU0M49qr+Bbu/3BAjB7vDYe4u+Ly/88wiGiVsh4ffMBk6s76sK89l8AkF0BBSzwUaJKVfMhzSLMc89VWLGhLAcNtSEqRnHfDpOja2VjVQ57xIbcXFf27NwvxOOcw5prQxGKSRhBcudappEPrl/U4Wiy4vYnN8EzHAUhmgdbNABB7tJVw12Re/FAg1o+5rS8bstJ0WXitugpK7Pd4MkJsQFOHpEMsZNhe7ulJPxNiNfFsH9v58j4mPJHZxgtcPtrZqqTbH+0GddvNCeG87ZVo9RFJFcdS4Jb6SAM7KGqpRgfh+krBw8yJEYubyDxjWnGRv8s4FoE54aRL8idhGp3vOnhV9+UBCeim5uaFjhwsFjFTIAzIudaArdZMMtGAJFIoZ/GRdHJjhqAqUHL86v8fgv/ehDTV/zDDPU1SpTCzLisObCk5YNmoHo4bfpEmTES64CRTtI26pIEDn8wUaX5r3RtHTtgvpzNRNLsQa6dK5338zLpp1YfhT7MH48rHQzx+EL1Hb0vpX5cdBEWAM21z3Dz0ltYsS3QI9L24WbBUtn7G5j7w0vOuV+JKhOncKV1oS+PXWC3TBdGeWN88c5xuLw17RoFFuaYN+PI1LAiJG7EEe6hChmDq+ukd7Fb5KPSRE6YdTEwExZw7dbqWfjAzml0sG378MeRjo/8TqS2VKTpETQU0p6lquOB2CJWLMcEysmrUMaDyPOIiqukjBwphXxi2nDG96XCOa5Nrq7lTUpNQ7LnhV12jSLknP9LDFuQU6eYWE/kFJFEPGF6zzRGuoRxAWSOpueR/rKJ6m1k6/W4bDZVCF/i0oLzAO/3g5pZJSuOo2Mdi+QU8bqIF2ekacOAubnVcenIp4cv53zJfALgJnWwNn4mBjVdlJ7MEeogI0TC+15PvhkOpGJPZFqftYJhxE1GK2C+UY6SYBk0/mPLF0Tw8aXMY4M2F70Mxd/P+mTIMzK1PvOv3CTwYJuQl8GSTtfAI9LqVvIuL9UorgPRcKs1Yu6Lqc8N9oH8XUZdqrMuON3wmxxv6rw+GADRwZlhoqTssL83hKiTysuf3bboHrtaDQjwkDpsMRHyyU0XhVHiaGtsbjACiiI9XvmDmYaSvLyDdbbwMttG5NYl/rdCoTi12BtHkxZ6l6TDzyy6hPSy6lUi855v1WWmZI0Vt+p10OQiWedjm74PS55m8SE5X/LCVj+lBF1RSm5E6vsXvseiBgexzDlOdigU5PJVtRV7K5UtpyG4hAOB4aj3+xsdlu25cAgSfYyt0XJO+PaIwUltGU/EIfm38g2k78Www59OOEJrz/2G04UWcN86F8sTi9q5622v5G6v/C2/uepMumpXsIOlE0yjRFQSQG05sKkYCez9YnR1yTyNZZqNu+KpgIrItDfq2xl+cRxog8PbTSHlw3bGnuIUPX1g7k6Px5ZHAySZ0TabvixOAhMumyqQjA5NR+NoxMLHeQu1n5un6DNJfCEt+RdxwvWp6GcHr4lciilY2DnTovbFGRn+3HlcW6dkMbbM2KdaCq8MVKXDuIXExThhNMdbTKoV/1H8B+ZVzhv4Jy/tdknTe6NBgTNweaFnepPfrJ8NIXAkiafECJxO2/IB1C2F1Z0wnYUZDlYLvwjwkuw9+ulinpxyZvQvC6EsAskwIFRYWDCbNcVOqRvH1F2AQ9IJYCr0lZeoCothYwSoqLMAOUws9Xafku0Jzk5neR932OTeXhXzunPXsLfAJzFuC9wH9c0Yu76svAkP3H12uPzZ74Xm5bg/FzFPjwbDX3CoTM2KG4KcT6B1xa9r0oUwhsOW4C9//sDZEWJn+tNSUB3/9YD+fw6VKDTm34d6+bqoTqNm3G9p/PMJMHNf7yrAIOQ8xryhhSFStsL4MyD5svzki+wzvoiKrvR/wZTIEB4dFjm87eUkK9zFgKiiMQ13rcViT6tgnRvQtTZWe8zPVCkRcsvIRiTuLZBihwmimI5iV2LafJYq/DbkVqcAfOhQExodCAp+Y4jXMa4G9rMcBn6v03F9GTBLu3jI/TFYh0nBKA5FWqB6nbKwJTMTRiyPnRBAnkFzocPbtsVRP02fk6kznmJ1UJrcVA71Qb5dibikF5F61QNNDwssQ4K1UWbO1PD3xSzlYE5N7GmbzYZREp8UIXOFUVxd1gCQ7MTOzzSJ7Kf/mvfUfszdvskTNH4AVDURx1IGK8uP07rpi4sUAXPwD9I+1w/fa/MN1nPhs/QgAhPNQDVwojwYWl0v3L2YZdlrzwQnyDwL3TBoOLsd3YXjPrtz74feavy1YGkA/f5rzV01Zo/M3DpsB/H9P0KX6Tl/0i0liPrJC8YJ9CpL5qDQKQQm2513k10mrVAyFj1VLQu5BSkmcR4ycqAoxbC40mHHv6f4MwLwIM+4LlqTwcZHAEQWsExYA+iRKo2FQkA1cJbXX3wWieJ+iYGpL1WhW0NriDMeHg1sZfSvzyX3FAthJ8JkKENPp+BBhED6joYiNIl7X2jNFR8aQB19dQOlyeU8NXBsm+WZ3MxuDly7Txbod5LZ1BhhypNbYvol2xl43r2bkByH1uDcZLJRBGqaPULvLvGYwU3le3YeoD2VlGiIerz21uWbHii86v1Dtiqq0J43zZlJEoNG9Vs8VSlV3aYpvq/F5zBfaedgzNOrPUfD+AO+tOfy/ApKN+HoKufRlNtpkmPyxtATNOibFc/WlvtGp5VbwAmg5JXYwgyZ9P8mkSdSTcD44q2uFCVejY+lcvnRRDrfRcIu63X2rJFfFtDVkjh3ghZywt9HMm/9U/hhQdYKLNYm0KEIauFE7ZAiJ50gE7sr4w8K145OuWF+oPvVhKUCGpCB7oGjfy7kHAlxsvwDN+h2RQ17CAUL9nIRDtGQbLIsAx5m3iSfUAxaB4LLKHghYpvXARpTSDbiUT2DHaT0ker8aLC8JlLPB5R5V2KjN4zGePbcgeSySTXw+B4aAoW8qiusHveYUTznOpit+Azl7IOpcElvjtRm8851xWFW8oi0A2A6KNQF6ymB9R6gwe2XuEEcHJ/K1iavp88Jbg62fi94gCXowvH1+lp5HpZZimrWcI/V5e8sWa5h69WtgLjJ102G/MPGFh3Ddo4OQZkpAPa2gcaeRQ6sExdMkkr5Y8BPibf/SUXGcuDe2cG8m+d5YmEf0+ujFuGK4v/7+8goSMOG3suHS5i+PgHA2baraPvKbmx2XWMBSitxMgada5PsOwEE1aWr1Nr5nzZRfM1lI7RA8+W0kHtVvhQ3fA3Tv5UCbxzcMAIqW9d0n9XeSlg32ulCV3fioKNtzeSqbKo7P5jC9g+2EO9ivzTb8EnB6qQfBS0XCrcCMGWiHc2ytJxNTTaX+HFImX0z97JPrcqnXqRDA8PCqduiYh0vpeYKPl8dDjOypfEUI1PheR+PYbd8gAr58EXTQ8YeYCEw587mgge+w6JbA0appPv2cwgY3qaVoJ7huCd81K3W4v/+/ThRegzfmWvAq7rwxft3HswGoY2EyFHynZI/nTkQsXKSzZy3kxxyk/6Ncn19IZqk1WmugStEHRF+61bQdS7K14vx4sVE1m9I97z+oyUQWKzWmbCfhz0LdF0bNlSxfCDeTcfU6/eij7sGNGvOXuwGbK1xnQC7f6FYX5crJjc6NhGl4H4Nbo5Owuucr3DrZsfCwpbhzqRD/B7HkNoDnCDB02wTABwSXVKEI/YsUBWkk3o3BNJCcaKQnVEHxwRD9UUfc7gwjOT1maOKcCTsJUG65/sR6fqjlgRhXawwJnfWyMt+AxoJ27XPcQKA8+yjDRVRBsZU3Wyl5S1AasBTykSZEtFiaxRMXwgkFDJOr0vrNsEtCLwjtGLx3NGvCa5qzPNbZxF6hwwEqrLDy0DnZcz6xMmo+gOn4R73zu9Fq/ESESrxx+FRfNtcSKabok+6whkSDfoCW666eepvHzltdA5zHCl9Q0JxS1wZYH/kb57a4ImHKNLzcRZcFIRo6saEbCO8c2O+qCypJuoqp0cSEyUhuVJ7eA5lJOYklBaGh0uGGmE3Lx3yTYaEavPzl91sPmzBWf5+7rTZ1rhgecI+AN7UAZMpxkYjX3YD2XEUyfRIjXN6xEUOUIgO9qRlMNSBS8qON0iUdtCqtaTfPO8ij4/dNQFJ8UqnS8KDhuvvnmq5QsJzkzGYHhMxVO4iIqGmJl30W231gPnrM66IV2IDqFiMeFR+YDhhO1ETP8C0WSPxT32kjKLetZKx/MRXsu0rxAJos/dhOZ624xN1qQFWNP1NRVQR6+Pqjz4S65xb/q2QidLLmlj7JODuBGVaCrXOtZ8jGKfJqpGT28ltFe/rwvtuoAQ4KFdcqQVlNXrN+Mj4I2ALoZWs7R3dtvokHhN5Y4hjnZ7Z4FfJN1zS4sMbQ8+ZFARJVH2XN5aXVyAu2MUhqQrxoBAUp4RQo9GXGI9yAjQkyVVmUIWXyOlAFexTqyD7BC0EH7e6VIAO3fSEYtA4dpaxFjO8XgJp57fbDtUwYHyIAPpmiuOOh3b7ATT5tk/wO2zhdunIUzIFovJnXf20szHX8oCwU62QS/TBwZrARwMW7ykT7b3HeAbio6kL1TnxwBW8ovD0SEMQCcUUUq+SF70WsgbDzrNN9JctUcpgnFiOAQZy9Y323xxE3j0+KjgoRVO+hRlvsJhiAEd1+sh3nWUnbyDi6UKmQfqUAFA+HE1IK7agNz2/lf5FKfXgBmmCLko9o1zXaPSLhqyPcu59tF3pa76EvyD5yTBIeGNrbtk8RRzsP/tFRgQgPeAU1orXvs6plB9TyYGk0XEyLdn8sRbnXMkPA91N0oWEiZviav45Wn5gyDGjMEDHg1EKqPuhZXDMfZ6sqlD9SNGI9hMTLHAjA39NHcLGXLwuuCedz9N78W2RKSs165niakVUC/XfdaB+CNRmWErYDvMLzf8WwW8lnsOHPA9rNYRtIsy0DwBLwg7mcoNf5pP2H4XXtvAP+iWnz2s1UqtxhCW0Ko/NEn09FymvAK4r0ETDroAwIxgLzxEu8OrfaFtNuR3aFqFeCZjmvAqZfP4cPPhT69dOKnCFAVQ5HeaNx+mqy7CxErm90T/lxlIu/+hoEASB1225cigpBUuq/lf2mAxDt199AOseI+F77VrQNVw3D9D9O3W5dVCBh05JOV/rXEKiQ1Rx/1dKW8It991iu4e5GQAdnn6YtD7NT56Kl4mltS29+5l+U8LufxXATEKc3XA9Nu7R7oVJPUW6U1mWKrnPUnqG7TFUJJTr4EbpGAmdcyy+JbElo8et/oCI7fuOXe+nydisk/Af/tgS8RFI3xHHba9OOpyZP1zf/c5O1D5j/w0TuYNc9vONXCnMA6XK+QVMk40B2asHXpOGhcvsoecfiph7rJ3qac5KiQ8IDjSI7VZk/68IaNNEZiMWNp87d7kJney/pP/O3cQs+x70UDhlkKr8fyvtFMUUrqHoEbae76gUGqhmKSNJGsVoEfHIVQjJ9MR3EDVY6p1foqvBMUzpE1wy2ideiqPHNGgUuCxMHzvD7kWZW1zFGJwLPXY8HpAjc1KAvH/0jxmKlKGlxVFKpusEE9NsEccvLvHqtMz+a1QdYT4euLqP++hWBykzZT0BTsxy/YcUk/R1AmOBjGl+hhUvkUcLMiPhYQC1a65SOnqRmKqPctEaky4Ur+H1wYi5LxrzdemuBUB2QZ68rcNENALHyNdVxtDUpHJRGw40uZf3Z6ULhXO/D6LmlD1STzbJFhPyYeUIYOP2FX7TqWrDpgR4jcEprBkawBSyOdoE5p60FZ14dAOOglvZSe3iZKEdLdaopOuTY354fVLilrz+HSAuDqiU44xVxg12RrP7hHiPMxo+lupuCcBMAq3I0N3Z/lqANBQGvTc94UrHVLrBJSfjFaR2c8vyvHpbzRPYwLypVPgr0d/P8dsB/orP/Z8qaqvjq+9ON5peSi7aFx5KSMiI7/ggVOheR8c7/27UysQ5h9hvU7OHN4XrrlLSzN+Mbq0GpcYO3di3HMfxEilgJP2tG79iIN2qPD4z68/chnBqWoWYzfnDN9GdXMAIQfeBeVYnz3krDOrb9T62f7NXz1MEAa7nWLaKEzpqRfAzyRew6FeCgStLc2KPbW0idsgYb3DUymV1+PPvhA8pxLpBIVWz4ppEl3lfR7W+ZzhBlRcBDn2NsM+p5tCySluozy7SdjUJE+irwjLjwT4nklrZ9U4yPx8mZoxA6byWgKMQiM8ZAt5XEarh5ZcXIqtyqcw3jy7QJuIRe5iWTCckWZjaSBjge0HjvZMTrZG10uTGyPP9ZbQhebcmEat8L++LAbXgzn1dBy+CU8NcfHcJX7EEsoB6yLIJa+QYI/5xWao33NJy5qfqb3+X+zvREtcUJe9NyB+9UWOyCsApEVm4YhiarhFn/W5EUr29yVDGrB3SwRc1M3ycJWaPnNRc4k24PoCIvX4IOVGmsoRPLAOZXukrX+kok3wkQJ0Du2OOSwYQwQE25eSS0bV28Q4U2TC+CvHzRJLSMwyKMOB2nheuRDz/X827DFXsP4exOkauSVCzygjD7dJv2f65b0cXvv9U28064RZRP776EaXR2AWewrl9FLorTAmhVO8uU8/ZumWLdYMJaO0OoC5fMgfxGcnc9Z/t4QPDQMzlxKZjZaeuVXrXum4HFjGXOFa5vjfMfGCOsoX5g7+KOF9cCIKjU703zVX5ElO+71Q+rLq+D2S8SumBo3GI610OrK4D4JZBSVyjOH9vGjXhMBaiBH76CpvI1dZPba6l0zqSj2cQNObAMvo2CeCU7KM1rW6Ac0XbFJckQJnYP57oOLlhwmmFwhJ0vNk2WsrnY4Z0Uq149GPYSU6ZLNKhnHhBKHDSjCpUwI2CgaJxtZuT+1zRJ5ZNqOuYDnNgK2XPo2/MUxoHfYFxLgCr8nd2z4+wgbY1BTcgKYPSm/GPpro5e23423BR4o3n1v4GuQJLHhG9ymw/0zK5LxDx+G3SrHQvqpgph2RYfPKGpj4SNZCDwktrkFeu3d85xrIIFqexV0Ars/U/2TkZmcv3WfPGRZ+DFkqsLk/aSvHLbXh8GDS1ytj9p3k0mVp/nxdjEglyrCFLm57YThKpZgoc0qmcvJHg1y0O/FCSHDzNXFOhK3YGDibD7/8miZF3I39jTpu7iY2z89kY11THKBRbhGrrejvb/rasX1yeqHxQn4c7z+Iba4Ecl0i2sijBZY6lFgp8WtlGcN/re3j71P+419264DH5Lsc6Esz1uR9Z3g1Q2414LocSLxaALGceT0otussuVYhrDwQcjJUjPWqDcerrVmCv7wBI6BwW/ZeJD+Zn2eyJKiEZ8XWiHHydr8ljqXoVWnZR3vtZ3akg7kVAahx1VvhZ6bVM3HcDdfS+ttcuVICsaY8XOPTmwali4EVbA4lyRajCKsRUVmAW4ZKrbVk5vRYHpUN8BRoMFqxwwtiB79LOm0T9gtGd/qNT7hfM827JKxuuK2wo5DTwnjxjf6OEfdQ3pLkIcYDBs42dIlFJ8ckssuwRaUR1DENttgNhxUUJoI1NbPfL1jjAYaxCyZiJgEkxcG/zkIJ7ZEzq9nFEmrK+FJWrL3Jv8TjMdHGHMM5rP2g4tU1Ry9KpXjzl4+gz5T8fY1qiviMg3Mqlh6AjZGmvBWWkF55pcPKXg1ROQQ3MwWNsncxgyu0aHAdCVgNRMtuXkFK5z4k3WmN8LGve8eRnfzrvwofZmyEniJ/DTXqXqDl8nVCY6vGW3lMjtSPfy7czmhiszSVrn7n43SenJhjZ/s5NI2LXyzSp3AIrNwWAtWdfA4U3mN8Dym4ZyEtFrm9K7H0vRyKDUvUNjRknR7yFR9n9P89k45Ko9hSMCIi2O17hxL3aPWGF4XR0NBIdNuPPW60hx0smHtouHtCyJX1yAr0BLHUg/wZIHByIb2DxAKVJ5CMp3S2DW5s2g3YLGLrUyIYmx/aFeCpVLlqHc8cuIfFAjlSC79dAEBZg7GRCFuDiha2skj59I8hrdERgINdIh4P86zuiUCtcCtnQ6INbn0FDqzIxbGHKvIOw8grjysl+LhL2oAy5fPIq56VsmlhdfOogjc/vqE734sliFZqKqwTPuJF/htNPvXdrAOoOJBdlzStBMvEi9McwgbEjfly985eytMfCvXT9vW2vZAHfHPPZp2lFdP7EUCCPrfxYrlbwW3lJqKsz+gbdjpN6iwohrh7EjPsYBQa45EI30SKISW6Tbi0e0CtEkBCSCv/EfCw3oxoXUG1AuZvQw7IoekITymWPOoRQoG6cDnpPJnpRGU+01EWjg8TzFqwRJM1NyYP+0991SLUBY3IHCGjTdyuueOcmm4y4+z5Hc7iXzlK5s9slqQqnbWjp+RrySgKm1Fo6Y2Uxtgoqgh3eMW1lBrNRhxQdc3vOxMAGeOoQ6aXeVbxGYdu36t5V3liEZunVSacfVPRt+uqyiN7619CTvOzVe4uJxJUA/p1OLATmgE26o0O37SSZ1UZ0CGDIMLvDqkK8ZPDJJ1FmyS1M6PUsPyq1nqA+YhQbRRx9SjGkHkHjgGUx7H50VGmy0WRTKMb8mrbJ5QWvr1kEF94B6XxbzWNIceQo2vcVKTyb1ZUImslHlO6viVYW5H0Te9WyYHR0FfRz8b27P0cHuBpbzfTTE1ErVHEG6JusQQp110IJhOKCv/sxdY5BzmboKX/5cMc8jxAsBS8DG3L3wj90nGynzeu+2pi7D3Wq+IdYhg3KU/KndZJeYU1mUs22shU8Kj78B4dlLOs05VE3VzSGvXxyHwwEO3gojaMsbUw/Yc6Jgm2ptOYmWZ8pRsW6Ge8wm4DBSAkkbrDUts3TGNl3hn+3E4uQbWi3b0Z8Ic6kCCm3yYdxqc6sAF9aqrNa5YrkhBBo0HcizCvxVa9CQ5IEc5lygS2gAGNIR3AFbOTxJIRrAxoHbDn4rvnpwL/xa1o1jWR75AsaiVsBQrY+8IhB9ynOiMzegfaoMhOgrcIsy/aTwZKyxWi324cPhIrdxhYSNcHdIuS3qA5YWoSKMrzWLu0T6iNuWNkzPerdqkPlTVS6L9N9y1kri9wEPDh8L6EpPTAJ1UPFxkHm2lhYbkvsZpWCh7YRSVcFEnX63B0wR7ZQJ8PBbVjvOoJgQ/cieZq4qK1xZ58Y4MWQlF7TMXZqCN0rj3HzcHs8duyBqFPzvt2jKOl84I7m5fdZZpTlvVnD6QmuQDEQcxuewgCFMDABkOszO1XxJ2LcYRDSzjAbHM7qEZrE8YsS3hJrgDAsMaw+rxX/yQ0uZJ+GGFK+dJ7V3sFOuQQ5oW+RJZAJEq8rqrvl6MYfcwRk94se05FWnhHXj4+KyYVG56qkbFq2IQ81B2conamX0dsov32jD7qc81ME4QBzOlXYJL8HCK1DvkBlanbtAmeVpc2pGNfpRIx6nsjiBbjKjVolHlWOon0TcooMftCOOXWNcU43cSB8opvDvt79m24LYXhB7/7rvrYjYI017ecA3ElzFNhhYreRywRVpy4r5iiVcwCGVoh8SZrfXL1Brznl3ZGHH36jO6X1xCqE4q/S775HOc0W2jk8Ls8hZnFNYIBbLGhjkqWKO9nnxV3iiCrmmpzomDUfWz7CeasXoqxIVAsIU1A//XMDedBBtp/O9ODAT+cP2pri6qJNJPFSMDNkMasOGko0zavc00AnpuGJoAN/aymGlrBl8iNsIh6Tg5919CdgrvMpCIdIqgMiVBMhPihEFWOFp1yzTvPBx7PT9oIWiFYCC90rKLP4VZUIfPx0I+uxwZOmc+wOf95SRL8wMv9Q59ko1IvPYL6T6wCXSNEylX9sjXPsG1w7TwNb9rfOoj1XJ7fyvhuceStyt8l1ZtfjztWpG4glFtQlP4pb8tf2JPRWfOcNwsJRf2rLDU/I6D2qCIxwFir4awLgjAKIFXOD2kFHWbiCPud7eTCxznKC8CHAJETpisycKZCq3xrj0QUduIrBiMlcEdSD6bVYgkoC16A9FlpEvApzk67iuWSkLiiCeu982+mFzD3kzLhDCfesHXFxJUIIcpEn3I5t6sJllwac2YxmRUQSbJ9k67DwMzS/aWeu/sENjNBnPnlNNF4eTiZWD5uelOmhIZa0kT68M4drUaMk9JDG/NQrJZmw17NfOkD4Wlxeq14SidZPZ5x3KL/cBJSqRj/KS4GoQMjDTxBk0zsh9FHZDbMO0cJy/AFauRHUM2x6YRFTIGAJ30BzUHmvJqnXhs4jFKEOkrAaFOIOIEpGV/le27OUJ/H+A87CBmnLS1HBGqNlH11GdPU+scrbDmRIdFhUhGFB6WUUM7gJHoxmpB0LGhgtmvqGOTlG/IIsq2zVeSZ/c0Sfq8IgfwW6PafzSAb6KmAAGUZ+2SPM1wjWeDnrryWKIs0Lwhcxgc1AhRqjS0vwJ5Kyes3VM/HDqbbOb7XVKmoFTTi+Y8OjJEoTV+z35sza/iXd3H+vFyDD2VCtXY1XUYwPBvl/3ZNnEjpPmnpyM/EVkHPoh5aIm+F1ONWiygfq9WyGt6zeZpIervzvUAb9xN7LWQvXhQ+f5zyvyATB4vBiiQRPsUPRTBu9WKuOE/ghCxUh9BW/3kTlEDe7Yrr4m0pn0qsRP1vyuBoiitekj+n+2jbUMZwKpaJIUDAdUEaNvL0jEt++iZc0mgwT1pi/cpXEs+aA6dVwVrldrNttwgDJvQpphLtaIs0NhoAO31bYHas0jREI8IcL7MgQIPkZhMdk0RmETOvb608+28XS56gCFvx/dPx/dp8EeRj9Y0wHljZ8/oe3kdaOdhdBlwSHXUdoFdyuOLFqYaejZvXkCxKcpXyhBJIAp5MRjB34zHi9rDR6MSe+i8BPQKu/xqpmGkRoTaJKLY96YJutYYCHTiKoTOz9aBZvXzhdznRHNKh5WxSJUqCIJE8mvdrvvnQR4OhW9bG4NaTgqND9FL9S/lQaeZ4kwnH4J4t2iB++DMEkuPwLW83qj16dHjNxX8ahG+AGoXBGD7+Qlz52nevzjyR/PDUV5o3txeUu6rSm6Nn3NGMsSL3w4zwAe2hSlad1vledeCaZ9kQum42mABHoqyiQvsg93iLmNWCXmcOeR7EXb0/6VafD3rsCK8whcsnxOrfTFBSQS5taDvnjudxkQsoNq8OPtTnWmO7sevKACU4Bw1nc73S/fL0J5LSoziWdJCZYhLI1isVBHeh7pbvQ7TtRSphDbRXLHU0IqO6nwFYSNIj/biPVra00q6ICCJaWsW1clFmEpDSdvMS5hvB8XlHJN6J5dJuvw2kalMBmyWZy+pCVopRcPbFsc1AD5vxRP3CI4ckJihJjLWM3B/hIjGQASi3sjhu865m38yK/R9LUISWSZItFzJ9VIh2zeSoNEXGjFE4YJQW4Y4NzMYOJW5rPV0umnjBQWLSJb6xVlNNgnCoL/wWtr95RFxddjc2jekQq6YodLPbWtdvxjV67H1HTsVZ/1w31Co2jbg/KnGYD/UoQgy/oQB5LANxgDojS5qt6/mccs+qWEI5r+4wLs9/qYygofREFxFOhMvJd9XlhciA7I0BBZalCCB5m/ve8RkJBZ1v0y9b3UbcoBatjIBD4l1vgIl7Kn7uu0E1uHxU76XXacRj6MNChqj5E6K2+JGqqfoHKQIPIY9+bel+3OSFPc2RXmYF59gPlFf8tiZIkDCJjnCkp8W+looH12IbXvdVPI6zrS6PGW7So3gkrMcvLSDbzHK3Fi6LvReWC4uWbuJjkcrxKSrth3mH7pgxQOBxYVNpfLmHTjEJmnSzDq8N5/l9otoWSIiejcFXZSIvg+Jkq8oEcsIL+UZSHBop/fSZ4yUcmbpFgbMDoDTDeGvIH+DnVhzPc0E/G3VHVNXT/p2GS5QCHw/fjyK5A0NaYpMjfV5hFjHLAAJCEukfiClIUQ74yjoDz3FuHJ8wzfy8rU2PqBiSjdmUwWkaA6unfxrTZ1bumTFtEpuF8sdFoq08aq3+qDNzvZuPESerP8TPBzEp/c7E3akiYu1/qESyIl5zW6e7LlqRwbayRQW4BWKPru9ezVL5e3IMXfl35xtGFgnuWwTFnJP5CHLatEq2HEnRznb8Gwnzrpv1D2T4g5TyENoVo5uGALEu0jxAP/6mlqPtcAhyyKrkZX5w2SAujq0963mwiPDxyiFCqe3KZoTE48JCMU2R7/CbFAKERieFkhMyfDViOMEb3gqBMqNLH+u3YZvNaQVpmgu9kKlyCZGO35KQI6/3bTzYO9WE5Tt4sWtLBWpdXHqbXcv5Lht46Jke1E8k7PmYhHEZi9KdFMpblkGfo+RdBiAMqEzUQd5aRz95X6eJZwGLKJ8+9ZoaVO3AX9Mfhbnk+XK5Y1IUQWvcig6hBn94GuRhTEquerlvRQgorQw1jISgG31D2m4HWocDBMMRGjt+pixrVNK8nOUW6fXhXXaARStKruPy9iZ2eIF56k0agvp2JVYX5xs/Q15RInNPyfEkSPspD+YXEIUKArxT7uYrjzHyMnyQJdVrphI+fa9zwgOvW7JC8izn447B85JevrgfjgUKQcMzsvXZtSMjjd2llj5abmFk6zL/AXVXkyLNZSQZYREQFQtqwLy/9FNhIuk0CaSNXnziRKmFN2DpqARKjhrxmqO9pdycSlcpXcFyH6QfFsTHv77OhmhnZefXCvgRJsxWRh9gjt3aSLUqRW0Trw6sXMASFDOD9MWQ2NLvraeE/d3uFAcFm3R7UEia6M5sf7NAyGuVeCXyfEn6QP9FIcVIaBdPWQT6Hn8RjI1Xt1fuK6qyYHPzgiAnkPH9CUC1HVONiYmRPhllaPHT6l4sRTAY2NkAntLhxOE0GTkL3vFOm8XBmnPDBxkecdb5DnWLh3VaUHElPd/lLb+MKSHsF/EoPZdA4claXSOaAm8HtgI0s9/xA8RAU0ygQStnYBSX9jRaPkoiyFxkoe+kLtaENL7WU5ygFS53ZnTwFsiQcj7z21BmWUw2rDej95T3/Au93qV/4C+b0fIfkyCyFqdTtWvCoytJHWQBqSinL5KmkXGAttXKYDM7WmI9CxjN03wsXY4iJ72ZiJV3bE7OhHhKBL3K3uHzomvBaSarlifFBL4HeMTXSwj80p85+hXgl/+pLNYN3X+OJYXaF6DinZtKn6859c9nq9zrmtlFJbfxVDYDoj3AGVjRmoJn7NbWjw2ailAvBKN57+31E+NVmPp552R52vmsaP1eBJRgHKEbERRQsWPVGHuStkEeeN8HrMETR8uxYIiEICG4lBU9B2TL6BqfK5P41xZ2QxJism3XkDf2TYLwuwP59jbdHpOfC1fEu1QkZLzQbl8kpOKtAvQ/wR8gKdPgSMtNvVr7N5D9fniNYbga1YgM83npoPDhuXrcQU5G/XO6V8kLkqrDhvqsABYnNafxtk8koVJ/9QunMsGHwL61KN7pB96MWzCmJzBW5qBxJOqsD+YSjGCZNQ9xekEfa1SVsyme81TGfeaQsPI3vvV624nFWXpL0WKGyuH/S0YWV6rj2fkXRW9oa5Zi7eQAcM6zt6niNJePI02Hg/iKxbd2VWLzgf2d16zcmf4bUt5odzmvEzGLKpI+b7W189ySgh4e0ziTIKMK8qTl+l9yTuwhZdn8MLxgL+fpgC5zRmA2bAI1WEOscNvrnPZPeECaXB9EEFsr/YnICW/CIGCeWp8lgGUMUlG4mAkjubKsYtbcsmvjH7h5cWjNceQrsPfa298kh5kSP80bzNed59bPgzp8CDDq56nl/w+0Pmton5Y1aQLUD37sWgd5aKmvrmTMiewDAmr92K5XXymS1HCgc9uhj9oGapXpwdo632kV7nr6pZGsT6dNZzfL8FCFSEkMw68U225Yer6cTxoa9bGVhMZf/wjDiPwY0iJ2Q4bdxEqpAU9UD8Axk03v70vlh9g1iw+gGDjTCryv6ijkJsxlKUxJusEVGeeeJmpMSYc4kVPXhnqwH7hmy99c1JSbdPp+3dJpE33BryTvLrOGGX3MP21YqzTpfFtw7guAUWo0oyQ2qeLvf75xBCAFtnFLvBunqRdVXBDbTz0F1Q4cqKGEK5Q1EClE7sGnmuUuRw5PsxjZkGUTHOYNNmnuPW7dkHaeb/XkYPN7wwpItpgmqYi0r4kHWVxIUn4t16wkk1hMd3jdpyoo40bBrMyhKGaZWmxQyGa7yi6EE5jOzd4/CGfX2X9FUgDhbENZ5h56IyIbcsMiCqOKWL+lhIt0X/is70kN9+HsOskm5FpmpNedT3GKHABX4ES1pQpg/A1JheAD4q9XnqxGZ3ZXvNlKwDi0naI28u4b1yVleE0KyKRyP8MIw+G4Z3eNKZsOaGF2/pB3qwjTG8vwWSs5jLIeqAs8IaU6wP2NpOn3lt+KNIctnerOXkz55U64QrT//XWALELfhu90PyLjUCovauniyDDndrK15i6ujsQ7RFyyCryWimQMH8DYW6bsfHUtaT0QYOQ+/tSlYpKtWq2qf0Hkd1DidD/pz3t7aPVwRcL9w+Pyqh0n2J+k3bEKc8cEQ25zgF98L1c/DQLpdP7E3Brda791GP5sNZGzklVijGtwwK2IRwhTY+jpxKgDsYcLoc2YQtxqYatU5miW/vLXF86RFtsGCjaze+Zvi5cXE37+s1kxjfdVXO3W0AktbmwiqTDtVnswhQF9MJwecR30J/qBaTwfDgZcD4TNK9Cezy59awD+y3EDD5RqEN8++vEWUWJLRKi2qrPQYajBsa3QSriNQhvGeQ98H1+zlU62H+YWh0l7gZuRiTGLnapM8SxPhq4c2/GchyCc+FQsW6PzZWkHYPKCNUFf+cOvFcXUhyn7nN8f8J1NWDtW8lyyjqpzGoZbcNAN30tXj8x0ZBhq+M+RhgeLsUalMm9mb4rG5XPpKc6Q9tDfKR/3HoaUZACMusMfGE1hTNI+/c8h/jOKJjJDFCiqVebivC1rRRWO7Dt5nmqlYK7/myclDgzO2c/01s32UuaqTiM8EMSi9FVbxMWoBd4HSRrSkPmEIdar6ye1i77CZlvpTSQFk2NyfPV9P3qq1AEu1AChy4w3UGkJdbm6a/5bTWpqjRhiP8KrnthsaF6u7xmcJcyi5yASDVM9Hg4xaYQqHqbsKUHWy1HhVl1SDw9p6elCLRo6nAiZHyniAyJoEtsH9x4RDYVnEmFGDhRWMJDHFi3mvpfkqCOPHRZYyLQsjlr2GHOwjEdhvOzpMKdDLPt+PiSHoGBrM8M9eVrNyTV6Nn7OMLPY2ewF9/UnsOaTeQOnoQ0fhD3wOi0bm6VuR8o63yWkFfQHLuWQOiznAoFDPJEd/1A1jqHIscP6PLBdu8gykILKn4ftT+zTJRtJm8BQgRr0RbDUTD63ct0VhQfyetGyAgWhArf2QfL5jQvWS42BfZm+IL14K6bMOSYAOUZj6du3bpZyaVNr6TtlSexuEqteWnSwZBpKHGxn71VZjW3ICP4YUN/GIEmk9tWT4EpYclQA9XLbqEzywxRtZzwd/n/CI1SbEdHY0VNVCba3cmMRY3SSezKyoSRAlov7/rxLcHVVsTBertYabRNZyujfU6aAvJXSoDPHmjBnZayyJVLTlHXENn81IIcHLkNVapIHVbEY9CpspoF8tbyXnSTSUtQNyzejLnzAGgnI670wmBL7knXivn2FXpZickUeGmFV9c/ehxoHPF8mdFzfKbOVBqIDNHoc26+VQAcJEIanLinyT0rvkOubiZFH/GvKhqaenNcLIr61EIQ6UtZsu7NpNmf+oN284/yzN2t0HNCpyCg4lBgKwMWVJEUbEh0vW0puueP9BQC5TCwoYM1FX0gTqdaCv79MOCCmeo0igdRqmxso1gF8FPxaTv8W1Yk+a30WpkMftnrxK/a6FAaz8d90R7eR4ddeeOUE3w0Urgz5MzkLmDkw9R3sA3lnrvZpjNBlYvdvAUt7VpXeNNYmvgfx2F9hw2JCkU2/b5WdptznxNQ5ZlKCdL7Lzk7Bb7y0r0Zcx7Xa5IsO51v6usHytKZX3On6gbzIrw4FdScUXKXmj4vcX1h8Z58rX85Suvqxe22i3RuHzTYYAbq/gt1IC7VC0aAi54tts6Keq8uI7sF9LAUmUHIy9FuFliYjCc9448u2aYvKQT2G+3oTmZE54YpHswrZE8gNLR6hjvHL8Z3bHBtDblaU4gFIr9IBCbtPiGpdvFI8NHH1w0qrgD282gjaWspfEs203EeuUwgPioTOgg+hxOfU5RF4hLm6TyITk/KSEcB4VjjL1UAyflpHuuxyq+awKE08RemYq+mzaB+W0zYMu3UdVkaRkAXwE3znC1XFtvdqFpASSoiL3uMPs+IcdkmJOPBwGT5xHUo7S1zQJeknmHb/CV9OYPvwuON0PMO0UsRx71CCAZKQKm/5sBpMK49w16vjdYfq21j+gwfHQQFc3IaHBt4/+e1gt+pZ3dudiuCMT7uwpWguEpOnEeosZ1lhpItWtR6enSkAtU7S+ofgDfdeWb47hkbtjEwnuNVH2o83mg06tWmFnq8iCX4VDzV8Sfl+rL9smlB4EaZwXQwGyV2raNu+PsYvtzWvLBFUzgQfXU0vcJLg5Gw21Wu4OO7zk89I5+wJZkoG+bL5YrdpROVWtdmbqug/sI9KhY/hCqfWMoUTUe4213MSvKWhrAcAeVHZAxjhtM5n2Pa6hAHM0GG7XoEx/Qq4hlHhR44hhKTaA0NUwgCvbl0RU07DE9HmJoHapHF+QsV3Yv1wbyW63eCxxgoC4gh2/sLTOWBZseROm/ptkuFIrsg8jEFPY5nIvLOK58VnRSIIE6c9j44u+ma/mOYLbS3/tq84In5mCF2rc3xVxbOMIA7S6jAyQOKzeU/T6LlgZjfZX2u4XFeoXKYxF7E6UgA1uMUWSMI3UH2bXQIVDw/xuUFjnGiIP4lZaGtOjtqdNxtZTjJPDRaPb8ZAWHRKChYx+AjVZf/+kP7jjNNLzFzIpBOXZ5lz3m2dLCCr36ZaeCX0gf0FRI4tQ464ElB5uzO4avQy1vIXUJ59vp6FXecQEDXUWAjB3D4l7rbfdYnz+ouvERhWzmH3A3P/SFSCFu6xMtvj3Iy2UxwaJgm1cyWaSvzr0fY9aGROILh0wQaLM4g1VxwZsTE8we856p09y1uU07FxMaT1ufeQ8wbnSAbSyE4pQyd6tkIy999pjBp/BhkFeli+jVqFDGS0XomcxyMQRkdoguVt6rc+ZZutusf6ww7NXrN24iNlJgpA8ACSAPVgZ5En13rjyple3bJDsmxteNkqPMPFCuAcwACVjCidkXUoXu8G+n4+JbIaFno+StxbED2jRax6HvOVXGGXRclyQgLEsMUujZlCjQmq9DcOVG4Y2OVH49ceFrVR0av2ZI1KHDuxGlM6q/4/bdTSlgQv4o1yy+cSiN2in+6ZuV8XUOTpDBrQhJJ2NlYJWjLJ7Iyda/tFCW4J79Zc7piClsLxofNfR2yR+mntzEDx281tmJOrnAu2b6unoSukoVrtskDSWx7HSgHSYloBRR87BSP+xN+9tRAbziGapqCJSUx0KC5NxDljFUp7U/kSTFAxFzEElFQoFtybU/BeRuYFIMnU995FKHhxjTp5VInULMk3h63W3g7LavSJ5OGCMaFD/bGNuDuiExYOv1kT+e2+PYYXkAqwShk7Tq7fV7be6o/mhPf1SnyoxWyDyGRDcal9kLaCcqWmnrZkdsR40Qtt0KPGhPiLTzQAo/c9fHagDQWlkvsouKABMTz3NZOsTJ3jxcz3og62CjIztKzmQOqWs1cGlgmstmG9IVsFxEQeny50W+twyrhfIYDdNg9H8I6vIqxyIP/ShMZpiUM59jrFwdMPlYRKDKracGmX9nUX8UMFohC5A6HuV0ZyrCgSYj5mewNgzXAo+kMS5jFsMSP7Y+pJ5v44Uvget2AlCDDpcYza+msIYy1sz7fVkNS1LIM9x2Hhi8maITcnG3vOKww47kBhG8X6//5ElkeW5OAkw/neymTZnMctPDDeaSIIpm175CngjjC9BnOiXpXohYzbKH/KPURf5sTe+XL7MRG+0MI5RF11WoHWzXUKfj1rAJ7dYDlCCgRvw+gOhDROSnyj8KGI9Eq7s0XgH9v9nHRti5GahsrBtaga51hc8fRckNHMxN+mndlWsOclGY3ma52DuZsfcJIon7hJfD3PVQgDNaQTLsqORXILYfq9K8ZMS1XCy6zkBtP9KoVOxrknRuvQI4cjrE/sABIiiF6ILuEMLX4hkvO/tqCmChN/4imVj8TLdFSMdUgiEsSiva+9ek06PhhDA5wTiZP9JcPvoxaPR5hMPNBCl2RGTfaJ+8iuOyYqC9LMwOP/gypk8lEQRPfBSb4J4KSLPADN/kG3Bp3Q9Im7KEUprkXz1yJQ/nGpXTo/4mfq6RHmJ77ohfRT24yQGXitEwQ1w+VDP1Zdjl0goHFCQvwZd6Azv4JMwEnk82BPhq1S7Jx8OfzVsZyt5o/Y9Zz6Bh5de5fU/4IwsEEWaUTxwHg3IRVyS5bmFJRkfM5RJw3svUaVn0HanNHOqUzFsVp0LVk7Z06VPeTCe0pJCeM1tuR9DJkqmrO2wxPbRV4ZrdddP+0mAZy4tQ7dI7LsM2tjreRzX1A5tRuu0rfKyLFbtmA65ChF/Xys0MkBXN9d8npE7MJ6FJgy0IFBWG0Jl4ZBX0eVnhEgf/z+xfQqs7uxCziFsYGYDiJSDBMmQcmXJZNunNU31cvtCwstoQ57zapvea5T230F2qaaTEaUvvDPWIk1YA5x8SdpyqPCSGJdrSKyLlde33VAEfYIGjjHsJOfRaKWztfzDdn3glxSBcLKEJ/BZx+EbAPJYKG07f0kgOErmbMWU+uHb7z2BcSp36y7NywWU7ajb6rDJQz6CXVCY0ZS6TWlDcuq3R7j5RqHB6adUaHskdoL75mKWA4lsR0UX4o/XV/ezcgS03DVNOPg/Wl85duUg/ISUH5gbktB/OfPOl4Qt2nqpTSnhUMGQpKs6x6L71hp7NSxEoaV+jTD+xITA9mK8ahEjMquDIAUPUttx9WqGF8P3tFhcc/XF7RUdbedz1Pg8lIl0E58PmXLx0v7C5vXpzrZ0h1f/c00FQh3nHZQryKLW2KPXfgvXITGRWYpGWxgAdBeGu2TaLRFGcOhbIqao1MLlYJwwD5KeMsi8PPTqrqfAU228zneNrrnjvh8jKghXQbFEJvzv5c4B3NojQfdG6LosxmBdWxrrHOEQwA2ek9cnUHVyUJE7o5fFyWpzQbi2MfjT7/zlTeIjj1P1nM9/ftftDDDj3Ikb9BMj/9a7EaXxbIRJA0lvgJ4PpBdjxOn3ya8MVEpsCvsK7fD/IbVe/Lj5BxXb3FkcRG9xiagia9lJf28B10joDTi8yZxWK17+FOoSrD5+62gjAFKbDx8D8pMj4qgcJw+1tGmx2SJHuzbHHTWrb73vQd0JxICZqz/mkmpTYcixoDeQrB7CjHSEw6UV77iq/t+HKWKTHr9ywdyb8sC1NODP3SGYU7kcM5mk+5zsqLXC9fPLGSwVFN2ShnOSpTTR6naw60HnNbhEBXueRlMkdGmFHY+Op0QltjTTWNcQEQEiU9fbyqkluaMAXUVIOw1EIKNC7nlZTCd+MwQl3btteo5WZyUrcdlmbqsjXaHZt1Qr7GEfZ2JBRfHSto+Mhhm93SA6NqwHas2Ejd72t1vveSQunDpVMUqExUvq0oqwXl3xYKM9gQqGWm16KzEWGiLuu2YDl1oBqM67P9e4Kk1b/JDivqkdY/8lYoXvTAqO2i1d3mf0n3LlS+QKaKlY+QygezZcpIqXR46fu5RqE+99wAalcGnx1QmELgsey/rW87s9hNZEPcf5x+1M6Ux21CFbqjp6B4EP7zROw2tqRZDFXC0+1d887Ax9WuZEb9xfmsMxXjDWs0giFZHhlwL6NjocD6ARS0J5PMiu5+bNC1R6eEqtrjX9NguQFobOxGxRzUT/eFrxrSk6C/Yv5eZ8dVVd25D9bacDapY78HTNIW/iD8MwVUQVUh6qHCsc9SeBWVUoFBUn6owi8GsUfyLyYzAfYofvMMF/Ns+rU7sk56hyFrj8N4GxWvaSaW3dwQ7NhdBsD8M1S8/ukkC8eb5SV+6uIEagA5ajac7iHk0GBOMCBQPIF8leqILI6x57x88ZQcCzrn3KEC7OfWdoaErUUa9XKez+Xnb7ZZyZqYl5RxzZt8ry+HN0S9coL4pP26VsgaE="/>
  <p:tag name="MEKKOXMLTAGS" val="1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LEFT" val="True"/>
  <p:tag name="BTFPLAYOUTANCHORERIGHT" val="False"/>
  <p:tag name="BTFPLAYOUTANCHORETOP" val="True"/>
  <p:tag name="BTFPLAYOUTANCHOREBOTTOM" val="False"/>
  <p:tag name="BTFPLAYOUTENABLED" val="0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LEFT" val="True"/>
  <p:tag name="BTFPLAYOUTANCHORERIGHT" val="False"/>
  <p:tag name="BTFPLAYOUTANCHORETOP" val="True"/>
  <p:tag name="BTFPLAYOUTANCHOREBOTTOM" val="False"/>
  <p:tag name="BTFPLAYOUTENABLED" val="0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LEFT" val="True"/>
  <p:tag name="BTFPLAYOUTANCHORERIGHT" val="False"/>
  <p:tag name="BTFPLAYOUTANCHORETOP" val="True"/>
  <p:tag name="BTFPLAYOUTANCHOREBOTTOM" val="False"/>
  <p:tag name="BTFPLAYOUTENABLED" val="0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dJY2OMwf8mgoXWrd8S3Dpr8K8e5QDX9l/GOurOelpINCJLA3EC4Lci7vMC6fiShJ1UHdlzzodfzXVhfa9I7ytsrjD+/2btqII2dIPK169d0wBauGKuuo1FwH74ousM1/+mSexsoEEwB8qOkY1QOkYEldBoxJnoj4rOu7Of6bunPCyOzWHy6CzOlPKHzRMVJYAvmcLkUUUTX7n8j5wKbFI+N95sMXpEcgJcax4gq0cf5ERwycnqbvJdVH+6MPqUmAD64mLs9/gXl6bdSy+7E+WlgRfjIZLOKEudtTcBvbk5AQir878ZGFtUv4pf4y5fJVvF6uA9dTqdeRlPJ/R4228s1cQPwIPDPD82BgdF2ePcLhRpJH3chxdykS61YV7/AH73lPgIT0joBiD1RUEj15lU68fLHd5F8yy0woJgbk1pavNu/IHrhsYBn8HmlrObzuz9zfrMZDjKw7bYc4zQxJFAMgxnreJtPb2OFcgMUNeoFlBpTNbKUIT69I+hLQck0jR5YIXieTlk0vRVdnNST3ZVM9cXyj4nT+ksTpfpRRWv/rVyZVUv3zv4X8ZTJPvNkMxcEhhqZ3onoaLA9gsL5Is261fiG1wxZbw37X/4QMf4838xscm3Gl/NTPRwJFLNsQPSIpZKSKpZbZGO03dZqhp82II3CNpfCXKxBHnljTbjfjQujalIhXr6xIJkeitNtzS6owiGFXRRx0DW+9cW3ykA3phrdJ92Z+xjAm3ykrnDw+dKgrwnOd3gOFx2DmgNGqDEelzIqdYQTczvUOKAsQOTwx1a51ByWfO8yfV+blda/naPYdsjfs4sFrJ0Bq0F6VZmc14aZnfgXKx4Rr4zZ90+Dcuaqjv72S5KAUdfMlc/v97majaXCOa1IAZ1M9BdXnlgJWPbdVEVu1W8yA1IbqoEKksQRXrZwEpaHacJzyjgPs4OTYR7efZL4zwb/xeydUWQfardd1++ePIaoLncsJCLLCgpHo0nrvnOzr7ynsG94Qc/DOH3Y7vRr9l0cXfXCx2nzVWs45qeSQeCnqbr4xiAQijXLz5AmLXBTDIi+ZebJlRM7I2u8uvPpPJiHA+OrxmTCA3AdOcGKWz1FrU7B+vZTWr+rn3KJuue2u22tT6PFuOxy81h5SwlAU7q7F1mwsp7RLUzExCk7Mfjd2KTIzKRp+8SqhE06V/WApLYfzPchaEA8sruCZDO6CyiChSCvkXYsiIgSOaWT4HM4VcF8htZkQlGsNPWOA/RrSQs71lbq8tLHhh5ssA3L8TxzKvhwjzt/HT4Jw5lqk+RL3r/UeaWPAn9ZB60TPXL+hpVZ+HbXJo/pVvAVsWahDCIxHxI+NZtf9TCPoT/QbgHhzP3iXjVsuDplrfunYPOSOliyZAjqUsvYT8HA4C4K0Lu+E9flOsHaHNHRqp+lV4dSkcUUVxyAuKDkt3KjrsnrgSNd8qLDQvFArlLk3ITk2bskxdcGpmJ+67qfFKEcHg1Ug7wAvmg74jXV9Sbso9RXPba+u40pyQFBOWudBn5r/cPsjEKyOtH1gtbP8pbtX/sNYjsGDIaE+W0POPQXp0UYN0xwiPXbef9hVofgv7GNHf5kwuNtfrcFjO3TLqteY1jU8WTvrwVQ4YV2bB+fNY6GyqxvfZkI1hhB5kB3d2HytsoedDBgKtnJw3GOGbogtf9JRd018X9dC7/JrQDZq2OXW08gBFKxP0i1n7mFMBj4eD1+j4II+kzC5LErNEkfhoB9xd0rhQTtCM4y74v+mLa/LDWGCn5615Y3WyHRSXRGZlesqHcnJVTlDOp0KGJ51n8g0nPenCRV1J5CNOixHCv0Q3M+U6nYb770ov7QIg+Ocd9S45zEcJjFB2L0+dh4+VxK7yIiIIYunsftVEdoWNfPTxhurgLQaEwPwCnmU21U6GOQdx5lEagMTaaCh9MYWOKLDbb77BB4UhMTbaoS0Z1Af6g92OwIBDsYEOrl4mayP/5iYVcjBYixksbJ5fEuDnamJAKUyRIgFY+THBs0n57YC5Fq4dkzJ9zPLhlzBPHoKpXUyRElaDruzlXnTWW7QH0V52q7qtwch2/9OUI+Npj1FtKbYuxBfP0Vh+fd3pwe3b06eqg5FL1X/i0T8QJpsJ56PcjaLT9taD6xc6GNddSYvaK0+hTQL5fa4T2DjjloJSliZ0QSFpjP7A0UULuBwvWH1BqQAK/5tP9bUNP6HLppYc+FruFAg0sfkEYWv2EpjW4SYWwRNvn4pMQncFJgTaQh4or7mJ6pAEbZkYLEm+mh1Z6Il6F5HT4MdwxlitY0eWC62TmyrJK7gOQoyDCAzTPvUtvQ6wLLx2fx7hXNAm6GHrZ0qBx6khIZ8YQKG3PoEu2j5Yd/OpDyyMm+RsGA5yW2sgUy/ak1Myt6Yf1bHjmjPrrT2ZvVw7MFvE491uNOPWDxbN06iIzzmDEzyLf1TlihzWQgWgNP9NBfYQ38P10h1LlfAKMOtD7+4j2wOp/4wnfj8a1LeFsPsBjxCLtLu8vJ78jyT5YsfNou0fUbzvsmKWTDAYSfVG8NEo3AiT5JHNKjsVxQ9pZNE8a6grnlrlkQByPuwF56LChcVY/ZyCGb0VrlMJbDlEfEPb1Pg6igr/SO65Ei+YVet8iwM9Dn7w4JUeg58DKtB4zm3kQxDXiLwUXlQtBhLuecMaS4KfsvtDssLxDLONcrGyaAi1byySutWHd7hJgeHLXSRHNU2bMop80HTh378Np98K6CFI6VMNPXZFy5JByt39OyIAVxEPfIjSUclAsVRTrGln9hMAlBJ4Sh+9UFTyPzU0CC2sx9fvWUdjHlfZdI0R4y7eXl6losoAQmT3o04Yd7vSzKFhDYaKytWhXRB5ZQsOM2KM6k4Lf6pa1PY3+nzRKfJeVv2pI3I8+PxkscgJMCC4LU9atbGuUIUyViREDX20jEnnhiI3di3Q8PQ9TiRKND3dywzDqCuqVIPzCW0V44SjsV+xKyXPUqsh7e+OA2iig6A2P29+HkdaRNEzxLWA80GMaKsE8TaDYTmNsfz2zhcv6qfZdPKhj+qvcrwccQ8OvOJPK5u8Wr/eIlISTVGIXFaiE8jQ5Cjb+WF6YVz73qsXUNN6qqgR2/pmiiuuzZMd3pOTzvYvHLH067r0Zg9uYlWljq002ffKPzpqNu9OlfmUUnPQFS4dhp0J1RuGL2tBfeBfp5gnv/+dngfHfZXp62JhHIpBmtYLcGHe8ZdyJSE0N+9zErhvlnQQFNwupLkQ4sH0ikoUf4W0d88EzgaIM43qauE2KD9ht7PJgYRrnVZkGyxXjPh2JTmEeDVLpFNB5qWDyeqIM8THBRziFGLTWIrbWuQ8tWqRA/KcbDF+K8wP4Ml4JeLUjBEUv0r2KbnOuspH3wIoW+mX7LwCom/4SGSjs45hdkY6yzycsEQSM7k+If6jLJpX5w0pOCfRz5rmOk9EsiAc9n/jgwcwkaPdidOUQDW+wcB2VB9X7VAlivX0r+/qe8KWl0McSCFky4vuuya2KVCyRXGGBgdIkhju77B649dW1Km15nswFMZrkGmXvkgsEpBzdCDWRXImH7lE/ZL3mhNmOhgI7Ow0ZwLw82ra+gmIii1in/5+dDo2QZ85QuKvGQ8g5X8cNyafV5L5KAVYRJdX0g43BFYdygTczRiQm2eLvtSylTrM9WNsUigxfoNiYMXbE9tkCuq0K98HLfEocAI8F8jqqVpIiF177XxXIrgxDyNj7SnyOFJjii3/Twfc6E7OhMBX7KrthAVru95j8TIXn8BNF98foMX5wGpoun5wkwgAncgyA0+TRCM5IhYjtloyjI+5b9YetWX2vbIzsGQLnImgELhUsQC4kU3tX+FSuUYmsA8/RHD/hQmlqOSTpSpEim3OYMQKxV0gzlOrngk8IfSdgWRIRK7uW0p8jHgs+9TryeMll9aPk6ivTM0eMzsqWh0qSouIBs21e8tBiGAsrY+WeZ//d4AmBIpy4RLm7ceq0oPcMNsylrajFS8Sr5fAo67Xy4BfKH8Ix9b/JPU2jFaAGx38N0i2eSIRnpi1XHNe1BPySgZG6qcl1l6Ex/w43wXhzd2zNpA/8mZtscifnHaXAhn8iYHD5d6zLUijRT9GvRuRnoeoVBi5+smD4ig0Puz0JrN9D0dDxjDKavVm8pU0nUybRScegE8/1NZ2rImgJgSzNOvTeIswUUY/GcZw+DCrglzMDctZAP6E6dGJdsJ4FRozK/jgy8Iovoep8ozQwyBYk9jXkyaORqbOWRXuqez52rmoOir12Qr9Q5Nw2/uzg88KTHWGFTZiti++fJUnwqXctuWQLZDwHmthhnZRs2wvnurSHh5+EpJk5vjM6Vv0KFqeJ4cTKZ2UOj3wKzA3WGvKs4uMjXSXtKCKIKxm2ePcDKU4YcqOGC9EoG1aSFjmmLOog9cTMSEfBBXB3CesGLN6sI4bcX4ThPd+S6TagOMF0EcRWrNPh919ua8Rhhm5e6RuAxLpfa2ILHwY0LYKHU2Y2ebRHW11OVFxnGR1rJs2epnkoNPlWOvCflTf7yxuAKbtbyh4/Fbc9SwVNfrWGegSvdvV6HgLPe59JUSRXjPgqqbj0ynZ7peZJakkQcicuxpR6kbN3N0jS9UpuM7mKGdKCTM7u0WotamIZSo1ABjmoTJznjJDqNlZ4cNmogPUqlsWRJb7kc8QD4dxqcMb5ktM/0nYb31T1JgsIIQS628IZ37vuOgTLuFuOUsVat5mbwltbgBaZa6a8/3nM2xcNyM4xYxzhkFogV+i/De1iI0u1al2Zy+EdksMQL4/kAh48NGG/gMiRmqwSKnQ/4c3ei6BqYbR0oRwyPYJG4RV4g6ZDnPC9asXC5MKtY88ag34TWqaOfwKooRhV+IuZifeqkAXaSLEAlv6wX/eF/MTtbsHgq8PFqZtrOP2g1+MdcYDy4OddERhJ3M5uvu3HAJWx+BcR84UhX5ig9kebcEfDGZdXnHZO7hSGFYqsRmXx1yk8F8iPXtEyR+GVmrDur9zWHnS4JYM+EnBElAirVA5FqZlCrwYb9Lx6DheEMS7uvSlMhxq0s/hwMJ9AxBO5Fft2a6Y6sGps+bjCYT+oJqvAdzewEShtDM4/VMlIhVXAozrWZu/C6dQWWu6UK53o+dMv4gvV5yplrSYWPlfHHYZRqvr4Sy1jU3DRdobEv8E+Up7XMflJdtAEJyvgD4GUk0i7mUCH8riohtLzu5CvdE27OqveHFKeUdaaUw34E1OSI61XZgFlHYGsKTXDacrTF7FnPVf2BhuDYvysQ9M2L1SccjAlT9ftS/jDkvSSyhhDKQvhWvi4+oUiOgOA9/A2zWevDwSifY1gJAr/WrbFiDOaRYgYpFBesOPuRPNNPMYSIhbTO8LoHUFgVim9y6+yAmU+0/ryKNTQPm/kKs9TBDRG8Wnfbe8Z4WCqBH4BE4hgP5Pf+dOUXnhHFziBfdAb+R1ZbMxKzz9ZAnlqVMJ1zFipitu6PEaetH5vmepcIg+0S1Q2bAl9e+LYur7PuBrhngvH+wWa6nZ5SB45Mdf1as2TLMoUE/+DD8bqzZPV/nDpxUZapxT1GVtXoGeXFZcl6Rtt/qpvJ8CeNhYqgg0Gh7ClUvFsSxgkKf8PEagkqLFymQMMOoj6Q69mabEaoAG+YKoEsZ9Uqb6VC/4MXy2+lqnsv27qnlEW8URF/O9FfYIDxRmmxsrVSYSLZBytQ6CXKYxgNXk75tXbjrvVVbVpZuR8KuJ+KGzVlqPkuRR5kBFDxIE2z5TfpdMbSDgFA2eXT8qIG+0wOMkrXOYiZ22M5j+wuc0w9QhuPAOMHWNVGUdvNetEl1JrrkYFzUMTDwm+RMDbjtHpSqKIOl+Vt7Xnuo8BZyUimxNMDQqPqY0cn+UfkQAgFYam+6hh9w4xbBLqlIzYfKthCo86rB5OgKYPL3WmapOlGRtel5Uo0MkhMduB9d4pqG4hu3mJHaezpkEbT5ts/lZJQl43Nad5/UvNgEVi0Kqqoq/b4maDa+xGCIZcOgNvyrP0sFmuxaq0/BNndGufEO0X5NJojnY2GC3JRxHw2YJOaNfkf72Adp6pqaXHVuAtfg9zlQC9FNvn8YtHUQlVrP+deqT+yEmS1YK8HNSbGxu77B4KGfno9PpydcTrLM5NjfLAR9tCwB09LJdxPsujrtvE4Bd0WJSLI4jkWNRHyYicUnTilSumOeQ6HUbWEAJigHVp+eO1KclV07Y7vglXll/Q7sDUwoCMEEpionEp5BUMCN80Rl5nOXs+AeEBs/+Cc2oKsn13gXhzioTMMM4aYbwSp4OyZvL8+CxazNDb31Bo74/7y2UoLIWS0qLFu8qEw1/rMu06DsGjJVl+40p/RBXwGnxUkMJuByuzEonwB250ICTm5S7KtU7XjTeR8ZCj5i5x6nHw0yobr4NtA7IqSdWrnpz4ynSvoktIz8P+cdJkO9JNcmodykCIWH23pldsPU6yzipTbnalgHqv9gHSKX3uf4r6WMkBLH0nGewOlEZU6CDT8m497nJ5NGzM1I54vod8bnPtYNHkRf83H4w7cvsft10JgLUCPg/N3+9nYXoA8FPMvgxPTJCA6b0x5M988GTawiczjgCOUEfoRQ25tZPknt82uylX9izAWEpKSne628DN4FvsVxsX3AMP1zCbsiUamSsFlqsR3z8qe6FXbeOueDmGDd4Rbi3fFHRqQATci/foutte/JFy+halsFlo9qSXeNsH8d+LId6vN3qx894Q7pfPzDbOEinFpTjEIHKuIzZwXzLmIi/7zGAv1R6Yb9qUZEGjyRlA85sFArQjgWRTpM5YNQaHxi5UyK0cyvu6YaKdTZ2LZkQp5Fck8HKSUC/YXm1x/IPY15AJ4yN7PZ8vI4B9FO1+ZWjN7er6QI3YhzSFUdPynjgHIl2NZkxv64xQLedhdb5W5sOy7Ghpck0Ea1Qsa8yAuD7+/45kcQloXbaAkMBV2ru+6uyZmGBnXFEkVbgW3h90/omDDQZpsRSBbBY5ubAq7RYGzSxuVst6JWzMJSC8PI1IpYMd4lQXm3OO13XN77jRv7QxRHg8gSUw13PMk2JIzguAUms8p5pk0fmBsagmSNv4pf1tphl6PK+2jJmqsaIdVJ/D/xN79BxMVw9iDNeBk5vEh8duuZRYSniCyea8LymdJFSZwjhd9YUAb2hJgZG45lLY0Nu7jKldE9xzsBUHzXLno46wrsEqYsDQ1ruQIHweOlsC1sCiwUJ/0gOa4iDTHnsatQ+E3NQDtomXW0/XoOoom7M20oEn+AOasUrVetJo9jTlti1MJf0fsP0j4Mgyk1pF8HzUlxxJ4PB3x/KAkwpC7E8jC/fr/uOA0ewbOcasLRX/RNn0GA7Umk4kEPf2NuFkAgzidXsBs6tlSMrvMTe4eKUi1TpXazlE7XnEV8utiSO+R0Vfoq93oMx4bWCjn4DCMF0DpSYCr/oi+HbLMyZwanCcbkxifRK+N0LNJPwyi0kZ7lfjNx6KbcS6eXpQWj9SV6EN8m4l97tPoWA1ilvd5a7dt0vROhaBkbuwW95oK1Y2eiNAaGqH1QXIGtIhTn+TNNo0K/19s5vbm0BLpIw6PnCNmNehwGmyMTW9aTK7t3iejDaRmi2tNyvaUazKMwiQVMZ9KA18tuFGmxVCrp9Jkls0adSrvqSdfYfhzQq4qtSiVizOnNwCFGsR9BPIStkNzN+uDjuKLNnx6AB30S7oTkT3RDVSZgRdwmUGSBCqOqyONzPlIh+VUkB/+qiPzLV+T+nfmsD5EqUIjOnE9DNfCqpXU9tnhJ0ic1yUQ80bLlCI77MWC6nOEO0mxftlXEXajnyDuwoUaQCff9EskYB7Ipnw2Z1i76HI0w6/Tt2/DAOS7/6e2NpjvuAq+0sEsAqMTZGAbJr6o9aXwMv6kqFrC+COxuiT7/buYulvnYKRJxTL7PBR9A700HsgSuKyEI05Sr1fu9kScyCu2FpcgjwavFLUV41qOBWB3JO1CKHy0i9lrk5lATAuN9RhNOhR75GDPmfFYLX0Z4ypx24dfj6a2/ntlUlgQT7uvNPfitiOmPdnW5fmHPfqvTvIIRlKEUmUweMv9zVvyvf4P8kIvbMP/RlzkOkt7NkZoXduOiez12gtIb5yTqatj6526SxWDaxgmabTLAu5dH5CsgaxxmmN0tg2m79RcAXe6/3Igj8Z0NfRPXvj+LmvBDjmCkgoYx+f2Hmswj1qwqyLSEubbL3YmB4iTbwb0PbrqrRRc6XbLrbqBMVOcnfzAuhrIlQA5Hecymr7rGaWvEYw1MLlyjg6+xeW3jgOPtz2Qc4nfKPxJsnTjsojU10MO+TAr7NVLSHL2B+r5SSKYfv5eWa65nStpL78VqVrs2RBY0fz3aXAs80EEmNKbC0hk+9ljF6muOddafhoSvEGvsRwFNqhEXT7sZrcxUvk4Yg1j7eUeMBZLPps44IPH0qAs2FYofe3TTTN2ep7vx4hsvzBV/fuUWjXQFtLtgPKt1QVJTCmGQsp3dQpjxg0wJRcmiRtKWebm07WS5uSiB9P7Rehc9mTQMjjJS9AxCYingm+hg5ttuCuD6bmbJyFw7Ts9HbXtlxLkFif/nFCWaEYf2TfAtLu97w/OO4GlUqFaZgDsRWrvbJswRl8TlBkBgmQ5ER/Va+HSBmTet4TNJ2zSvCUL5nggfhUFZiNJxIhWkO7z985MJBLRQ3wJeLeoiDIPISWXV+R1FsxAkN2F5QKTXjKFSKNSqfwxz7fDwmRreAc5cGJizTfjAgLq6PIa71BPpuNf0uJndo9KBj2gABA7cRX9fcjcuzNwHJsnvnEuFJQsnLXqJVPzFiGmC9kH4zfCPbaZv/6yx+52rQaWmICLJ7zQq9qxCiprk3rFcP/L6sVs0/AgDgNqABN1x695x+4eLlDcG5Ig/h9ehRrMZlWa0j1ssPHR77uQb/NObLSEm3/XUhK4YF4BVUA2UhSVYTcfDri+hAMp4k2R8FkBD5QDgnTnvZrLDnZCHQxO2ZirwiTZGbM1tojxBv8hKrVjG8gxAhenzyeHynneVqezid1AkcYL5sYIVTiGCBNz8YdFNGY+rjdl/eW6s+oB+i4VKhu8JGXXLACNExoNOoTmCmhAzVUl7pZcWCgUoSjriQD+VGc5HF94h+9F76oE5QQcqptjUDGXhd+OVmY9YJsEftTNS89LBk1v+44HgzAfSb+wasGcZTGAtO71aYQG0AF3/FBIA3C6IT9VEpgfkySupAE3XCpDshgDqGpeDaZVOurIqxNvgGB3dQ7jCUSofu2wjhXH2qexIDRfkMxB8GukXdMPekcdtLOGd45EInZq+lzZIpHb7pdwlqMxV05q64aTuRroYlu50yLSyTuVXzadBXhvxRyr7KM4daTkFgnFLBc/4KWBls8ba0EblptA2uCDFllhgOfGdEi5i83q0g1k/ctFN/46WyG73Bsiyt7+5rM2C6xi0AgTRfxx2TMADJGqPgyyfRrQGpwCQiCDW+39vVarDMtw6wrVpjdhotAbaUgI2G94EfqXsuaAJfFZ084aiE1gf9gghp5DLvt/eH6ewaOdPSC+ulJnopEEwCpEG1tEVV8qAYRH/KXcAU4VNbDQ2ngHwYZtz8RMyF9iUoVR48UjNuweDlByqwpVzgDcBzbNcDpNZoSntI8F2ni4budAaNj5jDWW3VRmydwC7CU+0nNmv1LO+qq9CW/mSVxsizE3ZGhJMrOz6RP6H6Z2rv+9LWDS5Bm69Vpu1rfSCO/pvdSg/g90OQR1ckT3B0CVrXNoaVWRgZKednI/pL4fEhomfXK5FRGTLRpPtZ1MvF25SyXMMdCBrVvKJKNr45++czsSrvOPWDEJDswmE1lkZ3adZA/kV2kG9cpgLYVUx1ynWwNKaHrvX6tw+y8m7tBUb0fI5zF7zhxn1Oh4/g9nj0KCSH+VNHKF9EeTRYEF93F6c8Avg64sbTRsk4sQ6K89IeoUtNuNbPhWlG1qmSfZCApX9oKFE9BQ1i+LJWu9zq9nHCM5sQ0NPhy+8rbOq0tSfDHbRIrUptqTSI3/UI/JvnK1ZbADaTE+XbX8fvWlAW5FFzj4r8UU2QhAN137cxqM2YFKrWqXYSCttqcCL86JqfSGi4nWgADgSVdiIs0sMLjx2bjqtNYcGAtSiA7U0+HgmQpr1yIKP/4S0QPHk2Z1cUpZOE7+MuMh+yOq1x0b/0pYeeZbSWGPTMzLq9h5kOnH3d/t9aFEUL0OOreH67ldP2pyzZHJjOCwVhC3ddEjhmhSop5u4c9AVQOH6r9Szqpg+iP73Z2qaJj5WjrTkVegDtlxE1PO6iUObD98X16WgN+xI7sq5ev34oHwTBVq+rQqtlKQa+zIMM9hS/KX1USbWlcuslJ4YxYT8P2lGOAoXDqzzYYa0/1YKC+c7HGDRqMmmmaDSmi+yRMAoqxS04WGli3YEeyNYooKraNJZkE/6oddp5hJQUBUBDTS++7ZyBqzy246jQsf4Ja5CkUmnD3dzPMWEwBIp+x+c2X0R3jhMyzgtDyEsUc9rEr7bCwb9b/7OSXmveW4OpCg2V2Yh58t4nnP+yA0EjFKyVr/ZeSTJbBQeB4FNJ4TB7CTNK6oUXOsSwevXf0JivaatbtW+a0h2IvrEFq3+KX2J1OPjb8hSjSGnxjuFGF0iXmLsgGz3cdsrJZJU5LyGFWHpOnCzQ+wEX2wOY/2ksQkbLtr3z4Mgif2mQYGlJDrcwA29nMk+jD4HQEFLokaeod5W15Ld15B1Npzt0bnEJ82XkyJFct/tyefHMQEfnYHKY7oRdRIpiLgrIxEF4P0HQYZWONcQKWvhYGmQ/TcRROHANblTmaM3/HILDtwAmIQrTPsxvneMQK6o0liYWGTlgoqzOax7LmGU9d+rV9V0hT9USgnSQj01HEUqbcgi80KIgghsAqfozQoXYQoii2b0FBBBRpp2eqZX71+C0W+8VKMQeoQpzUMFmeyvzJdMe2l81j6QOSg+hArkI3iss0ugvenjC8uf3J/cY//doIcqmAU7GZZfFAJVe33FQ/mynjENACCKaYvRIInu9an4GuJEo2jyOpWiSCz42Mgu11bcbASXYWL6HWi9Y4M3+aLb5lc0QhSuFSd1va6gcFYglsFl/XVgAiAwAIH1/hLjGwYNwA3V/wpLwgLgYEdo/r1S+rdJGI/ueMHQqhZyf7PPp2J5Dj/BxBVULjxMRyYkrY8wbS+AUnchGW2MvTiFSnjlgNbDZSDNgnht+y1OVlQ1BjyoI13sJKaTwvch/y7g0EObRU+7WsSM0khN4Wa4dONoZx+fjvdwzyYLnVPBps91PT3uj6QAi9BD7Oa5nxiRkuntEWbYp0EOUg8I5gR4hBhWuR1kbewQjru1Sy6JC1qZxGgXxY2RALqVR/lzd2vne3fJdLwiH8f84m4+cMlNojem3uMwlsdeMydgacFO8Ilqi3jd6KiyizlXt2Wr5ifdU4OZUcwZhnJjRyNqB7SAfyLwYWdDrqlmXiBAR/oYaSUtldeLcfsQ9je1gzFor742ytJSUuY/q1384hNamdPiX81TCtypggmQdNDQMxekbSsGw1kWssnDSmYm9pXmNuoNG8wqayVAiIMn9Oqt/ETzIWLWHEXw1D/f2ZklMHQC/FaAtoObprpK9VDwzG4bA+JnS5oUEWli2GONiYIEUg0ind6Kr8ZayW0yV6aHYHmQXcdXQhdg6Y32ETs2YxO2k40Cv6oITQIeQ6R8g6KLs12YzeW9LMLCG+tc2dp766nYEwmM1o+eNqyJS8kYcZ2NKHTgcDvnpysC0iZd9sq6PTePbhN3NYYUjFAdEvCczcHGOyZkH7i/n9PY0w5ZfZjvnj0O5c1vPbcH3G8oWE3jujUmn0WvOp6Zi7Cn3TMSgoOadxEWd9nvAjmeIIzAEhlvZftGnsmkdwxcLbuzOzacyaBpL0xFSyjn7iBqROVY9YYX0b2KoMzi7+9C1klkEEHejdE+tzL8t5cxWBBIUz7sgyyAzw4Kj2/3pNAdbyn2iaofhPHNJr9Equ7dOFXKbpG3welmK0spnGIhhDTh+3dKZ2Srd4qZapNHG/8zSTI9GqIwPT9yGHdU00ID9G+zx+BAQ/U6weVzLTbvSQRhlRF5ocozlGuH49EzwQNM7eGRKKrOQbVa/lWjq9Eqm/aO5h7Csmp6tx5MGzUPyzHWVVzJ4a5XYKht/X4eYZI9GxRfNcgIWwbd8tgePomiMx7DOfwjZniZ2wCJiHSL+q60DPyJJ9sRhrIbH3NMb7dNuR4Vc0vDlNg5zFueO76edlfnTA3My3yeJYFCIwlXC7tLHyypudxKANUqyUaS3Leb9dSDxc2MTILZ7hH40A4E3LIh8DMuJKDsjotTkTVzbmkYOXt94EVHQp/9KAWgd3KvMswOWzh3jY+DVfPSKli3/zgd7BMAQzj1w2gaY6uqj1NVDyZSPLqOwgT1+qiU+UHtz5KF3ES5sEHl2kVeqdNcZfKjnh4d3qjp/+ymNoHpUoELuyCnvTyphqZ2Axrq0etFTvxRxpfIL8fjkE8yuthinRBCNVXIVFPvVIW5HxSXiyP9GRMpNgAeoSBGJ/9o4RhEhYzoSc2CMLRr0pwESTugANZoLpghi1YCG/TQz7X2vyMtSVN9u+NjI7lHeVAd3GRmJlfLrlFEDp10BRFre4pPG5EFO+oWvhAI5JNkg8i4ViT37FxDiAc4isGRum0B63K3cZCIMyRjsV4bUQEHz6wdZBlGcWoPV6joH5bH5kILVawAhTCt8zo3trX7xIqhYvTUsqTNjuQWl227iMS1+l2+VPw/DyL6aFU/Z3Frnxzkt59v/avtKDDjFMUO338k3Utv9rgsZiBOlkFDNdHw5Pzo6xKi2KIpRteajpiszZdO12BmsdC99cKmGzzS1AqVxfke9cL4RBorSjEyxiVe5BeGg0vPUjCxgQyOaj9qxGD6K/LJ/RkSG7XHNqWz26TDjFFne7unCydLMuUPL9CcoLy/Dfqh5WDlIRYaRmJvesnWDQJo/kZLVfY9zo+0DpcrvKxN2o54dpneFOw37O+P/fTgsZGAMe9i5BXOln6HTZzLUdqqv4gHovcAYHjNsfjPdGFr642HTCRAmJ6Vw80A2gHWYs8n/qkMeXlWBkmLqWYN5kSSqnElFp1Ska0JASeQY3c+qku0O0A//tqjDZvu0FLiXznZYXfXTO0Ar/uzCKuKDAPQxZ2lrHYzOd+BBBgPRqDcVAA5UWk6wX9vyBW4iNAL+uULcsopd16HqfZ/IxGwDM7Sxordf2T5nSBYmug13e0sRsSqakmoUcoeFiYIMxegDF0a9jsMSrtwelaXFKuBtjGUqpdyT6QAmXwweII3k/6Se4mq0XNuxATdkVOhQn5ge8CNl5vpXzLoiaeLTOZgQc3I6aW2QMMbTsI3+WvUmT1YyGesrXHW/Fzam7cozK1KwqNpSfsS+NKXk2QGu+jQ59O7l8LgIG5KZtWvVAh9CWwFcxEJW+QEHSaTJTQfq4R7m1vTnbdxWCktNZryoUy+kbvEtVwbmCVtDai5woXSPdc1G7EpG9lPVvAptNw0rtTkr16F0PbGLpUcluebho1/VeU47C3AcmLmWyxtLKxMNc5VlAFCxE+3IjTAE/tELYk/QaEL31Gb70o91ZpobqxPUqfFO29zbbTcF0n2BuEz/Nr7vjzmt179RvHsglFgefIocsTRATG4HsGeVnRZpzFHGYl3hgYYK6R6jEYGYu+qSmw+bCqrx3Q3rJAcvDyY6Yej2d1C4RoCG7lPW7V6gWORAU33X/pnPCFL5ml6BdeuC26WYJC2Em7NtIlXzFXXi2C/+y1L3ZsUdtT85YoM2dbRudSOBLuOs7dZC0T9efJmbVAkcTqqiqCnXLobirpM7t01cvwMyyCXzPTp/u2inRstLxP1AkjhX1cqWuBOWhkbC+Nmh+bzuBX1PD5B0QKOVA48or0XzhnTIicP1MtH3KOb16bPoFulek05FSw//PN80ROSH+bUbsfTC9BiU5n3Qag+3uyy5ujo5q8y0ibwCfxRLN4jrChPF0Z8xbbLYqJpPHu6+VFIalNhiyo9LIQaDwA3THyGkq8/2nEH/xsxZQDWa4AoC9xHFPD4YVzVSN0Gxyf0CEyLRL1uMGZ2Eq0DhJ3u6h73JiaGLmTXqqyIdbqgGAX9127IRBXSsGmRpipQiKISEYvIp/6t9b+8SaSPO2y52W+dwJCKbIeotD9zXFhp4A8cyCP8cya7QTS84JrXyMqhJYBqxTb01IQ9fIheq2gAAW8jQ7l+BFHsmrimSetyJI5Jdep6l0BX0Ygda34TUj9UcbH9PzpfeglUz+cMbDwyfKiiCsRW8RCpTS8Gu3P33pPNX2/WSthCu7LnbEdtYZv2ZGlX0fGP3Wg5UoGzZRG7D5roW9c26kwFyZFB2nZMLocOzHBU4PDGWJ+uq2mo3ZSKScHK6Ui463DL7m6deB/slh5jURfnb3DouLDng6jGQbNBPVEJecXpLEzdWp8olvnuiDxl5+1mG7XUBGQMxegEH+ZT9g5oO4On4iSgwZMquZk8qdWwBaAgp1Jxd83ypDxysAyiRBXoIFcA5C0WJH7H2FWB4YnyTh/XjRiZM4MPPtw3MQZlrSOhFJd65LE9dBmg4BFaUawhf+AmvBdUldFsCupBYQOVzCKzERZINURYuaEdsy7e72b3SPwqE2WKzQlow08nk83UZ06ps8oWQKaavnaUsGT/Vfskm9CVCKYdMDvemz5kBku0TpICfs+Lzzv/Jara5mbM7mO3CArv2hbh9entXTiZH7MvWyWCohWc/xNAQGCVV6JHUAqUanKf0y6Z8Skg1SdUGRYEEALgL9MkdbD3v/U2GiR0ZC7Pc4nlXoGMpRAZNXfY9gmctPw+FKdUoCRfGpoDTbmJuoXydNt/EGtAuR/ktQH4i86AT3W5jOtcSn62hui0pCGTNowQZKhIi8eNhKiPZX/o0uu0q5SHUEsOSdmJxV65Ts7oVXqboVldiirH7LuW4chqKySCNq3u8u9x/2MtT+J1hDmgQryFTav+OWMRes+tqmuCMVdIkK2zub0QhOWNkqo3DXIMKjseI8WkXma2scKy2ewdBgroRqtibMBjkCABWhDnKkpCkH0nPviKjxMPEn5KfHBK2/1w955ZlBTJoJNeXHhIXmm7Uv6WLq4qQzRVfSOxjS2i/ct1/UaVZHb0vfxMu/76HxZlxotbTG0YkL5MZJx/5/YCQ9eMjQjxLwaC/OzwvwvXopDKVsLjfHD3c0YYgOtmbrWHov6M0fAOdYdZ4ecmdXggBj++CWJMYext8jQ0JDFKN/RqXBftdCGEn8GJUNutT8sgHCJQNTGfADLYgECUhWMjIWTcxcyX1piWKukwBHgcLdA74pv0Sz/9+nJPdSbHxRuz8ZH179nmbrj58pCgrinVtL2Q490r7ETSSdFtCRjg7uscgda5wS336B7EujpVx/yQfGENUmx3yfIOYBAqBcqI7an2cAj+ELaK5v6GAMMR80xi30MZ0ADGi13PwVyIsjOUoZZc8lQtou3BFPrGhD2zB3XWjEp1bW5naHU2gu+DX4BLI1WJ9fThpKNFMpROTNXKU/s6xlrKW+sCaq5sEhDViduVICfsLB6S3jjKZEVraXI3fheLWDyeTyYC0osLqBX+PTiiFDJel+s11N0emsBNyOisr2yWXuXD7eQrjTuaKw5fnmm7MdwPuSp2EdCDJDFEnZ5ZIXM5+TZVvKkQKz69QISo3Rs40kjWtT32Z2TamLxYouxP+sbOZu8GLipJ1WPNOeRLpQ5czl+a8aBh3VswUv93foXik5ANsBiG3BSMDJ1vLRAJcQlTg7aKpAL2q4/AHGK0ubJGTIdjBDcuZ7V4hGw3p/t/1FiYXwuuk2t/bIorcHFvjTWACzhGLDIue4p8QMwYcCf2zptQ0Q+iAc4HNfbsCf+fzk9BQZy4CvqfaB4wwL2WP7/TMqpp0M2wj6nh8WaGIDuqPzYaFVepWXFyTgzoQh0dO2G5+7Gny/I1Qm/hNKrWwI7i98n89HE5iNehricTWWw5e6Hpn4OfxVwVFWtnG600t4vUbXye9htt/ft8PbkL8MV+P1LMasARdGgmMmcS1yAYzVw48iFb41XJadn0mvlrvtWQhezn0w20zFookiqNh04LylZ3vMltPR2/Mya64ZDEoFdawi2vkTAFjGByY7tf2+eMpBPhqhKKjaZiEkoIGISk6v35Gi6XmE48j18vVACL8x38vP/s9zBiM8YL97XybkrqIApMQhoqN7w00lG7h07egxiNZCiFz+35SVKxk3z1SPSg5zLV8QvIUsBuWVHgK76fNTfBE23BUjgEAR148mGTTHrPRMLuginhnxqLXXxZuJFHPVY6XOdl/PMYdgvHT7sEpk+bqHSOG6tOem6MhL7b9CUAUixINfTLr+kC1hWAIM24qWWlTUA13SUmVj87qZZ7XVVfyMKD1xjwJfx1TiVXPd4u1sbiw5rBX3ZeJQ2DMTkNnO8WWB3unOa/59XF60ifQg94r2QO5WMBfzMTJzuxpcbCiWUEEydYZcB2yJDjNTnOFutj8xZ/E9pRe7i1mVfjPF5qhTsXrSTZE2hhCJ7EOppk7w3jATGOTg5H1vetkYf3AjiuYnhrSOwIp434RVNaLZrhQZChvBDMaPJ+xEDKxA+wp8+NJEYU1gT8SyHHIo4a+tU0rGfa0SL8Ul6ioHt+ou73zjIfS9aqO3+BwdpqtJP8DJmFyuHsPykL4H1J/jaMw36tIN5bvrf1HRXymlPR2h9M8UwXt5RD74Wsa3Ai+pn+uJCiu/obEieS+tBdY9hBTxmW2ZvpYFHMAFJ9LA/MLHQU97Y0d4hB5ICjiBfaVEu0anFGW/+DCphdbPivLWI2UMBNc+huQxsMUfw7QEhlFK0IiLRYDNd+Md4nbUcqkyGHyGcGURwIVVGkJlehJ3kbQDMzJQonthvK914wtNtkYs5LbLokp6SyHxIeCzo6bTnnoLNaPlKQnWfducpnr950KUk4A0oCejKaZa6vZRlLlTptpwjbw2gwPI0dRdmUfxbK15UJT1qwf6GmReFyXceAbyf+d9DyhrTtCRqtkyOiBbLs8K3MtPWUMn2cXp7UjKrQJ55p4Rdf+gfXZcReg87+KpnUs6qsQUd4j+HgB4oMUb+Qsv/2BzuptsnyGFYF2QsmGXN5AGvty6jQa+HEIfUoSB0lFsnpDEZsDcJzPZwuBLgtGWSiKLZiH8Zvr0S2wKntvhggnDtxKd4lFtmalRVYef/ivfG/AfwDclzMaORXvaDng3jiSYfjGxTsS7tBckmirnGByK+4Cuim4AmfJRuG9NrcWDfyCSnw6yniM0ujo6hbM6sXKMSYF0iEZBV5l1gQSdG/plySy8DLbDYzsILDzvsdyUH8jlDuV61ha3xwxWwBOlEY4nP5Q1pbOsv18lIkfV82A0jqIbmzpMEs/cr3v2nG0hOiG7jVOcoZrHxGTu4mYKLrj1LheZOhLrulKaaSSUxyxcC6sLWIDD6Sv1AcZ22huKG/AIsxkqwtaRUTFRTcfBdztm9BPdJj/04hY7O3ZzITHu3pGpenk/x+webvslvblnXJSMhwswor5wXgFd/WMmOidMmEbMEerE7jpJLKzTMowfdI5hUgr7XYBV962iku7GwmyVzvPDRbtp/VIaETFk0tqzcHYGJ5vzThtpktkF3Wpjy8nxONA+bOetbZkzh/Uky1xaBA2ig6O1M1+79XnyIpQuyRs295pK3v4stsjkr7ChGgsy4JuZ726qMbRY89EACdCsk8UQWsfhUh1mbyW4fekEGTkp2rvVHc39WN6yVgEMFXeiwM6lHoF2/3Q8aL3ChHZMVU/Jm+fOHp+LUwrZARagoOdTw44uBcCXkexWDS3g9UFa1tiKDVayy/Asi8nADA7GSYLJS2nQRs6UemlGjoCq+1tFo7jKcijIcY5KGX8ncqJ88xKViv43o6Ea3hiZf6Vw3i7X9Gc+lzoJ/JzMC/EJDjCrXytQR0i5xrmyuw/Q3Wm+nX+ljt+nDZSAOexqDXzIRjx4sb5fZWiYPJ94nygAoHZhz5G5ttwy3Yqogho8Z6aGlS6KN8f0w0fkH6q5hx7fZOuro+wHTeaxTo/q5zWOo9wJ58gGHpaP2C5k0+Y9JLFKCoaCjxz7CDDlPI/kWU21YkU+irJzYA3m0dJuYkporyaIFLfUbwDYWwPs4l5jtBuNDedSjIzsGiv1b6s+Zly2i42S/xcuh8YN49ZNmA2b/sXRVcBJ7al57gixC21VyRisvzxjjLeXSYpJXACepbw/nwwDDA6Voh7ezi6icESQuD0yZYDaIPEg0DpW+tQDj7bhmk3gWGquXQMwIjZSjyWU65ZfZjp9P22Gw3PADB0Zof3LNO7Dz/Dv5feQqE/AIZFEcU2YyuH6j8SM6JwBBRF8d1XMP4t9wI1nvLmeKUVA9p59QUB2AxMWqWkqRuuSs6VZVxsL2taT4yq0MbjtY8j4M2S1MteQUfrEGEpPtpMf1/0euhCgyGnmL4bnpqYLlHcZNXaRlAD0gjEZh1UpNHNg0tzSiy/cYJlwnwyFOOGwwx9uh5nhTwFwNo/K2s/lT1Ia1DNw9r5EZYx2Gb3PcAg+j8WBofTXrwLaYHWW7I5GSvAqTxLHRlh52TfgA0+APdoLLjOgvC1SPjDThKa2+2WANPPxf1BoLdJSMCxAYaYIITrqgKihLj9f8fmXDg/RBqvKQGfrVR4DkwrlZNkdVhi4QhzMXGzTcKmvymb8MBbvmcjoJfmSU08rklSqsC58qIhBs/x8hAVEZa832aNsmPxDxEhfrFaEjuxod/hL/xB3ABqrJ7MNwZPozUCETqut8v4qAgAGBwoamLynk+sHYUdfYrltO2cRxXoYSsmyhTwLI2gfFWdmHH4H5EArwj9CcmanHjN6D79qPeA3UwHja/82UmXIDMsZEZR5qZdYp0eJOMhG+gmwdgdyCR4xKGdxZacu3UWZBdMMpuq9RSwlXaEKSFWMYJgbhPBpl90ne045FJURkKdVVWqZaitswZFb1lXjsy9EqW4ib/VVFjBos0nxmX/ieC8rA/i1p6pF8p/QEsSdXfI0M/wEpxlmUcXtjiypHE1iVsOTQ4rgWV+itsnE7Bl0b/UFD3Sz6SudGV6zRDZN2qSs1DqK/79URAeUicwxthfLxQFcPoaiHMNWMXg41OSXUeOEEpcdvKzhZ6kcwhzx6Raa8kRCPP4zzyzUa+CQ1W0Tfu7jm+f/9rCEUTVhmymZMAtMVa5dHXz2lPgAbZEVs6y92xHAnU7+0G9wQAeOlURydMx+f2wXvIcwTAtIxMAXOgCvuhkRf+oAMx9CEVH151W4Qku9+TvK8bXmTD1xbzncYxj7rCkxFshd0mNNep508DQGUSZKz4jYiFKp76k3fqjtFaYAy3GcXKgYVnq7xE8CKfWlMAJBRmSwxe+TwTQnlw358V/UN/JgDDyi2X6UOFTETwz42PdouVTYf6IhJamMHnzhYXNdE54/8OChOCCxd13m8a3BsK3ZTBbyvEChUkDyHZaXY8I+iODsNXtI4NSWtpPFWCJltSKpQI0mcBD0Pkil7JKlZFUasOHV47xLqzWnFYNBNa7PKTsgkNZAS0/gkPZsnlH/GUZyfW/0YW5e0xTe/wql4Mkgj+i4SLu2TYYsdL/rZ9vCl7r7fyeCzbl/v+/4grDwmnLGLGgxd5seNXIbI6GGpkSyTk8oWMeUDXZCnMNYeztogRlkVeBDGCOZHv+i32Im686VyOafK1Xu7Syuhu9/d+b/Bx+NONXEtOu3MVK2Xnf4UcAcaajgSF3fjwqzEfpdBs88D8fy2iYn0dcRUiJ0wCeFIyo7rWKPz12MKrWeZUJ9NSyOpSjxab1XSI2Ker+OgpzMe6jcTBL9f3+jLlYFcGzFjCokItCeRxPhgmikHPiPFMTV2uJluOZ0NyDzkV2fqp3n6ejaKt3iHb+8Fg/JLhpkmGfYDSWFEZlZadfizxE/a/MMyNXLiKLfhYzTSql3hzVSnSZcuaygqsSpiabfnwINWchiPZQT+SLCktNVAoJXbAQ7duSPOB4ac1gJSJcjBFhNxNp59mCtHcO6iR6LE6nOh29/G0ZKOAc1jwkBCfcD0W+ujuM3DQhLHlSjVp8e3d49xlmN7291p9b0JYkaCz+Xl6O01rypSFCw5j4UVyXgmibzw+RvkTEWOJKSmkYKJDo1zA5a5QBiDOCLl8nc4blXPywvr7uVdX96VFZFSWjoKcJmMIEweC1JwbLc4hPXvok1R0rMVfG9VM3+y/sco3uvm5lRRHZJrZLqTPjtme7UmlM81Z7h89aKWfwBd+Rd4Lc6Z6J5uYvhU1KWq0TBWzf193lumSLCcb1xSlzekRnkh/SmoozUwR43ybBBEiFBPeAm+F7wzwZ/6yqjnp7AabXhv96oIRS3W+S53rSMzOJ7GeqiHwYBpd9cwyOQHVyz0HUlG8xJ8M2maGcKQsIygpELSlyjxw3hsr3RnU58XSyWK7SFdRXF50SuMOl+wcQEOPk42+xsHDmTQ1FLCq2M6NYFbDZ+MrUgY9GS6rSS8+e5WbBF5hGEFPnzOMNKMu6TnjlQw2ONP3XhyCWDVu/yZpvbHD9Xz1YqsgXGkfYHSZNZ9TSdLZiow8bY2zEu+ur7LJBMLDd8l3T0QTJ6yyXAykj1ln2duHvTO2vAag389yY84FlBRkccb7pcz5RQyh/pHcIKkvPJB27HiSh7bg/3rknnjpP8ZqSSRrvOsrBDYLTc76VznFrw7v1WhzCyHdE+qc9Su+ToxSkLXc12ERx1rD/H5to67ZEcoUQrA/P6xdN0n7xot4ZLBsqvJZK/8uk9PEN0ujGGQl3PHF77ji1HNee8iigvu8xmvbXdgMolXdPLXRjiExlfSikc+Z7m9r/pupoi8U1g7F7Owb+ZchfMwz6553JX5QOsAZT8dERHw/dHx7N+rfyIUPlgXqWYUjNKWGzqPp2BiZ4VyU0hfX9tkkC4E96/jK2XjTzdI5aWD1DjKdOMC8rIdRtwy+CndC3NxN51N1uQf0FNLwCrK+VPcZHiSd9urRSqq3rYCVUZcM85xgOY7PXrl6FV5IA8+LXNUJTOXfTCsBYp/nKV3GG2UkkKBh883mxewEz17W2ND6/5Qm9xj+GGaVsz+prky44dtSfG9M7Sjxl8XFIN0DdWrfrG6SUvPxRz3uAoWCFj1uWVNOXOjdnhQAXE0fBY1S+TuyZg7D4ty3ycsfiyYIkTpS1Tfnb7/f1U2vVUHVf3oqJvI+hbTwX7JZ60zGLxTc3D3kUy+DkmX3cUvO4DIFXIKu58cJtinA5nGT4gsJpyRLrJS1vZ2Qpt1ETEIyL8Db1xGXTOZZTTzhULXgYgRyc3O99W/cNmMeLHsRW1Jyj9jojjFIMwElunOqZKr1BVETRtEfe0u6wZpim3Gbe4SdX9Ny0p6LFEMyu/W2s+oxyQs3kXeK2PNzfQnwYuEEg18H85/pka5GcPUHmoierC2OJOMu9Y+lu26hkuQPIgoJJD3oEBOV3TL/+HxCi9mHTmppdRbbu2P4ZksQVAq5sUFshQugQyfuWt/19ExG/8ARXJYt602edb3vIJ/5FUPFTtlj1kvFlug2BNZyYvMJ6pjOWgiE4dvxE7q/BAtVisMSx0E+fl8zqzh732UGPcyz0RrUobRQxlZZrs6HWqnAVvGG7qxE1Je+p+i40YjQ83jE6TT/UopISiTxg4qnTEU8yksoYUxJkTnrUXA39SLUSbMrr7D5wTHDMwg5J/vbq40SUQAldBUKB5BmvQAUPfOx5NwlSgjutdap5I71pwFE/MynIaas25dY6S93EChRimjH75OTLYeg5zTOm+5XH4KxXRTWZYDBNezUkE4MWUMU6anauz8O72BLWiodWpd4gmzIudvIDUe5Brh56782JjO4ZNATIgLXSDaDyrHv2ToyCO4IdlEJdKT8OrLe6xAd0Ze0EmDJSwnoBaQM93a2nWXjxp4RoTd2dQurv5bm39bgcX7QaQ6FCfabBs/GH/oxtV0diXQxW8t8UXcaEQhMEc+py1OfTKv3uIsalJUjHCtde4JVMkOLNFgIAqHva171onA5OsJ51zWwZNZCixAbGZhYWrSFJhw+D0n+VtDXI7uW0HMuO+oLHMG2XtkD6ARFOJWSKK6hMGF2zgTNHwnEnTjbU5SuLiqY2kdSIR73uNcmgRZ7G3rQBadJSR+NVlNTL5XyJrVMtaDyy+Yc8OlKIqhcJJbCvXriGEn9AwIlj0btQJUpWbRu3vUzgcZR0gshuuQ/1E7dpOv+ZGoKtgBOhd04XSwQrvYsw4YXFMkcFkn+m82NYF/2ucR3UiQ/Q5ro4NheGxwUVeP/jGGiwbkKxqT01i4gFz7dYwoPuNZQAXK44a0gGYxKYmSmZf4rxyS1yUTQeLetmpursvvxiOqeQ8gdxRQKaI1QGhSFpnDgFX80yoo0TshNjbSsFgiZj6bvoojBFat7KyW089VCvJpqqhJfa/4ZxhuzSJeBjlWDSjupUcm3wqRSps7hVq79yM2Lm7PbvIigrZnAML5DyVlJGH1mDaqS5GMBA3AYSSezx3ZC8BdJBDxJhkmPzCKKYoqPbKqhcIqvhJ+nDTsCl1DU7OXAd9HfXgZTCYzEyTpPnakFm87EklSBLnUvDlZxUKMtuIPyH4CylDCpXuKsYzH/YgZXRL4n/I+Q/MGcBgC3Fpb5Xk0G5fzDGrcgwCZ/pEVUzLX01ZG4fhxI5C8OSciBx08++n4BJJaTAq0pX+KKriqRuVLeQss0yiDCh6PtTWEzimkgBp3/eF1Nzpl1dytxV52I7zzGHz+/d0JQMMZy/vQwRzz4E9VqrFMD722SeOri6r3VpZufs3u+C3ft2ZyiTCw8PAz7wwyse1gr8cGcJq0kd2zrXnWUXFwHodicC5/Yn/o4ciW2enJnwk8fiSdXM2bkQxe4A+jXHqeZfulySU8vfueHF8x726OY8VM/ZraqDkJLUngAtN40GSzGlUDeulzU0iFPXinzyA2KoE+STc2/4rCOes7W3DAIFK/eQcqHxvmIQ6XPFMlOzs3gjB6BE8LFCwJc0RjaKtx3BR9LLcXTq6DZ/0d3/qpoFFqf/ECByMl+wqSBM1xj5yrNYY7kAqykQSGWlhObxrgxDRGdBF4cwY8TWvP/+XsQGl3g9gkpTgHtT0JW/cghh7sPmpZ8HLHrlpUWsMa/3jVwAI55fSVtFAsxB509Jggo8As58ffOaN1CoWEVjrt/kwHaLZaGamnOfXd0eHc3YWKStIekBX7F+fD208EJUFlPmIDfl6wU6N3QVNflq6t323/DLmb3pJHbLx3Ax3iJRqbk3RLxFDWhARr12a9nwURE5ea8l831sM2bjqaXPh9y5BvK72B1JFNROofUfOXa5JhDk6Ak6Kf0xbhsT2CJIa4YYKmSSMBQii/q9knslFzbRqodyYLbQRs8Z84jKILl6XZUbewb1wR7GNk0HwsZFiJQc6spJ4a7EuUPCqJECs7AlropO88aS/yAcr+LNiZpYtrTU7n8/SdtQcfwUa9//rXACEMnW0NFuuFi09iQgQILJ3CHrDiJOzHTUfay172DArcG32lGnmBcudY+EQdVQsmfcCh2GGxEMP2VIS/hK5GsgpRCHT5scbvcwC5oQrvdQ5MjU/TYSCi2p1/V1BbSFVO7yU+STKN/YjSs2a9Xg/LGyitdTrppiG1rq1CBRoqmUDmJQH8XPESp7P7bB8Xv77F8TCa9XLXeO7r4jbuzqpv9xH5y421QyrIfQetf1RGXOtp2kzPe93LQgfrJWAN9nab9ysi8HdbChBF7zAq/FdL/Pfnq2C+CmShvkWlMYVwmwVp9m1tDu6jvWmGZyx5ggnzPNhd+Q8/3J9rR/JynR9nacl4QXq1Rqmp4MDstw8P0fSsADQxnHlJi4GgkmabhvePwCiTPStdI5dEJudRHAHAhKEGbr2Qhb6fE2oAWQXrkqLxkbKR1oiCv0/5nO/pFfb/HxTSl00XTfZweKRzoBIqR0dWINDFZ4q5R2kEmORT8XgAZSFnjtm+J6gujfqycrxFfpKaOn+8W4BDcibt+gagbBWZEtDfLmN1VPJUUnqs8aGomXslSrtxm6VHsOt3sIQABpx9EaTa0pTmBnl/TEaY9MHOZj6WM81yYg65ersGdlEVECwLbum4SuLmCIlJKI5qdB6qjwgwGBYbAGBjd24er/rbeLPjqHzzRdLQmMPNWySedTMSsWX627Uy4xC8a5qLPREO0H8RzJaMt33oxxafJ1S+/hzJPiPGg450aHKpaO2sYw7DaHe/GsdMANOepdc9i/a/w3aUlfTD0Sq5Bi+BWMGHsVczFnzw/3esIvhlPOip11uQ5FxbnTNwb+S9YP8HmCRQZqr8y0mxaLtIt+eQI71HekYf1iVQQ7cacBXq5l7WxhbcF/pkIXKpYutg/059faUmGpftef9YVts0QB08uHiXRBD7hgvODNyKadZnpcPGcStj6YL2snH5rxPSYc4m4ITqLg7r92Hb4sTEQ/IAcLXe7/8bqwxtGVxmhPa75vxnkewjlBa0crHHLziB7MWZFgJm5jFh0S3JfzdbG0CgWJaB5SUAvkfL5fcWFHP2m4hlNqs/Oon6895VI0y0Y86wrHj/cH0WwACzB6pke6MzBzA4DxSHGdJ9Hg7CWcsiHeMbyclySOpBZu6QJAWbLmiXxM7MnGx5RZeiKzPv7ZpVOKMlhh6q65PgCDv5wdIR6hhwiNxxrEHfbU0wsUIklieXgVBqFzRQ+erq/691S/QWUaSCVCpiVbr0ZYGJ+AXb52pv3NOsOCpVqiGHv6LWAZDZYyoXsREZjzQwtO5/QkDjxCebZEaXSOtpG8kFhku832w98hZBCUOu+lL3eVOmNcA4/Fsa3eAiNQ9aB0n7Zk0OQtIqkk9xmLa5dkAHgARhNWYvJhzSYsuU46NB9FOgXw67Xeap7/qer10J0cSO8gh/EOVvRmR7O8txcp4FIsbkC56ip6Y9eIlCz+qW4KWjT63EiHq7ayVkaAi/2nH4Sfh4vlIoeQu7SH2+AAP2X3Tr7w471DLc6wyruKem2/+1tz2PCMwGTjqqqakCKbD1g7eAxrxmbbnsQi+K9//JFdg7lHpZlLsC1JbcNOCf50Pl7bfhp/f8mjIe5iwEHH2nkav5nhF7FaBpSeg8rPml9F1oXIl1s2Q7GaEgaaBoMth2nRG+qRzuGoe5x+vSRTlo8NPhvKOzNyxR/jZwBMFWLoDSjNcELTdGi6H1D85t8aP9Hp0qBMTmbpwkkTrjPE4uMBynGSGYI7Eh1SS/ZsjlAbKpho3Ipk7LFIqYl+1VC14oexfy6u0NjLFz9Fdp++N1jFEPHF++cbFU6z2ZDJxh8r9dFAsHCnZQTsdsnjfvE9aSDrqwSVl+C5S1UerBWo24QF8T77DB7ARaNpmJHJBOfi4L6Ut0c3tT+jSS7I67uvHDxREsL1I1Jgi1qGvqdn0xbeWTBx745URwL99Vyb/EvxPkte8r4oKX2H6IMyLKrBppK5KvsJ/H6AnsYbrJWKBMx5Fv8zDKI0sP2JLvqIm2GY+f67lDidHMRc8AHLxYlVT1S5w25Rn+QBvVayk8iJv3mfFibZNWPs2K9km4wEeF7sfCaVB5M3uWmUI7+9IpwrgncVsj12ji99o6N4VeWIW6oaNxtVjzcxiHwyNF9myX1pAerxbwxfx0+g5O4sV5SHco4xxkPEW6j8aaKMMo+B7ipcwYIspcgKtMFG/0i/Pd8DNPc5yaHLC3ByWp/WPQ5nfcpkjmb4vnoLogqRnePAiPaH6/QTFy1jbJmLREsBjEu+RBjM+BXJTe5SVLXtldLAMyaF86zrz/g2qSGq5dVFxo1WiwcoH8v1Iu/0PO+kqbiLgmfOmmo/u+qDkJq3QQf1NyuaYiL/s44U4sArMw8UqvNvBRZbMEULxHQxuG2IrQNFfrulcKSQZPg+7AWFD7KRCjzlpxfYbys1KW8FLN1Pbc5EVBl29SSgThK8pzj7UgiUuYpK/hiKxocE48O4Xp0V+omuaXOkT7yxCXDg5bO9xTpexMyI6HDXl264oOpdMRmVTldwCCGpDFDCBgVyFmlr2hL9VS81saEjEkn0k8EfxqdrHP71Oa2+UdRhhAIZxFUSNQVn07xVDU148OCO4JX9jF+F6z9L7OhJbN9/gMABfII6Po+GqPQw8GidPjXj54Aw8mvCeRjBKeWd+7fVxumNrzqLFmLPfD6ab4WANVB7w4HapIiLTTV8gIEbiIRylHEWTtcftScRhNmlP7D7xKZ4ijRpy9rPjh0nLTbImXfLzrbknFjFbQJPp5t1uRfSjVXuwyS5rTdTpZbmak8CkbuhyDwpeEPOzH/lDfSw8Xk3+1HE7KkHqf5Wwn94GT+99DP3mB90HlygSODPxcIHaLjkRFqWuR1BVXze32wFvcvAZ9u6EyXFu4OMXJfghsUiAAWd8BywS1RIkfb80RuCDW6hBGRiZI8fyMP5Gtl7KmKFAjqm6bUbsleXL0+6Gr7R5LKrAD35PG53Uaa5d3jGj1CDmlOoafG4XBRc5YGoPgJW/mBnrIYF01GYuohIP2nPiiCbyrD4wXftADoVT7U/QyldW2EBWWL0+RCELCVdIF8A4a7TQAauSr8rRdop5PUirSqF804D/RJxGiL9YVqnevvhaO0VKsMmD0dHPqxpttQObDqyl8U5l3uU7uOlbFoug7DkXkWcqDlNhdEfN54F76iizKPiqrzo++cHNl07X5XapteURJz5rcJSfRbtfST7vr/N38UhiEMouImQ7KHvqxaKLKkbkZXabEbvyWzbBFaK6FyhAk1yWsdeHdxX6M3Hkytly1hYjGO3WbBYABF6ri7kH7i0uUPhA+O8AYue7LPMCVcoEDToFgmTHavrMjPV9gKo5/LHKRNWcYYbnx7lm/5EDRkJRGHG/3z55hwwIruTn6/0hyXhlBc0pZUU3+7vYZIXD3e2R9bereecTQ6wJwOay71I2XzZvEWL7+TBUdUT6whxotWzVWc5XZtA3t4R2Q2kIbHku5/LweOYsJZ7MloWnl1hQhPE80l+M8GOT/2G7Z+oI9UCov0slHTNJNWFemQGHEj4c+4hS9sMyU9XQ692aWG9jZN/islcHd/V83h7HGxqsJdtwkQpIIMHoIdNO/iRMrgGMB4Jder7+G/Yh+T0wkRW65ifGEMzhZ/RECTdvucarzToZlUHAzUB/Yft1vUIAms8lEOp6+3vmFTTFz45vvA8Tto69BaDKSlaEU8viQlkHPMxk0dfQxpqLXDU9ATlc43Cc4Z+u5HXYTDcL/wGL17PIg24nbtdOyOFW5PbGPVrE0rWR4awSv90XlcdYnxqj34Jg2HLADfBI4eyk1OUEyjZmnpxkZ4qo4NYky7exNVXR9zGDC5PnHsy39KfMrb8yQ8OE3/xZ+l9RSNND3djj8F9o2IzohsFyCKyWOKZWQyTFC5Csv/aaNF2PYqC4kJL+iYfWlC8jT4q0q0VnWrOdYuROmMBdskTE6lxF2eS/o2ZKXNz/QWSVlMOChBzAaFxstdSBNtzIgk+Lc/ldJ0xyfRz6v1bm4bpLaDhrdxk02tJyr+qXLZb8t6k3faasZHtszscwOQIKFb1pW1w/5LdR/bNmr6ehQB2dwhWs6tTsdmGK45kJgkEqWEkVtDnCBvdnPriA1FJTwckcEz0WXlCmldhIRvy13bgrwKIiNNdS8UdvkFcajPP/tWJ0cOZ9UNaqwy2P3lBppKI9c8T4jrjQ3iqEay87gq5H9On6ULANzMWSrRB+lAELXhjq7ncNZOwT/r/3t6dTWCOiq0MMibzqfrvnb4VYjalbRWrXLFd6aVCfNksxvHHroD7rNfz6lO9BSjNBmNRdihY/WphnsM6i3FXO3EA13WdBe67W/LnkuqcLtgXgWKArZk3SZe6LZaxUyY8WkaBUQ0qqCyCbMFNKY+3unDZOTJNtlBkhKenU6nXvdf6WaneAXed8D9ZVtWdj2jAVJUYext28Td2dN8SQvA+ST8oTk51XwipQYU6YJ6syXjYoNLgS8Wn0VVm78489PWTnY+i0eDz9gUYPSHPO6e/MU1Mmd5e0OnwIpKDLujAGEffAa0W/YNIJ9Q+KZq3kPPU6wGq26d75QaXZPoK12EU4ULdtZUSxFQ8rCNGy+MwhvQN5z83cVh+pFkSyCM5IQvVWEYndQvXvW9nGqMtg+Ujf7MZkZI5F89fGktQM4OPQTO9NNV3Xr3qbahQkMBCht/VxgoKTklxDTyzceB/LftIN4eJuoeXIrMQDpPgKKBgLWGVRAZdul6FLFmTMcoU3VOIzwlDcaqjuuYiS3ZUocxz4sDy7Ed1CeRk5EN139XlFSWY6Fg+K18MkT3o+0hAgfuWPj/9XTnMHhxGTR2LvnwtB5V75YFQY+QPmGmfbffMzssHNinkSPuEVqsOkdbcnOYOR+hgH3yntaW38TBYBqvg6O/bw5EH4gNVP8XW0zRl3VFm6Z8rFB0J0kI5Nh0w0AzBlNWT6pIJ5QY+EgGCHusGtLa7juVvfLpBihtKrOzhLllLmhyHxE0gVpZEDhfAhltPAIMW9pafeGf0xm4DeygTlFZmRmnURvEOhIjBMkZ8wA6J630LLS/6mpzSNhXF8UsLkjhMW4xIUk94TwtmF+PaaoM+DoniinPjBpk4thOWIsD1talW13+ldc0S+jBT8GdBNd0KsKl4dot25j/p1OwoEVK2KlrCdZU8P7t/jzvLc/DeTtKICvaOqFEHOirHB618yhaMxGi7MUZRZc5ig7lJwdxJ4Vx4nxtm90dlePOD25yZfbf41Iis6JdZVUOkyfYJJLDC3FDgbj3ut7SWYKdloI1ZFTcMLfJ7n1FWJlQX4yUZcBtIbwAFRW9L9A1lMZloo35WOx8M+iN7sAj8i7WJTeLV7vBBR2n/tgUL/8exh4fYzMrNZ2yKZL6coyggcNmRwJO2p+8VhadtCBsxUcCrw9R491uoZLc9GQAhATgrGTs/YaGKZMVKAo7tKrza7RDbzn2tqj64+H55NCUO84FPJy+UrelMoUmWhro3UBQgwBEJv2AbFGabTstc18aE57Sf7HK9W90LT/H7KjkSmemwog48a5qHI8frxmZ7XBMMR4BDSCHSj/Lp/ChnRDKmGNQQSHRS6DfVYhwLQJEWe6ijM0I0H96ipI/IdnWNYdgl1Li/X9bpABYHv8KBHgfsMM+hmsApIQJ1s8hbbw/9IvN1IIp/wUkIJ3KRpL6CTMsj3PANwavvLP5a9oNQqJuIXxdPfTcZtdihRePPMJP1dGdPs7wA6hL2JXFI+yLCgkRDt2FH6I0RglJvcZxDWPx5I2W3f0/BYTrkdqDpnbD4CkCllghzYebOsP8w42BfItRKTMtApxLQyMYwNerKZ4lmaWKYugjHArCOxB2lclUgLUHsV9DeRB6yy+/MdblbS9wuF+jLX3WW7kZrO81bQgQMHlBeceVkp04YvZnj0JBAv3HgZR7WxfmAymd+WgDStE1C0DNC22ZSoyThs1E9gthp43quOmongVdXlqxvMnAu81eZz7xsSLzLIyLeGn+D0kIdf5kQvuj6YdFWbKiYymi4lh8y4qYfbaBTdxiMlbZ+/UZdqLITbQ4yn1ztV2r7htkebAiSLLrHvus30hSiz+NMvweSvHEbSpQN137baSRQMmWMyj8Kks5XLq52CYQ5mSpL6MgViuZ5vNjxAr4eZ26cBNljXZ40G0t1GamOnrhUUePRdTPsKaKfJj4CpgG6rOqa/Gx9nDmQpps9qsg3vnEDGiqyhERrvPEau1OHY03GsnjZo32uF1nZqBlw8rpK05BHTla09hthCr7bE3c0+J/E7AgPe/dAM79jwHDEEZBZI+15ZpSKuKwAwG5uB54BvuKPejD8MwA5mvbdbbPBnW/NvlrlvAk9xS7uChrdYLCHv8xmES1Vnsx7pEUdKRVx1H0/OyCPQBYhM3pxHZCaaI+zlX+YNdr88gRuMr1RBDoMDJgxAX8jUwHIqEKaT98PgtlMHTRaISU0G/zd7Qav9lTcNJ/8bxjDnbUJko3UEvRA5gOm7Vj45+K/IpfIjIIUfhJUWiJ1D9jO7Y4jPRAqUlOcGaACRzciZ7Iqv+9Yij1qwNIX45xhYw9GuVlAWl75NRoGvz9Yb1W8N5YX13STrErj4O0HrcJUcqQ/1RweFVTqwPH9vBZS9p8o0U1Xxf5VLC/s+t3tCN3u0HNPGi5EdeT5ZgTNkPDyu8pMw6MUZfnj/WrThZ7GFy57lhAJaHTSTjIBUWmLSYqgbTcikKVULWl7VKHAdQnD0uxJgzjbK91OApf62Tw7cLo1VdtnHifLj3TghwsnxUW0pWLT5v3PZLsL/K30POpLEGpSiaBTysqefKTQsbb45levTG5BseNpeiBlsQOk3XlrEegcO2Vqx9onhwGtpPJCZ/biLwZ0Pu9HZx7EVagza7ZfWIomUDWgW/XN6gcnuuFiJjYtVPJH+pl1xM/Uf6nqgD8LRxgMzW3p6OBL4kvQ9G4xhHfNY7eatnZ0FWXJ3HpxkKgSRa9l3zC2t1ThlW0ew5HVVO4Ay5OADfPnAO6IenjAo9L1kxVg5MgDFAWNv1O17vcll+CkO6EJ5c/6aphe/61sa1nj5bg9kJA/C21bngbl8vWsO943u4rcti45HxIA7Is2eK+R+OwYV9B2xTCKP/iX7d7mfqSXQqdyw6N4NqWxdMIJx+u6oDYsd4WwVpfrxkJtWYq8HKJSRP+mEnj+gANyeJvpixG37fLrBJn5BxwHDEub4wA2JRQ+RzNi65l6RGLaSBqPwR4aFbI5ZXu4+eGJZ5Aa1Mpqg5Rlv/UOlU9/RFxNkV56VC+NxkpSxlBepPmFagZKnubrY89owXjl3EpOeh4qoaIIYjoMaapDQHMXKNIY2TNDPgVu1iHYE+n66Fs3P1a6yxTrOKTWC/hI0NLDt7YGWh7KPoG8ykdVdWWDtjWManwIvvaPK4/Qh2nL046/9IFTPcGiyKiiHatRHzypV5dOjoCdcj10Kf3MApYaj78UGuu4ASSagA20cb/4g4ikMEjy2suhC24K3l/FV6fEpE+ztyz9nxbHwqfuWyJq8fjwHJuy4p6flSUQdUdBei6Idr6zRvKDO1G/Zt52PhMc7kf1dtaP1QKssMHV7sO8QEo14rM8tGZ6JIX8H346mKTlEDmzEgP9f680odpXzThtqrzHOFlwMf2nEbrGMIrifE1J6cbrhpBuTOd56R43tUZcjWjzwaLYrUV1Qa0eMta2yKxA6V90SiMIeWGwpTWtHj1lUQBvjsU7QsiiauBSVZ3CAcgJas0FnPrAEyCb4Pt/dvaWfpwU/ae2lH7hedFbPV2hcwAsov/RvlhTbxV1HxslhvdzAfOa1KV7+bYczmg2nCkKSrI3KZ5rDsJ+0bC0IflxySXCn8n5iBb7Ga6ZoMzvlbBRyljNrXCEOqQVUbryHuV5N1jU0BzBGYVbtYTli4bTeMRMgp0D8/bkstALnAbHDs8OqRCUQz48TWf6zfa1oXG7TLP0dS0lA48BvtmKsWPtccLWC1NYpz8lvAaOpGWjYu1BRVYrQLB5wQ6jqhTmMB9G+HdMcsFLA10zmqN9p2Qo4gcrOTIl4sirmNlXb8BOT9pUpUDJJfpWtVi9ZcAkjbwsyua9czTdTvq4K4tallW89o6x2WuhTBR/xWul3QJ1aNikW7salhFfNjhXtsqmrep3URgHm2HXsRFNe4MY6g1Xkoq/l8F2MI5jPwP0viyASncUU9FSQ762rVrVD2GJn2JYrUD5pSVCgP3SMJiMC9oKyy/nTlEzRMzYkax+03Y+XeSt6Lz2JtxkVzRU3RlQpeH3+Dw7SEH+fzK395ubqWlRWgd5nkey9zUvibxPpG2dhLEPbO4QJvftziZO06zBfO6sy+NaiTIuH/MKZmch1G0DTaCY7Jkz6SC/ppYHMP9u62oTGhYECz5wabCW/eHvMPakAmWfSvIB0zh31lHTgQirfveO+thGQCVNeezwbwCVIief/vVQ4QUPvtRDPezdeLIdChUTGZactx7mm1Q8c26SQxzO1x2ir7pXdxtapNz+4LjfpOvplUAq4fcbfhJQOXUghD97dTYXD0HTZDS1+Hd3LfrAVIkIQ4YePbj1sl5lLrGwlFv3RH/1daiVU8OT3jkoxXh6iBv/+sfho1B/GXS0f7yoknd+lyOiXGUyZEAfmQPKUC/2khXqGQjyAspKOpRyXmbpyI66wAGDYNe5/V1LeIm1hBxuuU9UgFaQ1BTfgg9Dz/+yNsDspqhYRrK0mjJIXl4NH3rSnbrkWZtfu9fBpV7QChak61/q5x7QR2dFWqzs5Q948frW4B6+qHkCnzChvW+MjQyapqkKXr7IdTROgU5i1XnLDGxjRkkQveVRmNnHUwtqVgfUqJ6NEOAlm/HZo2/9wF8USRSdOfNXKkHYGQCubUjxHgbAxFJz0Y0kmp6yFywFHQPrgWxm6mif3cNnqBeVEoB7hTowTjxJ/o53H5OjjS5iOfQk0KNGlv7RQ3mG/nDLbBoStgyTYF6cOrF6yb8ia2aSEjm1H6bGFIW0KdcfY2rTtF2c6Jw7hVwK/oVTaceLBg41kN6W3ZQqVF7ID0dR23Rdncx8Zlwuuk4gRYZ5BoTu0BAnSoUQxj7f2SNX9IDTnqXVcmEr6qD7llDEU03DMqTTxbv66ThxmjSRdDoqFvBYj8BwVKjYAyy2GTWjh4o50sTeWVJ+48bWe2QY1kub5HU2AAela2GsCixqbRlaMIYFjmilLruKUGJwoSinEj/36SHh7geNAOLqp+tTtfni01CwHesenHMFSRxpZgzEyW1p1v0ruVDki03a6DiU8DAcYuvoA1fKMwGdw9thKAzQ8hYNk6OB/a+0q6vC3tZvJzlpNUaWq2cfgAD79R+D7/uhJgA2Q1erEvZfHORwkL3AjFwxqSp8JCBYI2muBNnlW51JiIydrVbqI9u7Cmr49nx4N9cyYANfLWuqxBwnu1OOJ0hrtwK++kkvUIs1vXpBBBPpoXsqZY2f4MF09BGL2YbWitOE2tNa/8VpBNZIslWcE5mjLdXCX0e3d6RzKx1cHl+C/CJEcM1/WU3HyhA9/Ju44KE5rI9AwSKmfCi1hk15NJJtVGfy5S2PojT+W/nTCxPIRNmNwmy/Q8H3X4msjXLKuZSEMz6M73/NbkCtXsPFU4nSW4ZmjCMqKj4NeAAfQhl9RB7Uft+7Mkx4JW6FTbzlkNIdSRzLuAB3/ZuF+FsFE49iSPoaaWZ0h7xoaAS1JNz8ZIkh/HxxFo3BMrKs70icZI+EKgL5A0Cm/SbM7g66hmovnNicKen/J7bH0LYYRaR/LzGpsrL/NWQPohUiznYIxl/xmdCyKq//sFP0N+hZlmmSt/ha4Bf0QtcI4Hf1TZx26wcCj2cenWkHE4Rw+h/V768TBpAuZy7tmgWz3gqlN4tlDwr9D7/i+5HslPiG4AmQp0FDp6yQTNh9VxWNBWQTQHbdGQgIdurbQ0gpF0dTMTvp2AuXNK2MEzm6ijGM3c4VToh7w5zOun+o2vVu+R6vI702KAD/8FL3ZXDB9bfemzmfDsJY1qK1av5O42JkRMeMCZllbEJHJsJUgmtZilBRzv9jCspyRcPRDHISJTSrlDzhim9+M+bSJF4crVaNauAbHpM9a728xmbKMD/U46QMAnJ+3n4BxaDA4aD51XE9i7UZVbsgiXdOQowgu5QpTtFMT/5m35dLg0FnF9QrejTSRcgxEpYVl8DVMhHBS5JYDqc5LEsdTyYcxkgatc1T6T3ZVkhZhdiZvbaIQSbhZZdY3FGNO5goF81OKoctvjIeFZcL3WYSaZbW9HEXlmdbdNm1ROW7lkMWYDxgys4OaS1Auhdo7zKe7756Xq5zqfbwZem/S/rywOPSGAY/709p+7+qhXar/EP2mEkg3xpGH4m3FSTQqswB2nYL+X2CAwLERxnWjbPEHx/K57fahqr+JbrEHrigAmkDtKJJBAXCLH3e5oEV7fddoRdgOXPPRcZ+V1gBjIENHrCZ4Nzc4tNDj66Oq+Hdtu8uK6mjZ/N9oIUlDjMd68rk6k55fv5DO/1wJ1oAtnOk75iLdLjdxezjFF1JmBg89uPBHSFS/EVg0XW10+IcZxSbQKuu9OzB88VsAwZsG0XR+jYELzzHK+yfgch0wORWZNubLZ79aJySIc1RURsqeRTisS0hXP3Vho8OorG3rPO8H6uN0WWLH1pcL+Qx8I455uE3ysFH02D66Uiy/dmcMEUtbtfLEY9ID+jmyug9zGzTbevCeTUCJF0WJVPon7Ry1FQy6F10RHW9En8uyCWNlQDUIGBw8bJLAlSUcSwUK9HcBM0tqg79qxH49qB2cC0iq/MfWbrsUsf4vsgQeUlGm/Qwndf/rKrMR/WqWu8SCUZHLcrQEIoKGpUtrlg/XBa79l+MEC+cPUDAHTiGWPAelyS55bXp7/cyTUrzGLqWUqra7mCSmoGV/x8IWVkNVsqcsuQsuBdL9pau+3x5GvGD6mSaTr4kkznkErwBMpko5Z5TgjVYoSb09UTtfF4ftUCulYHNn4Luvz2U9FMnAiXcY2Q8XwTDhqgGPpTghwhqffhsgcWNEAWtAZhlHqDJJWClUu6Y9Jkozeb54LeS3t1DleK565VOZ+6k+uOWOlWp8tY/6GXgHR71EESAKaJxrpmYEVJx35UTl4A1qVw5g6C+3gSuAcyqfzybsKcOk2kMZaS0iFC7o975YKWgD+2WWxJxEE/tJ3+uzf9nKrLUW/AsmvlRaEDhQfH1jV1tXP1VLm3BOkBDdCfKEE+VunxDV3qr2ry8v7ELg5hb9hbduhhImJqI00GCMlGDvzGnNBFakmvGWqBNBh2zSkFhBPtH9Vr/BM67kaizDAjyLFOH+7RRTUW9wM9rSww31cOiXKBhSXAb0ixTs0eVHlcXViwJIxt/6M3ChC2a1eDa56kHhQ59dBcXOqbdUvaTVGqkRT9n4a/xC7U4ddBMGz170v3kYoCdrCAVUAzSMmUCJJGMG3nAHRO1VkF2mUn3J5l6O51u6OErGDlqca6V1XtbsyOQATWXs1tMa2Qh4+tqYC3Fa4wosT0GtrHgzKKUX6mStMQPeqRErA05PB1vsWat6N3gDD3ydK+XrAsnQ++ZU5qrzVj68lbIYI7y5e78h4Rti8Z7S/kUjmVKf4Ml+/NUElksGtXCNnxKCbaIGLbLA56s/wbD7KbTtfoT7rOJJUp6cUiiQDKKg5uSxxspcXISHFIHvmFOiv8gyVX8CPcfE7FgPF9R1G9GaoRvV6URrx0orOtCpLpn/wRsve/6iOMVqog/cIvEixIsGGcbr3FOs9Drm/MeX/WZxr/D1SqdpHi6mVPzcp8DSvT05nON+8AmZEZL9cwz6aWLUsSeAHdUyB1vUv+2871EZXQi2s+9M5fV3WBEBy79PempmJrefidS47hRsUjZuQAfzDDF57ExyNeiurBvPicxqylci0yKIzQ8d16qjpzuMud7qfsMJYSuyk2U7VKcks1/3Bo8dW8pAeZaHXkSS7odcYq4DICwnIas+RDmUdotr1c7Qb44uXMkgdEG7cz6DKrldsx0gdufJ6Yhrx0eXD48JUuK5ob5VYkuTey5rXJho1wt+k0CwdIg5OoDM4lAKIaR5xXm40R6e6zrLzwlpbu33VdrFVdXAAnYhI82hpsV36MF3Sk1gBGhIPtrMpnkLWdkk0le9P5ifo+WNqskcWdcl3DglLS3ETkJWPIpxxHXDRo5AkxojUN4P0KJ98chFI5ikV+ykriru1blA0QTXpPtTWpjM6JzUkhXI60thsRqa3BY59odpfvxsU59L7xRN2NcebW/dDqchX4g8pByd24sureuyfNV7WQRh79rBEhvR47aFJ5AFXH350Euppe0c8TE+jFf6gTIjWyCsiJVPciVULEP5ux/uo0ToW23vBSQu0W1ec/R0JYYScDG3maH7U4RphszQf20QRq+fWt3cS0qumlYqqdTgOhdxGK7HCrAEtgES8QVOmtHibM28DFAgVh3rv/GA/mrazkrNnTTXTdV5Ly6in4ZF2SlSg8GpCFCAkbNJZqvVEPhJLVKz7IPGHwD5C56+rns2J6+6mVFSdnk2N+9AMX4QxF89aNVkAJbkT2U8KqKKlKvwRnvRyT3t4cOS71uv0b5KiDRiYPJ7RNqpvS4WTuKJfKACdfO81KnChMmZs2erEwZcA0dG33BipFqdHLZkSwZUvfgoAzFJhKjiamill/ii4kwbGJXGoiEj8IWbqtYcNkbuMsFnQ7paARQCQf+rRR1pzdah/0yEPQDRHP6L0+Wl/diW9vey14xu1AV+gE1DNtPNZGP1hKN0dBHiuI24LTUIYtoFIuwcYCs9kdQXs627Qwqog7PkDUibSvLKIkW/BpJQ/spY6/7f25byyWoScunSOWoQzV+w7R3m2kqFfLlj6325xul0JdsmjtO5dk4YCD4r7dXrqSSqMvJ/ADl4sOBSGOTE+ah4IYVQVuTSv/1N8JKsV7vpG8s/hqflzFmNiWW6xYDRWRkxopADPdjP2O/HwSwXfIaVo1lqDlawETF/LB19BFTn2X3HSM9hnnwp4MWBJSj0+4MvJKJeD5P23Ir1IDmlaOVaOmCayYCYOQxdtqO6tEEiS7O2uqxPK3ECjufAjwJhRWeeCQpuEmH1gNpz+2qtY2shuSX5pujf/SlZDwPV7jcTov0HZfBjMt6i1scq70Nixc+nYy7V63LDXh5c1bdj+Ian2yOc7RCDA2aypH4IDV/lrGJ0wdfE/86inOHzBTaQ5aR6Y9Y8GeyMeQzdwoOOcvODcTfi3wc6dQPCnlM++3pPy/FVaRiX3eMAc0wk9DXgC2YaljWnuZRC84k60+rpZVTVoVM4LwfNZIQSx4zi61iT2ZBejlViCeCcTsjoF9XgFVCTprc4DcXVVpvcRbr6ANcBdxrVEvSMQ9jLzVNaRk1iGnAhmnum4YmsvwDHTMr3NgDBnOYILEuYCzo7khVy4cBVwJEhaYqiB0+v/ie4Fv1fkCWqEj95xvKiEFUpfRq2iGKz/lkQzDhX1GrB0RvB/a1WYuVkwHx97kdu5VjZw+ORNQI99Ocr4zUhI2VaNVtkYFByw5BuN3fq8439xzBOCkUktjCUdIgc0nEkcnIQIMmmqIWbLyvOgvhKOrh5gwUV3+KkepqkZTHu1muvRL5qmHnRCORgsU8w4/qWJPvnfre0hLFxZZTa4o/PIwClwLVa2xH3fYPfZnzgk0lUW8fapuHbKNlfRFpi72E8fAAuAQ01F2Rw8kqh02O1YAcJKR3KaL/g+B7CLDyR35Av9hl8uvznUxa3DvaULspgZ+2KteH6mOZvBC0AlnQZwLZ/7FvPYPou7+o4nUggQv/g8iDxdQSdqzGaX96HLbAy1UYd7JkglV6MWDQW9nppfbRavpS/OG4ECsVbbvNZDBJ11LZwPafKRKxZsHlxH7fGGWbxrw+VTGTGhdb2T0HAm7BCOkuV7MX/gmkj2Qgv1pnxTwYZt7BKXHkhnbzoZyu+CWUlhHDyOGAf5PKwEu4NCRCIrAQ5Nbin0Rol8Nwl9l/ROBTdkyX1I7F5uxwAn+3CXub7lnDPUCJaKrQebFTsIljTzBZ3MQzaBJs6KBZVYTCxf1xv7OO02i+FgGeBl9rwNmnMXFxMagEDBGl2EJH3uCShJM6LUpi92mLp8Yjq3rVeEIVYy9A93uo7bWTjCnWYAoTTDEZvw3Nj6RaJCVLD+P0TtQSY7+pXEeRmVh05/8RKrunzctsCsk8HTs7BJMNBp3TOlGA//3Sw0S6wZVdRN5VSssrmzK543xiuqEQmHxe+xsrzwZnlZwxhzd1ozwi3NCc8X2bYwDU1xOB33BilJ6O+MYUomQppRaTT45XMG/SF/4RBbgQrTAV0kIMQdshFwK6hzDdyc6WFK5QoJ4GFQg8AaMKGzNQU1Jbw0Q9bDn8czyAoH4qaho1slvpAPYdP/xLWgU9Baxf7HqdJj6FXpjPTAepWVRmX6CiW9OfdbC1MlAl+x1QAbQq9JXijK75dfpyWwjpI2acr5OFWNJ17jmvt1JUQdzseAC6ubJoXkh6e7PUzcwLTj5kMs7tGD07Ikq5Jg7wmPvc4WhkflAOAzKHqcf0Rl/W9owMUslDKA/zNtywh3DrNmLo8HC2/BtNpgQ+fkL2niUtB4uHjxw2dY5Vw7UfbVTD8eYamfmt1Noiyllm9S93wEtNBrE8tyDMo77+mKw1HfC6bUNS4N9mL38lyG6Yu3Zcf3cSlq8Z3nMlZKGXWh2qlwD80UPFfvAURzPYV1y+3iviCb5TXrMK235l2fJMYxrZaqVPnjUZzZN+HU39gr8oJIRLTTMZUA4Y8wFWAyd0hb84ucBoGySdsyr12+Zn2uY1O9Go4GkxbFz1mKdf9NJi7O30H07tw2NXQwgrLTXlktCdDD7A5ss3dy5ZRHfgzPIUMZmZ5K9vTrhnKvMQSkyqi1ELB/BysgKkoC79C45t/BqW/ddDneiHEugCXtEqZZvIgtv355Lpb900ONLvy+vGoYSJu/gSCsPZ1wm31le/v0gNq3Wg3is24dLSdrNPTaP6mONbNRz1adbOTqBVXJjIvMeBThp4toKczgrJdshV5NGBPPGB6wIa+Q63q0HUQCqyvWcIrfe3wLBC1M3UuWlSaMzI/VlXdTlbl8e6rBZ851SilPNs78RCfVuNC/RayZk2/APMlIBA6QCv/jpdwCPN84gpT8fwH2SonNz7XlVeq2t1ty4B9GQktNuvssK8ut0F0W5JiM6OQaxLoINKfRL7YtsOgCKG2QEuckBg+3lcq9Htwhbf0F9M7V1+yhMq135Gw6N85TJ3WoKvkJPr3nFD6oLwvyu80TqplyribqgorTQ8vtN+gIXPmMecXSw4ead9dyxjpeMHQgzW+5KdwQ+ED/Hq+DuiEC99+MkdCY88VDZ+JWSxIQq2eJ8aPG+yU3pGaO57FrM+F3W5UkPwx6UyixSiZq3I//xaLc63QScSnrN02uigr8LJP8W/NOREDzB//bKCrla3eyGv0c6JsGuK6kps5MqtNW3eDlhgm/JCzZVKGOiAVL30gofao3UDZ9pCPuUVNlAHmwYiUxQsOqXPlWX/SX/ZBeOEXUnIjgQjCwiosn9wg37vzRjdNQ/BexH7z6QOzoib5HLFnvQhtCyAQrv127R7W/2KEdDWBN+qjyyAKpuzaol/fXFxaDVaXgOY3XqX+XBWvxmZCxm4SKGDgmGVGYUgM/QNcOerN4P3cCY183zcOsbxJjMmCIA8rQ5ZQEOffRA2MhKYzvWmmKVvPxFBoDnXcMFZsXh6xFxhw9ycVK+h3QeEcrplke+BbEHhoRcrrq6Io8zwvw0wsX3T3jCBHnNO/1Gihqx6pEkeYIcIDIF2D056DoqcPt/xgSGGQz7vqhTdbpiWRkWKkgXPAROeUqrLsC0S7l30QrpK5KF3Uext6MikoGJAtdSfFSe6vlyhXhFKesbTZFbrWn3m2z0qsUTHvFODnaEODA5iHlscJLLAU/uKA2h7wS3UDGYj75Tkrh8RGYYL97+xflAgVJ1hl0SvLqs2/pHvG5pIENHfeMLJ0qEfXnJkJhneT2gdtwl9ItKQIAVx6c25Nc9f6W2oil7GSlKMg7zkEa3dUbWXvtE85x71k3UPaRQpWU7RVowCc5KsJAGAE/u+tyH2XnpYXpDt7e2BdzRzTidsgHL8TXAQ9oKHGDt1e/xMEfciGRnr5jS3Qv2dCNxgs6JasqCRhJjVambqUdG7Wnil1YHRxQxFcnAZvYnUjy+/v8pyohyBR0OqF0/NMcTZFL1a5LGWI9/xIUVAtOvJq8zoWfmsYXgwz6vwFDrGIqGViui2oxlVTIDh5WalMXdVG2+K8xsLycbDvCXsAw32Fyu3a+Of7+VBqqR7MThz/wliSchWkYXls5YJuG5uTyyzKh/y2i3xUDst0BOoTMjCLr8Rx2Vv09BN408QG4RBuzpR/FyXQZuB1Nk5TZR+60+n+DIgE6LX8FADpPM3C4GObC2qQGiSIxj87++8u6Nt1qM4jSfIO4qy7gMNkbEnUtG8jHfkZzitcMn7nerpBnDgxi7APXsZrkdGIliuxee8iPNIX+KT5JX5mIpyHBeOefRQ8uhpGJcz2JB7NDSp5Xg6TyeAMiKGx1ldUCFOwkQwg76KGKwkhp7JFcdPhHglQIjmytK2S6YJBB43bUTftOutkUtlj2hR0dPr2CFJZIH6e2a9eWq8UwuRzlYZnYO9WmJf2nQybaq5bID0oHJtZljQ9mdaGppMxgXqWwFGM1nCa97ljW96++owRzLI9B5LFHdxmIFD84+UQ3UPO9DqC3rj+0dbHFMdQVJ2fT7IGUFtBCh2EewfLbopYS7lGrZZypjjX19dRZgefP4AbLKtbIQ+GIS9obc8tQh2bpJNIaGHqaUniMU7ugFb3V+W9nVr0FNIuM5006jkqqIGirDeayPVYNvoKwrTLhhJfJyxu4YARWe3z/pMTW0ftzbrVXqb+HY53G0oQr38BeBzpSa/5JTY7gBWe0P1MFg/vWUh93I5FNI2et8OWumUZ2vv5GuvE6RYXNs7Zopz+Qu+cLBArpLJKjXu7UBy1HLAnj9AdaH1qCBSIW1sEy31ZPYLlQ4MCHFwumrz7MpCNDeWDhraHd2VZOrblI54hjNttSkpoNxwNtMS+fbJdxaFzUJWS/2fWqA+/Du3HDppMPjvcJR0Gc79SzXMzl1CgbgbDeDKoksC9wLIpSlroi3qwNGBqmR9RGImPbHNgZPidoZNKLDbVWjodXcdWDuvBl3a67A8dYdeCzqRCH5+75LXe9tR234Dr/3c4po/QNrC9bChuD7jA5jTGQgU6VLlH7mWCD/LMcyxGxvZVGxUyXx8LsEygGAYff8jkyxizbbMzMmKi7bWLhhj/gIFxLBMq/OXFNlNEcCXYtTEO5mBs8y1TvfYv0A1uPHHCtaSz+rsPN90ywG8Dg2lMdWeg8VAv2pZbbJYYdLLtuGSQzbvM1IkjqeVpjNc4oSm1ljmhdP7OnrrmdZgxVeQnfW+M8Vl/CRDfiwwoO+U/D6IDylMGrUM+I/JOH9KDANLldzsHHiqxQkDfIY1kLq899Lf+ysvVfgo+XYC2TZAuEc/kz8yUbvgxlexrpJIvbWPHkDYeaYjbFglL0vVw+va+p9zXYPasc4VTu0dLpyTO2Ok0BvsmyE2QpSKKm+MdEzXBabct3rnKMbAKZBAP0sIiMPT4a2Vy+k//JNd7f+nsI7GjZCXdu0NnvVWR9zi8/W2U2LMXujRJOaooWKOYDyfzPnBFKTgG9ZFrKcGwMyk6vM1uR7lOJaYzQGxwtrn6A+PeSMbgNnnRzOifVAObEQDRLTs6l1n1wlvyAglmFEyMmn/uTp7uCnFRODDzuwhTx/ALl7+xvzZ2JicrAG31A1fGFXmG2QYifTLjypqdUgEufeieLeHqG9dc4sPdNALq/BLNNimfY2CUKJGFzm3Jskzo2TjewcuPht8aA2jj40bYQ32qeo2n4k/lCEBiTTlBa/D/dn/rioJfqSf8hTnvIXL8ZMdZMr62O/WTNQjNR5Xk9o99XqPwzaXzyMxM1av56WrVhowowfUJ7VLXVX5/KrMmqI0hEF4lxrrnQZzAtzQjtb4iLJJgV3yVO45ImATKBH3GvwQmInAeXXkytSjr40i3zWFE3jeYnRTJXQxXyy/4BX/zIaRYoyqXCkGj/W4NYnGbeHJK2yzWlrleGnnNKjJvxOe1jNGqJJ1qZ64oLnDwSuXYBK943LH04UjiK1bXYUDDfSexL67BVEKq5VNgIRGfuweYXxVMraJlSDq19hSkV8NPq27Iq2M0zeQRVnvO8cn50M+7b7cTdrWB1CcfaQy5MejkHAcx8+o8O3RhJXzK+JRxBJwycgMeA+PM2d/kYcsjKPunsM7tz0bdzKV1JODGDpkaJUAtZpG1RcbsXCG5JJEpRCcqFrOHIIeFiP/n9xZbIIm60uDUdIzPvSsHq8pGuIzBtNU/e6BmipubRfkKMjae6NVGmMNKgkBTn1hMbJkN6jKDcuC+CtSq27lGxXUjOAoRu/steux8viZeWeYKRa5t3oPnx2S9iSTlgeugxHJgZdsC2eUbr4HE2Sev1TG+UvPoCJI6ikhsnlCQNlWuv6D6zVhd1pgYXJQi3wM6tU29X3oSq7DofUwCqxT5i0JVBfXtx/Ykj1XCGUR7r82a2jKwBw5jykMR08PTdVW80ngmlOXHHLHY9TMgOqAcU/rDo9Q7hsEhZG26GI779UXoT+P14qwNWAE73y7vResyR26NW1EiyfjkXlBx4m8Q65z7V4yMzFwI2cLvJlb3XGSlQeZmvHDGAcazGdQqNy8IgXHhj7nu/8NjQCzge6ukP05kTvjltFlS4JGOdX3y1ualEXXXd8puHYmUq5nVzZgeorqEDX+1wEirKlgEHV5wN56yWYNXyCrOQOteFsL1xJT5vHA9FXhlnNsyW8mCxUESkqQoJfZZM2Smsn6R/Om+PrDHFZ5+uDY0smWC0763bySmqoM1vNvD0HTNrCSsaS/DKDiwe7CuFdAmt7Cp/2J7jPwD47RTAs90enDDRs5Rx5CqMeRBmo5oPq50b5LqOmNcHQVYv+XzpaHFMo+kJvZAQHM3A0iEFhkZoODc9TOxQytELOyssdR5O68CY80U43KDWJ//50wTIr1SHUraPNKRiHcU3wB8LSQyWHYSdViP+uXjyVd+EsP6ztZCGwDmz3FIuxMwLmdXD/6smH9pxkBgAlMdxlNu3JqSVYMvpQRB+vA4iay/yvGm3YP3uMpv4MKA+ajohTM0tO+4jWp/t6EvfIM4mK78dT36UHtY0k7llReFL3QiRYwMJ73gNTQKE6gcR8lEgiiWh48r5AVEny2INCGiXuGusUREeh0iRpLRjIhbyYNjUnEyBOTemL0B9iYc5spV71nBO+Uzi9S42gEwvJ94EhDa+S/xcZ0kdZ9Qt7gRGoaV2Mk13W1tLSDcBY1SQbJGrx7ZOLCaJcpWkDc2sTU5WN1Y/5d2rA0QBBTwz/hqR/Qc2vg2V+soe9rlYVKGXc7vdKa7OTclptzT7unnGZl5yESApfYJUWkb8JzMXbqfsvgcfFQWYp+ZtIcJTnuyGvXaH/zjW/UD+5XjQVRQZEsDZ70sNdjonMsP7qA/cL/lHmfYf8cPqfr1PkbrRnJSKq0OrTEfsD/bOCokEww3Hjh4+95s4oB5YoMzB7vH3N6iB8c5C9VM+IcXzLY1RvdenkOI7dfUWyNA7eEIHfHq1HQO2MI9cn8B8HNL1g2m+AklRa6EyHZJy7CUPZ2Ffr/XP1TIdKZex7etiwuPOED38GfMFI4cLVagf8FESJZ3lDsoN/jOdvHRwdyHSwCrRnNnk+Jji7v0h1A/pvKLhDRT83yxouJ6MHFkqVE77MK7ZOAF2lnUcprkS0uz3/blcf8GJ6hfQhA3rmvfm/ypj+yNc9+2TzYgghyjmJMXyQ7/swAHIn8FEPU1ZNVufvQsAk0At+lKQka6ezoJ9FPQD7I++Urr0sZdbc1kJwKTDeHra9OC3DGidni3eh6/VCwEUUur9Hq2+stU4UtwLH/Y9yQReHfDHv2j/pZUcurgXLJdrKhCdLN7+kOXYL1FMoTMsxsRM3Y7e6s7ofJ1dCy9eZz/1J4uHsl9B3e74wvwlkIUd30x3/CyfgoBdTRMQQG55J4shcDbY2hCmaBq56tYt/G759iKWzfU6Yxf60o7o91FDTjyeJ2sQtSR3OpZe3gGBNj7sEcYeo4JwwoeNtOcP795HR7m/a4hqsuSfML5JVg8TTiDglDgCmIaN4MhPiPKlX4eApTtYZLSVfziAzK4tj2OVXXdEAFTwkEk12G3VC3wP6B4qnl/7VwnK1DCabM+OCUwJACIwg2k+NwuCaPx5O/oC8AaGv9vcWgBGpgEQpUF3nZXqgzfIdU2llJP1s395PtW3p9sQPCakbrpCqbgsF3DHOtZtJJzTUtOHeZW8pMFXNVYXKM1M8L2UwQqdmwihEFh+4Qm8rLmvWXRYbR981XjkPAd1oCKgPF8fHmKPEhi1vrnXjXpAxMYqcNTWE2Y8WfEMsJapBRifjSC74lH+0NYA0gSJQS8mW16JZaLKQGVR4kaWRbqGrwo1Y5iRGqhgOToXfjcM6NjokBFqdfURrvq5TW8t3pBvQ5Ajxe5sgVJLRQfFa7Z9G21AmpCvyzjyCkpcLpNrz2wtCRd5ghFOknhmlKUgrmCCRo4wacNtn9YteCefavYZoAjaVVLySk4gXvh7kKd4hAxm+/njBB8dmOB/4HzxQn00TyO1xrCTirhf5nCns4UxeZ5rTHmPLVME4MOY7Nzp3vU6nviY2JhcAAuiwcjKktmU4FkIMwkRrIUAoOV2BawZqgzUf/jVabZe4589frZUf4bq2WjB6czNgujceqWIAhy/San2wR3o8dMuXk7M4HM20WZXTVhAs9ggJmodoRgdJ+mKtydSC97kW0Dm4plkWwcN7kRHNEo9l4vE/p6dBls0YztgoJBNo/sIceuvKfNGFhjEUKCgtX9s0ir1GT41XxFsZTgEhGe82+REwgPR/sB+zIlupQu7XoROojkrr8kQGBNtEtiZ1BNcKzHbrsmNMlcmqE/gnXj3DF+M/XAqHGfvZMu/K89zCxSNoTMnLypWBb0BUHwm1wKtv6QKexA9A7x8UMahzvgSwOJ1WmCsd5VrYZHS954VnNcv9JEDWUQfadFz5sI2NJvQtAmiLcwFgRJ4oFvVWilYb38YmjSJRq/X04TWz31/pvHsi4TNdf54W9ORpxxHxt3RHQlkc+FIV9jAKisOiI9cwxNV2/3toSZie0KdkL7T8BQxR3AsyRLmnoQbUxEcp1bZYX1qSajtiiNaiJ5lO6JEPfQJHKXal/Zh1pH8ePSBEthvkSjbD4OR7YsubQwpbvdu6MotbWmr6s1ir8na0PDY00YCoROKXipxGY4ir/lu1AsIx9oAikCLC2tCpKPlXi9wtuDAPtoY9QDy1+KsaDXG2eXkZ2xBwTV+4yc6rDmhgXuM5oe6sU1ojyjno0kxDQSxhU4Siow2P0EDS4E3qK78LPieofBmPhrD8AQ33v9a05bZiPiTxwPf9tQ3E49so2JXZu1UFY7UADSXnnLQgcW8q4cAYEv2UKqyc3pIxtTaB7QUMwSqY7yGEEz0dyw1+q/cS88QJJoZcWD8ZuE9o3m752ri4xRsxQpSyfapTSktm5SiZWHKVODeN6Zpz05ocMGjVMFJoT3ZpVXhO7tuYLMMq/W3xTj3DZs3yRJxMt0rb1LS13Ot+QrzwzMJl6/W8F4udRUDWuOToG5Lf1lcbOGJFty8FEU9HNP8gquwRFIM+EqhszpqPW7eOATANy7SUbMAa8lF53/DaCMDViNcFzRcaGZ6azWJNFxa9Q9ZEHBjDIkiVzXcfSGBpsY6+DZcJwxRkHufK/gIvl5aIvqG5lN5Y+AedJb0CCp+aI4wHCm9P43uljVsibWtL0GQtjEQmvcy4QpHS1Zm3Kogkf41qCLaMeZBXbrTtbWgqcdyBTBwmAWbegrlkYKbxOhStiycWMRvzevmo85ca8RLCk51R0e+cDYNxg0qBuDYhzvbHE1tYkxukHZrsXkoPTHAo1Jvr1fGqVu5AKIg9h5cTK/jnhTOEsu/aJnAwRl+kbgupqH4lX/QgCDv4Pz3GS7KMMuaVaOY1fLtKOVOr5Fshw3gFqckDO++uxkywBOKpnqvRYgmiRq49gyIsbolG4BQQXhVknvmg9LhPP2xrLrJJxJSxxoqjVZw4N2aoMpf4UGj4ju0yNDhE3LT1VIIvOvo+NKnp86VD5T6KcKhljrtiuXul2oEhuzRbq/JtuBZhj7/vH9n8T9hVEpDZdx0BeFCa8abduRzG8VZrVsr1Y/1+0BUqJMddmfFjkwVgs911J4FMgbD13fOChGz65r64td2pC33r4JbY5D0JgT560LoDlGu9LK7ojYeKHIZYD+2/FtVUzKLFyrL09FjDbDRpQqnHUhuzFjl0xkjAKbd4FKOK0QVq1KzMlMCKPWYRYZLXvno+a14aQt1JPk5ZsfNf30tpyf6UbhIpNfeeqsEa6sATz/unHCpylpcIt5O/CdoSZoBolbY65gg+RDCcAWBfoGaDm8umaBtWGCdwbXrRySeLVeG8gVZVn44NARAf2N3R5KkpdizdDUx3GRntGLCzzYuZyG8Mir/j7BRzzAxuioPdIuSl4pwRmblxUR4+u+33DpoJcURN3e1ihw0GYXC6/OKlFSJnULQBV0kmdXTTISYAfuonn42Z5q0XvMeSwS6MMR7VaHNguKGJmiUP61HUalFtUvnBtIlLY/gkvc4eU9YBhQB+nLEnxyBUtJbAkikFACbOfCDmfF5NxS2Nl8YlDsdYNLY0LmjmRuNHfUVzovLvngdJaT+Ltgj95fuQ5BeAubJFA9qow0xLbr2BOGix+v7Jsl+ii6giczc/hq5oAvqgp0xLCNdl7LunCpoRiKSWVokNiB7npPHpHBxUKPIeCo+Tzskpb9dL3WmeqyYFnbz2iPTMIywV+bAhSB3ARYZg7CA4L2oM/xHwgBNjzngWlXejbbMWTSkfOLIiJtWKE5Wvoftz8JTrj/Eyg0KvuLv6GXWrwshS38EhvAaIWIDNnwRAuXsNzay2h11s+eo7gntCcI2ZGNZu79WkXwS8yMSacXouXtpKiK3ImV5uOnblES4TpGP/nYTQdbvEDJN7nl04GbV+1U01WiVGF6E9Sw+oJhYz33aQb7HI47b+YKZN8vTbFkqvV/HveIssaVd7JdmURmdoJrsSHV59yQY0TI5D1mlYTpf7ZUdxerSWXWLsRDCCu8JhRswRPiMemmVgQ81lwfuX4GsyjpgIQwm5vCVFHzgb1CN+4oWsDjtQdr9BlxtvRBZIO6FMgQ8BFB0YCvFC35gdcUl/ZpDHbS92Jln2niHRPuE8Ir96mnOLmEQEfyHByuLnbkJnvwMJFvMKI2PO3i31KbzxeHImpVs+DvoCe/x/ZhbeOpONQY3o/LCek1oiTIT606JljX/mQ/L89txxxfwv1qhiugYzhfOj5XhiNMqXZvwn/9cMsIGc6QW2jMdOoJVe0BlfNzg9jdZA4i/9qrkdUDyzAoZ2mQ0N2ZUXuUKabO+pbdR1M3sB+uFCkLVkzc0t6+7W1duAuQOepbb1ncDNBeifTN060wz+wWgLEg7zRzb+GCAcuAeIZ9wcVBvB2FKedO9VRZXLg7bpA5IjTaJsNwb2iwNoQG8TNvM9+aklcPU3++N4g8dZu0zDH+zb3hv+6cmrLDsIqimK7tyYexkxGrtwxJgjG2P3lsNjBrspfHcWfI7nEi3S07wE7PpKfLnew/14+GKHYiMGA0jztB+MkWEBTWy3TSViAjF53PJlH6jP0GSaiZyU7/VSwfaUdFxyW53c2t422UY11XyAyLglZYpB7Qz0MAASsvW7IyKLwd6WBrVq1AttwxrHEYqo6eDoI5I27sQFDF5aM13Wq2akYSI06vEZw8FUj7C4aMrEDi0H89W9OU9N/WEtGVR4YQ+9gmlSmzBnDclg2+ejamjAyQPil9D0CpYYNuHlE1RD+xkjK9Zv+PbT/OgzgRHFYDKK1sKppZmW8IbNBLpRzuqQJLSzJ2+hAiaApMh4nQbGyWoL0CbvtGd6dp1MZE3vDQRkTJNJwSXmueVHuYjkZ6R5oNDQQJM06XFN3LhsGn/3Yn1pRTjNLKzHl4+WoAoM+j2oZnRGljcYwPS4xzw9HRJecQvOSgEEZgEOlnDO1E3gdizgJJ6Mr8RroQWdAx4mrw2z6cVNECjtuyJSP6+EUlk8fA69Bfl7xCkIic4FChkwsqonWm1VR3R4EgiIjgh+jExMrXMIny8o7oMQfoiS5UNxgZN7asXrtXcdfj+z7XBI3NVvCQue8g68No9qTrdKWHwt51EI3dt3+p1ioz1Rg0Gx8dd+pc0i1XL52pfUI0YwtT6+mVJ7VlZ452nOpC7E3bLToQouRZadp36nzO4E1bUYrV9hZrgX8VYwSy77KSSr89tJprUjWSzNyfMOQUU7jXo5fyufi3OrSCBSY8gACD9x9Cl3Ikzz8ZO3BcUKgdDkUFr5DSFDCw5/kqX+MxMyBkZ+DL3gVN8WeShIgIji+0XSiz0dudLtWqR+MFcuvjHJXA9VzC32iaH0LHmpmrs0xzLBznZQgRJjgjGY8Kv1pzfiEVqC9rtFj78IY36UNTWag0a+adfpWCluc0SnoQLuIDttiVx6sWNL/goEQf8ch199aizMAvVO44bx+FxIgaj57bScAEDzGHvx49yMvKoSDAQNuboeMgDiHobrcVEJTmhuZtPwnJFsyBZb3e3EkxxQQWNouWLyMphYFGr5+F0TFeGAL1rDPSSDVk4zx37p1T40usXx9H8bDoe3J4Jxu2q6vHjHMD7R0+sgR5YcsP+cDYAU9BdoAu2yBnWj0FGPTlbaW1eu1Wtg67PLIDWjSdEEP/q3Qyi7uQt9e4duitk/vBhAdeWyaEWjmqTan19xFZH7UF4nmhX4eDapXHkiaPATnpgRp3F2WXIhi/zVxDmpHmLipSjiKiwtmP1H112J/0DKhiJa4s0+4fTtihbmiW8WDo7o8n/oiM3GauARLnKgu8W8ExTTRlH7CJx4ZBwa/xtpbeoAnAabHQwU4lQ84M9lo+nlAuEvXDnFwVVzVo391B4JVL2J8QgciZEUfazUMDJYlcoPfM9Z7Ws0L6WIKaaOHi8NjzdxafOnTVL2w/Y/v0wlckDuKFwfyAEJYmBRg6538swvJSYN1PIrZRh92LdJGPFIO3NOEleCzGn+duGd0vUOctJTFn6Y9a+4nZkcFTaPN2mYdEPFmK6o2mH7PY/SoGIT7R3ufYoldhK1KSz8XSQBkWWcaced58xM+0XO+vmeu4NiH453Af7XdVIMWlYMPk4SBD4NSGCoTnCb6J1jICQ7LM0NVWDvJE1GXcjaiYzs9xl8EOzWNkDrTV85PRbn0pGq25cWvhNX9gMWt0ekFDOLI8XSqoDhUaCXMFqqNgGRq8C9otqGTHp/sLSsUoOLWR4wbgQeF3hDB/GOnGr0twflv4Txik4CZbuiKEIM8ITznI8QhyVd4GlZb2bz6jPQKFDaHcxICmW5Szm86Pw/FsqBa02eqSB2PJ5yyYCJwKfeiLnR/rwn5h3VlH6QvZdXb9GkSHiURuLOv5Tb8VEq0hwAmBed5S6seG0QX4ljKKJf0iNRCWs+lUegEoqpnHfs4ZOHxLwem8do30LfswPsgTccjqvEMFJwe31S54BebMfga2CB0YKTFHObiwNa9XMGybs/dQqQe3m03tZQhlfqCcUMdhZRl2d466a429rJivbNmuJxqYVcMFu8Y9OvgkDaQKU7Xmx01McgAQmXFqjiPv2Eyw7rZMkEReVPbSOY3NpRcnt9zXo8NJuCn6RfHEQR89E3SQOkm5HprkoU5IfPTPBYYuXFhYT8ytMzJlnsPUEcLYbMDgbp7xLktw+XvJKEC3gZ98hPYQGIZx6ZtoxNnhoiLMxCJd4Z90xaeqb728ODdyr12ZgwPD15961i9yPfrZHwavZl3c8K0r4VrFmcGf6p0qoMWW5BG/xn5YZOdpzvsmSfdxyIn4HDdSfJ4++xWPxI/1M/KPqEeXiSJojbV+JrPGDNbLjBalEdKjSuDoGAXtq6nM1tTJIWMWtTSD6QKeok8+cHmsQFzJ1mJwt3aa7y7RQwm3+N1W9zwtsXhPZHTUnl6rVD+7gwZhoHcqIGtCMp2Up5mfFpH99RfdUCki8H1PKtvMOay/00WOf5YWrDDgm1z8WgykXfuuo3mDDrrpQOdmhaKvGYeim0yUsbjG/KAzZRqwbtJkJPZLSnR95gJU/L+SW/BQgGzZYLTD2oXDVIZpVudwAe4SDXhaUeJV60czAL4plFCbWSj4O6V//fDDoJ8HTq3ScGBrjew9un80/wlu+POsWHj0FIwadJK4f83jmuZwuAIhmC0nMyYrhOYsDoWg/OplftcobFOnsA0HEYcdHetL/CgbCL2yD4BfXHAH43ZMLKSB6lLU4IlY5C17Y4kTwQTtsKTR3VJWliQJANP6lUSRo87l5hbYawQ/GP/LMe6/qFud9hI1KqedTPW6ENLsqLA3UnOhvJoqRcw/IeUjMBlgk5ChPBjX1BTFLNPU6YORArZH0e/yuvSeXDgXodu3Um07PlbtYGelvE8xFVuL3grLcBHgP6IcTnanlduCm8Z/zIAcBp4pG+E+z8fkyFx3NXaCVxmaS30J73ZexJTnUP7oW53nYuvUiGMUTBp8Qc6XFWXEo18TO9mSxglNng/8Sx/iJt9J2PbxPpjr5QsAyWKdn4oYuBWZhf4QjDaD1SJBYeKZdoT3Z2dSOyrZIipVcwCwUXVpd7NGXvo+SAXRzO3Wobb4cC61sS+hYx0/VW6nf/orWYafb+1NkJVpqQmZDfyWIgLHXJDcU7u6dzBsuzKZcCYIzf6frzzyqJCbcTs2pbvdyozsVBdbTKp8229xlu4QJw76fjBS/vFja8AFr0aYRai1jOn2XRLdr4eSlTyQ7mso+LUO8q02Yr0ptqUbBLHf5K2zN7IYbSxI0XEeub/Wr6QmHVQtFx5Vohd+vLdGlepHPzFTMhxDz3UeSoDmZYp0XwghWk+aCh8mqVYaqSDWCg4555t45SE1PNFiJfjovd/yrXvqRgBe9mUBbMQ6UqKBXcwx/0nWmm6RWZrsqlSW9QeG4SiPjL0AI9Eyg96Oe9HK7OqL8cCX4Ap307By3K7donM6wNYJjBHEhilJilr8d7IOEqHrwRBxkcHybqo09PHDp+b9kKb0pDteS5nOOC29Q1yFNSdzylaGTHfbAp5RF41BNSuIYG8XwGFhmDmpk1a6m2FaueYwcG8SQZ7d+2FUms77cKVBteKuvKhkUpI6xTCOgb0VFlpb2zaPrOO3bbbE3ri6aIZVZAkf91bdDMkYdWEzLVTtihsabTvS9uZJZIOfBrxu2W/YBRrVCxLSTnmiNxtQLunibcaC8FIPEAXzWSZQTidsitPFBxBAiiWvlkp6ORSEQPaVYiXaG/NOUBSEB0aIUZDw1P7ttRCLxNl8LSDLtLrdxs8trGi6EogfAfOvl3IxkRFHNxyP5z7tuFTQM8ygqJSuihPnspVHY3nhB1oNH2AEjCzBsCGTKArlGkDYKGvEF8vkgrdnF1uPrNMY2ItnyYS4aKpZ7J3jheC/QRFva1mXZrumyI73xYJhVQSFHERwUimQwuMq73qBo20ze3034Yjud4cA02TMEGrSAB3hRHPrVaQsfl/OYmOVZy9uAb9e3b+GLTFeHz17T36f7JQiRTxi6v6O/3RE8v7HM01/kGL9cIj/X/7HnYgwtlKjLZsMIVTNTTSESCVBSMj4fm+lMSig9FdEHjIYJBxm9WmSTLfrBHO/A/Ov63tCB+54BJGDOFkBu3rAvV/qXL/viUlhCaYlppmTMmLkaDuagmuiwQ8JeyZS7Zq2jGGzw4adwxABGjyW44pJF3ui8VPjtWw04RpEwymc6L5hhqFYjuZ6FyEMRkWs6vPDk0NfZSo2ekrNjB8SRxJbFoKgL6Lxz2ZyLKr1Y7zEfPIVTj5LGnUKJKGv901L7pCs01VKDm/rOU3OZaUWLDeDIKjHURiivzxLg5ZbF1TK4vwfpBJbMhYiEYZ6yAjVjIAEaqEOLIbMEf83WbUWKFM6TwVarsEOVgfe7L0j5fdyAGvJaphwqT/0wAC33RqSputmdd/g+hH4fb66pKgp0U6FnYtv+Qb4S6Dli+bK74haGg68JqE6UEju6+Vww9W1o2++gmy5S8cAO5RR3P6BVHKzyN4lKmluPAKWnturdfWl46p2f7FkrNsMwLaZWnWeph3mXnfvoZqVdQsYcuu962GG1G1MEiIRQgu1V8lZ/as8X9unnyzwe96cjR+igA9rdvTdWbu6y++8qja2LndAOChuSqmVyZD4IOqmhOHnhbqUQRVWmZT5swsVrP7UaMw6QvO0kCOAdgCrOoRwf9lZW5NgY3sjxWlh62FGpkXKAeQ++gFOsmb+wqY0YH9+vTfAn7Di3GIONr8V/oXoX4V7f0+93xp22LROM0TXFtLYkzvJ2qX9l7l1JXoopkQA7fPGwEDE8R4hbwIV/bVxwcn2GtQYoAwBCK2hfwP0PIKIMgJz9h4UHerWMvqt5mL8mQq2a01S3Qzl6yEWueD/G99mKlJ6KvMmgtHFGoXuHw1k/5DT1BWf185aJhjzndsH5Z2GoWcbOLvuhgXGhJbzB9T7LXTNYH1E9rYvxo0c7u83d+MwKp78XM1GEcGh8fVN2RmOWk7/qKD9S+puZEMvAV5JRhzt/LzbO4ZFX+tlk87zgQuWW9btQwBQkwOG1S9AKO3pSHm2sE38P5SHBhj65ErD06leDZWuY/HMQz4a1fNaWoxTt8MQNjyMYPYeACv10rBt2FWXqOUQjjjDwFlFBGx9pD4Wi3AnzETi0w00mZIdLodvDYWU34m3B16B8XYmE+v4vXttYMGdKkQYQ6U0WTf5NHi5UIUpHyNhxyEF/Q/dzqdHKebBu1zgx2pxMPHZKoOOgn2FigE7wbdtkPST/uQ6Tv2mBiZb3bQoPFe/JtAguT6Upx0FznfehARuI7XNU0knXSjInDvIi+v/Vo9qjWd/GCfKIiYi3NBFCUuXzVMTKDOlbn9L/MHZo37ArTjdz+bwDBwYcp8AuVdVpHyfS4IGYQM8m2oaxHOZAuaCLIMvjqGNgVuq5dSjCOYwsIWwz+PDAPv8OtpaTRj8zZtvQhEiBcscEmiXcDRcX0unzUJmqyCI/Pv22YSxor0aQkHp5l4Q7oCjDjZPlkFF+H4V9FhfOohnfl7bk1aNrSdNQCvO7oza9gd2zQ/8N3bGJqRrieXVtdabR2zEYsHdOkFLkq/n6VLpgrmodEHJ4tRmrfGlkmnCbY9krsMo/YoAKwy+CmkiQDSBV/X4+50ZEWauTOEd+5STm0GYImrd8rDmvbVYJPpSBfo6O/6mUK2QFtyaP6Nbf5wyPpz5+HnoQsna3ZxY5mlWhjOrau2Ss2PBcAXNfwD6MVn+yelVKiImmdpkhr2Rut8lK70m88Pye9KMvGB50RzmSNNvwnY03t3Hx8NvkjW0o5OTQf9SDVLFKEvGnUsc2VmUzPKcINOwq95NpxZeFihNzoFQzEOPi9PoiriPvxvR2ikAICONd4ZrnnI7TOhRq0XxJcNYcAD9yprl1y6qDCL4ce785tJq6HMXzCAkDFHb94q8A5SicB744ZhoGkv2Axn5XrwoJnhTIUwWInhpPkcQQUgp5PnnJ0UbcYgYNqHziE9AXU7xbZbLKQbjUCjmAYaZrilf6oCKPcAQWLqcQ0mfvYXSL3yZqvB6LkscypXVANKncRW4oQZlcWXAvigY07DzFjj+BXfI6kqtPyvynO++ufNpVEhJxcA5cdatfFMCi+VSejb5o9SILK2TQ0gSZgpAnZxAJOG1jhF8vI3tCi3VVgUwFbPedyWmVg/J8ItPaF+pk8/nOV18GMePeIGLrlQ5mUhySpoQVMxvs5+qSgoxgyijkO8wnadP223vRjuvE+pRtk8pm3mrqaSEK4B12GyCrw1AjfCwdLBiAKsepg2qTVe38nuDhnaxHGuAa9KpNLpLGTCrjr8YHGRP0B7Uycih1LGTe1YI2b3mIh/Qg1crE6aTW+MEV6UvMTOnCkPWf9FWp0Y3Hk8Gh/oSMS7sPeA+q2NW+sistQXAiXbPOZzRnhOzXF4p7f5Qu01ZgX+hQQ+d4ocX2SzCPwuvnQsGvt4Wy0jeNEYGCFeX1nhO1aIMwyPgVbK8z1n0fihjMLzr7lrHbPNLSOFuW5MjIMRGXHLBjS+XeLjUOLatRk0gVGleZmTpVpsXmDIL7dHLviUDgZdz5lLiSFvP7DQD9qotRIJ/C0mAiwpVds80g4Ap7eYK6zothf1Ov0hZ6E3Yd4nFCEzQ3/mCIaCfN9aTwBWYfle9R81r7QwN4kDfTw7rYmpWHOQZmPf6p8hqlPdg6HnoIVdoD3TjHcYjaytTJ0LhrNV8z7TRvGAtEJ36UeqTYlvGPWgzgbB7FboB4fdLe8oKFKbLRKzCyeYwkj6Q7EVtuBlpT7+IXP2KdleWT/YLqYg++UKiSNW5rgCWSu2MwdR5LbNRx9Cm3eWUqLvZxuo+3B+++5Xly3ccdi3kOPzqAOU9FD+ACLMLo98ALdp+nsMrlPQQLOdh1J4OEDncaPohSFiWOeW03J6HCdPlzDk7TyKZO1Fd8gUAh0tf2/n9siBcSV7fgZKsNqOJKtWRlHPpLla4fhcxXShU4Y6HuHafrCuuEupy+G08/SQxDFUdcw9DhI8/i/F7v5xqFA6+e8x+4qZQobcGq1yyr2Tr3K29cGfGYqW/PNEAEKe72f7+UYfnIA0BqUYT0Ng9Yw1ifmZRxk6eAsVHtyLN0d1+avKZHm3hD+qfxS8iF4k9UOuFr36BzgFmhQAGobJsjGHD4W3VNG4cFyhhvh12178uIv+yaIjntJsL552aRQbjCP55kS0eBwj8YMJD5prlR7hga/d5+kFfvL1jjUQc2sZRRnN/6V9nZMOaAGTRQ9O5HOsEvIazMK9CghSgEjl8lTfqVv+wuX0+OeeDeoLe35WBLqH8Wwho5lUQhc3RMXLDXRLB6TsuraJjQST20cAUuAPNItSVSJnefG7IxLvLBBdiYGrq2lQRNZPdqTM3pQmHF0pgUpo3yQYu2dqxz9gPzJC3pdiIRHltbTQRUshgJH7gX41nMz2KJ2n4s2wUi5oq96pMLzOJ0eg0Sw5elkkG6vrDMAMNR+g6lTxpICiUjlsx1gTwb579VCrHUj3AXSsM0lgZtx7KE9juBsUlNA8rMP5D7GlkWf0TwE3BMyubss5oZfwN/fPG/FLvSGMyWXu27MnVQZy6e22Srz7ovSx0CVLyYFBooaqdPQtrD6x9ugjQto7+nRC/tHCknmnmsGyF1BuFMwLtKN7dguFkGcERVmDHH8n2O+fljxn7udF3lzxVKuTUEame0zzaCChrBNmURzVSX2oCnGTK8S69VpI7/Vf8ZbVqtDeC33gpW0dnv51SrvWh7AngQHb/ZNzDTr+Q0iTTFJwEMCBFt+en0l2tYYwKPvCg/PSFHxk26btWMVtjjTYhLcrfdTiLCvUp01L/7owL0eJJyxe9eycNcGjcDqnRWqLsa4IvxFaz1KFakIdlhrND28uIUqhvX/rps7swSyptg7PhcHZs4fxaFRvJsXDUC2eCf3wNpqiVP5WVnho9mw42lZuZdMACwlV+nx40k+1nOo0UM0FRoMgYR+fMqB4PV9wLrC41FtoB8bOmlE7s28EdVWhT5KySd/d13lHQG5E1TBpwIbQ4azBwhK0mfHvg4kqTVrNRp2PAiqsSkRsa6ncmnb4K0nEDgvUqOJymvUX4WZhqLusEg3q+U8gipkfDQHcl6GKvV6ayVG1MjkIOkWTQD2itUH5+dpearZonDZxcUcb69RvTnbkIw07twH3l93UzNo70Qb7iantersJZhhfHLD3OVU/Md3nygyI1H/pa3RNaE4K/76ixlSartcUbKnz2sF87M2SvgijM+rr6ois3qRrhShcyzSPTIvrH8EayS1s2AoipWy+kJBCPmDgbql4B/JiIN5dq8t0F8ljno1nATdtQbP9X0p4WumUTnijZiMPXze3C8mnAjUNEFUxd4H/pQCigjPBUO61EgDQtjuZAfFCq6N1Gq1gtCCjBT1sWwyoaBQr768hPZKZKWrkgDLal1PcwYFAKE4jVPV1n2/mMK7bvvL3aIS72YLlrziXpX3CN5xyHErqi57egW7bew5pQ+MGubfHn6Oew19nLu1BCaTg1AAD5g68cx5W/lfOOfx9avAfO1JaZ1DE0lsppSjHhb7y6V0Eq+lwDL4DkNc2COcmV+SdSDM7nLFskEmpcsUmhWQpuBE8MCC7kqc0IHY45H0EOL9S2WH75+9+KiwL6B3eJRMil04MMSmW2CjXIZAOlfWHcWzwdd34bPw9lqgI8iE01V5cxTGyrI9yPcFXVatUGEv37nsfWS4mpDVmG77IOEAmNQ4b6Yy/exG9K4z2ruCPoh3vWd1beQQaAGj7OdhF+DB+SJ14BQgkvCfFbkLLok/d5lCrRDBQY4vZtPIqx6ls+3yflkiKIjz2P4JUqpV0qJaBhuel7q2ZLCYbVd/cg+aDoC0Z0YBQfP5x88njomMSS54F9yG0kvFXFbzXhxpzol9mSqAJ1R9K8QEUMyrlDeRHHV3l79kR/GgS2uQpjI/GSlGA7I9Sk+DltnU6WsOoM8XJvMzUUDn9dhWvDIZFKKeSW5oPo+AKwQX/XfGKYc/mAnVBLssh/oZmVtbcboLIhbPMT5Wg4w+IqF0VFxvAXlh4MnCe1xdQxkUHheOuO579N8YzCA5woRMFYeMIngA75ouQzU40VTRA5+qb4gzLmstYE/J71jb3AirM6gR3Sg9uAEcrXZu+AEIEcyTbAziFaaaDg/amB0Q+zR+pWRX9mVGLckISJeQXiicLEG4Dpmb+OtqQCug/ySulCwQpLxwX0/D/Gnoy+sFjhcDCSPrF+KU+n7CUhY+/eN6k2pvtgDogBirCX+4cXHjqXu2Tlo22BlJj6tJJirS+D8tj0j4RSSEVfMorQ9/WI/S91F5y0yoq6WPga+ak+amDIlVJgKPahqKMLT5Z15DRWGjrQB3RE6PofkAxBwnYYn3Mu8E01sAXb0WPQWIDFiWVaBeEsYeJXy/+CLjI8ydflf8Wg8g6fGDENCK/eGMvInGhwt7ot3NG6M6oitcWdF8zYLlQpqZAwYzE/FZNB2SGieT6PNHGO2n2iD33rDsTOPfvky+K17D7wOCUbOOk8r6ss8ZqdcB2CRDBoM2jE8JXouSHPDVPQN45o8uIklwTi3e9TiW33D5pcoc3EL09jIIvMlipE/Fe5ndweDOoe4qlvHi6X6xspFhPzP1vG4b2RWhUrgPQ2CxwQgMKGUhA75gaafKYjybrRs0Gwp2EVnxDh/swzKA9Yy1h+nV2yKMY/8aCDbTrfdVJA7lk5ExrqWgOXrhh3ESD9tUw18V3aDYE9USiedoLx8IgF6AqCnONr6gcAVlfOi/8/AwTnXRJV4jQZI9UvJFhx9W4+BVQMVFHtf8KZxt2nFkyTsMGNmd6V2Oyfft3cDhUW2fyozekXQ+okXagpSrpNisQ5ewXTKeH4LBrqluT9JbzxU4M7qIKKwDKppiziI02AN3Ly4znfpmzx8XyN+NCpzBqAA06vZrovGBV83tN5qH7hMi37+c5XzEzmBb3DgnqYKMdkjtdl6gH65cusexDU1ZPpDaKHhMfvkoqshRYttmOVyo+gxI15J0pgdIMl4rPRqy+OZrxh6zsGNT2vwlFYDcLPTDvsMs6s+NdTZP2q8IG1AHD7yO5MfAtUfAaDAC1NaHei/GsgDJ2BLkv4GADQQOgIfeyUy3cCNFXbDEHxSBnDJmhDhvSkoy3gaAYAN4pMrtqAlYNHBSsT9hNdzs1NQnPr7kqgtSf2lpLLsfVsDe73f6duopt0sX8M4GO0XsHAby2R5x2cRKE3j9NjjF4O2OnBOtbXU1tTNAEwmTezWO34QIyFSsq4RYfLgHpJ54nTYR5IUndNtRrDTv4fnJq6rUr/5UljW+YgtSyOFMMs4BklIAdSNArfxpm/IL6eyphOySwVzzpF2VK5qtxuDLG6J647CBa86jTtTAcJtwl/D1TT6v5Kr8Js+fgSCKsTK+XYGeDT+3HzvahX98yLSSDkU4lNlxzgnvNQq8GAqryehuuh7KqrGbqG4GmuJLx0CR19r8HtV3WPq4teJsFRM0cH6eG6sPXeijaiVA/pzr3PEIJkd1iMJFxnQ3Oh1cKb4WW+hGA4GuEQu/SyR2HREzkVRB9og+U9S8jAF2pH2LQmdp43M/vMqI9XLFKsI3Rdc7iuAN3kQ0hsexmBSkKZIS9unRo49tkpOEfP4g/0m28g0lxSPJchlONV3TIsB/ySxf5vGTg7Qjcg/HEe9mZAN/Y2dTqNY+aSaq0racy8naaBdXtuzFi9harZohPeOa9KR2LiLd4NncLcFy6PsQAQwrNP64R4EytFMe1OB0G8u9v81VpLQJRcYumypaQqS38q4JMQGtvMbtfvpSWWKn3k7V/EOjVu87ZuHf7JlqdcHyDWb2pJpliD+zzpipCRYpFT53t1NvH+K/583fT7Lu9LkpHb28ALWNAXSprf7INtJmlSaTI/6LvJoqo2XOhL8ka8eH+ntpXG2hABx/K+9dSj6EQVCCz0M2feYGyJovZL06MxT0jszVXa9b3agyTkUaJYCLaPABFCGZNrzMsINEcHnDDkNVZpv+V5ZWqXVkKqQfWPp8O/VjmPcwGAEPuJEnNgsL+R+TEwobPSLOx7duwEYgkoTo1QCMQi9v274W6vP1TK+QxhxbLOcqFgZEBw6VTKXoCDwUCyLjr7mYvx8C5BUkyej0PFtTu/fiAxTlel1JrKWrNbAr6wmqFLGCXNwhWt4T6ZloeyvlgO/h89OcUtjtzNnwk/r2LW5ZyIFVdb64iDIynnod5qSxC4euNOoym0cOrBua9NPbmi3Q15Rm+ubXCMdxoD3yn9DpoLrSZUR3+BrolYrHmgTTLA2O1GQq6wFKfw0fQruX0v6aFvFsJIog28AtcIvXq+OcKebFo3z/RwtepmmKyJ9QdTs4kQ7sodF5CjUDkWKEZDI7jx5yv7hAqxzRmV+d4gOIuIJHeDAzXJQY3HVJu1tX5fllXWpQEsWy7Uno+T+bSL4pJrU4zq7TBwvD+iMAZBO/5TKm/9FOWlLVF1XfrypraVKHY+JWtvW5CaU82ZbxYmwfpXC1H7qB+Cs6ln9tLUO8ClUP0Hg+X/abX4vYg/ZT9eEp4PWsdu38ElS0XSdK7c6P9KQ8MIwyEOsYqqMhSL+D+yZIzpo/oUo5hq5FFoQpKDSSHnlWlHPWSCIzKyilHu8hMJSfiYe7icdY5bdECPg+izrBy0mzuj3cRUK2fhVtvVmncX5nbZ/XbGQ01Jo907V7OGma08o6dSpw0PD13utNJ3BQTjF174fU24AMPfM3iTJM6u+JZ9pYE94UkAzP+1eja7Cx6B/RjCf9jQIm75QQh/wqqwuHBzS9fOgZD1K/Zl54KuCy1UVWuRuXKvvaUcsHRoCUh4zvqhTYa+RB41vAxDHZdaJinUp0PJPvuUlXyVU7OyFmtusXtWui8eX6kHg5KHVNwfYKoSb5XtDh1lV4X0tBAwb6/6BmLVbugKQqlFX6j/ZepXCRrMH6QzPNxT9zyIERHLstOS49BKrShvWf4RtsyQv8RwwuNdSJvCTFYIjIGB9yXqS0hRIu4d/U230/zikKUwC+vP/HPfMyRB1ze/LA2BSbEoszGAO7PRUgENzSFaVC1dV6i7YCutUuYUW/DS4SRTX6XDdr+2YCR9Ndbex4XXecRMEY0L9Z/1f4orJLDcU/KIlT7OxZdyD/bLGJjecn/MifZ0sQqYwmbCgnBzAJZWd8N0ZDO0yF6GeOmthFLwqQ07FCSN+UKDEUZ9FpaJK+xAbmDJ9stFZ64LiUXcgxLtIWQBkN3K/jUdhgW+460CrxZUWGCidcvKfw8Ykr42WKHiBTqjAEgrvL+mamdjcgoVBWYhTUSBZgBoH/d+Pw3rmVgSKMqEmVQZcKrQKUqVbPKMpjetz3sZUDnmdNmrQ5dFh5ZWgl2s1Xi7giimviuYYkFDVkrJQmLUUtLwStgatR7fGLqVLKiFRSKFfs0Yi/dZwc5pdkQXxRmzctb+kMNfGh0QsT8OrDxifaHnLOfLkDo9upMI2js5rIVSr1Q2VprWGG8UPzAZkVDNqhy65C+CX0LsQho13fFch1V8jgONt7GFLIMT4biQ31Rls9GXNz9iiAHkvcUhKNGmkzHWndStWPaDircaNR/5vR+Iac4kaU3jZixeiu0eZB93yBtvZEewUokX1o0yOlkC2Mi1msIl2WQj+C3hkqPiucvp27+HBKCdZgGy6a4GedfTN3iZ1zsigsFyXDpo48p8enszfTmM6eyNdA5BXUkDFMpc9xASekl84icqrQ/TXg3SmOBdrJlPY3jPBaFIyEBmTWq9jB4YNy6fdVBcBRw1Kgh9h9higi1qKXAL/ZfMnCtole2AaVzCgeHl/UbAPRAsXwsj+I2GoHnia5VRCtca/+SaVeGWgNCRpIy8AawIB3qzxbLOwXvc2SU83SEhYiUQ8hN685fdZSEw8c7hE61mLEkIKbrYYHtEkgsZObbvMA7mSdfO37WObbDnCy+t0EtRl8nzv4ColoeWF9IYd8ijpqJhKSFDQgeS3Q1QQIQCwSH9w462/J1NDxtkpEknGZhag9WJbW6XntaCM4wYdd3Sn5O2cupfQMe9zascqPd9PE3xyKBaokdfdObb0XGLcdYQ34kstcFQkGGKu9pLqhlFOCVDggjFWBpKq8416dkg4y1DZKzKKSZ7L05PnrmpEavc8Tc2o9v58cgikbCFcSdmGV6kzDG+v2/sx71xIUpe0IJ22tvk5twryBjU5QVj2wP2AWeBl7dM70Gl+0eG1xsf7z2f0XQ0fpTym1RVpdNPWVlhwxAsJ40Aki9g9SVN013LC+BbiVKBgHLlXBZTxN3lqN0umWUTRkNTfuN2i5b+LaUSq6KF0pwsfkOz0uU3fsmECFOIwi+7re8FbWJo6DWjhnB8kPI92h1qeeYBnvvDqFdU/J2i2F0iGOO+7qXRdjHiAV7FPi+E/67E7q5eET5PZboo/XkAcJinU/omVujfELLVRKYr2Hd6mNda4f6njlgQhNenAd7gvze/A86f+Jt5UZ2umewM4OiMsdPmGe5MFPER+qD7o3ALpF4nUef2kk9oSD/qqurdu7RCcEk+Dw09wSHQ6IpN5M/W/BTytaH1m+t+B+4Q8C8/u28gU5N159pIBsEbwxkVcVJBlUkbJ4Ibde61Cek10h2ucPabvG4q07QJyiULlvrPurVI46ww6LmdClciAylbM2YBPYrQyoIB0jz5mQJIUiQ/1KZPLCG3miBn1C5cEnRfWvhREBXpfJ5+zADHEcOzWmX7U9C8gaaU/BnKVI6+FIhc0gEuDET6K/+QhJVhFspAGoiwE8eKf589I2FvKj37qhbnW5fugeaYQytd9pSyRWxf7fUWRvnid9BjlGve95N75mseXPGC1Ff5He83ckXsD/FS85+jOV/pljtqzzmwcMxCBJ+nFvmWL7Y2zcVVaH1pM9cSnELkDchcoBldtSlzB1N6VG61T9JJKv1v7uVtpMCkLURSQVqRNnlmC++3PGz3canrQQYWoj0QUTpqCrwtRSUYECL+3HPo8SlcGAMXSu5dL2CFdCml1WyMu9JM1dBsgtQnYYb5VeGFKZpebN/yhThCaII73YO3FNG8CCo/yYwervR9GHsjq3+ZHpkpRvQAS5a3frbblapidJrRURvZPsN+AU35RqKMHumMTU+E/iLoC8tHsSZ5KF2yb2EMMrtP0FZGvoVAotkOLZuQCOsANefji2nQQoWpiPAx+JhTLA6EyPmSXK/hFzugYUBUcmTMknE4xvGGryZ6TlS6IOnDW+yc2cFVqYuHBUvyWv8Qdi4Ey2Q7tP1Lu/DXAKXbdn5vTGQlEd+xwN5PYATnwD8XKgOvOARoAFyVePgoFgJupu/aZiAOQCWUl2crOuFmQ8RcNhHIzXwrpMxT7VR3Eq68yvYZ7Ni8oqIwdLR7+O4W3DkbTQi7j6+0jWaeXvd4yJ2uj19uwT1R49HcwBekS/kt/kgXLCGK7xB9l/ldp3NaAHxagZ8YUJzA7b9v0Du1iSItsZ53Xqp7XaKmgTNCTVqPuH4JBS8bSjemLx1yPGhBligEVtKaLQhQ/O5VDuO6P7Exibb7QgAaJV26ypzzZpna4HoW9Hhm0woKIh23BqhaokX8cpUcBKF6UxwG0dIVz60VGzy5QV86Jy6eB5GhQtLfKZFm55v2YPPgtcaC/lCYpQlHDFC+EY63W1oUHm4+9mkRuoHMYQtUWwT39156Of4AMcppTigruPQ+W4AdNsBg1jtptMGNSK+2F+eLPQcf5Rt8YH/uH89rvc4UyvaLx4rK6ZW9mo/cj9Z8cZ/MdoYRw9BJMRBYUEvef8HCJgExw3cZTURlARpKPp3rYv0F2ThE8I5m9aHqAUzXZYepeS57a/2uAPcm+NJFIP50n4aF7L12Zz8lmcPYIn3oXS2jDVjBo6Ogm9QEag0E5bMlpiV2vAtipYz/uVWwNclzLYmWctpITQ5LGEEKagxRYeOZ1VF4/y0svp2PtZMDqjG3+MVoDeRUVH9zFaOYAWzFYfkN6E5qMNAtTJEC27kxaTvq+SIu8hp6ZiO7NVZlucVYM+s3tjEXGJJ6ETZVlVJljzeyELM/oCJkbWGd3J9PpI4fGQtKTJmHIuZUmuU1MMuqhUSVfQCjqD4m0p+AJvzYt1eJZNWSstVKoZw/Yd4WEw5Uzf72Tf3RIFbOcxkmwFoUl3YfyZFdzInkkS8SpJbnYNbiIdhAY8Oc7V8U+SGoyN7N8C8zO8B1mZqo2vz1mugaJle9JXD2VxH2JVkVhrg6NBn1Gv1tMIg0ZaVviFQJdgshWHN4ItVCtptRTU4cdwvnqWS0pyFj4llc15JNx8xt1Ywh7/bNhBQyiydN+Lnc/1EeXGqkt7YFTy0OS2QYW5EeJMnHWI8Eb4emj1z8Mv9BMFJKtgUKrlmhIEx1JAMNp4Wr6CEuVtMNGTmXgskGeDFiqcvRNjhzEAFKurw1qLgpLrf+k4c6/5xmkbiZLNEH5IT7gL5H9bl/kuBw2Pu+4DOHTmwzC1/FMii9TV9MksiDoyV85kDAhFfYL6q4qIfBXwuPxNelHaKFnS+ZoN9N2TCHaUT0y6dTNsOOnsR6X+DZJYjbf/px6x+/Y8r1ScgpY8V739ugXc1Bjj9P5nCnAcgVtRdgVhUHdb0t1admCX6/DAfJtmf70QsxhkikSm8pPA13D57QZmh5HflN+12svWdjzZtt0kuI1zlhaD1RoXfudVKaDG6zB+aBiJkWpuKCibusu/RV9n0Z9RRDY08iAWnSu/2twUBxtRFAIijecSjaodn6LGo8Z9H7UddCidCyUD3/ENlJUkx8N5w/olxbv7DjahQiQwFt39h/uAVoKT4HY++JQoSFRqjU7np3ScqG6U5upwkyKfsnygqs3FgFaBwrV0IQaqenb/h+bkV9YZmSZKD7ii7prEuBJo7z9ZkcYBpoYzIcuT1pe0rdMLtJSXb2nc8GCbVrzQXD6UmHfMPsTHerqZqtgB5CDEEb8WbJrUtypzZue4YtoJa5SrnTcko1NqkA7HPIzvdaEd8xSTqf6IJIQZeJVgwbADoQUMSoc1edPXwycCWsD5u2eGBAXM5zaqtKSTU7gUv9epB8Qy8VdmQgttH++87AhNDTnpaOZT0J8hSO8lCBHQEJmxYVvoIdDND8JvQDF+rGmD4th8Gp3xp+8wwZIM6jqDYB6IdE0qK7KBUQAQqWRgioA6opV9+TdOdwz2WUFLkNi9dFE/wXwuiAN6zhO548mqJGWyHhdPrlteODQOXlfWp2ESwsEoibSMOueGqZoZ0GThlJMjRrhM5mrcSvjSKg2ecMPI8iMWyPhuhTasU1D4bbaTMzAySZR8/3/LHfUJ3fESUBJxlf7NJ7XrXFJ2UeIpD/AEyWsxXiWUR6YsSeJL+ftLDZVcpTCdoej35ZbvtFdQrfpfRUp66xIHfEHGVvd92iXB/GBOUjwUs8f9ht7N/z2squONzWRkcXGwXgGewh2jToYk0NozqO35xIoynrgabliJ0MrO0dmH9E8UxUHnbKSuSRpjB5HvzACeztKMpGUMjGfSWa4BmJZip3QZ6hqsF6cnZPmxgaDXs7YNMGXvzqffl9eMnyT8ckhsk+nFJwbAS6FTPsd20W8ywjv2yMmvWwfxVcnLeEjvnPb+9UPoPheUr4pQJWhdmU1zRw1UmKOZd4Z+wpsYLuK/6G+IU2XVbD59Z51O2bD0l3z5V+xuJIQXrKELnAqSLHDFI+nOY+dusMx+8B4QLz1Y0yuDepu63VRRX0JoZAtsY+JoMlehhmYpqbxu1PicJYKQyVJszWN8iCOGvbvVsHVh3htLaeJGNBlh49G1WslM53i5mi16lrmGgaWBp5vyl6BcQocUTAhW6dVCfunCMW2YAe3lrPOUn7idCZ4WkchKQ7GFOlrmNYIJwjMfD1uSQBps3InrZ99iy9eKIk5TksKnpzKImXGgCXchKJXsJUdFjguKLVerleEx8w6cKw4AM1YPJBh3LtNbrn089xSyFH6OghSvBAuXvnCuBHcTZ+qBnrVEqZfT6ZHUG0lPT2PHuJFzU4gcMOBrZsLem3DGjSKKRwRSDQLN7eXC5ueNQqLFH0SNS4Q1+6wmVNYOo1wlapYxczpvDQOHrJJGeCISqWPWeDmmsv56fbQPSrfkKGvwvis9DXeCu/iiWWd0cHDiFaVpEHeDGfLeOrZiNdFNsY4lYhfYaZQN38vuCR0Z3RtFtzuTL49W5TUKgVDdW6BNEPJE1XI9ctoDiDaSAtfAvwAGuqx5gVASniGtMJQC3Hg2xGrx8SHeYJ4d75zL9yZcrfpeefrCDvY2kLYdEm1Dz7Z8aWWKwFG4z59fajhnUo1h1F8jPvAQvsYFTARBQLF4Ghyw3tAAdApHUGfEZw6avgw+GdN5kCyZDp5prcpN8A7ZQNlDkULD/2hvdMnlWi6reZg4g1OSk6st99BAZcqeQpPqn7rLAagbPiYOk69I5LBZsxCKDIqDVV9uzXz+tRPnXN2Mr61Y/8ZK7geBvlcbkozqE3KZk/wQSwySiW7q8OCluVBw6EnT82Fj+GvTduwV8NSnlwLEYoTNTZlShlsuwJO9ayQXQ0TRBQ2iirtgoo2u0Eucpt0LPQi40WvaaxMQxgSdrOrznesiOT6yCSbQMi96edZrJKTk1HnvyxJaOxoc6Jn+3jhbg0hniGEE7kO5ab7hPZDEBRD0dsoDXSxBW6XLnOPgNNMKS/TI2/iGbVNf6K/114o2uyWe5UvQX2PvPxKikMgZiby5J8Ft3Mlki7ftwcDmvq2xVFdIV/5DfK3vpQqeBWK9K1ng1SKch777QHSZfBcXgGpkKzdKE1u7I5mGYbLcDh59vyBVoFDnaEyoDRxxao/APXWNr0UEilmHBxgIYEcIJb/vwa3b/PGnT5bxhdUl8mqX1BtsfDx4ZJ5BbvMqCIBYEdNPe0xmG60djLq77AT00FdcGO/OGw65onUkOvZFg5qmDM8R7DczUQ6nB3fjXX4r06tuP3qCvEbDUk0WE2iKjpbOExrVDTul/mhGdJ2HRqr+N7gJRSaZh004/6PEwA8D+HvwhLOKLPQ2GMXBSYWR1q32FeAmyWchDnTrlVxYSOVYW+nIxwlI+7ztGLHOENEMwBxaNevDE9S/mMtS81xj9uB6PqxNetHc7pKNoLfeTrofR8gN6cvvWGSDX9BlbwhZtXrPuBijRCVaYpUrRBy51RIoRi3VbtYuQyQovggBgq/go2w4W4U4C8yh32m47/Jiscnz6K8TU93PF+zanVwYQfbETlTvuYTO2IB14ik3J1d5HGVqIG/BSYQ9M6RbNJq6O9ywoFfbPulIL0+RJWH2tzaM2w6kZKOfzdZDkIvOTZR33G6oYyVsx5h7vDsoCRvKa9u/seAoWjxhIuI7dplCWT8+xgc2FFW71fzw+qtS/5z8p4pYNq6+iApYxUvfXeeogvFNPRDP9b9tUqvKLKj2NYr5SLTjFHmMg4c844ovx5fzHR4bgn8SlDZziGpe9OR7ZOe9EEKhHQrt+vZ6uT+2mjuLZaSVFOyRUM+UmFJfV+PKASFtwYE4whiRCdLWqq1ctQcgKy374/PiC4rfBULl3rX+Wsm376bAmLAqZa0cLSt9CTxBqYau/C6vXDjX+NQq4AKRfgciIwR44Kk/kMovzqNba8IYB1FW4oNSy01K+Saow77LvQltbJRmeeG9jRKlN6QRQRgecF0wIBYmrK05peLDs8vtS0SwaeKhUAPPq+so0TJuEjXxSBoFwLyZIHq6FvbVjpBj4t0rQEVA+7ZYPdTI4x+A+srwvz32bhYmErgRmvKJzanKLD8cL1oPnjN+XzsNF8zGUOSUaZqCH2GzHl2KNPmKWo62RIsheuzvBhdexaqbE3rO682C4FAy6xf5vjcopmr66UYSJAuX41hg3bdJElQxzUrVRGGFukG7W2FE+TdiZRU+S1P6eGTN6PgVUVmoldOWt12FkhHQ3iyY9WMm2U2ccsypxBGX8gfNK5FxYG7GeCpJ2K5ZpWujGV7sJMuftibvKTz6KOgtKXBStD0EuLFmspZpq8M4/teY0KWgSruMzy4DQNxzfWqrOyLNAsijEl/2wu4gvXkYZIF9hroB4jGaon2ceaGSIFBne7LmJe30V8zb6a4W7fJEtGi6zpz2iIp+s36kEB+TMArC6owhmxHAu34NPgXAKQCyLZCb3flBVc5gNcZmg8qMpKxTAhsKd/FiLxa+Xq+L1zqia3l46UT1DW5jNyEyBU7yjx/0tCgFpUl69dM5HF508oMDC9Nl5fbuN7QRpv4wwu+c8/mdkr+xWfI/nrd/BSKgDIK9FIJCy7X+I+CjxzTDRGuR5n1Y0iR9fh12iv6jvWcC0ExPjPrjUXHfnjloCoEAMF/0gODzjAb8yaPPMCB0RdhGP7sx8vlQg5h7xsfrfrOI5hzcCfPzbtNTtmvyQen5NzpnBflw5kjeCu9SQCx7WAPu0z8+LZK+TItV/HpQe7R7IGwmNo8ruoP8A/k/EGJgIjCAXO5WxbTRofjMNIBaWXJumwFkU9C9rtk66D/ZJ4qYtqnWIZ96fw+WWBvtE0AEJ1ct4naCq88FpWkU4n33maIev2QI57xV2jUK2hh5P94W9OuJIJ+wfOaPssCXpayT/lXNKCfARJKzNjH+3bhvLzOpj3k4Qaaat1xFKwTglP0+k6ruL2JGZ3/hKvpQMC55ltsXjVq5czKIYTAYCw3afjK7TyWV2ochzblqsJKgfyJeuvdC0x7z6K5bpEjpo+lXWAfKZTVKBYgGKl2aa4sgyf/fuiBpnxKGQ064YunOPH6ratRw1V/wNDMI5XUnmB4mqA+LWFJHhRIYJW9WvAVrENi1nH312aqANyvAcVG+yD2q9s33CwxUcBq6C30RPslj4tpGB5YmeW8xrVANqS0K3leSN9WLVf3Xeklvdxf3XP2452cjrHymZjOXndlvsXShj16FkhazyC3irgBU8/ewX/6G/NmCfwAM3/8QiZpWrgZfdmVkPojD4/0E75EM8R7DfZY17J2woeofDNfOWJDHr5MXEkFyFjU8ev7fIJe0zP7BtxeZgpX0rGY6hG1FyHvmEk450ElEcG2FAiiXJ+E9NeXMzW7T+WywW9j1upF8pmqZjK5vrHhquTeUnjTNo13B+wGvhkWv2b8WXYosI4BzjZkHfgJ7HlX1pUhmEI0hGxMbSveS+09cfZ2CSSFgr05UcUcbq4zB0D6Uz9IivKqQnJVJnyFBVhBMZlUhBpItUbj+NokuvLW8N8jfzkZFi38Gsv+SiITsLFJg3b+u4EeJHeSFEg1iIUHHlL9WPZ1KMvON7oPIfy4Ai5cuAm2h5ZvUaaIJmlhPZDceW3kQxg1YGWR8LKnWp7YYB0IpDUyAKxIVB2QBxVp039JUL+hnHkk2upyzUHtQ9Q6UFU6BhGzdgDil7lcRlWzAVCP/W/1BGMckDR2ztZ/UjP+l9nC1jGSPp67xSiGtX1SFAQ4GqDTmyGLgPKjEI84VEnxPhgC2ap96/eQL1DbvaCEYIGKGhnv8knTKRj3CWP5eNATEzcZCPYfKUHtvgCfAzvc+9yFhbUPnpluXmdgsJUmhJ2IgCOFdfitsSwJVs3eUNyG5lBzH/cGH/Q8j4wxwJT3vURxSsSJ9wGk0iD80p2xjsQbGg5yTrJLiJuI83W4S5ectxJ4rt4vyZ5i/2WE+fq01lqEcb/pOVKw/dKQ3bcZnZ6t0JFC0FbTJ31YryEeRHcC46PVgDch3k/TlEODEnBRKKHp+Ql9bGolgYt6GGn498FpcE1s2KxHMndCG7RQ0fQEv9dskP0i38pjbRJ/dltT8ztnp+6jKM6NlxXed9enNsZ0xA8oGiceBySDXmSt4LsJi8GHdEIt7zomxmZh2eJlbFucjUx1ryPA+nFZPDAkSkeljCyW50s781B8lmS9d0O/P6BL61ruZKoAo2udRiDMtcnVa+V5bReIfOjjHzj0cQC1E6+sMa5YF/87Qu7UaZwqoV4EGHZlT15HU4fzUld5GZrIQXifoC4EA2PNcCX4D+EG24To9EHcPL871+YyzzrSgCYhvC2NKTiZeko21OM3vUBhioht7iHRzNFSsf9djDN60jr0UjA7qcgRjvN5QMUGMvX866KExebDIRUIeGEuY1ngD/ZFUh+LMLCpMxh1sWOle2+E8w8Wh3/vGl/Sm537/Ja2/4pA9PYjLYZpWu981uk5BMlx14nMt4J1LliPBUCcVzdB5bwourPO5mvoUILC0XGjgIl/nC4YgMO7MlLUFlGnEMXDlXU9BC5BrDap0Fn+5NbHjgzidD2QKurEmeZbFi7QcwUlNDakBpAOyyW2y7dMdO5j4l/RH0liuB4Pu12S6Wfso4qCGqXMOKYd8f2mTV/Xiga9dGRXF+fTBXzI85fZs2ph1G/FlEgqorr0o3lDTobB9i1K2g3Ge0KwCWp1vlJ0uPTVXu3QCIKwne3BYsG/kpyCAfBSyXelZ3PCF2Xr45YTi5pGRlfjgJv9Vj/e5WFI2jtm8bGhRNTc82nZCfRUccIm1/wAdU4jQuRyzmANBTgYLcgB/NQf/PbnW5CcIkvYdaGnVKc72eiLr8VM69smevRitdFLpjHKHXucmIoTNwzavE88RswGSh1JWMtc0nQNYy9T104nknIUL2EGkNdPSa9z5UdfI7S2w/bOZQejcdbaxlHdTDcM8wiiDqgXYqpRwyM5tlDyT30eXPK6NQsSVuVBUDa3w7Syn4vYDWsOLQI7e6rwkfgLD+Et5qHqqMUqCaog2WYoB+ARcpivHl/vvtrPsA7V22aWZ6dH0nI5OQ2C93Hqokh7sSyZW2QIetfX1CMDzn7GSRaPDHql1uNiJ8K/GXm0LkDYiwFS4Ud/ITFiN3qhbSZGzcNQq+aN8ApqSjOXO34kPDrqjRFwBFRgVdBJ3WERW8ktaFRlCk/8XH5cVLXnvUo8nglaWwYUKEifGiAWmvdvDcuQUVveKxTL0o7MlBhoWr/1UhLVIa3zUAIyypV8HHocE0q+BuxFYNkKvQE6fA5yf6JwMOa6O55g/+52c3PsF574Jtf+ioDtdqFVrpcGq7NdiidqQofYUrQrLOxpVVblwWemEsR3RWrzJ2zRTyE1pOC6mf2u8qovTma6MjdoijWi2o9iGX9iHhtAZRE5Qd3gVIyZUJFQbcYMl6Lnjj9gFFrcEeDBCknBprEnnwNdboSdRAWeZQIZnwhkvr9eF5dTRk0LlnbfI8PAz8Bdj9Ru0ZyLxxOBg7XWnmoM6iEonmThMPXLW0/DYyphV0RgVrrWgtqOg2sx7GuTnibzafXrikrHaYHkWo0i58vxuZv4rRyq+nutFgftEhptr1z2+Bv1ndW74euA16fBGHUgmqIQoihpAjZFN4/6JnDA9DXEn/6IuM2DLP4CpsqQfFK6qaTkqMGaMNhznrfGuoHYlpB7YMa8eU9c+VdROygTuLfbUllT0RAmkLGEQhXzC40y7JjmAcAly05IrQKmVivq42dP7M3kNqyOCKx+1HAXvPRyTWnaTFNRC+kNi9ZA3TLfweCA/cL+wl7Ee5IMyPAb9V+ndkiwX4mDn5X0f+LYGItwtXwasZzP+Jxpt4cPjPQSoga3jqrLo8N/a5b4qzP+qXzPMnMX43uCB2XKyMZO9aESsd/yt9NfdH8528ukzIfWEK8Y7uCN/WOjaVcpVwj0dnCsBtV5ARf8TALiSYKGy9JBWgKZFOaHFOMLXW3xJ1hDHncXD5UXRrzQr3u3HTXDOCZ0U+h6MYDacyhpAvAXEgXmtRSjgmXc0Mx3kbBqVV5XVDvBUqqFbkQJGwnPaOf1+R8K9x+Km91j0wL0KnVNFDR6utfi3BUC7DyI6gGtqcUg9qed7eTj6xmrlyZQE71v6o0rgaBZzUf1Np0QdVNKM9FKwc41oGvDdha550eDh3F2oYzmVKiCfV6TOwWNmDBGBRoQ51nmHauetZSTe3zgug0KahvZQdPXm3Rq8612Oy74RIVippADY8rIfnXLZLm/1ceKhJ8PwChNaQfuy2IJjVV6B2mmbpd7qKMz4Gh3V029pnp7MkHQh9c+uvdQeHB000p376Hnvr6QcXuuCTogLxWfiDekV4w9JncOJHhQ6UsitsNPxpa/PA8gynlntPT2o6GRut4gljVB3vw9CeTP1DK1vtApEIqMDVyGIm2/dWKbkkA1qYiUaGVa2KrcmoeWZ1krjr4+OObdM7Jrw+E3swB6uqwqTV4gbuSsxPUCchZs7jDJEQPE8Fb4OGOOq320rbVVkTOLAgWsgsCvV4LlTUg7Q75Pri0SsoBIRIRDBtSNZGz42UfYkJ7idaOhP8Z1eCi15oJZ7HgJffmQ+CVxoQdnDo227wTc259iJbMpeBW6sZ7ZNh5PHyb0oUHB1KnUwC2UMVfdGgyfGgj6T8oYYkra53TJWAkqNJeogr10NrOlbixmBXyfAQ0Q8c/6A+Ydl0tfZR1vUTaDE8DD+aF8uxiSr5buCqCjR7UR42B5A1XWBVNnzc/qQ4U25W8CR89EcAXe07gNGf2nJg8K7Us+ex6YXj9qomEy2wFToemgLvj1KJETTWcBm2rezdxTQ7jplL9eUFdv6vXM6KpMtMURwZGvCdn/ZB6hyC8Ur06q9ly0WVrJ4KuF3DsJ3Sc/MOYN5mzMT9v3zInoqJEuHwVab6ks+19hgXlwomrY6DlaC8l65X72OIfDuO5yh2c9DVQMDeFJe2b0Nl0cLNNJIqe4hYQPbOv4gI/OKPUqr25eCVn5DTNTyNY3DctmWmtfzDN05tuae+oMHawTw2ar/XCflWJyAIgt6HWARsIx4lj/SJGl+gmRB1QxarIiH5eMZKnRj25seY/1c37SjpWEAxI0sQdjfnhPKzXOBrqw9s7ytKfeeD+QTlJVyS2WuP0rq0ZJX1OrCXrtQr3uJ6ULpsl95jLfN9FOV2ZLGkKyDK5lUwE/sIcweL759JaLCH1fVCQAwxPyHPOXgIsuDjMHLaRU00MsKabV0SoYnXiWXxrVHPssYl3UVlA3jrwpm2IfD+owIHkrRyexEVF4l8YLzPEHXmoRF6VGPTtYwB3qdnrKN8fb1GNtTL/RrS0ZFirssSwGq+dHD0czKPDmP6AIK76VYwnNSi+pKVKvWL0uXBuZ9WhncmH7C72WlFyL73rmdy1y0Sgaju02hM4B2Lb6r/rWzs3CSf/aeM04vrIcg6ZPmZe/kcTXk5rJgWPW6/LbDAwnQrSgefqr/yZHwWQZ4liPrHP2OB461f9s4nLwBKSc5RgkEkW7tPIEsAOGoHkYO47K6EEHBpO0VJgj0ZTm202AncDfE/I2Uqd43hHvbqWGvQY+zNmQ3keGVLWRNAMPa5JFD5dZn/EPxVlzf1pTtOuoK5r1qrEJE/Gc/AxX0oIXmnFT/GzSXpVMmEFGJJJDu8nY+TBm2CLX/XPkKFZ29IZ3ma1szF8Ty1j4kvhccThAyYceiydopqAnKcss8vA4pktEqXWBvpk49a33+hm/6iiaCc9FwXCnh0YetCxXDSQFZ/rngAOR/pFwpcOEG+cXCKLN2zX2GoEqB6DnjIaXN2TNkR/7Jwk90+KGvFhZvp5WblFTxM5wV2EoaT6DtSttA++R1+QTftARd3URyNAMxi/9roYe3WtTYAr+s2oFb0/lpz8tseFpvrB91Hy+Mwi3NJuBelLquE6FW35Z4EGDueBXvMeJukph0TgvCKnWDyIrc6oKG0H30zwzNNQblNh0CzcNlfiUcoibFJZiOAY+/00Y/Ykpz1TvFrhJGhAgOFPVYKHYCqQj3TP/H14nCWa8DdM+jmwWqjXx27+JRQDgildmYFAUCkLQaM8y9tGZyhxed3c1O/CBs37gKx6UMY2G15hvpII1Qg8Egd/8AeuUvTKlPSl9mHSJOhoJ3opYjTHw6JULLHMgnPt141DDkHFTGGJTP2mmq1bAytJZfTnA3SUJqdK3vVWkb30gb4SBYpVthnWsFk0CpjGNCNZidPHu1JmZFlQkzWKyRxN1S3rtpQbllB0582VR3/xkSDO5Lkafsw6H4FtiW8oGbERrFCXMyzpzDSzcJ7A8X2YJaR9fvWiMFOq3en9G4pKuz8SQr0M63gJQpmP/ZgQ3rME2URwM6QS8NCDZ0gDyqIwNNgVJj1tE0XejnMtYQ5mFxU4UviRE+UUXpy3cIBJUjvvrUKcmBSx2d1cnclU1RzxzU84Rob1joLyER8Cpj3A13hXHeMGzb7FSpjn/RpAgJ0+fiiFejgZLrJq8g8z+5Y/AwIFknqNhYGGXIdbAVl1xaCnpdbwqfikxMIr9CBUcpK/MDm7JPsUOW0gf4oLhan1E9kty6zlEPEFHq3szD2QLzBxN2E3Gw1bSQuJcL9L4Pjc4L1El7I5DWYi/SRC5/gik+2CBtMcviLHuJHXtxEjZnEm/HhrLhH6XaCPvhPQ13FNV+PHZPKNCFcVHHElhk/rJvPaAVSc0PX+G8VcU4GQ3JvH6AjHl39Q+9gn8lPFRzWjDEX1nJHInjLJIuW+Vjwds50QFd8m/zSAFqGg648LxybxV0JkA5NNAwzetpR7y+voOp+lC+4+iCxxSEMBwzXoZPVWZ8V6WEclWlqSO2uyWCQNHaMkFH5YBrc1ZzBWlxxTRMxLVML4LcvagQ/bjkUTR8zPwgtY9DmSX/YZPQVfc0+JjcLaj+qp2o8XpUD4Cl9aCZoEC7/UCtegwOs1ap1UxusO399thRXporNBP885DH2RJnljsrgglmHjl2mnOxiRi3HrveevsKWdsKSUlg+CzUKwY36ntr9Y6mncj6Wi/kIxcP3+X0WLVqc/YI/AEysYdwex3oal2VsrPUhlQ+MdEi8sxOvRJlGS5cmKwXSnFA8usgHWAgR8MTjiBA0jXf1oTIv95g3wjnol9weidQQk9E5tU6FglngWYks2HST6qJC7McOZUBB+dmkm62NiWRlGvH/VVKuFb8HhqRxR44lIkNWEqsYI6i6xYtYAilGBHcScrUJB8ZpLolSxAPqc8UbLHoULpsJ8NjXw7NURfq/vpASKv7mm7wgYtbOhx5vBBMmqg95+R5yKyO3CkbaWKNScqUuXQjsnq/jm6ovCzT2s2BjBYzf85JoGm+XsCREnE57tK9LkiXJUHemopRKws5af+vyYFNRtbNB67W7EIDdPMeptFdzSNz3Je32qdf1EnV50UeWbKEcJD638Ol96eqOdAxlWCmCmK5BL8qUycaaqZRyVJuuQtce5jhtcbNnu5vt/l5gVfMgPqeoPAQrlaEI6a8r9tdcg1qSe/p9EMFkckS56lCORPQEWVkUxs8UgOGgy+wCPXbjHjEGOX37kSbwgMfJs0AVhJoCT/7zqIa+QkFmcC6/GAmG5BsOCl7f6DxppYBjr9YUCLVqzTXn2uf3pSAAYWoTddAd/AuJySnS7dzt6C6VvgCMmRtAg1rm8OyJX5Fi4VxiZVhcoGSbOfoLULFgN2aNSRHr6JJ7plwLieIl/QzvJlGvZ6ONuo6RIzpyNeuIlpNpIAPX5wLmvGy0c94NQIka5hx3EKrQb2IL9br5j6KA2rqRNOM/CIxekltWPPpPYueBku9UqmLxwQg8sGb62o1Qe3KVVOuORMPxAbKYUomwBvWeMzgBvFIZS82mxf/1qPv0l6Jg9XeUE003+yZDdxJCiRQQ3owWWxBPYdoGLcjMdRxXE7h09ognAzy4FAtvVZJmheTIVmujfPi4nK/RVSPlROfed+zAUg8rbXTRKs7Sw8E6aLDACLL1Q3xpVoVMJlsznX17sWIupu+VloyZ8S4EPFLDgGOoK0fyJl/XDGkQsR0Y9wq5sOe868OILuGd5PzMvlBy8g0RDGGl0oCPHrqMnZ0lxgGzeiZmoGUnR0ClLo/SHKeDsQuPKMTKW2CcPLQ8OEU5kmcMh8IAJ9EG/p4ag6eemN2ZkAd55iXezIxMrCQTexAagxEDQb2PNJjaIw3DIoEj4LUnp3hgJGJU/Sb/MI5L6IeD4vxmV9Ew1YT+XXcm7v1FIFmjWTWmt+/T9tg3vA1T4M+yfZmTiNY2u5stlf0G6d0DPfYLgVDYumO8WeKN3Yoq8WU57dZExOttmoNUh5HFx3sVQ4EfApCmbnu44ZApFcKyw49wx27YLb6eEjUoGjhe/U2kYJjSeZDBh4+H8uApzJwVkUeMx5ynAAKy8fOhtViTzMnarQ8QOZ7TWePoG29uU1CqJ0rc0Zp9RLUu/B0B/yaw7+UAtYIzdhU9ywWSc213Z7gOFxrIgf2wYFJAxbt7yJymNaMb7hFjNoXsM8DBzjUWArkpAh6V2z1O5H4BlTHcKx1m65F9J/TjGZy8+UAEZ/OSjcXZFVjbxTYGWMyUEMO5lM0R7wRDmc2vHwKdNEcoHRP0dYAusTPnCd76wf+/SMn5DVCQUyeHRaMVD+ul9VblmT+6XroPShmLpTtlk5FrUBNyl+MIw8icM+KfLa/E8k+N6UtKYtY3hsx6yu8IdAkwhZmadAMi1mIOF43QGT7pakYiWKyGrjsWwEWLfy5sfKmCoxuE2hFuBArIEawW046MyqJxi88XdDeQa7AWiLGvu2EZ/6PIxk1TE9kV3TOquv67yQ8OIi03/j7QWbSjiNdTFOKs10S2fpCjrmChM6vGw79n/A8WfSDdpt8JMdr8CWeRoaFYF3d6Kiqv4O4zHvB0bIO5ElSvw5A3LqigsVEiBpP8cbpvpxzr4HYg/6QXPXJ5gCdr4391is5j79nXQX8Vds8tXjbDGWa++soJIHfzRjW2/nwqDRd+W6yX/5bX3A0UG7Z4ja3aZ5NJGlLdvbQeEZ8OoPAG03bpPfpHeKTmDVWdB1ry1N8namMa0ODDPT8vC0uaol7+4My3eQ/EidjurWq8iVwn4D0NYa8HGT0dQi8mcZkzHuND1nlkRgdWVy3YEUFzxPXp5/FKF2p5QKWoMuiXCcm5lYcEtJqiMLdKE67A8yYzoDr1ECOnZtcmibm+Vd+OqrhNHFHIq5aIkuHp1JT6cmf051f+Cq/NPu0Vz6i9pc9ZAIvclUJ3VL8Ydszg95EVk6jhHztJ1nkbeZjaQFJveULhhzmj0+rAvalkX5bAO0DwZNBmyZWVVWbhBL2pgZ0w9TWxlxZHmxnVGrs8oCkxlUTy4aLVklzzUjTC4POawUtyJGoITY5FJzTl3G5q63q07dYveIfWuyGFHGWnX6SClNmbnzSxKtiG3B+rKTauFPbWPmOmyzevkLcHqDCQDvYlG7RDBCHtvbsV5UslDaHjC+TPZXNfhnCAmc3NHG6Hv/8S18XjhxBtIoZzeVp3XhjYeT1lHmJJwYW/G4hZshUH7XvYGvMkFmjl12dfAmpSyPKVYQJE4rQpCGzAr9LsTPQ2/5VBb9CK0QHbBql6K1GolsZfVy9C8LWGp806VXxRP1OpDnk936jhoT05SZ88frkvGjB1SALeovlMrzePgYKzSOH76YmlruqjzSw9n2g4bM2iLleUyy/lirNb6IZMXbd/bon1xnvO1qRewNTrEocxNDqwnpnI+0BPHPKkkGRmFJZiMQVo+l9iGZmYKIr+c+dnPMviaIFlXUvn7SAertQTjHUD5QbA0fWIOtf2mJX6qvBiZRzgRJgXeLZp4533DptoymhQkjpSIyhgfnfiX5uQSzDVzDhs0xXsP/0VpTyEOz1c5qRXuOmM1OJTWhmEcTDnJ64oALEfXJAper97emRa3yTzYr9Njp+k5s8wH87/Z++yG8JCpkippqKsyBWMKmnuq7tmS7njXqseYP1iWz06fjlE3kvORd04vxQKmDJ+RaLgPiQWlKhSKKIZwrjj8vRNWgqWssLPUzBKHgqzF6xban1jcZE2bdl5Poy5TAtn8Tt0wGT0cXy2Ukyy+k9yvShsJMB9gkO9BFaJACmuSSwdV8RlaJKq4Jto/QxnEhlXW6oZJ5GFbdqThgjcM6Fs2WjIWPf7VoJEfSgRG4MkzDjW/YDw/d1f3X8aBSt8h+V2mxBMF6RdOLPXPG8B+BfcuZQxVV4Un+BdGVVrOkyCJ0yjx6Vn+GfLhmIg5dampomOdmIjzvHBi8tIDHeqyz80Y6NQEbtSWUwuEiDk+mYuS8Qff10wrXTw2aQKTbjzbLCLwnmrsQmG+6HXMuvWwk57IMspFOpq2qcQ/2z8aI9/ZEdiHhe1X7i323StFo38sVW+tvFxbnmApaVlr5ZEgRbxUMScwVhojHFRduw7ILCVeXEfqN5F9Dcaq2bndBHRV3HLX/25uHtv/4GlNqCj8nWP7QbCUnVJyEAfJh17iY4gWArNrCwQx5El2MgGHI6olLLdB1vXWtuGFcWIa3ZHGGz9V9EY7W4eH27rpN4lE8f7uunWPwQrcigJtO/fo73lxsimZve18T5w1/uroi9lCcg+RYVLTItKqTHXoSDkiaqnHTJLR7e2JDKKTJjKJRvYRBaJ3mz0zTzTVejBnPDO3eOg2L0bJueR4fcvw2y/MNG802x8Fl/0v7bsQxZyrg34vrR8x6GKIUSHLS51lvCrVlThgzvMlHFCBJP9hcR6DyA6PWt+LyII3b4HM+HCSqLQ1Lm6GAhjt1NzTNwKxp8gtf7PSdeOzCIn7TjTPTf5UaLzYwBFbkBmFMuc+iru6SOvK147HgR/lMr20c9EDMEd000ZfgWslFwyqUiuPf4GrIgKxr/jL0CFZxMbt9TO88QDPj5ASDOulQczuGUb7e/UN2AKHadRYLB51cjRPoNbdN6gNeo5M60F80YAwktr8GKBO6geBjT4KFB9hEDeWzddWU/i/L+doj4pjiRuTnJcUSjs8fQ2emm5wFp9nq0ydygzwz1NEpxI23HAObJfurvHiGMpgLdM/SdU5rLAA3GcC6dFecDDTxnDBFKY53+2cv4/cMSUpEIdSh0o8D/C3f7xDr9/g2L3l53QnTM8G2h0zEgSyc72pfPM1ja+f3SNrt5Zk1WuqTfOP5CzfjZ8f0ZFdF+SlYALZu4k/QZpAxQXR3cmB+jBV1WoO/CszlRwFZp4MMyl7V8zLxQgJjmzvSwgIdZ57PrUw7YzaQSx9BJfHBFRcd4CMTXx426mjvcTqYgtRz9i1VM+to8PJbrbGrc6as97AJGUbvQNDJ4ot+9wpULPjQWS7aYK7g+4g8ljj+xQh2VzitsI3J0+s14N97Xru8PtyUsfF81AfAZU7MMVl1X6JRXExAh9UdaT/sBcdqxpSFDx2RATdJkou88HWKdCROFPx3n7+535TS7CkNUWsaG18+TvRVrZrs7w5V5e9m8O9Py5RkbfQUap6kAbWRlWK6CvCBLEvJNVlEjSHHz0p008kG86gd/DCpSeU4sx2Ypf4AWbLLzrIWiXxgvhx51pmT+UCmyfrITxQr6xzAk3CIJ1srjosCv6yN6Xd7Qu7pg8EkP71KUjLC6ELn/OFFwU/yQR/cDr+rGRtrwFUefGH13tHl9i8xNtSRxjGqs1ZWr9/bChxTPef9Eln6fZD65GU89aiH+XttGsWuxIR/5b8FnmNGdYvir796Wm2dZf7TTnzsQimKKxJVLOaC9Mc9NZXShvlx+/m+UFxo0Z11QX2pagpfe4PgH0tCSxvfFTf/QIUTIKVYb5QmsHWE05p0fmyFNCodFy8ti0nGjrhrdbQ+ZQ3Wx0yOD9skLraFTdZRC0OfhVYMG680NafpD510hl4rXs8i9CSUrTF4xN8Bz18OAkJycIFwjCHRcNFkA0YVnvjZs8cz8yMJhx+6ipRKknDjnmNw8cimNdbXkzEkIdOw73I0rN6pJtKQSd8IgnPynPEyNHJfMspZ/wnEjiOwdTg0uRrb1O/Qc48KQsPFso8G1Ndo/37ZdzcZ6VtEXhVs26RJ5SfYv++Y1zWjk+mwWoOhGtVkdlsN0t3YA3eklvnXRHeoBM7L+bCNYd6xt8GuJpfPbzHPjO4iYhEKtONnaFX0ua1OnrUJGEGTStiYU9bOM9s//iS2+fYMFhXqpmvJJlcDBQDqxFjvEhH5fLxGMQfv0qlvH0H2PhdSRn+tyZUIUXkiTx3Uq9ed+Wr4muTykyA4OKg+GS4lcmil68fsSybQ3KGWrnCl4Tv/q0fqYAQzXTziM/OtVLWrk9ONPVEuoOhcqlWHj7M6wMBBm7dEfBHEUJ9D+A13Uk5p6F6dgkeu9j+IfYdv0+taZZ3FY2zHXZSHul8/o8lWYtYb9yYwyv2PvVm86qKUPrq5qj+/5R8AlYKaH2iEeSdVrYZAHMu4vZ+5/gUPJ/X99cDzN7plZ3sBPXFDe/NTScPIMC+59tYBYNrhRlsJ/Qcnm84Lz224kEmKEVZko+t1hi/MzSdRaEkHCvmAvl1lF6l6CV1L3ISNR/09hQkmcGO8jIDsMkIhuTubc7HlVMjCZj7MaMXJJgUmfbQFWOwxWgekkIXwn/oYJEp2hEsW9GhPQaMtXFQorRGMYWsZItIh2INqW24s/YyK7dkz9fADbDUKYqItdmhN7EBdvIYyyG8CDiFmEDy1oKYYPdRgCleoC7vuggMRKN0etpUhjwaZSapBR+fDgHh7vEZEB7JVZTEMNrF+o5weekoHxak40Y4Zubo+h32bHHA3qmu44PbOdUYKFHpdmAGtDsorpAiaIKEFrWqAaD7Ju7B0AqAf8wQ6sigPelZR1ahxUBMM/zKKVPR18MRJjQuxNdOIClhLbxQ+oQiPmxUvbrIAfPJeOkpXTXZcCdXm0E+sJZ2pRdJrbw1XFiWH3d/vTBkt2+KFO6LGcSb/6eLzib2v/MiDLk8ihW7koMFbxTdgQV+YIxi9/ull30yS1PRNkDckMTvT426yDVOs41LVa1YIQbptEi4Zwmr3MNeZJ6NhfZUVdcWtuEMrektIMAEJo4uuWwHI8C2lvOWCF/Zi3gXh6C+ehn2VyI2Z29QkYpGbW2kpIq/G7dOtUUaXPyJensKluwWhRyGP1YJcV56ZsvSuf9eFT0rZRRXxxebCqsIsrMh/Z1tFWn1Xw0s86oF7KYhcZJ4clBNrJjRPwICW3FF6Dx3Q/QGLFty/3FarHwCbhNd5mH2FTkwY+UQ+zPzsvzRUZphYHPaVVnOr/AGaWCtcJXX1OKXmBFM+dy892apJWTJSr+Snx2v4lQDmnhvlkwFdfeJ3LuOo/MoM0oz2Jdh2XE859uDfbFnYeb+cvW+I6/5DkHAiK9Zp/i+FWUFP5lIWw2h6J8q3n87wk6Uyx4DmudzDXrN4ffYeohJKVwhMx9aQV+bn7r918wRw5XDkpvztMjh/kIzvmxgVBtC4hccYsnEKlbqIwS9cpI4aFkGEu5p8rV02oMYkh7WVePwhlx1TfY3QxLynRtuhRMPGq+xOU9JqkrGLGZJlu8K9x036RzReuDuVaAsClVsDPRfBPIMl/tyD31jwKULbq6i1lydvBXTctWFa5vlCp6jy9ttwPg2jBLDMiOnbw/N4PGwrYoQevKGjaiLTqiwGVVkCby2+kD/mQtajW3wC1IhXWkOgOu06DrJ/4clU7oZIdGbenfDCPpXBiotQ7wzABAfyrKVIaQ2LjEe20fe/ZixH/U35nT0q/tKmUinQm2I2QGAJ2Qdc9jx0ipA8ZJF9P9MEeap7JnSH4FqqPGxwDX4J3OInahHmJZYKhl75PYAH+2cGGZYGPgBoIHasfkxeTrsfLFd2UEwx/npW0N4Aecas+YGYRTW6Re7JrGVWMs9/hIP0IbUcQggjWlIDKe7oV2pHKaf5NydkEBUVFOuZIpkIV4uF7FHuarofzctxNw944bZul/hbISWF2udq87seQ4VJulZzVMFee79lRRhl98wNIAw8nH6VmzK1GikbCoPlqRV1GVTvjRJ3v7DiVp0qgRwPMC3fRgyDrG7F3Zbxhxu3L2fuUL/yjWnUv5XWHJDEE6ncxfItvj7pWRT8lFMHK4VYQGBVbCUkYcnC4POQ/nkRm84UgRWCfDlxXFAsIKukuJ8Jva7RmFPFwhHI7mnzMkSmgnXtY5XcMU4kEApHlygFrWY4u0F9teWcjyOVIEEC8cDyMQlrqMnuLfJODaJtjnu67yzYVDQquV+tw5bQ2m02tzK6NRuA1znWRFucZE9eeJJiahB8xCupMWAJPE2Pm5FIAdroBCchfQs6Sc4vOJmxupVJkymaVm6F1pT8nuq7etXw/+VHayq6rz47U3w/w83RGUPPkkprogjDGAD7MMan8471mdkkjbKHJCB9YrDtR7nRBFsG9pMmv0Hi/mL8HBI1WIsYbLZFFyCyZDCOgew5rL6+5i9KC/bg4jrmgpJ54UB2Lbh49Cqfke6fqJjGyADrhNPV+TOwRm2BMP2IItAyUJeqeLSsnquGzUXqtaRklrfFv4NSwxqQAqgRFkTb6OCS+tB26L/FZydWlgsoVCzSO4Zm0aEekq813cotjmVR9RW/0yxV32SYwgeEqNBD7dIsyty79bPPm1eMiscyBh12kyOHgB7yWOO8rDGP0GluxezDliVmsTGJ2CnXhgk0lEDXgvwQ8FHvvWpMte7Ofw3WNM8s3fafr/yM2pg3a89zkmH0+G+kv+yChwDQa87UThT5sP8tdCMMq10Z0kN6i+9b0kXMfctwyS7YP1OdCeiPc2tR1uWPdLcogcrD9i/KBwe7SKMqsDOqimYBh9fFeLn7fNIKZO6U9cjP31nPGBPBjoYwfMRFbdulIEg4d5bkUwyOdAYlO0pQcZhOujeBAjbKmWFC9dCjx4ywVlpP2cIDoAT+f3JZ0KUKHH3CoHxdZeaQ0Oz4ys0ur350zAogN+aX8Ufzhz0zOYJaALfT7jiH8mLIm4Yewxi9ShmReplwEXkmX4zex52+ClzdJB1J+xlASkD9RWDODQ7qQU+dPh60Qo8sd3VSvTs9JnXcSUQt3F/2LlU2WbG1nuYqsUsd4l6Tnytqnj+PPVcnnQaHOPu7QLnfR7PTB4sy8bXWt/rKWU1n9ociZvznn5VJ7LC2WP7l1c9Xc6+R2Mdoy0qcpEKO3ZVEZJ6Vdh9t8HVuyq1vCT20yxQXR2E8ROh206FPhHGQLE/SHclLRg9hWliQZQLQhmHxY9uR3kkcyTZkW04cco2C6YlLBabBzQTNlic31TVoLBbhhlGtIN0k5NBjFXQ9MAXxJR+J428Y13Zy4RR6m4NFVDxfFC+Yn8jF46pAtdEd1nxm0SB2LvQ9BOuxciPNvWcF3BNlmhTQPNBu4V5wEr4MR5SaV+U97DB0L845WEmcpnXnTXjYjh/mUZr0yDr5MHoJ9Mdu9CtCLx1/ZALRb0/9quCjeX0azC+rUFWmB4lMlIABMlg24vAc0JOO9K/uLx+rQXpEmpiAvr4unuUMYCENOkb2cK2dgEXNxEVUNvVQjiCwyt1sWntX4+6IAilskPaH5Y49ofgxRfMRPStRA06VGmLQ+D7JsQ5+g6Zpiex5huVpmLRqfotqWdyvBIINV4lApl4Yad41C44pATj3t4m+NmHvfuKBUep8Gy3SG4kLC5ccgEGawo6qofF9yKeObj6ZZgtpaIpx/BcCYTyK1CZQNhrmxvjhmMHpkDaulCs/tPonha0WV5wOukSHC6v6BtPlsZHuE9vfphoUqc34Om+MHV5nbaxrpujUE1w3as5XKHRdpCGc5/MnVCAeGdDTyowgWECGoVpdZMsZoEW1+Yrzo5ljTykTilSmNJPtAWObQnJzvgL+lGNHDakZla6dyAQnTN2CRcJV5Yjfir4gpvOufDGjBCuWEGWr0D+iAf0wNyXqDLS9u8EcxhUlhhx5LCbDF2Je1Aux/pfuNrYy2lLQg9fkHtBRBKxOoGlZwdz5mzYJVdOcBJosBmUv+KH6jDfLENZQhNNxGdyPaLGPQUQiyoO1SgqUSSm8gUF6owQFftfVFix0zbSRCKmNgLDGnWcxPeyYUx/7J6rKSmPSPZ11r52UgosluYyPREPD92p/78ruMV47BxZvwhTU1J99v4k5OvvVOZgay+hw5LS/SpiurU5FBgsQem17exSQ8tlb+s8w0yjL5aOZS9i46dbjSNr1Aej5SeSE2nRYfvK3Ei1XgXeCAn4YTYgWh78WwpoYoF6Z2/Uial3wualZcgdJ60/DCtI40Q3wWB3vWsgKYOUsn65kd4cRdC1Y9CMqTux7KOg2tcBhjWlw1VGLU6YtkXbCMObdF/WtrhoOrO77WSxBhwA/UgcARWkdohCDfu1iXqxZF/G5qR+fU0AYI8Xm/miAQNYjVBGc8bEga/ePmnxSx7x/ETvvQhSDgIF0EUwXiGxVfxHw60KlSoekGX8yX1E25HcjeXD8h2vnFsYv+72uGgy2DrIKuCAN2fuVQolq4Y2+7bDwettXAoQqXHERNjS09cCaP05dogj+7jcoJIKqPGQwrcOZGxglyKADr8Jq0ziyVSo21QTl95E1HNJiOZHFngOcrzwvtGCBDWZIHXoOkehLhmc+G+eBcUkh95uIeoQNRyLCpgCN9udyl2zflU93P/C9aPf3Y5kjxw7g77X5hWwdMKq4N3aqkPe7+cSw+H8uAKWexLwMgcVo7nMyOgyeAgvF84/nO6ocSEohbalVpqCtSs/isWS7bJ64mKsq1X0L1BL265Wwdu2q1l3PSXg3KQyOcAeHP7BUuPR1c35XJ9Ld/18q+PZJmt0G6Y+DYX1qp1KHrAL1dbQCCicCtcGPXkObezdkJMCmo16OjDBE/tial+ke0Btb2eb+BgUZiq+FReLoYVFvS7k9tV59AJoizmzqTBsz1lc60cyqd5d80DenF7L5I0AH2opls09DShfObx6Om132VTbihoGQYlAiWZsU1LGk72o1lGgLMoBUEDXwh5MhMo6LD5/s7lu+ltuWEc2mqVnWU3dYAzyPf7Fl/FCulxSDJqpNq8t/UQId3VZjb43xf/iBKU3fINCSCF7kHTds3uz2Y1BlA+u3Xr3WKuiMawoifajwfqOQBNxNmsPmIkcirXL7Bg2R2YLO7f4L6WIfOJBfvtjLQw3ZN1+DyUqK7aoFKfja7egMCih5rpzBDBn3j9uxSWt0yHxffA9YEW6InhY8ZcxiAqUEYQVhDxHnVNXkDTbTwfjiNGQ2UC6k8EvrN+xzww2y5xlpvip/IHIVLKBBGBNSSvRTgWzNo/sUP0R4OIKUDnrIcXXnIqPHnYA/0XsXIdKgW7NUloepBpXGtYGBSwA6SKWbzXwhRn1DZUhlDTJh95uQfDsSdeCXAH2aZDJKWTyheL+lsf6s7gYe7y6kvw5Lp/nIS/w5ZJK6yXHAUGARYLmM/STWvIju9Mv3M8nC4IckVlDb0ozeXVrOslfmnUgCs4JHBgtV0TbnfxKolG01FMO0/XC5tvQzFSlPvy67/zks/2/T2U0JgEl/VmmHlsgHvI0ucsGKsK5yuqh+hnLZ4qY7Ik8WJlnQX9h9K/3AvmhWUo+qxu6WZqLIx4Ht8ncgPq9uIk/idoN1QlGdf3m6lhMjgPY1f2VVT3kC/gpTYV6TWgG72zP+baodvifJde4cEOmjuLlab4Mp4bbnH5/s04DKZsGpP28fehUi9rb0uaL9v04TCwhawXWxwMxRA1jBQMIrIUiY4wcl8G/fn1hNA5TNIn4iKZkrlSpIhC8KJ1IG6tcNIfjjjFdW5b1weG5o5groaWDkOSuDtavDAwHuZBbUITg5CpKRu5SUTrdu1R3ifdlhX4nWScNFxLLrhyH4OkKoA4gA0e/lOj410CXbV9z7/XRLiq6i+WvqLnGha/i1KDZ4VimWxu9DxbFbYvPhDp2vNgpIhQ4fOxBjs2M1EiRbMAcbiJ4Z3N6w8RuuYIHghlZOVe7X+Vf4rwVg240AyHsngxPcvghCI153/1rQT7hZ16upV788H898Ju+gs5qKAfF+/fLebrfsQlPlJll1/1MGU/UG7/Q28/3QZbvluFzGbw8+qiBKVw0V0PCQgjFRS1FMI/oAxF2F+8moNDzlEHaCmRd9hfpqwkE6BR02wYUehI3W4DuJf79xmjnD2NfqgAJWLMQUIGxinShVXLYIptXM+Tcfv1L9lPRLtvXOw092jN9RCaBCGwTJAIdPB7E5in3yuOWGg073ylPxy2xRywdbhVWJ+FWOZRd4V9DPubME7J4Pg1xuM0CTJKu3aOWNlH+ljqrMYngdB6Ddfdi9tlYCanGWd2l3bB9B98vLUuZW8qtYxMc2U8BMe3i0/WwiLdpbDqEOg/n9GQYg5ZJhIF2kyVIrcQxgjlJ08y+/QKeSiwl6V/4GRr6FOZTzGhh6T/msUGsi4Lw4iJQSUDhQyvIZO3x9FI7toKOCjMGl0QnWOnPOF8Jb7bqTt0jSrRatHzP+wknICmUOJ8qfWYWP3lXfHqe9VSN6H30Q5Vo0DqQa5Gaa8ZVGB7P8ncS0lzcU58vymZcVGZHZrwQ0b9qQLZM8LU3T7a2FOQgxnK3qHosTE1n/Nh6dcC5WSgTtwXzLNrwqr34ISXTMFxNthlp6E4EZ3m2M2QkUBFWPKa6pxkGpwgVLxXy2VIZNyQvo+wjUYwnRu0xD2sB0c54Cp7PCfjYP0oXzzRQhoX72/SpNOSDHRiOmJCyDEqbj63/+wVCD7ublEfPZN6ioQJSt80fzl64xgE4JOIVHFrB/ck0IXyoqA9guo41LQZ6A9MWSFIQuPMylLE/agLnSM4YLVtaBW9ErONiWeFLuppNGMyk80za+0sprk7Ju82hmEwsqE1jLR1swc2WRYjG5frUyLHKzGrjg56PCRMCXgfLOWFQ7a8aPVxpCOgJaRkJVV5kyleOTaTtIUj0GN4f+d+FLMtbUJCqL/2S5EdpLUbfluv6AeXaeOt+yQ00laXgF18p+KoRYM7IvzTVwgoI0qZqMlkr96ATg4bZPAXCb/gby6VAZGeUZXYkX8u3o96+0BM73r05XAMUCl4Byw7yFhAbfVDwFuxKPYCktilLE+TUS/a3o/5FRqM7SMjEk6Ks9kwKo1wVkeisnMYUN67nmiiEHhVeTdy6mIOfAjNx4U7E069/DABgjEh2sv/C2r6GWuyp7tx2E4YGUmLebHqElFoKsRsIOSCsw/3qIYwyLRyZpGuxH8eGW5MrkHWVoTQg/hwn9dyNPUjzYOaSszGzYP1d5VWWPyyLrtdOQPeH1QrDqPhYQzSfRwwHhypfTOqL3FBkWvfhi9qIaOnHg60FIraYj439hLfchubK/KV4wLwYG2SAal3WloXPxo2DRdfVKR19EE4qV7BSnJPEquiKc0WV88fYx0G6NeO/iZe6EZBHkl/CKoY9KftYmdQ13+LGjd4Ab92OobRZuBnITRtkBGuRioG1M0bpZQ2qHekQSp7tFktG/nNuBSrprnMsQ2Yz0TSOHwuZmzs+AxNJlB6Gnd0tdMAPcCn8J6SbJsoSktIl+MPeioWrgpq8WPTBrtV73fXphLozFWo4DxCiF100Zit2N4lE8LITQBBrXJBKrYtK33mPv7bR/3jtgup/PVGfxWjYJDg6L7QaN4gNvcBsElB6yRB9hmambVcm3bl7AY6xXEixJuuFQVq7O4AC5Y/eo8SHE9Y9wsKeWKL6DhXDmqWFGoLKRxUAwfMCr4cS0u7w/PqiGQXenbdmUZnndzBGEv2/tZimrW4U3pbYXnS6MBKTbeMygF7UkVN8zJgq0itD0enyH+pzLMGhMVF/EUloy/kZZiV0/UKkQy5Ok46uWU2WQvoDlwGBTujzJbr2+9y3EFPgR21WejoTcF8oOkYGLju+4Df3VxseVp275Z790wuFSEWIkG3Vh/rHaqnn/77pdcoFbE4hxtPcLXAk3mEVgTHTABSqUNqqTrGPu9NnpqgKZZ/GyMGBHr40f0Ho9I09qEhosykB+AmNdohUQxsYD7niqCyN69Lt6EctE42uz4yulWj7DLMbrk/N6EZEm/f4RWixTTc3ismCfYMYVyNXWGZ/xzwPN3r8JkscgCyDg8PDWEoJvj5GH9JhdaY44pTgUxBmD/j/5t3m3rzVkhv0GORH4oLYNEWz4oqpoFL4DPMygMf1QCy0qL3pwFx1y7cWsCZMpv9Y+zIaIdV7BsKDgCq6stcY5AHAFMe8+vqdcKA4M1VI+v1OZr8vtdloo0jwfzXzo75+cx0ZvaghJ5C1AcziOxTPEl78lzSkE7ivd3iRyeTPZmJUOFbsAc3Fx9LKPI3VUWIO1oA8YFd6j+Xfmdgx3gKrTXd4OrETdA5M7wfiamMqXyVJwN28qgECEv69FBeCUnmNz/GTNXWySYOs4wO6gj19aPVWTL7psjFVDsUhhJYaQjSh97GglgaJpLPVV6imgfTwwWkY1I8McfZEoUBFOEr/oi/66LOWtT2kk8BLtvMIUYWn/CakRL3OzH2Ft7mSfIoetAothhnGfyg8JNYAn7yglwRP/oVszYWvhXPk1o7ZyMVaExTjSliaPdhEFYf9AnCkvQK0Y7iATqSU9qbAPmGe8a4Z3vAlvBc88OR6hRoKfqsOgfU19DZIvGKI5ynFKK1eF/Fzz3EJoyNa7bdKfOXTzYtrxE8H1A5PaZ/Xs9np/PS7nAkXptBtJqkKKph2A/P5JZq3v1GdAUBad7meET7rAJs77mUTMne4llJvCDb7Uit4LWepjuH8iYKQKm5JijmkJIOnAphYQmPtao5Qkc0+SKxcoSohK8MOXahpK4B/Qj4G+63zzx63xoky0RNKrnlJ1TbczyCLqFrYR8Z7To6YdX3eeTu1O6vwgAED9TKKWHMKGSQSZpYH5gmrnvbSYrXK9pTWRdQjcx0tok/57PJ7v1VkIHnSSS8BkCqIKGHcDQ5QCnMlddMj9SG7eWxuZmFnp952trGhNUUPCmRRSSW8stu4HNEQONHxM51l9SWEa4d35Mn13CM0Wh7o2ijdUy9E3/sU+QJCEoCIqsgSWFOFsH3utP6QlSSpErx8OPPNny/M/ypqkd2dGmpCAbRK8N4YrAotlBw4UZVntkCMHZE7CdnmMerz8PFP8P9jRRM6r0vLvxWkFe2LP07AUA5B4j4pKEXrQeP/wOwP2GbJ2jGJZX7Xohw9hFvCw8mOnccUUcCwbzQYGtwXMjLW+c03mvB8XyQiYhYBUMHcbbfEqF7gyBsN6uBSWUQMq84ljo0DBB1Dv//U3h8pHBb9Fd3d3BJDOudnw98RvEzQnwdXle8gi6GOmFvrp91jmF1TcJCVKGwF1RfC7PZ6Jqgo2XYWVfhWA34mrSAHtjPJ4OzDK8sI5k32IIBcCL+d6mvtRodcXVjRn3ysCRH3WXee6IITiM5tpfFahhoSmpfrnSOwVx8OlcESbpt5qSp3TgsCIvxXpBg/LhWaUymjTGg7G08l1zp55Au9t2Fet3TZfdkbULiMH5fTbENREV/JqZRh+qpcYStvnfUxoJw9TZNHXXhGa1Tx32hTaFUFjI7jttcfPC1M2hhPX+BKWkqrvIq3y1QWM4y08pSGrzFV1ZLE0Pkd4JUfwCAkAwaFKPA6Y1OkH3WnN0KQbItSt5uG5kSntOGQgfnZUaBhv6M0ehcenoQYFd9rfhY98XiGqtf3bw15SLlSi7NDkb/MMPaaWRBj94e2Lb/ZNOeDz/3Qaay1qopceRjUAG0OxBIAdBdty9U8nzYvKeGSIv58xvtamYWcPM/kGtQYNdLGw1KRL1tiQRsVqxeYEVPpRNgtViSKidtx6RJMYMqAVhIHFWRv4nHQpQeKtWCb0BNa4yqTjLIja7Y4FExVAUyxMtUVjxylZHa3c1V/pFzI2So6bbYI9HdWB8mSNkud4N0/aw4n9TjJTNbZLdXflQi058TtF0Fz+ihhsIb3xI5UGBCDejUqaTJB5ctQkE7GNorbneuWvkR+1JOpn48qtw7gCgg4mKdkRQg8pg6w9/FyQuyzQcGk1dV/foJhj/K8xun/ZC2cabPEdRezFvFRF0GyrrGPmoQ8fryT97i620BMkeLrR2L9wvlOGnRkHSl+B7eQEPhCripY+2DT7ZSynC/dhbE2jSnh8+zmJ7LxBQ2Lt3/ENC0cIJfAvE25Nm9Yxdbg1OkkVuU3Do5U1GgmWDdDozKj2hlXJQDIPM0ZTGKypCUNvtLZB0XnfSchzehvF6re3WKtIzZ5EXn6GQnd7ePLVr++7FGs92xDFZd3hNVrrVEhPP41wypZPP4eNQBkFAZT6SjsiSosP7+iOZyzL+rjAtbV0t7vk/kO4146cqr/c2jD67/jhbsjdEKEn5gH7/qs631J241nmg8PHMpdj5Xve3Bog6KwRDrERbzhHYdJgoIDjODaWugQEaaYrLmAUdcAxqKk2NuGtLnic0QsGPhcC/jqwIlFXNh7KJPXq9QT3Ej4UlSKOm8jnEk6HXrpuYMMdDMhVp9MVl97GEyEjkjhneJ8BKAKG/h56vPl82xqqvZ2ZRt+WV6p7QJI8kXMzLrsZwL8w30Qhd5/5zRIqOl26JCgVWgWcmeKFftjdY8wgImkwuY3i4bm2N0el5MQrWBWAF7tKBw25Bk5svwNFKHRhDKxGj07I+quD1EN7fCC6NorEpzWVyJAPqhpIGwlfRyEXCWb82ZROEyGPrXdkiKFYCXKFEDqvF/uKV9kH10aJio0xgSLcib0uR7hCGy0OH4Da6jU53KX1N1nh/Lsj6APtwm7WWyFQm/mSX/IKKamv4Q/wlh3drbeOsZFkiywucvf2ABEuCSCs3T/Y1wxdDEyW8alGEEqO32hv61pymevc1ExonmOX8AfSyV/Fae0oRgwm9lFM3cy01uFMzpg/jtv88yauDaN7Dz1qZ1OGahHgBn7bRQRjiZ764YggiC7zRrnBXdZhmUuAuKNg653f2Dfuo4hx7gIwgmYmSOmBpRdJaohcnictMDDMvA0EdtheXTeBN0hXzPoLrNYTeDpZJhHFym9gMDgExKJDIXQ67XDn/vwFqfUpGVs3DYxIv2Qmib+rK9OV9V8xGEyxUCAMki4nB3Qil52gioZFvHYfClja0ZZ2D2L0VU+UKi4OqAYSoCD9ZoRAfusd36B4jErNTBnc3SW7svcC6vL4IO0/brpHbNVABsWLneGjjRR/RSNA594P3ZZuJ2WIKkBVouGB4x8oDz+pC69PpBalpG9M77Lsc/TuVpMAzRLlbFvZY1W5bmGKGrtzlMBhqDN4hx7RtS1WkbGUfzaDPi7uSV/YV9Db+6VLKva42DdVmvePCrp/1MA0cf4/leBkaawFXSqfcLx4ig2/xJUmRLdrilXFE88fJftFe2o7X4Qbb9lZVYbH/TRYfrMeUDgAPFlhvLHaT6sAq6dnT7YC9l084yL8k3rjbPbDIZAVHMqOfzBdSjlAndlI/SGLuOHIQBg/wVdU+wqMIit6R75AxLCNH3rDuE9pdxQt3jMFSmErKblevvw1VvHSjJKthPhURCB152qs4TU6DuYkXxEfHmIl/Xqg9NnIh60BHRkAnTHjzteCBNYC6pR8sK9VCEwBDdP1Z7PPBr+XaL5x+YGrQ/60Eh7dsQqVIJcSZR8DaJ4vvkdqb4X3oVPbc0ZBpZ6L+L/p1JJBcsbTERaYuU6wiGFbN9aPsHN3Ka8lbJEWMvqtRD0Na3SQhk5bcL9TRskBTKDPXSJAC/u6GrdFGB4mvtG9dMWJGNVNPOfke0ewJZ3FLx5yWH61AtKFSFWSMr2w8kKjMwOnK8x6+iZ/wXTUqIxFQnD+NLlpa3TSxxwhwYhHmtjeR7FeYSyMch6eEdPQAR4MD5c/H9eF1rAk55ewqa2KtpXum+13WoIKWd01Xc+/nM8JFI3FAiDdgQxzqTP60qrQYulfivibGkDZ7i43JHO4OsOXfAPMxG7120bhn22GGuHW0hlqeDpP6pq1uFpy3o/hNKu4RB4yshKTA62Bo/g5EgNnaCmY9YM23vj6s7MfCNqzsyjhCnt3S/EVczmF/mJydzV19Gl/7Mnrvu/pLkCyXdieVjR/ajD0YHMRpbAOcS3YC56TAJcbWHkHRe4zB1cIf9A7RFvWXPJVICUV9BL/Dk28Zk1EE8OYYfhqOnq5h6uUWbi+0Dbvi0yLN6aVw6TUDINhTznzfZ2O5r7S3HLCLS1VzFQNCexGyVAonVS7EtnxFarfoR9pypunOiNRZb1cnbmudHRi7/PCga6B6fbDFjYum6r50T9BPn1x7BzDna5JWbiXVlq4EvbnB6tEECdubgyqZWAna3vu5tS4900W9kI+GcjD3DxZ9G1iYnB4JFEtBq3pSBHqc6uGt2DFnOYSascPj5KFQVAWYhATcMFsXVRWWVQ6A2g4erhFb8Xv+0GVj0/tdxY7VcxPf86Rke4Fl4Gy6QP3E9JhbqBSyqg7Fe1Dg6Fhd3KCZvHi3CVD1MOLMDb+QtyIuZwLKTplEpKHYNyMABUkvQvr4WdYmOLhvsS7YOMZIZmT+7qAGpp+lCqKcU38AfCVxI1nXG12ZLbTkCV6twZ1sniJn1pQrvfQYr9IiA3g/Tw4tZvt4D085IYlw+K/Z+RvFZ2e+E/BjPBv6u0j0a0Y7VJtrkwhkNO+250ScAJtB6cTRneKx/lxvQw3o02K+S+5sWqlXcBtiavhyCdHVO2vzMPevj5qxcU1HztCxa/pihkFQ1WqoFwC0x2EPOl4HoXjtU6yDvsRniW7VlP7FmBJCZkbJwAjU3C/hc1nX/SVPdZRn9PSkvxvCYg70gzjbQCFlqheTMcytZx3MtRxnqHrvP9ZL9mZwGTBkcilntzshbVHG0JNsf9LxjEaJt79qfvQW0yqFzEWirPydyOCOb7l41+yHUZbXsYMR5yxn3XEA5/mQuJ62QBxfQ484IwMUYhQk00iw21tVRCrcP40O5SnLyTHC0ihXOa/toJi+8TN2VPIcYzCfA1cAk8dUiijUzb6Qt193v7Kh/4TChbghh7AOOMVOMMEHEifQrLWVpbg5vJBfpZm0Bdly5kLGCy6Brv04gyUjLEeoa3c6T7TlTYtfDmILjNYvUfkTRUK1V5NcJc9boBZbuOXaNgFC4k6L4k7XDN78WK5UymGYho12SalfGZywhMlRyFJo/wmq6SjeYH8nq9s+vy2sP/+LL4zTeU5GiQLZ+9/xacLbQQArFAGmbM6Q2aqQbRXpKDDhhmRNA4azjEKnZjGgybji5ZiXNw0Y6FvPLMZiqD13lhSHANS5XQ9b1V9Cd31hv/O1/LrS52UdoiG1NgLM23zCKM2X48PtCqQQZHXHssHvIqSZPWJ6o9pcWsZnEGdxe7SYkiBHBnv4YvSz/vWiuAyITiNGZXZgJn1caEcOwljdjXHdNrzIlkrsIQfm997AmmWSF8PohjiuZRvBl6VKIWfhtopUT/vPO2znh1SgOmGOXdyiB/UyF2Z2IYro5Un1BzO3yVc8aKtcIwUBKacGkmPeobAVh9ZWeLMo62sU9UC9byes/f8oBQy6r234dAQxuqm9CxZQwI6vY1r+myIbG7Irer7c2N6KDFjx3VIR8dzfVUpXUrpwk+osC+hHlrdnfpIXxQC5YTzrpwaQsIyCl69x1NPqjC5YV6oCvTA8aGFM6WTN7EE3sCxThQe3Qjbn80p3pTyfwQlt45MVTSn82P7By7cY41aKtFJgiufqfwegmZqY4sbXsrRrkzK/7+EP204vh1JcscGuoppeJMt7S6lJjely82rDc8Itf4kFz8zo25q9hcMLAFa7TbXqdPLrGgCkieFGUR+sVgudbviNnwJ1SdB2rgkj7aFqQwEBZAz8zsv26Ulapl4MTtI0EQl6B1YVASCpWSIhvUuNUC5pHPOVQ/U1JJDgziN6qf7MtfHV4VG85g1hxpfofmuRuUGwSiByzeGu6CaBi18tlqAqY6SaaGgnhHM5QgN3XNpakZkp8T7D+CEsYFVILgcmXWMGw0OGP0N4i19B9f/iFAvEB1kns+V9ueDiOUcYEKTQdDOCWtICu7Doav6xYGjWh061pINuFD/9QFypl/FHa4Vno5s9xF341PYXxVoCP7/ypcoiw5Vym4LQfUss3uQOnDgK1iXySspISexI8qcaQtV8L79WD1Bn/Q//F3SmsGiHus/aZrP6BVYTw6B6tNYwYFEswLfFyKNln6htSpHS8R5KLevxSIvRG5Ro37U8YzxWYBEzoVwdFjoBlg+UqFrTWukdDqYi++hu3bu3O4hyjwIe+BqgrSLUic/m0sd+IS3gNISNO91EkCo0ii9WeFqOaSKjScrDECwxSnX89SYV23xXfFiTxaUUvNoQjgFwXv3AJVUfeUcGOJuIGPicb1EKcPRPzoQJuEsZJc5PPGo/tM7xS14lRUhQ4AxFIO2+hqTJ7gDu8/bWxnRbWphz9jyaFNouUayx8dtv2livLeupTlWrWJ10MDIpJqJF3BKEEzqG3udBe02KGIIRZeKoWxSNTx0cs3W2JvYfWgeU7BHHUnOtrxqlctZKhMZWjrvI02/+2qyZPnQ0ZsZge3c4/zT3A1ecQgXy9S4q/J68LTZbPgB/sxp/b2CTMBOdjvGYsDTn8gxeEUTcFRZrd3vBlPks5iroebPP50LMHFKbdzWtDp5BluJeqGOM9y7M9lmAP982JI5gxop4reDfwPsquCacZKxU/pBK1xjUtutn0dC1wyGrkDSNHQTPCDnfOwl8cLaNIITSnqkhF0JvW1QjYkVzMKzm562Rcb2s9b62AC7EacrxTFjR16Q2ITlzjnehELYVWCuCRUSJAsK5LIwmK1mhVVnr4q7i7wxzvtGAGW4S1hnIM420G7sM4SAmlq472NwVLIKKDcSiFfgXC+6QRGMBZeIe+KOJMXmBRs2jcfYPAg7/75ykU2wO8a11lJ9kDCk0jhe59UnacFzeR/p+lFm86Vr8Qqo9/zwuLrkbmKVBMUsUkfQaZdaNUNXcg3cWfBKtsd75Df+F3eLrWR64fNKs5KcFB1XxLxfV+1G1nx7qTotrL4lRjVUn5+TuU92X5MqQgylcjYlBL/oNgPC9/fzvD4jGCaVp0cNgVmX/FX8lmIWBXz7y5QOqIm6F61HQtycfnrRH466EIhdsrM4rZcdqf6tJ652m0jqEnKHCtvtVeGsl9Zo94Fh7Y/bLg9J0ZEWcD0/uzAimVph//xvbWVDDhh8C4VNvJChZpv8GXb+WPCA7cUClJOURzYqLGiSldGHiPuWoctMjlNV2ew9wf5GQcFRB0YQslv1BvHLVaxC3X6GGzsXJrq8UTZSHaxyKzsbVQJxEE2F5GDS49aAaKhYnR1yTMu7Tm9giLpEMor4NY1cAI2zUbAHTT/DmH9SaQKutX1IHDFQh0bCT7VPv+YWQwtJHY/OjcxbRb+mZrnRQojHYYF2vqdOGUGu0+PrO8SVuIWE7Nn7D6gdmdOzShtB8FldP3yF9DC/FBPhd51ddZdOaEQXfxeHGN6EY4xtLr1x8o1Wc0R7fcxrvqrvtpRC+zhHRHvMLR3G13FIgPPhf32Vw1pTQuo0RBR/OcjhD/Eu/yERgRB1OkgiYOgG0Y01PtUNi4KAYSXwd0t65Jvw5hi8uDZB25hi/VY3FYR6MiU8PnYu7aLEplzZo2GDdLWqhlw4tHZV9jC8Xnin88HItT0y7s6rYP7xgOxFzVCkNNmJzZeG90lBcyxqa45CLb5Gt70VmrLd1zNbMQ3JhKCY2do7P6DPVCquPQFlzRatgsvISHZFiGGjB7/eYxBQGx3s1kCKMzvKFHHhC0DZUTpMqEsGP1Uj5FK41XACU7kk8bkkbcTkIdpTXrtEIWRmeZTL6nfngi0isOVuFyzXquK0jWVYjwKHP98UULlvHD2ZNck21NJbHXv622xfZuNB6Qm28kLJrSpNyrJOmFdGV9U5Hdy3J2Lj1b5D/8XpEjjV6zFwrGWA6z712sMXLPjP7Mx8eh1c9AJ8RSAE5+uTunWY1ORM9HeeCzPVx+yRs3cM4IJQWMF3Ulplsluty0xnDZbdCwNeCLqZ/Nrt9QJLczGs2cwcm5/SRRIQUGuh1pVP4kxO/R3DE4jvM+8wayV9IIdI/qih+Cdidqv1DHpdEuMUTr+PZMqiqkddA6qFlxBVeo1mE+Ehc++K0DOdrAOgK6Fa56f2Is+JXWXuo6uK+NnO7Yi2owQQq/Bj+LgDgYAUmf+web+ppIVK23oAiAuaGlptFSyvPBwsiqDoiZyJei+Pm42dEcB8Jkk51OYDFysh9id05Hkdsj0PXwinHfeXtyzIbKnrYxO8zvSL5sPCLbJykYcdG9hD9P4UIL22rHjzJGTHAhcwfFhFWMmuWSObN2YQo4fnYx0e2x+16waxMEVpryIFgiMPBz36iWOoFGTJoQ0IP81dcUVufjqUWx3GpBffPXmFZiVxMXiXTuGRhkkDujWQgbDgYh+FiNx+IU0PJX29LW0O3wPOujbF3Gf+yfCtqQzT7Z4brW8B1ACWlYsQZPJwqUAlR2fwVBHVsv8VvnOjKP6aNYgHHKAjsnBEscjn9NKBbbvIKc5PoRSYNKGnI05ZTp4Zvr3Yh3lVtvAk4vO0JDYtLoJnwZfEXy4/+64SQ25JdSaiMYieouotrY4fN4K16+KNKZympSFfjHCGh2C1YpLsNv39lDPNZITS1qFmI/aooNZD19FzymXGTrIV5qIn+tqLvoE3H+zS0TbTXWqsmKItdOk0CGmcJLXrNktYIS4fnzCtmTix7Ml0bzfiKr4KqpP9PKKJ27WFUQlCTOMWdTROAQKEyEaW4sFd16uXp+wFu3ZzyGNzwX4pXWXEzq+2jYxoOPCyTqs3cZ/PP7ZBCcmHzyynG+LofsRZ9/AEUsqHjVLn9AF81sziOSbUu89wEWwIgDMzRIE+0qBJSm+fs56fQ6SO86RVAsAKxEp8iZzsI+xA1VzN9Z1hos7v7K3y0XK1nEd/Rhl6P1ZpwauUCTv67CjxDbI9CSx561Ya2rEBlqOyWsvg1VkRREhX45gAxb7v9ynkuQzqXT7S8H3m5w1R2iCEpAU+KLwuAwJyRBvGH/0lOoWorTxezBLJ84dJzTLNpWi9MW7PNJBEFTLSA1B21WHkucTOnIF6k67MTMXnZ+efUgKl+uuhlH8USp6BJpRuCy/lc11jAo8+a5U6yTZD6h4Of/d+4ckaoNOpkSEO5E5bUZRX4jymfzR8AfQ8aAeR7FVbKhMlzA3isd0yrtSHJL0hwium/h9aMq5SdKLXFurUeIgtjJ2qUHQDTNROjEdmgNf8vHk8e3nebhEA//VoVoJfiBfNTwX5rkMaIMyne+sH2A9xSuz4/SS4LBunZ+JhwbqxkTA0iyREfG5ptKwebUYs2zq97BfP9yTCFaAqtN7pCr+HrqsJp0f7qRir7KSyrhRaq3cVtJVBo0T2dCdCoRVRNEZrJcZjsVQNYNaWw3Fzzec8Kdz7MP+gl24XUeHqhxSYzh9CEUNbradsbSp/nl/rPDCT/B4PJJamgIZWnp7KjfPSE8YlNXAZIQ9IbWgOk4XC6xU1BjfmrxY3B+gO9hXsYmO52arBPwZVCyLhN9IT0hKscfPBzjmaEyYQsKkpcGYyBTIGUAg7HZvY/6gliEcmipoAD30GDEYB+q/b4hzBOlozf1VdBuGvNikZipihpltR4kOHTPc/ti1lJ2JeHNv+USiyeZIV3oNf9KT5Pb0wZ68NTHd+m/WRfB3FL9EbiK3cye0knnRgFQeDqA6lGPvEE1uV0cXdmU7sGAfBlBMP3F8UjT0r0J027YwfEd1UyT8//kPTgzHwwZoTxbiyoRg/k+30WRom8tykQl8uSEkDL6hZdB4MKTmGXWRktJvWeV2OZejILxcIawDLpf/4ktguKxoTeHyfihJYhXRgVZIqmB/9zUE+ezeTyiXHjLmhZqUtEeeK4AI+k0LAveTFxo9t/ZEtfh+x61ExHGUrTYJMgU46bf8EtoLtk6pizS9SrEiX6l1Npebh0ImUOQWHJjVDuX/bvIKP1j7i39HHN/izjKiLcVwK0AAoIgQ2fO/0f0t0SC6QRlqhs2a1Zq/JN8UWwUcVHfOccRvodlAfVxBBR1LbvAVim8E5WKud3hxFrnPeJ3D/unGQfzYZ9nptvBwnDYSdGntpbw64A18aLQo8T0YE49f0K4VBGE2Kw+OnfUPNLtX7h3uoR+po7C50lVoZxFvEFx67cpunuf4Q5+H2k79DIOXjj9wp5F7tckldz/8DzW3s1B+bGhTm9+jE7XBZgUSHJNS5yYsBqWEVbo6WGod2GkH33wE55TA4safki6y3pKUEqTsa3K4D2auD8njK2I3EHKooNfMg8lnEu0chbH0apX731tQpNIAaTh2bTInocx29BnwkzG9vKZZTRmc4ZqTebl2+Y4OxQVy3//v+GmWfa5G9+BhgFuV0o6pGSAcldbnjdthIYk5sqcZGHFbcCtJd6CI2OW62Tr6TLlRfd95Ra2WWwYqo2MTvKienK76MvhV/JHesqwEYVuer5CS2sjbge7o7IpDyzg+iTktyRblj+QKUfViZDHPs0kaSVlP40EscTpTfnkUaq8wWWlFdu/rDs5UNOrhyruq8n+qJr7XVfSGLIvt+QtLqaNpmExhN+aZTt1YGd/xX3/01zAyQOjejrskgTSvaHhbn7CFWcX9+fmb43Cw4qaNi8a2DMvxAvrfB1FvbwPgKQkPYtsyw+CfYANBq2YQv+9FJ4DWxZxeW3cYuKxaexzbfcmWCf8jWdFsc+0R4ilQ2lkkh5QU5LRCpJTpoqK/FPQnI5ZqsYwv4w+gOtDAbc8/4Oc2bJ9GUsXfnD67Px4fxr3SO6nhSSRtuES3CwwzGfjkLMP5gO88M4NWri0TuMOPFMMEvy1pzrmO1I2Nmd2jZd6stHL3IzaSc4cIL2fu+y4dgZBKMjnVuvXcP27nsxJDHnaP6w+x116wd7JODlvfjL0KAEF34ND42BhbXzQO+LFlb2y6pf4PZkbM+xouVLdY3zqSdlIhskW4XrkPIgLWUjy0kHlX88zjShsRnf3tSW21qAtHMB1wly8/h31VtTE5jR1IJhGNHsKcsRgfwJP4wblFkA7w7507BtpICREQDtsE9nsRIfSlAETb2R8rtdjT7xK4TjAiLo6ZtMRYsfQD+HxqwE60V0NY4/dbjCkC3tpjPmA5xLzVtWaO4/B2A+xT4No995vm+EB9LRLpOPnXKQ12FQaKG4NKoObC+iKhSAP0uf0VKxWg4mpvBk5F3/kgoph4KXCTS7ld/CxMwSDZ21I9xNi/RwSawAzALPiGMAYNBzmTi7RemRcq2qFvzl6Fre3h+rGKsJ4WTrh0/RwmVq0yirlSrRf4mT4olC6aa4sVt86Nt30FtPmt4b+CChIWksCQ7NhnwIvnFO3qf3z/juOMSyfxphHIXP0GXjWPcLB8FsVacSqmVWTeH1F+h7hWUgcwGm5c7/Y1wNcIQe+pQqYQ5dsNyJ8JtAYM00nD9f641WhDSTQuJ+IWAy70+wOgG8KiuDxjVnz6PWj/+YW4IybpHmK7iONpltQN9WEY83YJmrdCuoXQ0VjVqsiQz7YKhftNyrFOSEyK1E9ItKFwSBr4SeEUyEwMojvpLLDXJ+wgo8y90/rBGEc0engQyrLnbAuCCxzvXWOWRiCxn3dsaihSR8roU4LzwlSma+hfjCV2HaqRTEXWF2LVY1Nti/pGywnB8L5XOPxQn4bBLW9c7mmyKx3c/wZCY8124mqZ6OJfcn/4knA3njn9FtWJ0DeStUJYO/m4hEg6Hc7i3E8Ddwfshex3DyXffMAKH3uie/ZEaJBTK0Ru1SwTwSDevnLmEfquZmDazbZIRkmNeX7FqWDLL+YTonDYiaRcPIHynZtae0cBLN/pDeYUJO6JzLxpHpBqGzXk0lASdxTSbNjdiG1FNn+yPMfauR0BwS7Y8XeY3HQNDVkNrxps1Q5cDyfmsZljNvWCOqMCoRHF7gYBRhGTi5N/72R9YDJ8LHn2S0PZ4kNv4fg4DfV4R9GgWmZqU1peWCfoLdn7fj7nxZKumkIB/pknAAviNcyu7KTAdFnZJGPeRVcb0jxIeSgFEli0VYhULdibKSKZm6T9ZOKewvYW7i1OPZBDWU4Kk0VLipyoxRE7hUhebezWF94UDfcZO4v0hDMEA+q2J/zkGW4gYq93TJDvVCxY9Bdx+pKvZ4IuJcmuL7HoRyQMZ7eXH2/e3qHb3JmeQwcDZEFZbjVFrlJU+ZwXXFVow0PMIU0M/yaGloCjSEZhZEs25/yWRhgnU0J2Vwhpb86v/mN9B3/qLjFG6OjjEmfXNm7Mk9B2k6/mx7RCF6o9o7TZQpffUb55eO8WhtWlY9nl5t9talVPz5xA3PQpbM1AHJDqlQun64lln9tgjBNw6+QmLx2Bp0JX6zd0+a7z+nORllWKbjoW26WzLIwifPPhTpQzkgDotU26FDVqtTFfdcAKqWkPipKiEIM1SDSjUMp2wL6A8MXOJN14TdSTwZag5Ywwhjp8tZwPasvVsiGr4k8Axx8Sp0wvaNNj90jVivEQJlBsj94Zi4KV7QoqiWbzjIRz/99m/f8Is6j0AF6hexbAzE0OwOpNYgA1kycanFimC6hfGnjpHaX0tgpoS72cabFFCm7eQ8HDMG1AkaUYucr9CRZi861aOtailiVE3oYqC5nA6DYPNZp4Zl2RQYGZXYdmoyBgi2YP/IRMYIXfQBxxfCrrsLyxdhobRsnYFFmYaDv9c4YodBjXL3jwcpu7srB1amxUdlLCuHmjPbXqL90Ow+VTjjs+tOhU28z0KycVTE/+rsrSWdvEOdOLHWWnj5730esVy85/aJbVqkzshtY73IkZ70ciMIYcSWr8m/LMAwiDdRjMHvNELkuW70vhkGpvlK4RW6MuJID4WyfOJ2UU6L/SuYPYQPsR0KcaSkI4OE4Z7pvN3A3ZM/ZaQkeWgTReVyo7aW1V/bd476yGV9ouzTM0QURmAr0lwqomqNRhqgChJmqGiAGDeM5rm3FP2dzzDZpF8aAlHqVXpJX3LtdLV2BDAp4YgoIr2oXqqq4akTwOz0aG2Sg96prdLL8Nc1+AdH9dQCwY0NPMlU0YILsCNQOJF5gCaqtuG+6+i0zZ8AigzyLn7jjUilRIG2gjF4SaM7QfyhWt9nkD65ZiLqqM11ST461I56QRipLNhEe6mNFj9VWHUU6soknaXW5PFbkdtCQddHXD/DbSDcpwlFWxQXywrLwsssbpp7Ds4Uti6hlOdIQIvjO6j0CAjJzrqnxg6B/gJwy9mkUUdv+r7bbd4tWb1qUWX8Y9XKOhNuVynPnehMGeU1p7ScV/W0r+ZeC6HK75QSLghHxiGlo/yKXq3K4qDiUZIovSDpV5QhDE5xpznDzUxt7JH3Sx2uTj5PBxG3BC6lPPClu5AUxLUUVCI+cnnY8drtds7ULsWvwAmCL3IfgT0o1octShHUA6xAJIHCYLrReh4I7mOT/BIdQeaL5TWbrEZDy81NX3OqatYyVO3+ARvki91sdSXnCoayhO7iGauE2O0HdXCLKivKMx9h1RyMF6brMFC6t9FKrQwGlRUWzeN3dcEJpbExX/JycmmK2IgcRtvE/8BCWpkCDZgnlnCZ3HBx04/CvNYddV8RVuqs1n3NvIaeCGDQqGXFcesRWjmfdCh55rs2vk1zZ6ONK3/cFt+LKUtrDB0KGDvDk0pl0nRbinuURB8a0lARgx5uqBHbkZXzCIRDLOq5uMcWjJShMpl9PlO6eym2akivRrcid+1yqXlXB8M2x5+XWF8pE4TcpHYN/n6yZmAvL87sY5mu4+W2embULsaQqkc9Ay4ECeWPCXa3ZFyRYx96c01LB975mDD5Xz1Ia45rWlElE5vnPlgn2Ejyq+HDMXjxpSI6h9VQSj2s8DxzsGsPktzX/7CmEO/OeKqv4vfo3d7M6jbUQk16bFcDulZweT8zqdqivon6cdgGl7RbJU0872d7SPgfyqIRe9qw0JlSJTKgaNRBuTOUKdXtbHqpOUCeozf9ozUGb8pvVodyFpbKn5cB+KRNPExhccPD265r/X2/qXr8IkQsuihw4qL1/mK3D5oJjrNtLNqpa+HyvLJbxszZW6G8Lap13jgjXS4Z/RN0dP+eJbQMkwxIbRrULUrYhRZ3XKRiM0vLY4ZhpRR2cwmsGOpfSz7dsRci1orIhSvzArAM29uJ4ieA8FuwNXhQOd4DEsDephwK4nKnRypzkZzsaM0oAG/HWsEYCzeGTjk3AX3INqSMqusvChdAunqnL+LTQuhFNcTba7cE4tm9ZYxv0E2/EfPDNGAek035oN0NxcbQp54MWIly/A11l8Nr/xmM9TwarBLwKNVx8BocEOpiBSGuW5+gE3OpcxqmYMvqVhoYlt6zzzNFVY9TCz3tVnSo6Zh24TUV0VoMcRORi2bMQTKyqFd5ntAU5rwCary6tHrs5LYkFANbr64PM2Hpuu6EbFqYL9UGaKpHouA4WUAwgrZ0i35B/LlGfvJ1xlUtLaoF3ErhSGnigbni2yT+yFvSoWi8g98fovFl4Eg4uxXJYk/Ps8h+H+G+ausfxgRd1MOXbwhenLDuEPHblolj6UTnzIT5uutrJKk5FOO9zStS2o/v681zDXDJ5cetDWvLLaM37v0ua9+JVcBmp6pxeBlQN+2al+m7sN+5DMM7Y+PlbDGi8tdWVekZtvH9YUOLMWgkVN1NmyxQKn2y5QMHV1fF1qEZ3Zgmx7gUl5F0SgpakB9gMalIiJFbaMUthMfXOUwDX580OmoW8/4kiydI/hHFe+tL5ZBmUbAIAzz8hO0h2y9HhKsjGxaEDFxBjwk8XIhfgQ0AsnuU8R5rttYWqLYr1D/I3ah7Jcj5eG5NPAcaLH8UwlA1MwfEO28WmBUodzSKDHJIetNdvv4O0aQEf9FAw35nlF/r9vn1xqt/8jlMtrZz4ROKqblUx5WB9PXQ4wCZrCJVFbGUvdBmumBZVB5wh7loXPso3aEoEx7lyUWGuNPEk/zabHxq+fDwuOfxpeBlU3/oC0hdGm/CoDEkeQNQ8yzIVqwZgfWjLlEHBXlPmx60wKuc702Bvl3ijITHvkaeVMuRUgw9r4ETy2NUXEZHLSlUJ8/nvrJ+SoZcX5R0s9bJRyYU5mi+usK32uQ4V6r42UrkTVngLuylNCSaJ3Bbx4OzTzITqZrSx3UefxJFgDrlRvALq4N/N1huu1I/i2v9tRJW5dMLj/fA4dVvmalCPIAm+Pa7Y0S/sDrFKjL8bHXoYcPqUjiSttonHNRkcfzWfzuLhkQ+8q40yQlF7xIMRZgAX6khdc61+PUKzJECr5LNa2iaD3arthjPzjRS9mOTl9+pw5i1wicc8C4uZ4kmba8nQH5F/6Hi5TJaS0LjpBiInCw3GREMdxseIjBMJGQmxOj6PA8tJV0Kv+xFqZOEDZdzmHd+01499NcrAFrhrHAbn2QYW3cWIoSrmgEEhIdPbKIlFPgFntEiovBDyHMKMtTkEd99Z92RZBNFdJT0p3KYVjqvicMlWNvR5msyZ6XfP3JeEjCwo9Dhhbg4uZSjtXCgu6nZoez1s33NETL2KVlhIFvN+wUXvn+L+GeptAYdjObwBGRL+LFpD7h5h8/oiHJctTx9GWWxFZ7uFTbwMyEmcLI165f7ULZNee/ugX+LLjeA5ikS+S7gCTcYwVOA13DlqTKbR86wf7QA3WZXn0K34Klg1DaL6SK/ZU83zFAiS22o8Nk7pom1O5OyLbBDL9jxl6sOJp74I6bq8C6XDBz5erE2VthrKaIdyScw4lkDeql6rgi691P0FO0tcn8Un0AXbZZUXPilukr/WW5by3pRZ4LhyuEI1rvZYQC0V6Uq/rJsjWCg2h7x/tsDTSdderLmIdaXFiGcdb6lafp5v3rsisEvz8iMVbI0NGPzLMOyfRyQ3RVV1BlZP3gJ8NltTJHbQPNxUbbs+tYrIgI8y+g5Tntp/BaarT2Sqp4A2jLnJW0pTy9RiiVug52METi9mhKACqTaVAiBI2n7YttNSZB/YZexLqhtCISwX0DM7nR4AXJDnTvNeZZBU3Fgi0dQc+YjN0buOsQn4azhRD64xw8XX/9NQIP5y4KtdW+bIBERQgOxoENRxgpI5mUU6s9YuhJiehbEkdXmQZTMiuRmpg/uCnK/nSPpKDScOZFcbupAjL9pQ2KFUOT2UfCEleUDMmhkE5hFUb6KguzRnGFlr2AWsWBLlfWw0/UhHsIEcSzLsWbOncVsomQtUJodId/0S++p1anDxxxReYL3XdD7gnnl98TkWHnk70trsseMi8LdnTt5WjmlFkzuPXIbdarbAV4NGH3IvpPqibAeI98gznS4Kon00TJ3ZZJ6kS1zIrpukRbbzI4fXRgQIopGsoi0dhEoFYvIZPedBgohgQt1ytuEzsVVJOyp4EWvWEyPrmjrJd1nMBulGN5pvcftJlgqHTGUJeFLcYQu+obRWxYkFmN0DYXzQEhedCaLbq0uJFDWLyMsFjmgdpZwCFio7wUmnbAYWScrvxrVr9ugJ5eo4bROocswLJMvck5p1Suxt84299uHJnclmWcBZe3e3krmweDF+G+qvcLPsO43OfyHcJvYGwexSMvxk9Pe4BrwyBrjFquzEEK2kQd6+2hCIeC3fN/+zY+n/q5EsEFVTMSONmYLY21m74uMOeHPRsvGi45spTHxUjvaruw1r4ZEgAqPFPdUYw1XieLQts1F57cmIH/aZQjMCiucAZYqdL4FvvbKp93wDgxGBDvla6nzOb8Ggwk3hOzyMAi+AiMAOp4ch1XJbGWrfotcHzL5wx77J6P6Io5n3ITw4mDLBQuVX0kCwXayukn8h6GqgEC89S11whzt609ogGgldAyEyq3TGkoqiV3jaGwybQ+BACdZ3qhrxcr7DsbhNaLhdXo6pQ3OrZCeFwFK//g5ferLr96Sjgi7gcpRsSBWdp1OByDtBQD+a83TzcS+Zig3v+Sy7u3qcaSqsxrt86qIkkYOEM5b4xVkBgKTwSDAyubix+8uodEeg8heBqzxlk5bQDd2wOn4hp4YDw7ygmjU8ifoP+cUko3eXBum/8V++ZOpWt2zovUfyTY0Qg912ZuNwY1EMN8s9n+6EahEwXH3SrCTX3BaqTgmVpoZhjiwB9NwfYuq3cBgrE+QYCLN+uyMh0eh/kGszHLoo/L7qvAovxBFQ3SuLbP18H+Rn+Y/Ut2P3E2+QvxsBbZWG1yRVEOZ98cgLm3XRmmo8sWkGTlxw4oROMJCstf59zP4Beba+VnixAU/9zGu0xfAUefgYvD9gHvbWgCsHJLp7s+Qm1lHgqJji9yxHmjBONKGOEhxjDbffZ1LNosZV7cX8oZ3tUy3IKKW7plK5e/ROlceAxCWEJDZUU+y0tJHNJH2k/kBCo7elupGT0QE4Hn4Ww93RZ+EsflYnCfZtklTBn6KHahbcwStpKm2ngyln7JPX704pO19MPA5/BCBtMhgBFDf3NfcMjCU76KHRFrH76xbIkU3VLnUniMVgJDgAFolGFWgO+v5fEA/Z/6mNe+VuwVrnFHeV6D6QqFVNdU5yR72/ylpeZ0z6cCRoUkkADUALBWrlQElj3wpzobo8lGXG0OWvQ1DLTfdMnlhTstmy7p/RuJyIzm+kvRgGu/Jc1NLxclcFP2hJhQP2fIIC3xpXEyO2F5wPvLggPDiyjZJShun7lpchztJvCVzBpNm4NcYehB8e6zKL89Hy4K89ONY4MGS21Qf6TmrjN5uhIZ4eZ/9HmWT1xEb7/ilvgmsirap3MVedWheTYd5SUHz69Y7Xfoh+XvIZUU3tMBssSuDpJC6M9yURHvFyH8SdL1nCARLYVhDdqgPym/bA22cJmUT27cOJo0u7BC0B9GbVl87lLf98EWW/vndwo1piQWjahQRpXnSuBN2CxNxUwZXbuGh/APISdXGZl9g64xHHmLmq8faJeZTueJZWo3SwzYU1XOtlnQUhlo1qlCQJy5cYX7A3Uwk8YvQ0Q0dCyP1E4WfZriAKQHUF0Xf1w8OP1G2ZZNBCD+6jRFBm6k4k7SWJ0b22lJLyUROdngaZZJy0Q/suppONwDxkQy2hA9arWCLcakcmEVNII1oc6hWO9rvO6MWdyh/Lzs6OwK/5R62DcjuqIAfzt4QC0o8GlIpyl2+7oNdTfyjkMHxqgRFOhPTQtQgY91NMqtBBFhevQL8enCuLN0jDXUTcOI6kK0fHcNXC+wcGVnrKVc+GLKCN7OU4r+QvfAnhtabYV3WzKngHmUnbO9l2ozerbvMRj+uNWiWo+X9LGCoop/SBPaW2LmgPxpcpP3GT1Mdr1rTzzJqTzzV8IAXoDmJNMgdFWeY9+4T9pzKEmlLRozpJtQoHLAZTE2dhrEjDazeysUoxQFNsFMgQwUOSkhCru/7Cq0d6Ha2TjOfnEMo7ZrEMBEkVWKDD7JWt7SbeX3rvF0O5TjvkeBWm42h9K/XgkkwNks70fTpDeAedQgmg5tSDdZcwcDh3LT/t2t+iuHby0I2LMvcqi194I8ATWou+I2qtlbhX8j3O76dufIhqT8P7dD56IhU+IEqZzHWWoNVQc/S6XyhIbdJFleoBv+DsZ2qU2d0kdYIDK0u2mKKcNFXUAPcyKwDv/ApHvcmHTF6z0swFCRRmj1fmAh62TdazJ60PkmerIoppgFM7m+GvQ++W6jGjSDoFrQBat1cCu6DJEm7P5hMtgCXfOkVSqrgDCqtUJnDXIVR7HGm9i1UbM84Gt7xvRXqUrWgW7Dut+8QGMDMzEug+4c1ipx/LGc9b+xKcm4Aw3xB+EWituZyY8VoTEbZhnxjZ8Xc2xzAb9Ha33/ivjmXQIWlXZvGJwR2PGeo1sIQV9VI2+SCkZgmlycDD40pddiikAVAJmrSbvnjUcygCYPfwJaYEiSI2cejVaG/o5cE9hoG3qes3xImsxNnXBAQDuzCEa2hdtoR8NGHdirshkeCLeVoRgV014FpGbRyxmpOzYNBhTHlDzlrLU2ZXxUxDNNjI/SBY8hpAWyyyGdLEqIYJdX339E08oblVsUTipDUrS+54cZ8N8+i4eZ4nwtPNhKNSsFYuzYMJeWgGErRLpQjWXaMBtgdWlGHqWYrdjSvbg/ESkxO75mWOsCUUTa09nTLuk5fL0/FmcpxQDtCUEPBhWdjOu+V5+ToU8ZKNmMO6AWh2chnyAVrG/uUeW09ShsAQqyDRDm6GDHKOjUMFyksOXVXBaRKePaVEo/r7Vc/26T2lbP8BcXQPT+3uHGwJD5QovbrO7mhgIS1Kh/hpEs8hfzjJ+ZA8jTi6P8Mv+v/5dKLTkBwB1FQKub0nItSzlPKp9kssFac5PylcdNaxrBySbfCnLR+XUKU4L3fYlsdke+/b8JvDaPGxDx8WsLJbF0lpYCykQcx6TkMXChxVha7lfFALztjH4NBn5EJpAu8HfHufronryayrc4DWjrHczQPPd36c7e53NYH1L+EhFS6o9XBc9RAKjnhO7gIS+dKz/PIICaIdZMQ3p2sQ8JgDVkYJQzry19aHtHNGWj3d9aHU5tseDVwNtsGSmiXKedrvfnRSbahRxkOABH57nhJsDlTWeuBfii56dLJpd1wWSqb8yHJhKnNYWTpX95L4Ysct8sqUEJKSSIQ2N4aryvzK3Xoaxs3k5B1I/UCGVpHv9hunKjtTJF5YevaFty/xZKZjTQvR88qZ0jKrBmKY4r/nQn+Kqxx5YHQSrnDpy6Or36ZXWhjzNYbM4HL2r2TXqmEVycy+o+GzVWY3cOGRZLwUyW7hV8F4Cc7+Ay8kb/ze/IQ84m/TK++hSL98nDkq6serFnocgPcm4nX4oUXKKdxULLW0EW3awqU6gRyATkusMh+qAt3yP0uNSug9JXKDsFOf2Gu7PhN3hBVrUYtmEl6WO3Y8AfyGzyws7wb3LqdVufubBn7FCyC/DC41qcQ48puTaylHM26aonwsq8w3bD6/fgOFSUYuSzZjtc482YDPIuSBT+LfSqipeM+66lvQkhLfTSdwpz5zCJ2aESFeVc+kfkPraKs/mcA4oCJ7tVcbzjvjFEXpZjCzHi3icxbwqQ2LwFYUzMQ6NM+hz6VkRVZpd9e6FeE62EnU/aQi7flddamUU1DDXGHuHFzBN39Utu/CSDU2UbGtCOZayV0S/BeamtvvMscyJLxLIy+NN48C6EXV9dePR7mooqW5wdVXUgW0rz3Z7WSpM87ebNx+bgIy+G5gyqKTDz5R3t/OoN9P2rAMIf5yDhRu5IZtqhYeQuZ0KxQj0MjSaqk/fy6tspMTEsiUrZsze7g/2kgrIUDrOLuWSajeXQqKV+H8oYY5PFhvi4PceE5RzyKoKnzsyZlq6QV20QXp6hmMDnmjN+/K5Fmt9VtFWP84VN5/U/gcr/I78tCzYevqzEiGroI5XHugRjUN54Ap3zKlZ1dSIHQyzsjinvLq8y5MSK8yZA1LE0AqVLZrNEhKi2ScJBZfZLuZfB9WX0yeTzT41+DZQuzooMZcweoD4EqnNm8JCuykhz0RJUapnce5aVo3IJ0h0ZVw6HnbjvjdhFkPjXbEe+Je5STGD7L8fUwAU5g5o+r4Q2S5BdN2slkfig9czby+d3VrY8VWw76y6CFl2sdxeHApNp9ggKE57VHx+ui26U2qPW/CSPS5nlKOc5yICqkOittgHtFbhYRqOuEMMesKRajeo632SfXUWKH3civ8dmQ12iHarJTVS0NpBv9nnvjkw+PEM47CTerhn4nzprz6EPJ40rnxBpUiYRB86rDByNrIq9CiViniI1ZNNSLwRunTLNQM7VzjznssW3nvHWKi0tYLGwzY4/hqk2ChJVgP+SHO85oKMyvP+Y+sls0OXGz+knBCA2HZQecR3ULau1oIum4M7FCzJjgecOSyzb7YKk/+6YgHZzIX5upW18YaBBsXWR209MzKykURGTsTcOqjjOK6UR1DfziBbZD0bndu+I6Od/Xz8ys6yuMLoa+PYMe6QdVb1Ax2sZvI08amSDOnIiiTiUtb4qR5qllAhwL3TQ2Yr/W2ZGe5ZFYyDJ4dDC++Jwa3UUEUqr/ug2w/ZQMOp4W/RG1bP5tm13c6qjHtZwhmBqT3cRQwUwQMfC6iJnkFshwNpFgRWb//dJ5GN0N9mKEp5Zqs8bQ6F/S1iuYRIv2EK5aUoiV5oO2hMCl1l5lTahraaQjz7+0vHwLFUM48vsdPuM4BeoGsspiYLSRGZRKqtU04eZjTnkkgYjWfdhDyXbSH0vKHqHgqU/18RV+BYRRXQU4XIZm0H7N4wiUDZ3WG4cfgvgj1KWLgEYE1UQfdXjXn+qL9xhUXRvE5ri3tqaYkT1Y7u/eAP46mYP5d3sxLnExyEGc0fLtEvsVLULOVS9Ycbx2ToALfe20nMyG30v3E0pTCWnVa/oyYsjZZcOMJ1Jcsglfb0Exu61sD95iVrXiWWBHw26QkBMmOi0e9TX+ZruPcXsW3Tt1Y1fiSq1hwuNEUOSw1jsQeuPPYSKmAONQ8TfgzCnCXbvKOV5QzxCH1qFQpml6Hh2PcAIPJyLKDGPujsePIxAJ4KSnJ4qkbWksbgiVCqjFZu7AsWcDM00AcA6S9+3C0NEIpWEqdfh7BmBNn5FOO+HquJApO9EpgF/yTXuEwJWBIDTT1FN9RpQxAX8EV9oFdbrdR9B9Cp2gGH09j8H6ySjWDcMDIZeedLdsIt9KRdLtP8bE1uXqFwZhJp/mVjjzUNTwwNjC9PydeCH6Gz7RX/sAsbOG8XwdZde/xK2+pkM0I/D2AYKaeE1UFhXFeUwJARha2CyI6SMQzCyZ9wPdZhoszx7KOCLdtQ8iuklotIGakdDMtRLzLpymu1ND0mOl9gBx+brPrswbySmu2l82ukFJiy8JCeFowsB/wSPyLYvC16cATz7/bM9fNbEWg5D+t17ZjPLLDCnehvwVrP3jMORq6XsieFufK+xqpvMF/ZAfDIP0X6PJ0aiRQL5CAwg1FLRpU2Qbialn94OfWxRJh+heh7Av7kum7BeAss2JZkHXb1ixAFpfcPgRU/YOCcwV1I9RnD/wXd8GDWG5VQzCDwg/obCqcPMa253NNYHMmrnZxE1pZmU/if1LHr8GqtD6IpqY6f98gaSkSkSZuIdef+nuq1nTduT6+2oY8/1KnwCWCZsHxglPUmLn+LavorQlGxXz4TqSxBwMHv6nA/CqFXDJaRZUFTMogxZEGhaf3ycoIhkx+Htx+jnBNQCuc2N2o0KyPFPtR2D/yg/xcuLMQRGYunx5PMDIwDU1suzjloGnlf2anZlKAs15z50Ekfor0ENgencYQnX9b8wJxI4FlTHkZ+Q3fUmT/1vVhsYHmhoojKTNWPe2GoCnOeXHhTcNY6DswVTZ20t8OKAHksUMR/HdRsvsk+K54B0qF03/PVZkMJkrcsPPejg38GKXXSqCKIqXSh5x7cr1y3YYyEOwO/3fsi5m1cWWZpqey8q2fPtFLXxtpbohmdorwDtmF+1WdntHOBqAUQ+xoxhDDkfOO4bwqELJJ6+lCCm5qAnZac077xJCZv5SNb/wWJo5ZOLfhKR1VDYhBpzoyIJqfF8UM5YWnZQbQCxJK6tc0GGO+V6a6KAe0aUegM06FObrZfH74NhjZ+H2ZlvjHngMiiHqFeXrA9k4e6k5bM/r3pG6jgnmTDnqH3KnkdCwxn80WPDwS6ZY0i37LejpY0UvECzTevIQHXsj/t9RFfYpR67hELsP8+H71l9KpaoR+s041k91tNYkpilJ2jIJb7rkIyE5wQuaTyXad1aCYmnfK5ucuG0ciqIpnBUR1U2GA4nPYXXo/GrPh7KQZYEzh6Bh0pet6lxHIWxBqT/sjsB8H2WSnwHRKd3iuP3BPNh9WJUR7HNDo43CCDdOi7yQohTtmZ1qRq+Ar/I6JBXWQNzaBKOTAs9fxLeOzV+284je3vAHwDDosudbmcgMXueNMabaSMFynjjTxGjPHIQyurfGSY1eXaznhBOARITVmomdYTOgf2xYFl3d/fckpNB4EqVxgoLnHN8cYT8eO3sSwHNnnx+8hE+Wn7vxmVfX6D/VqoNOVGuZa9Mjw3NDJBkosOkgB6FcXs1EZTXaQBj0LYMpjbwl07CASmg05Nm6alwnjzy+r0YEo8n3JKDRPqwOXrr2Nc8pE6DHaYMB2OKyI2h8aLTs3+6X+S1WRzTF9r30vaE1FSG8cdu4bcXGJ3+PJ2IFOjMNO3VshAjIEVRlRR361YQbx634s1q5vQMXtBpXvn8rpcGf+aFPCwhxkL+d1LUmHC616cWPOD1WtJwTNgP7PcgaZiPBri/6/6keS0uNklByWu0bwC3CWuvAC94uqXJmjUfb0UM1aPfgNVOIx0HeCqm/47paJcYG9FDtXmbRRBSBJhA5ryjoHtHTXwamLRCgeWLPZt+VuB2HzWyjxomBMyJ2abPyL3cHkAUw2TXlOVPRjnh3856L5aeGEJF3AET/eESxIgKpx/FPhpzzmUhUw/8XjmUsEccBcOhSUD4dB9bCyVs6+Sfu7rl5vyyfHvyD8utPz1bicLOUh9XmGC9Kb9AAW1n9Z0OOotBNBphg819sTN4Lad5U2HomUScUMKCaeKeCPB77kB0nommRboaaLUakHKq94swReUiB9+yM2VKiB9PcgelMXtmotMMve52Ij9f8B1zDf+KgT3oaJfzFrNDrvX0Mbsh/wRnnpl2lrBKSajUtl0iJldTXbOlmRF8XB9buEcI6UDSeai8FzmXqtC+iKKZE1djcJY7ifCXb60XqW+ixucsy38+pkeYgTTmK1qAJtPnWMZt+Xw7JtfVWcOiLYM64eTCROhSNn5bUcrimcdl5n1GdBKNSQgj/QxGULSmVgeSecB4xebWDMR4p0gegosx0UX+4ISm2XOQZaLh5g+VXHmXsxf94Tfdte8T0haco25j7MA8XKovZtL9IT6gKgbDU9dU71fKfPErrrX4ejJPwwYgctszg70QeGA4m+27ZL/NhPwytWvyoQUC2yuRXHEFTweWRbw9RYbIjZ91dGI6vOu3/gF++VIm1AvvLj6TkmdLBIqqPRKdEHXcLLJNrj/f+PGcmeViXtdoBvoJMSXHm+/DSNYeS6JT0TrqooaFhFJjwjmVtGlkClBzo6gHb/vfnerli80ESggrjeNwlmG/VU/ly2SACJH/J5BMH0Z6x+KAqmW3rkGfsH/cZMb/DchvxcQeaT9yY2Q8Z8je3QymVdoN7Y2+V9ClyMQCG84hnV4XnMvCwH4fRwNrXq6ntlIm4VRcbKr7GLZE0w7QxiB6FJvDPCRiTjgEkn/u0R85t7LTQ/RO5jJySdYZUB8Ov7IGMz/LjJjqkoZjj44+424+QzfCQmPKlhQM6jC6iD18Jsymqh3mghjJoxf6Ipl+f0UFWKpVoZ+aeoQdef7c/L7hruD5u11xqGrGa6VMo03P9ZKW7ujWo6R2CE1GyLJLhcZq+yCOi6y8WMM9bGl2aofvBt/jA2voN7qndwmBk0UXx0Qkmp9NChOSQkNzUCcm9RoqGFBvISQNwa7Eae0QuzaZTFf3WH+GWfTt8hAWhsh8CTwAZMLDRX9q1+iP0xYh3tnigeeSScffYecoxYn0As7JauqT2XUx1e+44wQCdGSyAmcBq6MOrob+QUyk7EybE7Zr8b2r0jNMlUqRCUuxnhvjz2NKk9zNBzGIctF7g909MVoVG/5OGISZw2F9zq8xqmGn2T7cpkFkuf3/Ujzk9ij0UeOcP1y5oD+9m5zoF22uqvILy28DaoXGRuorpStpJA0xld2x7ymcpNPLpeHXiGdlsIcPfx5+Tb2hM9SnM8xGlF2/lvP2Xep5Lq6swUss/QqTDJS5Z2q2VOLgfHWuUa3auEvVgSlE3Cq9pRh58FAigmGSWQyFF0A+St/+XEyn9IfMpCEMY3MYhGd+o3d4dXm6CQstiJBi7G9T5UohWRPcXZi1g/47MQ+yxWAPsztnNZDSpfVEE93imjZ91J+wArHZ+71lbEuM85/ECaFTvlbn7+Ve+lYQinSEVz64QmqrqR0qVzNK+LJNBY9mJFc8csZxw0KRD+CEH6cPrYIdnp4APicwED6MwJ8d7miO+QH5urafU9yqJIi9Ohxi3Z7GaAKyYafhnlKlJ0uyVp4jxPbC/niFLWUV/XUucVqTcNlL9QttGPF65EbUgMahD+xJfDki83kgX8WWCvgA8jYftebmbm5XI9MyBuTVIzUw+QRR9m91k41UClw5dknKPtZx+cJN7K5E0PZEe8gdn+lyd4Qv9UiTPskw5SgqTSyPLucKoQBJ6bc42alxLlUEXyOAcSnM42nwfa+BP4v4y3f7Nvr2SCdtMET8O1si5vu+nPwBjVobPY2mUkgRdAlSR6ZImFkVuommQSSlynV1rmZiWYFp0YuT11An4SrS54k7AZZHVOEToiqIYf1inpNieMiYfNSw5lrn7F8VmTZyvXCyyJuvkfbrJJje2e+fRX6bU6dsof1cEMEgV0spGd3fATI/qIsktDeMnmc2XHYecWJMvd6+tbiNrsyOlWvbUtmcB+gfxc1X8FzcssDOU0+N2TOTgxYBDWSk87s0OKUYxiK43J41d212M9+0ztCyDczRroCdu3uiWXocjvJGwsT/uC0UOfH+6kI2uDyjzMmqCPctA/NszEwCSCkOE9egbqTFsKxSRJDlIJH7Ens4klpHaO/ClF6/y9G7KM/U3LcKF+j/xswEiNmmc/VIrUT9grclBGETeL0rciTbmweHPenzzFWYh8ULzmqHGZk57ZSMI50UVyJOSuwbaRV8Nm0DrbxXDdi6khCuhYhigg/qlv5WyM/Ta+kxHZRFPJQChN38BDEkQgPduJoIP2KFopnEY4a6NkJ1Nyrz+WgLAvo2DkxpVfQSw5kfvAiUGGN/vTowYG33nSW9cV/JgAxaWknKHDHptTVLhZsZ3fLJMVtm+dUyl08WIyKzP4WvPBK4Gzt1+kjYmlQo1AFCOIoxKuOT9UWeqFvOlH1rj1+nxMxI7lwazKsBVoCTxwzPCNRQUpdEiIiHskiGNWIiGwGpu7HETQuTMcbcxQmfm7IpQUOytCgDtmz/eF9gQiiHDOzSus3hOm9yikOAiyWgxM4ds1VOsjaE8Cb6Zs4fwfScPMBdbjhDLuPk2X1nPrNxXmBnQIoUb7SUo213YcN0wK3I9u+opDHYgWIJ4SjuAyITwQatWYNVO0Q7//tsPk096hcal5MqQklZ6hDPqm8HUvtHHNklm7Zxo0VyxFslAj3vblYhEGWLtqZ90Tiy4s0NV3RDd6mQyrn9FZ04pZoOynWYvsXK1wnLM+ka0mbkTy4+s8uGt3Xg7hCAPlbC2VYkg/vfHlp9L7JED2hFtmV5fZWcgZw+gvVJXnK8SEZvf+Iy2qOGX2sWZzRrYEDQ1GYsojfp2Fj42ibcWoS/1pfxhrmt6PP+Meyl3k5yX4FB5YzB1nQDX1Yx4ZslwVUfacm4H+BZAcXJOQEt/Aq0UYDInQFNYh+UVYMfbPUj9lmaCN8D8lOYX0G2klpC5aSIwp0P3nVfoHhKLXX9c0JKgEOeBashWnua+W0ohuZcpIvZcRqmTFcERCQvwZRdELFtAsXikiEugEKijLzAdHVtFqQoSUARxfQ1REdS5bPUja7V/xihOqOMN+rmt+jV9X9WcY2eT1Hwvw8553aPDx5Jov3zhUBCzd4qRy/mDmW+HPorse4fxoK1XlvDrrZFjAUqGBn685hp5VhWQIdPRulv9E/9dmcfTxXpZOZAKN8cjg0D0Xj9JE90kvuYp/osvJ7rtrIgIq0686C7KK1goqe97/yTvL1y0OzKXzKoKRcOtrZCLsdt96zCCZqVWIPCgzd3TfBMbVvVMALApvxok/dg/hfCvvOJlKTxqnB3EY65WDST2wY6nr+QVNtHjEZU6cTm1UHN36scBZlaQ9SnifwsTsSP7dVBiHyLjYNcmO75/mLoIQpB8KTKxmUvNcnN3sLTPFqCT6R6FHYQ8W4bmgPaeaaYwZx0Wt5JY0IX0GWeGqUZESQPrapFfFvbXJBtcbJPuLsGmGTO8obcK4A8lOe3lha1Uk0YqmR1XDvz/Qnwh3PVzqpikTTnOH9ztWrnGG9CHvB1c2y+wsr1Z98LXHSyS3DFh+OjLmNu1oCcMoeiB4NCM12gFUg8XRA4c+z11lsy6TaIpwaYa3n3RzwRWo3KFxpHsk6BPpn9uD83nUr/N69GycweCofcUVJ8a67qebjDoB3e7ieZ5LPhbNeOLeCkkbwilTbmTwWPv2eKBvQzWyzMeWA9hFW+5ngTPjNmpaXoXupR/tiepLaW5oJJ/o2+gNpiti7BadrMwpJ6bhjWXYxzLgYTDLFN9JuZi595ImG4DOzYogcV00iJ2t9175uDJ2FPG1ZeC69P0s6qMwM3Dx+tJNXuYNyzgfbxC9wPvoTSQc1JJE8+K46aGHhlX2oqnsKAkE/xgST/LMhZL6hnD8o1dwU7Z7cvMP20T+C5jFHWNPbgZ3jr+WFbNyPr+74SRjq54sgjhjG/Yx9lkyXa3PxkUO6T8WcACnVYqF+48zrXlAuKBv6g2AhocJF2HnC90994ZSmXKzLngrw2G6lAzKN+Gn2ea/GzJhVLQahmmzbFDi30nM9O5fpNlBMkbPJgmCRoZh8qlrwwte9CoYvvJh8BRucwFyehauR6UdWhWpYJbIGw2fyEjnBtpznAHbRNxP8pnMSZreSER8KtuUu6muSB5FD1hMW84XgXybzCdJi17zFNrFERM5M9M4htBmyog8DLsqfrEWookXwyQmec7nAyjE0nQLhNmloWJHAWWzQhSQflG3uEULB/XRpiekI8hQ925Zlw0F6FdtedXJT+7uyaA9qKz7b4WD0XPGbVkoDZ0MOo75APNpuw1WMTVD+A1+e9MgazKpFVY9JDhNxdX5qndRZ+Rg50IL41k/OkwWYAvCdgh9ZvVvAsIM4thjJvA6SC+h1QtgzINY6mZT4F88f0rmTDwPPPEtYudt756fpnqtoNpnogZb32jr2pINYPVDdtox8dx3eYt15ZV9ZMCLtL+1LUkU/r5ZiXwYKzu8FhxO4JKM9/s2Z98jqV/++P2VtkA+7cGA3sIOI00/RoCB2ZqaVnRtEQal2/VqDzAeEFRM4z8lEU7gjKI538kHDpDRAXv9EBDbRtLMdHXtT5aDF3U7dODKAlzvGhf3fGF6aci037zbvLeo80lLyv4olHK0eqO08k17W4MJlomX/tMIfW7MuggCXu6iUpkKiJEFsFttPWl4rB9vcZwQ+2f5nYsHb22gGkmdfa/t4PKyh6cLpKrPkqcpSyotMQpYzpL6xBPFQk/qlxZI+17hLb524/4wht1e+CPpegiNXeanpAhoYvjkbk5XCUumlH+Ub3jgLCp4/YYgDPgvPOmsH4mqqIshTsdbYk3EKGRGkWGj9Zb2o+kl6Lci1NemOAtWm4NKGgr3i0TH/cGD42mns0hJUe+w0SH6jPzKpUvJdCNyXmWqAHyx28PEDPYVfpDVFiVIasEW5A3k34Jnb6dsxw1bM3B1VXrOwbKh+0gyTvdJYLkRdtfJhm8FVz1LZYbZq3clur6lI+NzvnqhfWpF1s2tIK1sB5Sb/O2bzCUnfFu6tei9d2/iaHWqNRC2oDYTwZMi7gALs/P2+I/h7n1IZxMUeGSo4p5vLK7AC+/i42so3S/INA7i6nw+cp+cEu0jduv0DqJPzKM6DqbcJZvuxeEfdtVLijIzhsbC7NW8HoPflNVn3/BMAnfdQK4UJB4EIAoFYIwtjod/3owzvEdhQOIiryJ4m3KL7pP7DwAjGWMueMvFn0OFJsaVLZ6wKyPGewlTMG929cjAFMN2M4lvnuinmSgrMpzzg8EJpH9Drh6aXCOJJ3kXSf/WnxyWTcAVy5yJ8q55C7OZ46mllsO0X71O33ykYB80MFT48WJh4YVqLcudvy7eXpcCMxfQDAqrZ36flgp8E1qqA5T0/XlnTdHVSQPrB1/bWHua3K0IhqryOPBwGMLEt1x7puQvOrzgvSfXdUZe5dEWuUSoT9JIaCIwBxn31RAHzDywgskL0ZmzlTDq24IDJL1H5h/Omh4uDDs+YBaFdy45k/E3ux/WC0E3+CdEgpuT+wyEjfmAURduwRkoVI4/iTvqZ3Uef0Wk6sn1oPSYxogAzDPoXAO3apPBVn8t1oLk+zNAjX+70oQ4glNErOL9t2CAprYR/pH8uwzlhfuIaIdyeTk//6hA/ZspEqxN4LJWXirCyuwoJBp/yaZHNN5QAsp++ko55ZwEcL2ZnHiy0S+Rj5wJfR+xKAwvvBUoV5v83lvm5XMF2IDjUyYEkY4itczjlQsJI9N6QJwncV2lpDGd00F2aD211g93yizmH1sAjbakPLZsbjINAggaCMcYMUch21URynImnAcXcA+TvVFCkdlG/j/9FopqsJsv0BtIigN/Nx/acBky+939QEiZgitef84ECYe+cR+5dAPWeKMFJluL+moDRQlm0k4qTBsop/7PcZSxYlx74GTIxArOzugVGeT1nZ+H7OmWCWnb5gYm9u4Wbas95lfxtL/nuvc9TXAe7N65H273QQ5Hv1idZpxGCo8arlYpIFxsy9RrPkQ0OmA59bvFhHPFLaiYiaWermV/olbqiI7J6yi1dh+W4+FEfX2V3WY2ZF3+gBxreE0wVuVUsXK49K+rzlQBzoPLFWVxQxGb9GZS2aFuxZBkMbGsrHfYPMaU2OdeJ+LAqEO+gMrvhC0znBi0cfn3E2xIy3Ug+/BfgpA1uuTUquNLsfS+pT5C+V3e5o4GLEs3VrUT6oh4CY8A4G4l2l3kSvP5cwwsdV3+AIYb/TnI48j0z3STXXej+JDCDfFddzDYhzb2FpiLrJBluiFwkrhcCg5jHx3DNeE1YUvbE+CNaPxeDmkZwOLB4hedDs6YvUEkxRi84R+n71pcxgedj73andX5ff2chdqEpU1id/67ZarvBx4psF4HPSopgZF0UV+LPwxgsP0p75bhIB1Gfr5Di4suENFWAOC+13b4ouO7o6yTBrsIOAGsI94UqUoCXw45ynLr/IQCLdI8H+4pC+FtU1hUKHGZZ8HNaL4lZb1AG6Xwp2Ul/+CtRW3rvf1+5DOzt8iPABiEcA+T9y9p7gm112njKxrfrAeJU+Wdw7ywilldZGeDQ0yQoJcd2I4cSV5TZEHxumApJorPbCXM+j8uGcw2KOwhBxjs4ZZuBa0CxOIKlWiwNg8SrdoKEty00pnZwhJznEtOEzjEtXC39+YiCBbwfyfqMVRIsEEFcAp+lgfKF7VWpC8lNda+xRVRRh/JdBQXxRnszcmTS/nMQ9ZrcIsyDyOCVdXsztHY/7sXKRsxYMjfyJZd9iDcngca4sg5/oFTaJgrcHtk/NtjiCTZyUHyVWdIsF+2PzN0Kl2oqXGOWDV6oDJ5pZRjaP4phOjSnVtZQ56yhJhiGZxTrDitxM9W/7/onDVoL0G1xe2IGtj6LB6dnpsv+XLzl9jW0ZmAC3++Lfksq/hIyhdV3N6qSHKon2GkyIN0CPJEBiysPGb1gSPdOuIuhWpdi6fF2V1NrBTKeb3eq4kKwyMNkfDQ2zQ9YUesiA+rngLzOmFyPxjCepZsMqQaMNTHMeJZh0sZ7kE3yWJNCpTXQtxee5uJ0aHeWJXQP82bIzrn2NjAdWN6iYQTbmi0vuR2IV7ckWiInx8M61eiZHahzxy5GToRF1R51lsWBzXiKv8HlF1sQdlfODr4LvKdkPeZC7cQlRqY90JUbxFhxlZU39Sn8mp6s2VZir2M5rhhcYIabdcboKEuKTZsv2k/vTfNUE7RBJ5qqpXltP5mB/NqDONgVIPsZE9ZID8Ki5xwI72ZSzj2r1MpZpMqpi1X46JWQLOtpX3JKdSm1EBi9dOWy9iCk0qm59ezqtFqqjYKZJwxe2IgQrk6ue7Yo9r1acoZdoIMC9TubYnmZKtNgxkS6FFGxGJKUBgLUulEWhHbv3rpPAk8Eapvj9gP7qcwdwdWymdOpVBB9D7mNoTI5R7pq06+TS2wiayot1B8CT/Wn5e8RI982T0Ef68Um1ZJQnjPh+q5M/GqlyG0VxCxy2h42M2MmYTlIEaGQ3CPwx6ySsQpavNKLucFnZbjKfLHl1Z/DSmxe2iq6RgPu3H3fCYSJR4gNHeIIpo6ccglF8DnplDN47Lg7h3Rjh74MP6q43Zj1+WpwCm+vRclkQq2F8NtNJcBk57AQAdA0xm9g9G9qu4JHfpsZc+3zAiurgdi3k34p3RWymUl5pFijtC0omqxGhR963uaBarCm1FQT0dPX7g2czSr68SCOdCy/49h8NJXeDAQ/DmyFs6Kiu1uR0OxiUeimtT4JW4vFtalgc+JvY6WWQBOBFdKl65jsrozCmZI6DeWgQaF9WZv5u6EXF2R+KVy/frPp3qEEx/qc3AzhjUo+Wup7C42wYlbQD6AIX5MLx7i/lh2F7LV1+whT3IgpD+14Ufz6VCIEi/kdEGptGNo3CWjvOY6s4Yp9bDmVJiAXhacQbdKpok5C6HcljQ+aM4/YLdAV8upLw4nfamYyvwX/dsHq/y683se4f6TsmxZgpIebcTBhzjTWHR3mVH/mSgU4irCz80Ve+MFJ8bDs+1V0PtsxTQAhG5H2GSorw8zlvQzKQQ+EXiQ8Zrs7TdycPP4l8ZAuGUw7elFIERkdVhVF16NCXFPTOrgJl9U/RqHB5m++gSbccEWnnYOeUABpanOkRQwUWsjWDTOqF00piLmHuoER2oIx/w1fFCIrf2i3GLrHZBdQ/HOeHsl3gXsWpzKqwyMpmKRsOkMUBjBhXqIGMywZ/yT6PS8NGnE5pFPV6TTtzjeYMVIUGBpuNl790lfrTYph3tH2b2JCx6c7x+NlEn7uKmcE+z01kgvwwhYLRGI95RVZBPGzi1vzdMdnFKTkCuruD2tPiJGZASF7P515HrM2PbYVC3VlJWnb78qARROT4Vc9C5QVwoII6Zt4fOum/Fhx5MpjP9bvswPRvzWdwNskN0KA4bc69Cn4nEgckYoL6iYUyepAfFs4IMfodGdwJ2RJ/Nguj7i3Nu9j3ebVWAq26loZuckzlHLDIgQBln3ntZZ0ZbhAcZdBtWCTsLEW5UQc+YlYsCilvsv6OdK8ht+GkpUEwcc5MYnexphU/meTBf20nQzG6+maKIeEWCe80dugCcgI9qo72T4PJ5k8r4NXvdErOil+C8MjOjPCKlR43UWjC4KYcIbj13d+4yfoBuAf0j4F3ezce8j/xTqh5kG82o20nvEi3X/t4ctQ0N+1vi9hD9kOrEW9ttU65/8qw53DG/NuaG9xXHvUxVcsA5ZHVF7/mOejapMHXpFmQzNIFqCWrKOTBUrDcr4o7Go+V0nb1obAxUcbbvHw0wsvlfbIz7K4VbMAY/HISbvTqOoEommR8Gdp0U+2A3h4QlYN/HQxe/pCFfwAFKJDiaSoVyUuyJmefa8uQfUlaLnNgjs5kr1GtfKphwO6g5EEYEwdUDFeE8WQIZPpY93Yr45khKPpm7eflmB/qM3OmCZfXmtuSnkkSCrxSuSuM8YcxfgpuvXi7nC5dhXGEwU0XX4HKhH+pir0vRhkI0b+xGgRzO1Fdb8Ak5SiTKBlFFRZeCehlq2G4Bmr+jNbxm89nE1Xml1+vBskrlEnxX2obN7GbCuoUTIycNDy4rr66fqtYXH51fS+jSPjpMj+4gGd7GgrTCgapmX9A86riBDp5XBcNsqDGY2givzMo5AXjFBQRyjcSxpR0slAqYB44zIc3h5IG22IDD85bNt8j9oYSSY6wzf6TWMilMPKAnICA1Sq9991r+bCXz+dRvLaRTS5j+l6gAFZ8XkZNq5ZO480T3BNmVgScdF/gpCIZr7X858n32r4TyFnwwobNUJUnL95eujA9vKk7OynRxSgONc5z0BD+NiYu3TYh+TfTtUybKIfvK/sGFV/dDHcWa8A1KMzmOpZYDNlVBEj6AUwLOxVN36o7WOKG8846yPpzY/6j4muIe8lGSq3bfNV7lbW/UtCOURano645L4wDNgJ+yasiWF5EOYUIbwXqLUhgtXZrDACYu74WMnPeOWesFcLMY8UQ7QYGCoLoLTVdOkWiYVfftDeNCEFZCVIF6LBHBfv1rDFWRFgsqQQxVSfCLmLGA0hh1x1zhsfbM3x8SeKwcsre2YchK2kwJCoQjYXwz/x4ln4tVfpGO9lmd5mgu7K1mI0HdmgeOMByWHmCQDKetnO/M9YUi7h9TLKeumunAlyQhbGAo96lonJ6We2UvOkoD0faFA0Zpsui05Q0rPz/q8dtCPEuJqgIyx8TsHuNuUsg7wNj1emlnT+mQT/SEfiXGx6pgsFlgeAbON3Dps/SVhogU1p9wUNdlCjmsMp7ghkEqEMWwkkVtwN8pQxF0ne1Day0BgovehH0LmDs6J+D7P9Mm+DqNiKofPOaYpjJKnoAgH7209phdTK+E6SMUnkLLaAPUw6nByEZ37AQEiPf0wEVxCbHX8VjhgaHbMP6nbgMA1WQ+Qz1bAp9qyWlc382rqIr512FoSyQ5nCjB48CE3KjO1GbbBaCGAspNqidm8FnQWhmu+aO/8r7WFZNWNjKgezojja5JXyBHMbpQ5/H7tx5nyuhFgWhS1WU9WqCig/gk7gyBqCpQedGGwa3G1YKZy3hKYve/+RgN6c+vNKdp3Gi8qS7UpsWkDEv5sz57ChAU5pzdYxYoLbdiqbyZBtXP3F8vIlQFmbuju7G/RlvzAfVcnENpd4zkmMuOcz5t1GWv4taQZR36+kl1A4LbfKiyXoSDH2AT6cYW4iiNhN1hy6D6mMsS8QRo2bJxtxbAJ/GT1dBq5LHPslPbnsaD+i8tQ5Jw8gxllU5XZ2CL+kpvHI3kvvBhna3Pa95vRFvMuZsxW6Mw+Lx1MI2dvfkPjJ+eIMndEbyeCfz9zSZYOTo6yEtSXfhvJf2WJngLDSdCfWNPg6mkuu5Bo1E5G00bqPEq2g1EtLGaBUziS2nhTTkn0Kk2mt6HXbitFkdhU1kFIVQiTEWJC9kNvuJ3IV+eaWhod7ymogcR8iRxXtcNmLsn/CaF4dT0QTOCGuA2foLYvUUGGg5Ya/q1LfD7IWUvRRaHFVE4zgMNIHtde+0/HVfToy85MA80YkOuLPfMSIn5DfJUZOzshzZ2+/Gq7PXeAGv1LFMxXeRytFt7ntSlxDqW5enDaFnzerobaFsIB00MPUJJSzgAz7/x6ea+c6MlA0BBQdxY8j8JtCm/ixN3flDmedrWywcbW2vh08Aa5bFVv1uJT8jBbCjDaCarabcwCkfA6IzY3bOgyr+bf9PqR9qnKGNBSYoGtl1EogrIOuhndj9lCACMW41Iu/eDx+5jnwe88lt/evyrjWSnJBWCFCaPkMoD/zBzoe9qduO0MvgzNYwE9MZJ8caMsSJFG311lVWrh7VIvVQajbS3PU27yNFBqvvpBukaMp4cBjwKsyCVWDVRL9qRYHuHCjukVNGAqSRu9HyteoretbXpGcte07qmIEJi28MiHaxWGvFU9Gcp9nEKbn8qSOsHWnxWx9SsapeIrWtM0A0BaZduvn8N7oKwbKuR3s8Kx8MjmbUpngjWHMl8ncX7OOobmndd1bhcT6us0SQk4i2/Eajg440IJwgEc2/WxaKdllS10Rkf5WX6lufeWDC9MGchc/lhJsql6fV5GIaXxQGxD8AK631Ebx52xZhv7k2bpgbZ2bhAfd5KJ2xJBI74uLyppvnzlSlOfKU9tAF0CA2woT5Oc+fpjwACESSrT589YmoKmnM2XBuGf/Drqth/z+GcRMblEMHxN4haaQ3xO22p9p+Qb1+IjKUbRnWALuhveNsyl0j3cnO4v5tYGIcMAHoeeQVrQ4B0+hwM4Zlsb4qfVzRk5syXIphV3KiTJpr2iRVioyEDE7AEfQFA4Eyw/TuOPtmWYLFt+zERx4kNKAR3Hvp0f1xgDfAPSgxx7KpzU0k0zEMKa3dhBK0BSK0bT68XpzsFsYp+0kQmegHhXV2In7UggnbV30VUeNSwp6kQrNsGuchfPauIs9RzIFNle92R+tp3v49zRsUTQZlyPyMDU+7zuAJv2mqT6J4etkBJRWOurm69jhxO6MRq5np0GO2I6EObGcQ31hgjaRAqM8ZYqgMkIhhlWi+YKIHYsyfEzNZcxWvl3OrJph1E5/7srfFKMxCDto408Xa2uU12qR25klRm+57X0G3KbbS6x4uZs6+/c8VI+LPSgymzbHnXjMKcKd+FY6jsSgBBi0NaYvg04Xwr6u2tMT30yIN6KgAeGZfLSTADU1wO0ij2VgAXzUA6GWKOPuJxY+bsdWJ2b5fgotdZyjsEUR8D6plRItZNsJlvjEaFadpRLJnqyhtH9WMN9pa9ipkkjfBfHvX3Kmd9mVRtLvYVydJu5D4FNzD00sXBopu4uEjoNUuRB66G2aN3cvhG6dgGKCYfRtt067BMocsTYWa6ZGmM+ugi99sqyAn5vGicc7XTqnX6pameQb3guOkMTUd9z8nZzCOk26FWoGew7Ph2qytmxQ/pyZWnvnKP0wqdUvmK+wLukalacqvXhZ/B8/AOnM4N5hNXeAeTh1aT3EVXKQAed3IN8s2Jdkm0PY5rJstmxtiq6YDjJmONl+P0mGmDiwaB4ZBUsM78sHxgfyWpyNEB5jcsXV2tnCeuvH1KI3OyM04sJ5iNMF824zHH/kadaD4+yuX7If/jZ+npZGN2gkI5Vgz5UzqZ91sP5NtL2zMTv0vzS6+AtvKNvqXxSfuoiove8trGfy+I+vogjjBSe/xvkNEOkQ+4SoITmejY9VwEckGVqi2LpcWcg2xMzf+9o4mW4tLjReITo2cWjEG5hIHZfFm6BUGRriqYER+BFGwxWvPwS2zNI4fe3FLOKAqeUZeg28DOsH5yzGC7AXxWWMmAkZvzIu2Z4CA+8aCeqLHcNGuTY3Pa8ROkPImhewWdees0H9gtPJvN0l5CYzFrgfr+10bYo9XWQbaPZT3tUHQwajudpyJgBbpSM2YtAYxKnpZ4njjE+3t0WfNMOCUgnQEf3I3mAyMyjUnkfH1jl6fJpuV9jXMvEW4QBN4vaWfy0juQphUvwITaNGQxOdYKGjp5r17myhXbIJMauSF+rh5sT+Lgp9gIcLbAnMimwinq9S2GmoGti7GoGzJBJ8d44SjTf497dgpZELOTk+cGBO+mkmZcJwzJjCda3IIC6QyzzsOtxj6Xo3gmrbQGdflFOe+8/uiAW3lB0JTyR4mtDHnFAwXcof2pkPPptJ0H4G/14xtVjszsbg0+5tCQSfvlg1usT+63+fNADl9rUUW8b+xCgWGkpyPxwARImN1hPr/7ub8oDKo4nhk1tBYXXfTP4iA2UYufgPKYcE3e4LZ5ozuaq68tUMbo8f35qAHKGw7x9pZQxhu7jKQitVVDTzAmSqFKUyzNaT++m8sRJs+mdTuyA6bSJPA4IIGbOWyIvAK+03Oxt1VVkVKEfcoWWYqLEgbBuwN21SY4BQl+fheWkFY/puylN+3HOBzXEWvGbRpTC/kO3ujASlR2rhKPa6Xrn7n0jYMxIjXKcAxJkaWHDoBM/TElB3ufWSlxZ1TVLVgHT1lSPLbwj5ViMuLxENN+JDP+nlsVntePLC5+5RgKF7JXrlAQ11dPmncFE+nvq5H4n4p/wN9r2z1OHauoS/PdyTuf4fjDUmJtBneDjGUrouw08rI284h1G9R2TyuoYFsZO1X4Dw0NKA9W5EDggqSYp6KEg2LXPoAYsRnAkhb+sbXNLESde1k2vI7DQ//nSGmTDWzzO8EgM00hIA9N2Uw6R7hbFrED1HzuEgYniNeSXJg+yB0iCzDdINvrXHsnebap4rCAcyr1RznC+WYRLsSRQ7HRBWHsP8FPsbkhHSzh0Uh/uKycVPZ8JWmTrXErs9In6dbPORkbH1qZEjwTMT65n6vgaU4OTeugCrdEsT6q/g/HaKUXTviJQR7vOnX3h/QKk7UJE3NPHR88dKnHnM1R9YB/LWsdxzDQxNGmktyHS8p8sgjA8H5GAcc4enqL0ncAmp53KHlupVcwTB+9Gt1Jkwa+3BIvHivKGBbWQpPSUPwizjkGKqq9N+Gai+aVI2Wtz5pqnRNhZ6n9oChdYiVNgbwy5HwhVgcesqiua4ll+vyclUTd5Sn9oqQmHyhl7cPIDJm3e+AwDBq68M5nFdkXQQH/OGJFNYG304v/064wxr2MSJqJmWFQo09lJlDPQ2QLRE5BplClSjoCYqnssWMfKaZpq5IGfE2PdYsQCyerWANk67f+pnoYjJC+fw6WVySWY/103IizjxeY9VeF2+2gPnDikZsaupxpZHKqp8sm7JxRJDqm0ztvFCe1FgMwvcjJn3yVGxTpJgByg4IzUJ1wXFEGDUu3wUb1ez1FuqF0hABcj66x2AdcSFSU+eRS0lakM4tpol/4660G1jWcr+dck6t3cZggB7XyPFug7wTu0ia++4uHcwMWgwfJlqmMVse471E01jx5ZlYjAmgwmdQKenMP+gsuOXefSo34M0kdlEWjBqRCrm86l9wOpsV6D9aqP8h+6jcKAvpAdpVhxfQCirFf5FbiHwBGqZhaxSpvdkPJt6zzjB7pgdAVsjH6TP5NgQqwUdBTqOXTQ3O3aMo22h++S1vViDPq+2sl2C/1OX7bFD+SoDr8anJJg1PhPZCLNjdQUbBqzPzvCkpbvrHKespekDJa6iLfBbC8acvPaU7PNdHtogA6ht7YDLbh+HUzrhLbpMGoUQGmQMCXfn9+O62eS8MUc9n+crf5yoiB2U47/A9KphgyxDLZ1BPXulHYpM1sfDrQPEj2veX4rfDWCpR/8vyzvdzu1shYuBS/c+U8l1tpzUIEXpcQes6TwPIpvxtPGWpAy0QqqNzD6dFmqiY8QCdgotKHLg203tflDEtj/TsgwcuHAOPTSvHt6LaamyCpCLk3gmbHi6WCNZrQWdW38fkdDkbaL/kevO/GLQQPUUx1EnOex2EYRBUue+EMJ2/S5oAXZJ8dTfzOIhg2I0hNOToUkTfZFiNDzhAo0Mm46oJ2ICG6Pqcjg7ahm1MKFbMv/hmyUAuWk7THL3rRYD9WwVTKHekiH0wb1c1VNcy+OZObrJuLgpVFGJvjlzUrlnGivzH4dwzgN5qJOJ2or4j/CKG1+Pdeel9X59tmmPeTCVuxyfjFicdYosDuO62EI+WGVA0dBF11wdNe25oxp5jC8pA6IWt+CV8aT9zkJR9p+Fdw3FaJ8aktdwHU1Oa13EpofdoG0ZhoiDQCPn1SVt0+2VQb3zlljBMRZKBjyULGzqeZbhdYljDxLu/cwEGF+olSFX8RMtpkfD53p9x3AfF1C5MSJw8/0nnkJVYAyT9NkxIZS/KM5/IMNYsrrN+QBz/DLdnyrgsXtjOKbXE5W+r/j0mvd3Xvopihdqiy55uT4BsVldjP1tyT1rwFQwkBJcAF74EWYMq4XepgB9Pb1EOIzqWTrjgTVG2XF+/1tKffK8N8EHCkdO1RLkZbtfUOKZHwO7811pXxW8vchuOGfneGMB71RYvWgb2yL0VPsDLtUVBqp7ApsInnuanl3j6uctuAYd+4CjfwgP45rrjtQDkvHyEUzvH3WdmWzQSf6wn4YY56W3+AvRpcjtrXGcAe9BxhwmXI/BoklyCjzE7IAdcZadAmTRGc5JDSH5TqwGiS++1K2+ll8Umv8O0VeulyCV1do7H5puigWLazY8z3VxlAcdhI/NV/MV6N9LlWEF0/esRdmtQFcFCOxSedtcnpIJbbr6kxH7SVA8a25gIIEjNtdvHq6VYRrPxLzl2qY5PYxwGF73D8KUeBpCs95+BYH7a6Rmm4RSoy6RG9KyVyHtiTReVXZnRmCxGLLCT7RyRPXGpALA9ekAdsRAgpY/iuFd0W6ZGudB1wxbGNOwHPZqxnIkRWbbRtt9+ub34de8lviKs0XnykjsKy6i4NTlAb3P0ufszi+IM8ii3cLHuN5+eogA2pvthPbnvNgUC0d+5/nShXLqNqNfgpsKGwXOlXS7xBMEMXcy+ttYSeUXrEbLdwdY9hWvGdl8WQ75h9yI3Rg8M8W8CMCeOvBpt3reQevuF5XeJeXyk0x4563Xvjpn4Wb2APcp7wkYoqnXyVoa/Zfib49JhYqVFPy62ojFPPB7AHj48yHA0yBTOD4fi4jijDXp6NOwP9yv6RnDfcWSukJLxPutrwQ8TU8n3k/9ofaGYA6ECc+bZfQsDHSnCD+SHjGJB/YceADWQ3mX6cQcpD9Ln9+2NsqFjyuNNI7WWGoQzTgp42axY5HT11Pzqdiz7AWA8RnvvapyZVIapNnNOJiiDCxqR4fE3I27MyYhu4C61UnBt/oM5cWOJ4y6JS7RGomhk2iAt9otu2BV/F9U+c5ig//HkcohBjrQCGF3+0zfRuZ4OPNoZ60n/P8z76xtD1C2zRW7AndeYhhKOmET24JFOu3zAJkNBYdzs7SrhNqlYPqaLoswnijLcE+9CO9xls09Owpdvvdco+HsXoTmndS9G+JjU94tWmxvHwDFUIFBwNigGMu6cokVj3xyLOBLd5uO92r2tyUd03nEk0cALLKGdLbTEn6rfk0ocjw6RleDUPGGgeYH13C3ZNi9QJDmcKsK32GZ6wmXCqQK5A/8dM+MWeIxo0EIx/tPAiEPLvPrjp0eztWOT8svXMDWKvtqmXqoYvR7wtDhHGJRbKV12ZfODwKtfoFuF1ZLqzBGM/cLd3CtETAhonL++NBWkbwZFWB3qi5yG9DsNxNFFmu1OmnWFiDD9SFHEvQa5zWX9ubY7MlMjg8xbhaJrllL0k1SFFp0GQ6bera8ymZHIzrI52IMOrpBHrOyt82Rtyux0Z+F1ZDXFb2oJ6QIpjVo8ZSgGeOLS5hNqq4aekWdGt7bvRfHUEfyZh8VD327ftp+9ouLx5Nt0rq17Z80LGOa+gTIU6Q4pbxb6xUpWTGfJf7VF5DndQC/NGjTtGqXGbNKJuHFXKfVOATo5n+Nj1xGfa4SHDzACZOEAR1Zv//PLBNtOUY4kvW1BKVwUTo0Wa3D+giNpYyS2oBjOaGYd48wfuxsjlcXsFGn3MW52PFJ6oBWzLP4RdCaNtF9M0NCCV+WWkzxJiOWt50kNpKN6VeRsNswjlnEPD+nW9m3pczqTYZb6ah/w7ZV/+QXDqk9zvIgYHzJAHWa70dHjMo5G9j8QbERVgTixFpfu39I0Kow224VoPINsEFIlidLzhrUyEnDoWpIhkgqwLA0Wav+54Am6MCHnHTTe2lVU4dZjKkIRpqp+NeDju7OW7HJxNqgyLxEDXMSgVmVgKDEe6XS0gIiQuS1e+Tjygb1TFViCvfGWymxZaNzCFdAe/VWoPv2PLj52boHZBqFR41ibGUYYRr3aAWijPU4Anh5z4kyCjQETBTKagjrMHc02qnNZonJ2O3u2drjecxPwXu3OsYmYiTmV4KJkJiGTIkrc9TuaBO0kQZ9lJFhslKG2Va9B39goYvrZX1Psgr70RYbHFKe3v1KMM+4IOatq0Ns1+w1C4qkpEdtAOdebIjUPudxHRpCstKIq68HeezGo6OKyo6GSUEH41o9jWeOLb6CSOnANtcvyc+H6zI9tFCYvWtdLlvyQf5vESa5QuTnmRZ+0n9hCyhYWAD8gWWWidUfDHXqCkCio1od/oUk+Ons54mf6wGnu513opbGG09ionTuyCNYl2S2kUUrJOH5Al10KyOhy5LbwcJvFjm4HT6LmgjQjrVQxnv4QYrTQj8dXkIXPT4hoDesxYWNYa1aF3Bi6O/3eNTFLxnZQEX1qdo004J4aqB/E9/P+/NNtw+Pdtw2vXMppWqnl+3wfXBhf6IXZkgYKSSviYsVsveQ51UzjVZuctT4YNfZsWa0QkZtl5jvVY0dyxRPjF/CYkIHfSXVDusq5FJAECLcCI0r48OGoz52H/BcaB3GDsknYqcDt2WWAOUgwVvVS+dOzAel4Avggie+wxu9CLJYjyCgklhw9kg3LQ0ucdbvySsgolgehwXN5/jf5XbIxFoatkZTfbkhlXbunE/c3yP72rB1s0AuZ9tFcwAMgRExNidVylM7JTq1VYU1UeeALEaVTdho4z9FEvVwyfYzm/hdzIP8XAJYW+8Sf96ILkmOnzUC5ayVfnKLm1VBRIh+KjvHT2aqjl8vCOh3RrRyjp7vCg2sznyQmoB2rax+4mN0gLq5WLp+4P6eiczlpsiz5vqLrePPrAG8+q5mXBfW9xYwI5p11r3kehWomKfBAY1fsN8WvLGW440tWdslPnqMWTwEVfBPlY8wkkKQIgevztTEbgqSxj2yFOeNzJEnM7eYoBYEkr7qIwMx9eVnYfcxS9mXNKbouwgFOLfbuWqgEbt8SAJL/Arrjq21Dw9BjE5TkYvsuGSm6yteBTeEzYCFiRFYzKRZN6VzgZ0TAkTZZxj77FhmG1EPrsxP79cHFX1dvICzq3QbnKF5M4csp2tiOkILfgD9Ysx2PjJVtoldh4WocolmqEEXIxsiTT69fHZDy79atm/mCTnYf8+rs7MhSynGStGORauVarDSPfnhaeqKiUDxe9rAhVtyh3FZBPUtkb+kPnOtLdvoWtUeERPnyzXyPJv6HouRXdsKEovwxC7yaHerkl536QRYisM9z/S4yPKhIhodPw9RmvE/sCHbC3MZpu2HpqMqYGBTzpZck/cXj8vJns5FcZ302MjanuiD9Y+sa6yImMvxC8QbqZdCZb85wuqoWqUNaB+Zz+Hv/qM/d05aX9SnPlv/y1CI18Xr7kUeHaJv40z9fLzjn2I01O8hXM0ib14faXQF7rhZSHfm72CiFgSsq3DnfAN0NaMhQ7q7StkIKiqxc9WQQcUekdt34M3eQ9qu5Ut+0i5Otx3VCHaydGn3psOD8JYCG5t+O5UpOP0qW5yILHDFl/Qe1D9GOWoteRA6rT/J1bZUCqId5jWQKSdpPS38M3zShXFmC/DcRQeczx0/mn2ss8kUjGtF3dOn2yxecV7rEeiu+sEnuNuRnBnKCpN+4S/D6OjuK+994tSHNf+F0qHKlTd4UQxqeMVN80QXs2S1QZJjsJPuixoXts2W6bukPAeBNCbVmmhF4flgUQiq0j/9pEKBS1VmCi481qRtCeWcTj0FY9sTNkUBPID27YYPp9VUyQTNVtFUhxVyKEOcr/NXqv8RtyQzOE7sLBFBH87zG2J9nkp32y5sBl57AgTqnCFfjUMzD9Ta9xoHeagSixbFRdNVNSB9BedX+dDuanXnT3tigjTAHyLbWBXy8Pdb04wi3wnEfC5MPmtx6zhtfuyTiad8BOTK7eO4nSMN0u9Y9pa9+hSp9DiXod3psUHeVHlzsfh6jJaoChXEjZ8ERofYGcRdjQnYNRjcXNmkCojlifl8+urSal6UJH2p3DZzwVExv+sE+l6YbLXTTWwi0FW7aU+O/3ohXIRPA3iZXZBUeyGblFpBZlrg6dD1aw/QcPKkhdzBPVEPUvPyPJIrVzcBnh7oYOncg6kK8A47qKMbk8W3IQLnJGiiPqYRb3z5I7YX/3x3iZ40e1cK5s5pV47V3PBd96ZaKelaRnGpvDSLJaL/B73zCoudcAl2/Bxy1iwDdb63NXVSi/p3WlPGu45TdlwIRK27ZnI38HY5g34wGnipdmbCrPenwFpulznJYqSOiei0fccDt+FRcdS1Dat4aTcvsXXZgVpCf9hb6OV3ZpTu7jXexxaAldi99fp2qfqOkmYOU34IZhrZlV95GvdVD1+osifcncBBWI6ZZYPlTIIN+x+fpxNkkwRl+JVm5Vm/Rsb37sYJfBWSzc0+64BdymjCxGY5cFee7hcdQKWChqLj3sNpUuIsk39gsIj4eg1vRpfqMbS6yTEjiBV6ysx9YIaE4dVJOb7FJagBQV9ore03KTMKgwRcgXvub13ZqhuRKc7MkgMtOvaf84aeCsQrJN1NRkPe1MB3m16haMavEyrDChTrS6i3D5/h1f3k26vkp09XMHeSH4QYVnuRL/8fa2ij9goDyvWdRW/Tdoj5+GfjLjQ02qMJ+2mj4pRdcfhUHYo4FvSvjW7WGaDJTBtKBLVg5Af2pujh0apwbHoje+FKyzx52jTICYky60G8LrRg3lOR2rSSu8YwvnGMPJq0QRi4tjZeYgpZB/A/ypCQLoE74nB89I3bW5QbwIsEdMixjk57aIBxt2jeOXGVFpLLbbTVAwzwoERUBiVRPP3sh4I3xtTdvwEAfW/e59CINNASLwfH+GiU1q5Y42HmHqxMDRqAIlXdDeXaGn5zG5bo3Qni7Lu90MpQq0d0g9GNMGjCrPDaQJDnsh/TWBYHfVjzW/j/2ae5RxPnFJKjepaD7G6i3G2lLtpREU4L1K0wGmDNiXgIeftl0czBj9vFb+QJIzPzWUGmoU9ROPc1en90nqILF6oSFZ4eALZ4rM+BgRz8wJ4ISvcFy0RUcYXBeZI6O7EjHJdFRZHRybct7sIwxPpIzFa24ZuOeQidMxb3vKs6fLRQ3NTfax05WUHrPf4igjSNNquEiuhFrCeLOXJ1YfDYl7l0+aOpHLNKg/MNZB7Cr6OBY2qh3qN79NAsusxJOIZ/576DqmsApGDFCeaLoNeuTJFHVEgMAF/vKYzsLJEOU43G/+1FMRvCw0a5DCHy1+DFaIyHaUZK4pVjikD/L+tu5Axr+I1yy8C6tgzY1/sWhcn8l0K7uinbWUEllAiUFZaVk3vJ5uy5o82YgCqPbg6dU9EKN0hjB2KlN1PLfDCgBYLe41iduzeGdGK6e/twzG7naQVXTsUpTlJqB/r0vIW/LmKZvyzZZCvQS9SU5Tggwoms+eaMfb4oYAiBR9uc7T4vt5I0MhP5616kk9g1QVad9B1aBtEAF7GTfLXeCCsb4Tan1mrLwrWStS/4TBucBk/5aV1+zDx5ljR1KPuDbPk78hAfae0Y8PMWAyeVJKvINyu/vQZl2yBxjAEMTNqvKTBqiY8E8KWkdh6XP3Nr2DEEMMdvkltbbX8ThXXdM5Z5p2Fd4u30lo1n+l3VycJB3cX+lobGnENvEI/kQeTX/+8AGvbSfIVNteUAuS55FK6d+4eEXyDMwO84WrNv8cHyvZMrSQc6Jk0a9Bq7hsi2v1n2d7vT40zLztgoq90VYFh4NF0LzMZQ0SyFdsKi2h6tKsRtkxz7QPtOKNAHMyPgKwNzGRw4SPV7Jra4p9L7CAIDJNHDWKep1WT4K+ECDb/QlhvEM7M7nBskOl8V/iEf52iY7RBkSC237XFGqZp4zbtkFjJougG+/BfVN8HhHf52lRkwTD/ehkyzDUrhPP7XfbEe4UmDTtb/PGIw7GyZ7ptyPB94rDXfRC8qP0mZvRDJPlibio2AUyAa4nSBSO8d5s+lDZ4TX/PaF3XfaaOq6Pl6auZZQqWq1mhoxPbaSxPR9YAZzwuCQ3K4+2N7Yq4AFV93KrBgPcO96QUJFDrjGNLhekNF6+yaTmDgWkYoLJgtAS1PisIVdNvUC1iyb+B7/ZRbdErQoQ8FR+ypqtEgeCZr8ctM3caKr+s5OxJvquZohrv4lXJU0RybC7qB7DPOoifA5B48EuEMmy7vDVm/T8h1Cynm7fvpeuvQIIiJYzculUAG/J+H5n1fcehTT9QMVARxeCPxqlOSc0hNvrkaHpTrlSA5i+U9BAH9orbyYBa5EkJzt6Gn39/6NRWPXDeYUrPqnpKL7C1wnaCy/ZMzNeQ4p01J6PYUXjeuIcy+EhEXtWqGzZ8qiqiiyLticfvfYGgZsW6qigjn9cDtrV+7JzCS5rq63xHHdwULdkc81E+D6/+Nm4xTxuQui0t3WwOrmlS7DZ81bMtGs13GRlistryL177ZKUEpdlLvNs2Ryh5qRpLItrpu7VFkM8WwdEkqK97m/m9Ef1YXOzFIG6qqZAv5qKkO8xyGa/q6Hml/reLfunzTCICcVoiWdxZZwua4oClna3zkGGgGGig3yiTX70ehAfAd59FI+t8Wrz/T98yzQE19xMYITEUggi/fsyZkLSRGmmeFZ0RVTR5UdPaLnnyG18jRp/DOUA7UbXNDxKKvvhnzF/IoBtAeo3WsYypY+TDG1tVnm3h0bobpcGkx0JLW+Q4UIHgUnDWIN6UU7KMISEOYQzLEoUc8XD4zlE9q5OMuK0ifqMpJOjtvB0BjDc6PvnhFfdTdQ53HY+NmpwGCKp4mA2e1cTIyVM/UFljvT1eSza0pV57KXh6fDsuI9PfTOKxmvu1mEXDDUWGHEN3hETd2bAu3xEjW8PmpDhPsETLWBwzx4rKqYxPAfvNt1+GUA/YZQWoGVpelvMpO6V3fl+HCI21yqqO/6QnXtJh4JB8+DBTAjRvtamotH+YYrE1oiDEcQyiRsts6FUhVdNGwDHjM9RZg2b5yvYyAr0tJYZD8cDK/qh0WFGwkQY3aRI38f1qQt8M1+fsg+BRwAh6BnOPGeENZT+y3JoTiDQYw4sHZXuVqpu55aSd2QzaiJoazOc3gdCe0Is3Do48tiC2NqnWU5GxirV78Outo9fRpFCMmIU3Zba8rS0Oi+SWu7JXMvhC4FcEM0qIrmequfQJ/UnyuZMrMSXdczM81TWBPzcD4WrBs90JPl3E7Ji/tl9KzoUtHjSwSv706n0I4ZOcEiOgQPwtNn/J3fRU0Wta4mLVuR3EcBtnK2PJQ+CEUv+R1+FIppw46sDAUXJoqfWQ0Ok+FZ0+RAOy9WT0V4b5RGaZBQHLeDx6GjXTCJqIG++1/dcuNLbref1JFBf38afsbqjdDp3RJW5++Y2fr1o53ZcWiktSdaeX9wELVGHzbYSqq0ZdX0zDsbSbxV5mcrryOMSfBo0s1G51bSyDOWPS0VRp/vt8+cn5FBHYVVPn9z43R6K4QxyXnWotfSrr6vrOSJmV9VTxZ+JC4pSO+tw8qfAHBs2W6enSyCXkAXn/7BZSZETdTnQK3uVVwRx4L/5RM1PWxzIDTafd4h4CzkVQ9jsV0TSBpjxg2UkIth+/omoAyoykDGZ37Fn9Kj1yOk3TpQmGMyrLTa5ID53wt5J3+8gOxKQG4ipkc5ZJbbaax1RfDmlawDFm1W5Ja66ZTQdESpTOr48QSdxevJdm3KxUx/L9shmJZ8F8lJBDDakKBs/EYkeyodbl8FLqTylFauuZWDpE5dkoaPpRxgAzkMRHypdlvm5DFW84IjZ8biiMWTyyHlBTiXDpoha1R0l/q8gheNqI+FTuigmkDEU46yn3LzVfzVNC12l+rquFrhFD4Sl16yBX5zqvttf9zLyvKCaNek97lc41bfIbwHC5acmemxKeFT5VM4tJI6sCIuPwmX36X9GE4u3CTO5uXFJWyMWXxwH5bA/hJo+2D326jHmcfPju//fsToIZXItc/riK6SvcfL66IUKwjX7G7EWIn2i/vJDWvVBgN7fSqdIBkVIvynL9ijnsL1GAfmIUnftqnQUKjyVL0yO48HVuvuuSj2jV01qI+lEx+MhfuMDlMoqYguNswZDL8K2h4Po9EcfVneLwCKgBXX5xkLRJD3skmnhL+4OzmxLIu2LitUC75QmEwBptFcLhq1VbYlG4HoblJ5OJB0FUgyTtQUHF+vA8tbIxgAztGavPmE73527uyLsUlAd9XLGbGhUgB1+wSRbp9HPC5/um+fr9H/TRj7kTVBZDmEQFPfHsbbczXzpsjkg/4BZJbt5+DthfwFrekv39w6dOERl6fklmqGMJOg+uRmJrY/jah8mNgMJZoqS1cKv8Dw2YzAdpxiXBksD+Na+r4aUkM/bcG2Yx//6DXyn+pj/vWEG9BKCyWyTqIyd6B3rILdyPZ5n/T3bQboPFGJjvC7sLVAln1gBSae52F/k26TE0Q/OlSb+d1V8Ss7HWVGSqErc/sA5t4tFfKhfEL2KC3OKnH43j+akR75RORFor5S5u5/QzIUrwDehGHCsu/kqQIWbt5io7M6O1VNFUtiL+8Qh0rOVjDFSpvCx5orL2yCcCn7emq5BVlH+aHP7nE52vKRVL1wcgOBPQqXZQ0kzPsOwcmzMndQItzUF7o5MVVUeIJ8965cCiU+BI032skU1b3qpf+miSVOXyv+O6NF8xwRCOIdE+kdTsxT1mCD+4e2NZhlQEu8WUEuHVhQSp/msXkPxCxF2XsjYhHV5jReZY8GenV+akuo74UXE/YzedL7RoFV+uEBNcQCQwQaZnDoHVoqBrRvialCpfS/7SO/JcHUEDUUqCTfZuMpMwqlldpqr9KGR+2J1rhOKF2Wc4eNTBBILT7/qmFu/c52dPN/2BpvLYQcu8vTc3PT0eXwT15BeHmKOqu3ZUdtc6rudWZJASnsFfALldyAv2fm/nS+UqOPvWifrtYFG6M3g5yltyB9Jrysj5fhfNu/2g12CLDB7o2cRYSyFM1f4zMq5bbfT8b4Ng8GdSyZHPpOcvpTDeXeG/ZRL2YoDJTFPH9WHOr1nfUjYYW2DCLH7frIOii+kqp+yt5/ffeLwkJOMR7yhKsk7pTCTBCLEOth+rO+fLg7Pzsvy7qyopH8WPVB/wZo6me7lEA2itK1u+veRCFTEeicfBuG/FtrPhwCQZ8a0GMKp55iTa0duAcToTl8WymtVps8DWndKJ7FQR5D5tsdWmB0hpWSACQPRpxzDQxlxJNoSrNuxd+LVbzVzl25drNsNlQhKEw/+YEWwvBPfOScCQmeKmFuTKb4q7Sn3cHHJ9E8FppLiWOeTJI1V9hBA6LTHkxbNoFdsjl0sBEO1yyBc1BzrGXSyWwbOxRgLPB56rpyvcIDm1qTOar1ICRk7AwVcN2rAuhb3WesZAtn3hrF2JXAq7hhLyszTMN3TpYaQP/RlQBgcZOi+x8pVKBA0+pGTgN/0FHZwwbMh/RjcYVpxf/lZWu7XZGY4kwK1IEdhFvw2L/kGhI6MIW3dCHiNDPz0PJfx2yx6E96HT6xoEJLr0/JpAhr6X60ruAemtn5n3wj5BDLR9BvTHUp+frfwqkOhg81YaM3b+aWAyyyZqJqQMe75iQfcTNGWRqRPP8LMhi5V96DKYQouHRxtBcJmK3r0IlJUN/RYnGNqD51ftcMN3MxkFuxlYsHYLe6F2DSm914EC863q2A/NRSJktF9zTCPHNMCMMsmgW4E2TZSvPWbzxB8LhwjE6Epxqat8wcjWMcK7pO6msRsgdGt8diZRpSuEy8GsL8+LisCvDk3Qb3+9YTe6QtPfIIxLMFkGIIA/XapeZMloe5G16cIz6wWYaQu7km415Axv6XEiZnNk2blbv7mRyOBqfkfaEcgxmdKMWIFFmVTTkvDUH8/yXcf1nbU+QIL3sSBeBg8osF3ega8Lpbp7R88+bE/Xdu9y62JkAj2BaePRpDLLMWurJZAOYK41UegRz+Ywb0GFEsGfT8XNsVceyvddVTSobADMJPJyHTw1W+7DoWEp3jhRYryK24Dvb4/xUC2FyNTmJYU4Zt3aRmzWjZgPdIWaREbF3yCkwZY8eCZOfViTOHUHoXK1a5FyAx97QKA4nBjMoCGv9AyaTmsiuaOaSBG51wqBu5iM5OYP4xrO8GdDPMY/YCrsjl9Ze7TUaclSnP+HOomsm0GIhPsQ1VlisDe5WKLaHf/lW7U2Z99uc0tz54aEfhbP1Sj3LO5bEB5AYho/ZSMKA8Q0VWY8Q89x6HN6YW3jDh1HS+dEcSGq1QTK6AVjj+46jHXg/usALDctmltYHRn4YJDT+3hHynqqPzV+HqNvciRdNDkVXfwdaSNQonp/YNZvdM8qdx4Q3Bo5C4DbdbFybH2G53zzeiEVvNK/B1oHQI33Q6IU4EzDaSsMlDridmtOqU2Z0LE3XtEhHjd6VFSFw8/i4xGbXyYxH0vA+AaTMK+rBwTPGwV4tAo6LkpduvCA7wcMs21OKCzbsBvveYh1mCyirdDnT+79eV0OMDRBzU4CrQrwgdunQma0WpKi17MEh0gb/S9u60uPl1S9iuUQkg2IXKg9jdQ3iXem9pSfHwahZeK3aeBUUS/SRlrPO12X/3a9xFKlCEjgFVv+saUaJyARBUNp9i1kzwYrVTAT7il+CImbN/nRINwvS6MVgPleC0iyIc03Ph++WQV4zUEo2XuV5rFsbMVKQRBRhwOeKWwao91uh/CpSXI+SsBuKIUDJVtpZk2Tv/vE1bV+hpzTC81pwjYWf3W5sqZOPv96HljcgjqvaIl2jvOUdTodCk0uZ1XUClhfIOJ8A5H+wF2q+dyMitXvaKxWa6Je5KnbfdqLieCakZBq84yzdU76Ch+J5S6w3fzDcYP776hhfBAQ8IVwURfTslVPtl4AnhYBUATQEK2lZSHWUd38wL9ZFeTxMMOvbAer9dfbkitir9OoActJ5pAAOsX9lCp14xjlL8eHDgSAXjOlKb9WYSXTYF9NUqy/VCtUmDKe20RrJaJDH/UtkvxVFWFPADAFQhkc0j5LDoRDikANkEf06eFq37s6CKh2GtVCJR14x9MBB51o8SgBtS3fB9oJP+I4w7JldfN55Yl424teIAblA6Cl1nyNdRbNq61ImeJMd3BO7m6QRFU/aSubs9zcRVkW6P0u0A0vpV1Rx/6Eab5kiI6rSX9FJeLjPoW6/14lG7Hucobgpg0wwRlUEQlL0qGlCaHhC1yi6TI1cKcSteHNMplq1PvZmbXDGqMJFEh3gb3TetGq61ggT0N7P4r/EnYhIQQPgeK7g4A6mCU0T7xxqwYCxYuxfZFuEDLT58tWp8aU8r0xe4kLJz7yNpX6ZAWYIxaKk690W6SI3kgfhODZWz7OHS2REJayH4lY1LDbV7c0PuY+OqPdX3n6XnFKCbfvbuS7NIPXPiptwOqBmWhGTQLVOuUj4BFzxh3xlsCIDtSNpm9N/I0LnGZfP/zgowdSiwPfKaBnWijkIpbiRn14popc0LLWamooAyN5lySkV67pb/pUw2nZFKFYlDwA7VXZfkCTd2QK7X+nn+k4e0kZXoNyVFMGJadLLshhy4K2n9E/XtM9Kj0WiOPjtInuZ2VBXIGaQHLTIQ9GDRONjYNmMKuHem0XTYc+fXfskTmCVwPVixRBvi3SmRrxE7JfcOa7RxoCExsUr2nAahANppxoaHiRV2rL84YKL3tRdtB4b5DL3OxiCxjYPMuAYoa/tRo+2gZjJR16X0YU9i9GoXEEHAVrC1Yajs25eRrpDZgaeBQukJEfdWJNQ6zGolfz/m7+iHe2p9/rwPkc0uLlobfyD5Geo9O1TfeNZYsz8h/y+IIDqQYpezwJrkV3f4IwuFoKp8Q3wBaJIG+UaPE4Ss0IPMe0IVy6vU6/so67+sCXKFFfXrhCKObbCghJPAJm4H+rctHtNm/BK3Fi9e2IfL41oFOIcfwGnI047nKsIM2k4mlnrF93XXvxQ0VzKTCoMBi/sJD2aXvwZRO0unGGJXB8qaQ5PB/kbPO8eiLHDNxKSOTlqNLDCd4PKNeevTN03t1lDHid1lVcrTk9hs/cAWBlLA+gpuvAu3JTWYF1jGedtDRu0ImAQuICeFYFqzytTTo08ILUP3XRW9ts2jFfQw9CJ5wv2Uic4HKs/9J3EQJYOHakFmUf+txjTNp4RsypO55qfBaPfv4MAghVjKrswQJ6GauyNGQgFxIE/sUbyNvFGAP/6sVa59XyrbBof/BFDY00eHFzz2Ueqvth8G/lWgDilp3DZbikWupNOMlkN1l4v8o1kMZ4kQnJNHnFlrR0/um5PtD89GCuWmfetA/oHHAEJ/MLUp4lEOV4mvUp6xKSL/vpjmCav/XDQoV5/r6C6NItjNrs/x6zDAnmG6VLbBQ7bPrNpTrPnT/D2NpUV/nOPiJwX22pz3wIXMHK+V9yJ+jGU2Os5zw9x9ArOY211K1Kq8PkZiAzV/gX1nxfxgL619kTIF2uBGQNTaZ8EkAZV9MOnyb/Xw1Xo1LT15ODczj/RN+Y4kJ58OGM0xtMDbSW5GAUQ64FyjXXg8WzqC6m406zszHdlNp6s7js+EVU8f/8kRcWbpSKehvIFQtwnVbadInaoBBiZB68QU6Uh3JsiMhwt1NuEU5H4UPLx6+MIup+jLdtUezuZz4f6/BWy7F8CLJMoU4qCjRYHNhzLS5z6QfJTKS7kznHsn4aOJI5ZhUznp/V3T7Yfny1Aiu5ZXBB+nnse/H8cTHHh0l2GDLUrGOUH1dfnCo4lHKnNyl0EYJhTD7b3eY+NdFAzVoP73bwAxd3p2uPDShzdvnEQeKhSSLfwxwgoTuRPhApQBYkxOSpHU9M2Bp37vu/COAHFRKrzBXAPKa0EpYoF4mzIaS9IxsZZv9UKtKcM8xi0OVgtjHDbkMUYo8lhSRUhiP8sZ/pl7BD5GCEQwHMoBzeYRZtz45EQ/4v1CT4gDPBbw+J5AZcSyCZSYExmAWUWah7emUGE3Dg8iK01QX7hmuzL/oJt0dr7TjinzpgsxkB4a6V0e51M8jgR17Fzl88GbtxjdEezVjKGir6tIj9zeub137998fBy6Vys4eToW6URImPBkDWdrxFVuxvW+Q5BT8YXTEsX9+Itu04dbL2qeqaUvNn+UHsnaiyZy1FwG4F8Z4FdKNuXgTGpIjzIqWqIbFG2haUIFPFxnyK3vezEtYf4jUgNKm08K+3TgJycdP4CvOmNIGKgIxHPQM45I1VKHD9YA7faY1IKonF6C3W6YZ1Rz2efi7ragD9Rnyydx+GjJ6yByV2xKFcA2Hv0MnWMILNluccZge206ku3drLKo/6/IluEUhV9P/Ho3amNNEoi+cSTLeXeYyotrde5ZHMSkce3pqJ8GSXT0uqIgEGChVx0gtSwlrTYJ2ept2q7V+Ybk1ehOJYK8wQVSg3JK9bz+X5tsBoojV8MuiWrf/gREWaqGE0LSNlcDbK5mn6K4Ir+D49hauMCvtllsg3knFiY4EwLzCNQh5Nk2WAd2d9IFz2HPHXdsT9jXhxnTPH1jAja6FYHIbrPTbUfVRKi7Lty4X+GniIKwjp6pGwWtpDsJwU3Uwa/jDb5orCoyqovQRfaDzlXvpnUyTzF4Q5ueYxctZOJAcBexKkteO27AC+b7M3TTz9cqiy1PICtRH/i/9H9UulozKQcJuw3iuy+XRJLhyd6ltAXUsoqiFY9G3e93Bq5bcYEtTxZGt3lqY1ifh9FJPc2ojgAQchUdS7zz6GR+TWfHYhiNjoKQyTkY+/6uLko7fQbSMW4/Ao8/YxZVFMMApx5om6Bk0cfj0i7dmnqE9AwOifBgcHSLKehQdynFrZ15jTWrLlW5Wia0olP4mPHeiZZSxfDmSO4n0RbX3HSpeAZ7lGpyHFm15swS33emKQZxhihYolmQdRUrFsYqJ3JZevQ/D05llwDO+Y91+l6WZswEh3W+PAAJZZp1A/kpnmtLDassD8RztzyNRBUJ2P+N6Rwc6E/YJwQbNggu2EfpGe4oDVawusSHlSuWJbW9YATdSIvRXqnI6udpKtJhugQGHFi60HwAEHkwGNsvx5EI5Eq2zeqsmryWL2NikyNbq3InS02QlShYZzNRegjvStQi6+5QgX/YimVqTy8+581vG8C0KHqgc754wKE8FdCT/pjaFV/gwL+U+AkxW6D0afePYaWUmClLNplbtYOIKpgQJLE9w7RfpLvJUVxlaidn6QMoTzGiEei3b5Kc91il9JyvwWBFt7GNZK+PYKkMZobHeI2iIRbhh/2N+xqAZcWVCNOROmQvH2SstTpkvDaBPORRJ6fASxzC2zkoxykSA+mJVkzj0qFt2f522IvqHDQDDpzectxU7wolD7fXGEN0gTy94CLcIsz/RvsR1tsIlj/aK8eqi0BGJ4XwSdcADAbj3RhNNtjmjnhnsx/zxCk8jmoRxIdJFFsShMcPBj8Pf2dMBBihqNBLruCtN/Iv95wTxPbGX+imtW5vMdZ6KtWmDGoQ75YysNkpLcGb+/UpycieyOs0fT+haWImjjWGFpA3qhjeXksWpiYNZIfT67YNIHR+lKxhsOOSDTksbHsxqxzo9Xr/uEPGxDdHoDAuDr3elMyFd6pRdrHAWjNazbDW1ZwmWsBCWWXO34zwdBylkatVXQNswhy4dm5VEPEyj8TRaG8KQ3KGnRpPscQX2onn+V1X18WhUlxyf3DFcbnz5GTIyQKhvgRHx2Jut/b/hJFBwzVRQ0EGfU28MCrYq8/dqxW0X9t78FVEqQMxu6wXsFJrft13mwXlRWxAYmmLtiRuKOtN0zwk1ufw+lBTzrAJC021sq7A2k9wgLHjdeXifsQlP5xK7PgGCNh8CW59+wsAvdyFC/f9SNkxIyObPpHiKA/on0v7em3ZoXgkON4Fh0BxF7C0Dyaj4CqB/bGh1Dkg2U3FwhFJ5RVKlWYgJkPcLvJis9/Wbn0UOX4NQj42AWZosvGNh6LCVXgzTjIGYIjXh5AnO7qw84uJ5afE5qHc6dYR9f9N7GQKlqUGK4x/RYKqZ17fNwKiH8pf7g9LAf276mhpHz1hAEFU/++UbbErB9lm5tTiGSzb65U/TE6u8U3Adx2Viigg7U1G6y7ieeyZAd0FrWgJkaj5tZgFfvbYhN9d/CCaEUzNMG7giWKNtgNI6iQBu9Z6P0lCCv/TLDVJvzHEB1sx2eEP686Yn6gBqYxn+4PQVhXoJ3BRR7SCA/DntDrq9h+wRPjS/skJirMLKG9xzxg3J2qsMBOCA7AZeGAfHGBrlB6NLnq6mkfmtDwEG8gZs1a7qa2nd2ONPQfDCcLGg1kV40b1L7ZroC98K/4nUczpjWErC5jG/KvFNsrqMyu6S2GVnhXaNfVd+6qtcwIW2pIeGI29CQZCbmP3jJAe6qPYgv+HyEZhPMq176myW7kcCTDVeqE3CGUYCQWFFuRKMfxfBwf7n6MbO7njkJdqJMO+45TB/cqxo0eq3gNS9dnSZgcKcsF3OwoowqimQFDFAX8cnrFYHtmyqHRwzkT+tzz6hkrxPSEfi3XrIdAVao9RQYVYi4/9alRuYeKFpYHAfEke/WwequbHoFuzZ3Y2SQK010Fn0nhm/+b9e81t4onnbSbaeZUwSlknQDBAFrTo0C+LP4UcW5TJ20rD0w3T/RaXY1HQEEmol5NCSM1bc8nqxvzSazjn6X1GMJbPd/UUXvQOe64FVKtfEWAeGYy3DZR/1Th2seUmuPdn7KIb1co09M08MGDfAi/zv5GHRgIoBsdadOI5Jlx16SItIxItp+awMLYsPb20FO4gWvDSzrhV71pMyt8oPcqIFzZ8ykdvxPtMrwBHRb3N//9S5/ZqBYF32i6MchXLIswiYxVkQr8gtXA/ENeP3ADtltuEiKCHtJ1ymRTf+hgKcrx3PMgnBRGDLe8mlrhebZzdvZYCb5RbTdd1qKn4k8kYv+aljyvT9XapsC03+VEPTv2lPvOH8M8dh2VjXwnBICNI8hfH/YswroruhgZhNImZkBOzwHuqxgrp6bE08yzrRhuDKNFQt0+P5nkv/3X5LiYbvZ29HXzvtLtVBnYB/YJHDkAW/3LXT99RMuRf2CchNCM6UZaokW1ra5LrWywkvo8urkPVZoLYo/TKTpRWWatPp4mm9DJsoGH9GynrkcmDDfwMCEeqY0WUNtYj1ZarhJpsbHYoKjdwT7qIROKipRev0HFoVocgR0zoyba2QdkOB8H9r0K4rN3oZIV12u/SEe/v3at2andL0UL0wBNwi0b1cWodiHeqdufQr01xrpiOH/C3B1Dw25vzCWqr1sEk++qOh4hl1DomVwlqSBgLCSWyvwB/cQ/5YG/mHnKL4x74h1PhZdNsWliXj5hIA68bUHG4lCOskxCiCo4lDNqlH7BpvZLhFQdrL35hxwfPXG2+Y+ce3xzaAQH5gOcAJMQ0xAnF9r2BPQfSamYk69OAYRtVrTV9qbrbTDJ3U3N40onZmjTVJYrrTWnCMXzrbr8YOCUJh+gjt/VQBwP9bQcRpUD86h34kem5nBVclMNXEHLsym3NAst/eJNEW8ThcrSYvvpUd0in/t+drtJf4f8Eheg82kpnxX/UfZkOu3eIEZyMlzX7FAdBEUNF4oy4xRV/XiuKJ/PzzJMwyBGmsmV/onrM5Uh6Z2waKvSMruG2esbFnpDEJ0pRH00E1238jMOBONTtugblWpKy+IIa8jqQcXZKwgtOdAD9+lZRt6hXXfbBPsTbpwOvK7gdx9XSgF+kIMy8UvwdqBAlgTTjNsU87L2Z0DAzX9SPOSgYT6owQaLxXk8hc9r7/mPWDohFtvitq3I8rVfsUdVpLskDBDN1DGo0ZO+TftqXw6HK/qHw5hK2iredVudy+Vw2+ISnRvJPgsyE8TOi7EBMxR7M6wFev03nmQBbrWVQuY4p42OEfL3L21wiad8KIggb1dQJRdg2IAFsyuQY7wtE68Jm8eDGtVgEtd24uPWJpqhOYDPBvfZ+yI+DUk8lxnF5ZD05tmO1Ek5ODwaQuLvlh7PPPvH+EU6zUSCC17W1+zSgmNPvbMkqzpXt8FuEct8BWZiNfQr5xke3ksGIp1XOSUvNPaLp7KkDpVRuKLgmV8qNfvl40siirrI6E7r4I5uQ5ZjRsi+70+JL9hGfRGdDHsBZ58chj4ad/360mG1TejfI8i87VJ1uE5oZTJRtqcCpbDtcmtv7nSCzH6SIbDIZchYtArrA/3oTe1qlHASlG2l5mP+RZzEFc5Qr1Mod++nA/FSnm9TopuVXtwETF+g6h9UqnX2YGKo/1ZRRXJEIw9AXuOlnCzTXAGAJ1cpymfgzNd72yX2Ty7Tk370D77urwYpJzag7ELNYw4AmkhwS0phMekt22wsnAE+ONaQweX4FLl1LWMeV3sc0+mgKE+HxBariWCVFf79M19l5+9j7mb9dblMBAs/e/NGzWh/iFSqfxx2CAKtnZ5G3CaI4MYzNhtSJT5tPiu2Y9ojerUQDUWKoOt5w/wJzQU6n1HFRMGAh2/vQdfqB2zlADm//nhX2mRB9WNk+iN0gvNjMgG1FEDSbvckn0J2ExmYEMOG8KakDSKNLFg3k+cwVfmfSje9ML2iE+ebj2EYwuxFaTj9wji/AfE8pvvZJXwv9UmkyYLDiL/NYBhNaVgWbl+rTbpnK5D/AUXqO2HwUBM9d2X5Q1QG9+4QvyAhG60Zamen6GayH3EoB7wioPFZx4dLyzZ0mloIpNslB5+q2GmXAuCH4ETrFVfS5HTk10wg9UJhSQ+YTSTGLXjGB1aJ0dJq7xHr2w7wIEuoi6iDz0VRdhQphmFnf2vrcSVJh6peXmnsKEkDabHU8sHbvNXSPnbWxmuek1emhX3yEC3fki/YfLqd/b8pIzonx8q8FuZSetgbA6VLMEEFOFPZXxqlQ0TEiokVg+/MePPGSaCPIROGVnHq1G8OEKxDtVL4dz43dci/BDwiD094/ed806O0zTRu1//ZiSfWc/dcem05sUhv9IPkSFDvZDz+vsWUEzGZpSJDShID9rpbp3pWwt+1PUdmlwvgyHT1xPiFIzyQBtNKfjypPrQiy/8xgNFOu2vx0G6AsVxUqjz6RQTuXi6cdBDSlxawZEzRgVYKY2gzUo2KPRj/pkhkBvoXVrfFPMbIXpqAl51JNrV/AQH9Ob4QonQc99ZdQ6MjRflaObc/3FrHqkkMO1MJ4cjuc1gCg5SjdgdZ2UlB5vXUZs1DjHaTYAZQRu060wYZErhCha393qX/SzDav/hrPSJWU3ao+AQ4Mqeszjf0XGdYwUrZzLMm9IyZd7i8islP12mZ31T30MwGGllCawVR0zf3h2ck4NLcRsw4wIgUNsQwLnBt5mZ3JS9ehZlPywETcHj8/vcmygO9gquhWTvsxS6N8aqzKFT56JQeIVpQ7ciCAN5/NHlLCo/pKQeUPxwda9FGfoAfJbtRFZKhGvk0tq+oTaXyOu2ZLt6ziA3S5FNQDG/D8kpXaqBv1Aj94uGe+AG4Rm+UGDyuO9UvNWhrcLOT/z7OYRd+xMUdY1d6DMK+5UkpIMbBVYdHV4MYJVsyA2+GBQGOFZasuL/z+8SIBCOtKcWeEhgeEcqnD4VPmpSGo8/yiH5QfDCLAXsIWK640c5KNB5P5/97DFa7EDor4mEX/VH9cL08nT9IMA4qwk9Bg0uYvKCwgmhb40mb0VphlxFADyjbHG9xZvvavYhaDcNum/bfTpumPpAqq3CC8+iVjZxR2DlNvQJTrUkBmW2vnta5b71p6JJwhhNyZ05OQn1KdinVLo8q0Ifrvd8TnuRu2d11A1VV/pli5itXRhFmeHgBVC0eo+ZFCgUjDXp2WG+GI24h4iYFt2Nq3Ua0bLH89zRZ3vV5nG0zxv7DPCuaoKDxZtuAzxo6AmjEiS78Z4rZBvWwaZPkgB5fifgXd43vW2Qi4M5VnyWAX/tpZpWywV5rzS1td1YQc9fbE2Rr6VzZzbK4Hc7gzgCo+PvTomAIfegKNbYnLAyAOclbAqiFtxhDxRTflLQzSk3si+bpQxug3JDALbSb+LgERmbuP+hxTUcjPkrm9BeVin0DYlDgqxwoJpBn+rb9lfdH5xo3e6Z6slKLkB14+C/z50+NiKedxSnJVfXqMvsd8KYdx6VPFpk5AUU+cbAIZhDr6TtbvbRAKsGeGkflqHgHyGC0e75uwMmFDVwMuNI8QOuJTk/tg6r3Guo0D2KbLa5Gs0TUWHcwiFILS1SRFt9DbfTKYdDwXJWZZDoAeUJQZEB1lsSbJeSApOet/h3V+MMTX7e8h/MAN+p19biqIxeqPZ5nkNQTJ9SWAgOd1VLKCyb2BGLB6HThbBy6wlJxiZGMIx8PSyh+NirTO8DLV/t2FS8mhQMOKWRHmI5/jh9F1C+vUGRNyz2ToMHLSGk22XjfbtR9PApxCS+frztY2TBU5Nv6is5wfu4528aBmgrt1K6v6zo0oQ7UgTPlUIcQwEt2b7x+i8STWnC6VcHm7IXe3PemcTWJcHLrHlgF0q8l8KZ+u4N6fkj6m2jLzFg1nRKPGxHPenBeUYf9ijbsGjWrQlo7SIMRDtPpjrSo90ai6DSewOTDNdsHgCoU4DEGsC9NfvN7lDfFmQ7n0wTR5ogkskUaD2E8Pg6az2dV6Rih7Ui4SR/ZXOZE/SA9ogpsIXw3T8a3gIIMsiql62L4lIKPz5FcRWTcJeufKzhxt7iVVKpLKe0nTX3mryPLDRA6FH8B3xStTIRC32kXWWiPMcI7CWwlfSJ5jR2EwYNpVU9Kt+g0oJP93ji5nRF+0QpRM4qsan3HYGOMIet9apu4J86zHTJnCcs3zmNzogZjyeWf0US/TglNWxjRDopFsDNW4utr9L2zTgrTYtryxejwLzclqwCRyQPlUCbYiZTAjR3VBlOBUSf7vD4jNyoyE36xyDG5IrZ5a5HSVD0ulQjwzYtHwUAnvUg29N9N/Z5RlUS+CwZ+LA301paFifSdGzUT+fG3gQHBuvIjExrev4du2/a42nQEhG0mXV5UdJnSaA4ndkafOxLuUxMj2wPqtM9RghonWZyNwy+ddFQTFGFq9gC3pWvD6sEtELGbOocV6cAFiJhpaCmW2p1P8yICFkN2zHXBKSbA1u2cBcK97DTst0Bvbgi3SMm9yAqSR3B32aunMnrzP7YQd1Iigz5TIKmKpfu7B2JgivY+xa8+AiY5Dcez5Yux6BNe1xlgTlxyqEYNYeUMORkMiU5KYPf7UEhvF+nlcX9iGzPcbbYe2xUx2GPFWRRzKktYodBHrqiG//uzciAjQSwmkV7KqbIMtkY9xF2dEcnIAibwRYe7iw3d2yEjETsOP6njn097w22iV+b4ZSWQ/I+vxrC2w1qbfnNe68SRKe/S/nb9WPR6MTVLIq+B5OB+4+qTWMQL+PBM1Wpj8j0Y7p3Z3xdV0S52k6A5PxfrgrLmIdhTXUvsFGnGsFp219f3ZsIqfYJDVeqj7h0ID8MRiCfbOpN0EK62TcSbMB37/92UT9QxNGDrC3DPcGgOBbwqod5kBSbk+akGJbiFGXDFhClN291tuZXkb7sxh6oYHBYqC0nPG4NjywgE8OzJon+TeK1ZIe9l3nOQ+2sRyLNqpduqa5EfIn7ZR1wJo/NXkyApp0suNLz9fi3FpOOg7QgwZNC+OirWJsa+/Zdr378WhuxYf/AvICJkZQ6fJxyuHw2XPtKRGj3GY4ibfrU4Ua7zi2aT3ou5dSZtyePI3IY5a5ciorsnKy6rxcWtzqsZYI2KPPF21h79aw1xz/JvOL7NcadkGw4axl6gIky77RJyvot7InZR32aiksXJmDqZjutD/mSJgXo+Ms0Dqki3RxVcX2fXivvqQ6f52siuq9n5C8oMZugttz6WWPbQ/L5bP7uP+4vWfyOQeYzuAew3wxnR3CUSkYITgXaBS+/WbOpNODpn23tj5lCpmUMiOsCeDXKJubQYypel7CT5NZuZpcLyvEmslSpsZZ8RvXczgddyrW4PmHMWCLsI00hnKqU+Jj7mHGczQy2W8jweymA802yzN0PhmRb/Pno/Kt77qBDKo683AYKvYpt7bwulqFhZrKmfty6Xndh0AuefYZ/H7i6PO8g8nZH6+/oWHeyAfu+7czvxXP7aJF3wtm82DLFqYrEXHy2gzOAparUZl2eorOoBTJrr9HtWzZLabVfM7nX9RYmQUZ92pp3/K5JcwrF805nkKjBCp4f2B2upE5XBLmZFCTWo+AMvfXjzMlvXFaftA321L6eRg82/TgUPJSgZMkwadSAP0Q47oy+OmOKK2FO8UsObwJoTSI5v2Xg/pg7loUK0gN4Y22WH+4SBQeuL+ZzUqpE7yEu6M9MpyQ3mu0QnIhOkUDnRk3kUidkQoF0nqibYS844messOCbRiuiOhm3l6TiRa0SstDbb4+NOJjrrF9Gj2pNRJIJYlZ4xOEtSaEE5ohFqY6e+Fzb4tytOBNK0kCls8VA6Y34VK/tLiUOFfhu9OLSug8w4UYq9SSc0hqKHcm2Mp7g8m06X5/8ilzq4Re87zD5wBnRPTQ5juad+SnuycKjyKuN7lVqNP2epqT/uXOF17q91NOMRtgLAHb9jyTe5vt96qQzYTVuHTvKnYmNYND1yowTPoNsGEWBt0Unqr0LNyydTTRm6S5xb1Z56HIbJyn7tA9YH+B1Su5HBdfoVKcn4hOE4a5z+fWBUvk1qUNZhBhhFV53grl8r1IK+VzZNcBmQdNyFEoPY3bU4V11Gf3W5wc2WbFOn2HnOPbahegxndziHTY4cMPfsXiOpQ2l5tN/gTrwEB6QMwEzMRTxQJsaCqoTjwNpMcsJt3wQChTIQYTRzdoS/+XKA4ojYTNZMiWkiJKHt/OpfsC5mTXWlLjY36ipB3MwuX67EhcoChgloRemxy1ki8/tbbM4znjGpo8OaAjpQykUoQS/ELXI8bgHsgi2xLOMSyz9igpM9WTr8WCZIcdFjvw9slapPcvGSsJRDp4ORl27KZdVEWHB+82EuMZSM4R6ImN0x5Yd3/XVBKdsaIuMrNfG/2L2hjxtMhFTj8QPiSDsZs5SPMuj0B0iSBncnFeQBkS38FYRFF477XoBIScQTA0yxMf6xx/PfCUpmgdHCltChXWqKEzB1R5TRR/EPo6uSvstRo+YYoKGTjHwhqxywPS5+fhhduS+o18FQjdQUhdj4tQJGTRBpPmn1RbJw+kowKE3Mwih4rdaOarRbx0M+sT7TJu70zVB9Lt8wbsSNN9yEmzDr9T6CfOdyKeCzowEIVy4zPU0YwzJ09N5VpoCSuIBC895QOnTVdXxsswQfS/gmfB4OOtP+S+sgXTWJZAru2TezbhwfUP6dKx+KivUMKWd6jRxqVIlCxC9iW9Aa+Kj8dbVP6nvTe2L5c4h/NgxxwuplafkhT9iBa9Ij5z0Db616Kgc1G14RN5lgvCut81gWpdFD71jOFopAJSVzQzrIXY++YIbHaKwafXf/yGoDTJ1FHWMcIam4D0D5mAYD7BerWjcy/jOtmX1pLb1+buFj67t2eUBWikk5hGRgCAYMmiybgCOgzLN/2+urMoRYMqQGjIPFRCPBDvQ8ptDUVqEHfMJH4XG4NqL9pcrcB/u162f6Pt8rHuCEa2aCcBInVnc6bciJCCkZROCVxaXYlQRChTzVYTiIW3HlPuItmakWAy3W20anFk+GdPiCDg7hM98OwTQYfY7AycCe8dc/qd5P7cidoXUY5csOE4quTkTTGqJqHP6JdRZwZhmWOfVgypb4DiejFbs1TKYkHHfO9wPYqwtT03yoFxTZn9J2wkHLBJe+/LPK8Ls4CNdWyfcZL32vyLA83Lyo02Fq+y9OnJXQoFFCFPIWgQ75Ec+Qkf2wrVpIRxJwAsL3l7Ac2h1pLutIPGIHa2GLi+A8rstVwpJ7gUYYC/n/1kNkTdNv1jI6077YcxsHl+vBRJ5l4rB6LLX+3nyXWoVJPwikZryDkT49XQ00I4AEVDtfow+Apt8sdjT9WwVvFkYBNFehpRPGb0F1HfX2nGZRGaF/4qsnhAvWjXuA7590y73kgwDhbAdRYUCWKpqjERCpGLCyMvBXDxGynvrSJIPVE9VDPr4OkFnc0PaBT2fOKyM4nYrTPqU3h4Htql2Hk/jqj7LJNajVPG1rStZhbB0N6/Ekk/9k8W5ebpI32z8jniE6+XEslUWpLy0/2EYr8dC8/cwWHDjpPKzIm+BBcWYc9LqnBsQzrHjoCJAH0NiUoCP+eY/75plobl1Pj4sJ4WCpqx/E+J7qloUkl3o8QqfO+LfVwiKqRGnjECmEbSu2iR0eCW9aSvD4CA4i3S0ieqgqsnMGDCwNbD2xUZwqzYBsIjgypHUEwUZ5KGeJWhBZoCJN90WNzB14C9XCHOW05b7AjOAL79XksaRctShYKgyYHO4CwYI7GchcCJVYtjCzylThleFlLy+5KS66McPfhFcXUhkKgi5PfcUcOPl7JIMmQLQ5q6MbGIKcM7D2gsHN2bqPkC5XNtVLvnM2mHwXzvjLL1KhM/uBTfd1hB0pUSwnx8x2elkZEPhM5IDnjKc4m7T5HnaAH9UQ/uU6nRYCAta6L58wfPGtkjq/aVCOZ2DKto0Tf9evnidIK7bkrq0BimY799gEB7Ho33GAFjID9yC4lRrY6fOnFoFuEetalbuoeNnPhchINTCDRot9ns4QbGsQ9Qf87ExDNA0twCta9ZpQhEuPa+xsjTrRcyv6n8b2t0FV00Jdfxk33bPNftl8t+yycU7KhRg3cqlV58OH7hVsa/ptEhi6sFdsy0VQOfUoZX+QZN/LifyvJ4yOJe6naiHJ/xxi33kJ35To2AMOwTfh6fyX036oZgxeCi3peS9JklvOF1LLzlslESW2oagjAxdlgY0EHd6tBFFGGfclhZa0eS3MTwKAzwuSdM94uEgZgVlzpFLclez6VDHNp8F+y5ps2kqWUymeXMw85jdViNGfdYFCNC7l6q+wQ9VZ1os5LN96Svcekbdt3Ii8EDWQC417KMQN+Z+6fW+FaTCbtNT6658kUNvUl5Ye+Dd4z+9jLeY7C6vVuulaIdYP1rP6lfZYfSflLF7vWtFFZZOr8P/5gtGVILZLGZply10JbeHk/7clFsO8qzp5u3eXZwjj+TVTiTpSbC9F2NO2HP7bKl8qblmwj1GoH+BcNgC3+oH6RFMtX0UNjlcCeSsCdcqZ9ZM0iQqWDn7Xto8lPrVquiB15au3DYMWj4D9bVKc9Fx+iBLthHujDT7aWFGT0klgi3BvnvicPydlq/qmnrhnxnxeylsCOcrmk47C2mw/+T4t4tnawFNnfJ3w8aqN+wseurJoeTN9IF180RC/A0TXPEmKQ8VK+4g4vULulxk3H1Q7ki8md9I0V0GV0KTLd+Xc6aCvcK9wJuCs1oC/XrgjGVrTjM1UU7q9XR6lPeN75TEdd7b9WZK8A4xtprcGThQPWVeqiUX+T30LB9avkySqACAg+KdpjFVZZBF2OQxtBEmuC4URF5QoyELj7oFur5gtLKU2+2QoKuckDq2DdMevijWpAiMcCb/ZsvJSIE9Fz5qaY/KebFtKHrDEQulvWbDngz9taK07532Mib+kfM16gEgE79ti6wB1IbWWVn+3NFyF6anTmPfIwvZv/L/4cs2CwNfE7Tvbo47JSgaOLnD2TnXOW15ioJMoRakTWIV3ZIk+pdpuH9rW3txnkugjnvnplLxPtpSRWc5frseLr3KrBcUMPGe0v31HEcjq7Aaf0o3LtuqWtEYg3fNfhMEPM0AcBsdCh7IuSEO6N9EeQDV3WTv5aROpOlyxhAH4IPg5ekGr1OReV+myXCNhQFffNkQcHUC7NReMHrgFVsKHuFRlEyz9XR6EzEQK98l0Z/wusmKfWwhUPOMeHwJ/7hZUbynszZTM0rzHM8+cxHPVKtb1qoZPKTgBlejaoyycF5trlhqe9uG0ng7oQc1dUPc5rOvqQX/g3Deq38ZxxDxoX3Z4ypLDjxNuWuyGEUFmgKTV0srixxherocu3bfEtQYqV2p0x+hjltMLnSUZ8FL8HAQmQgR9NpHi6Rqotvs6IO5ClSmoQiFfbdkpJxTZcVd79RPfrF0YIdvFx16BEfsvkHqdxf5nkqGUb7zvEJlNjlZ/VoRAcop6IrzSPDMg0+VI0L0LZPg2L1Fvx7j3/5Kz1amqcIAJ51RP7b52JRLdm28R+YTE/D1qSZZbQQP2A803L+vWm4arasAqhCNp7ELjvSvlUIsNIm8XUeckQaK7lIoatUbC8ibo00DRjUKDqlf/J7Jrjlf2bKvkUSpTkzxNby8pZagVPBKrHYuQsDMVQ872Zs0eiSbGd9+2WyrgnmgHgm3JAtyjnOcHYia+jRo84h2i430gN4u7fpM6viFXz/Jtv7x8rCJYQBoycdWBP6sZb/OdbijrTVZM4h21L/rs42KuBPR1ccG+kkWUA3w4F1GQLyEs0siIroVSWzvxKLmdGERV51c55iC+DiQbADjeP6v3ZOzoDBJb9mGzuoAN5oKabw/eNInUzfd5fsCBup/BG0GmYCY0Jlv+MAhU7HjwHk5q0lWu4DCvSjpyyPm5hJBHRS1QoMgGIKDDmfv86vAPKqRfd2+C/vimyzu4LoORupg37togzMJiSQQ1UAB1sN8kpSRnyKZvXzlLf7PODIV1u7O0SCD05q8uCfm/kHjiyrS3FxIkkm8ToiU9a2p++1ZiMmBFA6OFqy2M6s0s4yMX8p9nqkDf/ZCFsXxCaQO0W1v1S1GthdbZH21bUbBU4ZBw0IXB49vRHkn8x/kvFXtQySGkrDhmM2WTxDVWqhikB+CteKSwWAbrxEMwXgA6sXOpAvND+U9kgmHWmvD1oqcMLfaQzgl5EjBLOF7YrcPHo+IZcCacme7mvjYSgrUtFJkWgmG5OMAQb3ifeBEH8yHgIe8fk/FL+wLewH8EjxQlhEtx0VlF0p4K6AoDfxgwc/7gGpcBPNYhtPCfR04TDP+URjCFLe9mT5zmDTCqQUKzc9zQBw7+FFW6X8bliJIEQPLwUgp2m8uImIkdPrHtO06zRiukZSNNE4KyVA84+xYDj72/SxpJl1BLdVglDr5ceVxZ4Snk50cvVIZd5ntDiEaAdiBfSjBQ6Ge/3m4uYa9AWJjkUBnukNpVtccIglKunwRnPZ3y2Gx4hR9xdWPHaPa3mK2S1VZ7YX+5D7Q37uWXJI1/ek29VPNKyYEueZ4tWG7HgBQzP7WOJ3ur6+Gd8GV5bdcXSKQfbJXmUIrguedtNQhquTCIFXha6ezaRvygjYEF7351nyhVqYMJ0NzqI4F1xlbYMt9YJtDdp2+N2j7JwKk+iBgtSNHyxXvADfizPgXHvp7kTmh7WR5ChB0QQ3j5KK2XGdiMDaKtTsFRUo04eX8wyaf8r9G4217zwnLUBjlyNwfNIfrupkTNK5sUiJ9dY2YiPa52FXPj5ZZfBTbL3wnitWxYAAOR8FWWEMtWz6wwtqxPGn6lFxWx/mnQSolJUSRbp0IM39bXBcjp/D/U93RA32ouLk5m9fy+kaFU8HbK8jf+050VsJFHpTLNYqqeE0+x6O8yXIGxEM7zwSSdvq3GnhdlwaVn+6sE8+SEqq84HoRW0kgUGWWqzS/aRANWojUkg/H5W83Hvdcn/4BAf2oZ8JdjZJzCBo/mrKpi++q75CUxb6xDXODOyWj7u7nvZkA/ZVowZFDvf+CP2WBikRWX5FoVMlkVXbsj2/IInEABfG8R1GRVeBO4rxfomNMbMsd+erR6weIwtqAOWoLJl17MA09mnscOWCBKIbOdbg3yBX+l3Z6HMztv6NTsIwpAbwKxGYgLnrulRfp2HBmHC0v/DyZBncDIjGXZqE4sslsgLSixWeCwHjZdpOsXF2JjXhUPEDAI+Aiy47b0ZUfrpac2/wuqWqV2NlGkX09FNCqhgXLjdQhqmKRUbrwSymfvdBAo+8xejtz6a2O0M32Ko4Wm36ivrKKfvtjUhl3CNtyCW/k7LDPOeAGmmBSiuhA/Swh+GYDvohMmoq2zj2xeIYEKcg8uCBTkQeZgAbT27EBqObmvCu2REMhwlRJGuBIdKsfbCrFh4rfF5ivTcR08tTplPvfPReFe91mrNPgWmNROPqKTFcz2SoJf+jxIbuJW0Izfzr9KXJVZy6v0lv8ItzaezZyZD2ycIFEvRC7Jym6oMaGob2+OxKHhq4EXIjA6dkpMlywb/AMp7uevAoNl/OO1iUJbU1+yXRQroO2lT/9HjFKY+IhX7Sljm2NIulNZ3fH79WP84CeOARO+31z4gUPaVbTa981xyspk53PvMs83h1NAwu9EsJ1cu/fRRO3vl4XjOtsQCt+7OOAjQQCZWE0jUdQE/fgMnHGV//hyCDCM8fDCYbJcaE2nkGvidmuqK7NIq7zS2SE6APVde7b4++Arx0T48zaXS2YTmGOasu/HFoU6FVIjalzC8fr+7OIof7DksZs3ElHF02Y4MxfKWO+zke8LWYPV2CiZXfZkKZQU6tHkJ3zWrBHFPuGsoqdpR5mNWXA0cZsWQ0e5rA/DiwmSbBsluU9x31poV+3PhaJFUQ5CJtJJWnDeW1VnpWourLcx5xB80r2EfiPDXYCs0WTm7eONYxPOKkd4Vs3lM8xdIrt1VS5LdbOch7VpJ4czrgGO7K+gmtZKpMp9i9vxwH50edPQyOEEpYMjxixFJfoohOBAiuIncLkbFEFoButSUZ4X3UwU9rAoU+ToZgldOvJN1yoAdXdlOdicwKXRsvH5/peDVq6668GqDOGt4uebpay+8dhtKYIkxLVFhfmCPtBQKWN/TMUCOULfTF8o45eIv9YfV4a47HF3nGOIezWsIGjY+Md/NtZOjduMUtDn4ne6SkDJUt5oyLUkjfICFvVgykGFi5W68U+OAX+Mp1lzBVFM0S7D5Z0qR1to3lUBYhtnUGjorZ1t7KlUhywXENP9uwgeCL/OaYxVGWIpwLTS/SKKTZ9XcwxlxtFKRssE0xQsxkzY+2oCCY5G3q+tZ9+YavihBDdG8Qw9Iy51nkDoRbNvkvivNp43B9bc1lhSv13emOxAGwyBrrYTkpXGh9vGCNSth4iFMu81Vn+3USEokd6W07q/HzIc9Ifl1kYCxbCAtpBxIeOQqDCRM1qF5rA7q/r2f3RPEB+jgumnytfBtJvDGybfETXTOFX33irKoRCYL8qmdHCmizS4pli1xyPjODpB0uM3Spvuj7oZRnCkfNk7EkHsun3c38AmwSICLgyPZNf3NScCNEruNTFLZj55OmtoYjV8vS35Gz6XwGG6Nf7FOXWgAKe4bZE03+hDEPck4CDqRP997uKuBhnOkGorwlH/4/8cvHdnFOirfVGMoi4lzqbwTwLn5G6AJSm4Vs/qvhsrpvgVMwJjm4c31ETU8D+x4y566NHPedFLWilPn4LzbSAFQHX8UVAPfL4uzlWux2D/tao3O2CaNJpMNjKKfqp9QBmtZnyZz+m28peEwh0AwlcBMVokaAPiya56XMtUM5iDy/DPKSSV6Akyd3IZNeZ/YxNrKE6IGtww20Uqj9LwJ0yV5rgYVxrhWWUEJT0XGR2S4w35A44K03kyKE1VSirEgtyVAkmrk9KySoPwA3fyTPo4OJ6pfBw6I76Us2QljW3vgqLzHYCnS1fFY/6uuV8SnSZ2l+/kcBrRB7ysY9RkYyuwybCL2q6eyyW0r2qGe3+yo5tGBdf8DdQ/Yzt7N3ZYuviefEZNqCzs0wTqA1l4t8NuogJYoPgQ4dTQgV7+t9cDkfrOObYLqU7OFbE7ZNaaiZbJ+b+s5ds7mex34a0J94sjqE7kxj15ve2B3e9YZnIsTDk8XIcHSGhHAL9BekQTMzmFOYlUymifV1Bvy3/yzQ2cvRlI31qSNxADYUU/cSugFJhdqrsrK23QYpQbgAAu1wXQgIbzS1R6CSECTqCjFkAf+L5oiqySfRtNXc3JjNKXmKGNMGHEA32rMObcD/fryUGiaSzpu1rGd/rMyIgLBdnRws2KgSEnmX32A/b9CyVwLU1ADjfEHoz7H/Ohm8JkZ5Y+5EPt+gZ4uW0YpzKa24k585nObtJHhIL2NSeoLpkYuFw7GWA9/+5JxzPNeKW7ZfNzXd1uI+J9napTPf+nsQW2nQve7BFEUMxXWt+ByidzvtAy7HI63chJy3jt2Jf+8fNFG9ng9OQks4JFQsFBDBlU195oCBRGSRrEd9uu6kqFDPqLBWOUPrKl2fDvHmx6HqJ9UJJkgZOp5H+gjT7BYqIbGeHQKMqxu232n0M1cL8TxE8KMueYdAnodWt/Qfrzz4Y4uo0c9pGg1blyFm1bFF3oVUoMiMquHhB0S43r+gOLFTbXdVVuWsV9w9EB+56rag+GOQR0HsQOg5jsx9l17LDSwmUTi64mAP5dQS3qGKgZKOwu3KwKvkD5xT4mcUsS5xghp3My0/dAQFAb/mPL3T9xmxwYV9l/BGamY7WxcLj3O411aEOYxzzZLVKM9LqdEEFRtOFPsPqAuHNn4NkAbP57O+Xjn/c2i5EzZMS9qzI6Exyx7IMEskNB4Fe08sEZ7gYlWvvW/ypBWN5Zi5CyvJdBYgkMnXeMFzRSRZyGJ3lP/pQ5WDUTnkQJPXuTreyFRth9x9nvz6iDNJlkszSrIdcD6NdCSJ+005UcRO35No3TyRpT/dTqfbKBoO03rxrL40ssVUcBkfcjh6gKhb2nOqkywQsMYAIy77dV/vhbG16pypvxgI++7Wz3yPBT0gyaZAhjZKm3f9iIc1UiOu+mfDQ5knBZJnZQUN8SzYT4Be0CiyEF67N1NJgCHnOC+UwxUfK7s5OzGy8xWPHkM3t3u5PI9kntWJuwsgL4UBeWF1PzBQT7vdd6qEUwRItnBabDzWL7B/Ap5ft/VCpSh4o7Fxx8u35CxHuFxNJtxogF2znlErYiHhFhra5DbkHbfrt+MOxFo3tQ9Uo7LJjXlvkB+04Xo15OXg4OgUl+m425FZWGLBT/a6DQ7ISstPF2ptlmQwg/hIP7qBgYjs+MTXno/qKYGhL4qfLMqJ2DLvR7ijiCxXjY6eaGxEY150V2ZSYBeeJaAtbTLLsOzu1kkPL58NYWfHbU2S3cnjLguX9Dc+y6qHtfCeK0hOQPxkbtQZ8VQX9RvwRgbiaEnWfCuIrEnpGb4QKE7ruJrz7NM1uzrwuRnXZ0XuUs8kQ8lTIHEcW6hov0IZ8UPbAijVxQU/34nleAaVnSjkivX34Vc6DLWNXjRamcdGZyDwGkAEM+auJovSucSBIHFrMS7/D5uzDhSjQH2tJv6IuEYVLJIxz7LwNYh0q/hgIE0Q5qWJ/53pkFXA/QeH5Za7TvHKjdHq+pXSGhvPjS4MscMK75ec0GINZiA3UQARyGmFoiQTW3oYffQwVVCie7gKiZpUNz/KGUa9L7eM7kfiYueNy2w3edrxFevdDD5RHiL54iMFb7ebh9O9lyl2E/qd4cYna0IARtihdt003kySCwFhYlyGjJ1uXjkWp56sbBO5+Po6dyhLb5hpnawygmL91WqGOBm3EGjCb85FRaM3vc6HAIXPrJIZH3ox5OXsKVuCivjUrA8mLvXV/6PA7F24XlB+A2rXNHOF4qRo9ol9FP8XNtuTKaLHc9Axj0vy9O+gdhXNXB9wfBrN1MPwsXVAsDDGff4ANPNCtnLE7PHZVmdPCR7id6j4CPzL8j5VouABTHXS/365Bo1gx99erdTZ9W7n9OrakDan9Q+PXXQgfWWfOidB/BIriMzB6ni95TohYT0bm+X/m/C8mqnIcxoXQGHqjgvGDNvV4KBQ3LilbBQ0tinIOx3obZ9qYkbjEi1pfxAmMaLIjHqmnWjkxZguKWvjZnjGpUy5t2TB1Tk7L8d1l6KFUzUq8zRtjwEcW/qlxce6H+Wtj9VLSCtYOZcLKu+t7WhOWGnw4az2YsZ+AbHgkSWHe8vbH3yfQWLIMD1VTYQ1cHBtqiAPyECsyg3zf7GYeKX7aTONKJlxuYORbb8xQIqCmDBly2f5b5DEodUeYO+IgwZVGIQM5F3gOkr+tee9c2rfHo4SsHlGW5YNkZhOtJNgwfh5VFJhTZW15oIpWcoB/xGD3PIxIG/0vLE1hEkwQNCtUUb9KCZMm1gF4Dv6nnRLy25mRraZP8dVBvuv9S5cpDDgnQQvVDGg9oVuKc38DbNp9OePj8yP6Bh2oxg6IoufAkziZCvqSILt+nhHElK92BEFMX/b4RuIjG0hlaXQ5Fq51y/BvMVr0bvT3owgh+7CCQT6Ov1dWnZZeCROuGWwGYQ06r/egZCoDUhY7dq/gcS62CqrSU0OKFg4lJ/lupdf/G8UNDVu/MOVo7dTqg0LqI5HfOcfIksLV3NU77f+OzaCJp4WxKQfGOmhw88Y7D6pU6wwtivlzbzuibboSslLyJKcBaxWbdKenzX131utVjniB4OiqF6VhJUjT5Sm1YI7QHHuIbTizuDHNoLsu67QCJWr1+fhBWYrbzwZtxJWIDJMZZJqEmCzrqLE7sa2BrJvxUTShxlHhKv5EC4E7kPR5MBCfBevt71ghvh3Eu9cPfXndT1i+BmEmdbWhpJE5lPccFRn+d68Mf3k4FbI7T331/vLyfK63h+gtMqm6kdP55dn0tTnUPSDs/FU+yRHFMGrS8ivQAMDELLraR+rUM9r7zCNiY01ukWT86/vhpwv0pkoxXlkWxWZTFLzNLa1JheHy9NUtyLs89CfpPUslrEMFQVLhUKUX+uSyYdjEnvvWekN5CMxB5Eozc9PRvQWgH33ljI/BUQtxqeAcZ3W8Mgxja7/MOSGWCjvH1grPS324icOpV43/P6bM6NYSASik1iov4XrpQpuBijBowNa59jN5wbs4PHQBikF/WSojmAG4JGd3TjZ2BR83mKgKOVCYg+vePXnnTWIXzGYlIFB0wTgsEJs+vqDymjkRMh54zFad6JMUsX9zHDM8ChVSiot4P+R0G8bZd4DHzAnZ047qV8H01hGP276EfLGgtszs4RqcI9SCsByokMJN1oCOC4yqoKqUR9bS1lz4XSunTrAjQqPy80gfDn7xpyDXWTW4f1FoTvMSTPzkwsKweSJl63yivIkrT6k1VFB7rbTeamh/MLZ8TBfMnwoGgkl1N+olxCUcv7/3dq3ie06vW+YsjPH9jpysmpHWxY8t/zUYH1DnF0iN38OH92nfLH3q+cdJ7bGEh1YJA3+MAHbbFbLVCo7eUeHB3CBrxwhovHYibNHK6j0Ax06/Brf/jGcqzmB7UcAuMWsgP6X/9u3SWJbobMJl6f6Rv3qwYYHhXzCZENv+xHIlqCQ8iTbNe5/rKTUpNTzndIr6Eu81LqPAPGLkxiX2Hg5vHtyE3ka5pFsCPjC7mTO9OEDol6mSdxkAqp5QGXxIHhjePlzSoIRxYhn9xBcMRzvH+ZS62ceRCNhC+MTU5PG4HcjFAJ1263jAYtoY0JNWpRCIy47UHPqmgxnD+XQI0dvEX33ZazZTGDtFyzvZC/GPfFuSe3hr4WPJz+X1vVghowvGJBRv0DxR8Gp62JSjltaSCHX0FvRG/6ThZelSaJh1XxN/6nmaN/avOss5fHc2FsL69fx6NbfTTaUTlm0D9ze5hK0cwZ+UcsRRtekJl7tAz+xbOzY/Dqjh5MjzrYqVBsNm3Wc3pws5gjt7uxd+84GKnXoUNMXXBhWAgF8Bz72vkV3TMQWb8EUEwKdeEw2ZPmByUeLaKik+EPxmKASWX6Y/kWc89bo0MdAssJLmfyIoexd+rGV8QR+vMLqZuRNK+esMsoGDsM+6GlU06Udz/0Vu/ExO+8vqVW0k4c93jUa8Ri3/Utviml3KHiDmKB1TIfIfhToNFQfYIptzQVwKAP4+sInGixv9/jTr2b2wtBAWDsJok7saYyZu4M6//8CtSWEQwttgq7Zyn+R5nvC7bGEfT5seRGCtsAOZ61E8rwPsLv0doVPYvarUQlEmQixzZVnMGGrX6bsQ2hlfuORkJq0EndOr3DQEOebcZo9tp9kANu+kLT8+9tbT7NaHBMMttonPPq0+srmsTLHhj2lgCJZ0X14SlLQtb4nXYVg8lz0lNFJbZRf+cra3ARVl1XBOJHTT45vdp9v/M/DU+78XfEpqUPuM8JSe+mJRyNMf6/ZgZfS1UOmz9+G5glE1HLBW/VbYLliepvrC/DSNAlOEl8Y7xY/IlpQTDFtWs9V4hVzxaTDmy4Lr/PMWKwCz52ckQAGTGLsvFbDBHRdBnAW80zqCH561QKkY+RjIh7YAwDt17wFjA3VC4pQR/xWLC/IklwtrNSiAFBOvRe0stpOlRcCfElZuNjX617ny9OXWxz9eYzTk6ps+IdPtwxF91GR2oH550SZQ77hCjJbHJameRbYs1sBbEJYlvkds4CT8b0gdV/oB0jso7F8b93s4s5O7AzyfKmjEq6y0jr2wQSvVnK3kC0bN+MhZD2eg4HROvbOPULcTePUW7CH7PRmZKTUG5/SS24RJxs4y2zeNHHtUq+meuU37IEongydPdf1jXcg2bVQrZhvfkZcnCD3WVgIGBFFQ8zYhECYzH8SJvo2DSxBYYBf1ohjXutxko+WBd+DemD0k/1diIhwbTSL97iry4qGUGhETbdwmu8NPVoUBMZGxYtU8WrCYKOM06naP/0EwQxa+lINZyAao6Gk7bF0HSAbha1DaM5hmLnABWhjTO0BhkbMmwb4BI6memt5dbKlugnSy9CP1JmzDO5wZaP2MXcQczv0TaFd7Adb4MaA02ok2b1gZuruCqAmfnmoeGeDg270T/85YSZNNCuFoar92oYWkVT017mBpvpN7B0nKxM0vlU3fdNBhcDWYCPe/8BcIYi2Xp7Qssw6gCoIwuw/+GstabjG+rY75/VJIUafMZukXKTzRLBFLvEvD5wibvSME4n95Il9yCbyBQjN7Bk1N6XOQM71mPcs7Q62D3sU8tlzVNz6HPkCGWyLgMKiJheJmqa3v/4s5cVg9GSJesn5Ws9qGNKAYQuDmysHcH1NR9G1ASIHUm1uYD0tbtpEBVDCR3RqYJ1YBWwX5vLhR7TPfsFD4GRfBd4SPQtwES7YoayxWfcej+XSyo9vPQMH5eP4qBAQenQ1DW6HXT6Y3XYQSrv2a/Cft56xm89Uv7UwEnR0RKeB5921CoU6JbHiQ9fqLVXYFzeAFQY9eV0Sh66/DI+USVix+RHbRftTXWm9C4mRufnGoLdI0iIgL9yUC5CrW3Jz1Z7Q9BiaqwlEdvT/g7xvOVdu8aF9iIAJxTs/Bgl7YOyi5olwUI5ieRjlD5+bFlw+eN+ELLDKr7DuoZqkb7B0XEjNvwsqOPWEejQkr6mXm90+8GnFEA4eE9ivkakqb7CpNVx4eKSSU/JPIHFMF23Fz7GvOYu3tDBqFreOO72bT6LygkWoM77qm76mvs8RaDmz1enSyN92I4Pzt9QnnRm8QS3zVFDU67ZSYEimhAiAN32r42yH9Rs4oCE8FuSRvv5PHq7xhYUzKmwXY9rtEaresQdoAJyPZWt3btA7pNWKjDaNGhE/VLEGcaGloxlPZIKoo8aYT4qeuuOOeCkv+n/acAmWy4O/sA5D8L9IuaM54TBAhx4d9zM8vHm7hVncsABnmt4/acjMwFtSuuXL6IvruXcwooBJix62aouXzn6X04WvHGsjt77qUJrnsNo7oUqgIJbnMkHrzB+wDkOhoSksDVwqqShhiUrbouj4PUh2O9ZHxl1+cCIPRyMG4tP22aAGfoTFyiQX71h38dw9E+tzssAh9Qlb+KrxgJA4q5cQTcIZvuJiyfURrHGaWVKUhjPl6Qt/1ZZfi2LBYD4L8p2yM4f4v3tTnWsqZresrZHo6n76LPUpU/iS7U/OBFrG8E9MOnGvA1Lj7SXdQG04KQoGMm+S54s4yvp1l4+ES2L/2sAS/1R3M1U5TXVrIQz/17wwWJPdSKgg5As7vW5CAesbq3bkwrK3DO40QC38bPP4+/aLAQ9O0Giw49M86LB5MiOt3REGkCX/Tm+duQDMQATvOAyefi1+cKYbv3NB1W21JfidN294TSwKHF2XYqtvJBkZKIq1c2EMwAbMGMjmE58FVoMKQ23W4+KIFvGZwxKvnqP41HohVi7xodrT7SkhTnfwQTINRtDvba6L7psCkcxRgvDJWUH3zFLt3VPmkZMVTSUde40VfO2uocSGRlsNWm+aFLq5wwc0VgUbGiENV4eurQApaU2HL7RkZ741HKK/PILeLumIoqHGsUMS1SiPslkgN+Ko4A63fscVlbq3iBuqGcu+92NSzHyly6fSP8WCtFl8gZ6qcyWjE7ayH4Ues0wc+v6ysSfzG9hC01q79upEj7oMvmQvbKamXA1tAOs19yazqpE+YzmDeJzPsqdl9mZU8yUOnm4WXUI4/53Gqgza7YDtX9K/1Dlq//8PrV4nqYZkeq6loRSnSeRkemeQ136LTrjXgKlzAtXSCDio8IX3JD7idSuP/3uqY29WWIXk02GhWD9018eSYysWMuMrhMbhnOFDkZWggNzhyjJPese45rc/8QKjGNRiOO+2E8ZkfZs6aOLK5wLJhsTie4Z699GRy+BqS6K5bGhIyTSpTJ1/F4NjhxmNRoVgUTOrmCkenYcpdiqz/1x0hLEiF2PIFmPfJPRVD5v19vBnrrms5NYQAcPcoP/7fIVVuEzwV9GqG8SVrHC5H355vCbszg8tnRausWUJYwNjJjqYca4S6UGuhRL4bRKO1xiRUPC/N+JH74VdoHJkT0OZ8x+Liegou1nLvCubRxYVK+0eAj0C6SzM83zrMrKwXjxiw7GjsMt4YJUFFdk1tIl8NbvNV706DhQzsbW4/AqQMD9T6jXDW5ioVxv5tWs2WyAa4U0TKHkqGVAOZm/XKpwfvnAlpBxYT/ydidChTOGeaSzTJbyE5Zi67monsDt/nSgs2d5juERgvvdqI/IO9QUhfcvyM7nnePiR9ELLVnKXnLhHxnjtjoso0kfNtYIcoVMAey05wCsahr3KU5gVJLqwwMUYmWXTZDlxmOnFoZ5rp4WGb0fBMIRYZWHbuTQ0sr5oYfl1U7D9VdOb72z7hcSDJnVG3/c3y6q2FJPsg/cNrsBLrCteFcM1SvknyNJ+hev9HS+DMviExUceVDmDt33R5p87gqOgqCVy/7TTr5GzD+jRcMH04edbI3aTxfNuaJvpCXd/NJfQ0sm4bLYKv77PPLW2YgeOMvFVp9/XFgQ0Qv5aSdcHBrvrMW3FdrKtmpYL5+48tBVOdVlxB8J4/3rJvyWSIYs/87pIJ+xELQULUuZFSIyJUnn7Yx2AosCuq9wfwOFfvGgNN63LnZxUkTcXDUuqGj8yCvntqOF5KVbVZUo6y/8JcXnAmNg6tzmtMTXzpvjENW85HzQTinpqNWZnupnfWVIimF7NQ+1P3e6zcEKMOQO7kDJedQKhJefh9iFDgkVBjOjpDK+qtVyJ65ojGVxXemR0kj/sNGrazouzCzvCLU+3Cipt1HJ7R0VXOARZNUcbzHOvQdE0VX1FPNSw4v11OWAt4vkCXsIMTDQdcw4GJy4SDjTHP3wnMRnpxmmuDz9PvIZIKXl9aqrFlOia5uH90VDAWBnms2IfhD3zV8qzZVWYF1gUGwF1QjN6icjf30sPbRfaCVlTBaGDIW5zrh5uuRxHje5YY+ON4+xKnQ8RGQir18H8kcGcfo83cx3NDLA19C8myzFmP6Xx6Gt5zrPo7nYVh1OW0YxCVUcz0RpRPgxmouunD1srlg75JTw5Bo9GFkgwlCBfEpDRaiVPgxcMzMigY/u6odWNn5zrRQtinZMsX8BQwIcH1ijcVfyA/uSrLhoOHCIruV6OV1WGc1kayxVN1gkrC9gvo9ReCsHK5qbB7n/+NLfYy/yZ4cbf8HWVpiLEgBV6clRl2eWZ1HDDn/FUFu8ol8euFz+sUjXQNY9cr4V3bDEoLRsyGflAETDlVMUw//TvxwDun8rhhMIwrSC7N3KaAYTXKBaQtM/jPMKtO6aUa9spftd8Y6A1luf3BWvwh67tXWozRYTUoWpdGdr9/QKhQCWymbp9Orp4QKWulhs2FD43guH8KNYWLa+ah7EuiuRMubdp539ID9QDaDpJWLYg6Qe47Ma25/A2SrUe6TTX8t68Lbtosyjm0KNbiOjkfN14X7gUvBLHgSNBy07Z7h0PNyRWnSKl6hSEPdJ9/XatE5mcaCtX+0sdp6vdZ8176Tm53sWqKP9vwOQbdKCCM//ba1wvdD3d3FZrhvRfwdE2agAmKYABD0KkhXJ7YpPNrK39SGxzZ6e06FRWdUyK/GnNQuIgc0/TG6ScUwCMNQvaqhI0nRJmW99SKwKZ7iLUU5hc2jOm9DpWz3uV/KM1Kb/5hYuzS8Ven7eC+UBUmMWkptf1cYO+OgAryqIPgCb2oU5M17BQIqqi39ICCJ5xTejNanQS5BDg7IMWIU0lridA1YnFjj3DAfU4VJKICmmLoz9qH6McFcEn9/VHQRWoRZyobQ8X04S9K21ijLyZEVU9sSa6pT9EY/CGr3hyb+DfgX9pqtTVSz3QWCMlMAsTwDcdvAuv6Ur8OgzxVqbDf/+vJzeLCNKIv11OzKEPYNGD6U2ZSBL/+b47ySBe/1P3B32XfxSusKSqxYlqHVBjHKNyQFbSBua/MfPhzLNCRw5YsMIDwiO9s7gZVnkuiPjBkB35hpih7GXs+mGE6AwDtck7+KwbBAJax+ZOX9305lNwf5m/Ruq5arWTJ0IXwZeXEyn2f7UONTUVSa/P4dd0QXuSElqb7BHI5fdAPX/xKX4eBRNFwHLERPZDDjD+boMIz1NH9apg3AP3eeo8XOlLp9uGBdLJklShtxEjWogVZDIjVis6nkfG6oIaeT2n/kHIJiWe+stdduFK0QDOHRNIV/bsSKvLXhp0oQWZ2KYvEdFV+O/o88/1Sew5Xh0C+Wn9mjPaLLL8ZIwXlt9NN+4lE2LRDTSz/zn/qTSVKcZB85IrB86jCSnfUawGE84TrTMqSuR2ZElPJWT7lDCxDDSTtNb5yBmW/3pC8MBaSTyJJBz7ypZHeq3UzNjpZxYL/oVgwR2/SSsq/UD4x09wdvfTL1BrAsyEH98WxDzWFXj3kIvU5aTK1aGFPc18w/V7ef1gyYJubi3gzNtuEFJ+2Aw0f5DaIINkOKhUQH+3+5JxRqzq4DdEtCAom9/u4h5gEz4f/Cve0Pq9NnQHu0aFj6zg/G7Ro2UligUMx5bgPEJ1aQPmVRMJceSE8VXB+Vj9alGd4+apGumAhyDzFQ8y3gEhH8qB19FtA7ljA/EuFDxaLxkSHC9UDc4dCx1cnp5y+EmNPOPUi8zIAr5Dwd1V6uMHLFv+zdc+6IpgYSJY9rJ7ID0eVFi6nKcVv7r/VtdJ1vqhupDnkDbXo5ced0Yiu2bvcn0CAogllqmU2OmMQ16PuS6fA3J4ibsIURmpMSF4598EUF1c3Sp5EZWGbWMOA5VEuZP8EJ5BmSqdJj3ZCxth2KiXa0xpZiEPSHkxBYmkOFUpYY3JojFeSH1y6gN87weRswBpdHRkAVb0d6ymnlf2zVq6ZRNzQIPFSL+Rb/hvWRW3OBPW76F7+Bqk5yz0OhXeUMatMEUmIrLf0//tuwVBOACZRf3XY+MTXjLL2lU7Z/MSgJmbbavdrbT+5ckzC7dzNmglVyPh+lxk/6+gHRhSbhwxLboLRQiqJhrh3WcqhtfX4UKLkX+LWbuLZfDkxVaqWUd2yB6HvtyaRY+dqoNKxVARgd7AWS48aWjuaAOzzHz7bzXHlW4REegRBv+Wk6+HtOlH0CZecJ2Kg/SvKiMJkjfSiJTm/bTdElFvoEfKw1dR1cJRsxP08dBjUCkKueG2uZ83ySSDjX67pesAO/F2bDXLnMC1R56LscwZzEkAqDymuayHpdMrGJAbk5AQlpGqQHb4R7rRU1dluB8BVkG7ouDx8007wzKI8wHSy8wtWWWCMnF/+IbcbNYiQsWrYrU/QlndT4uxIRYRczoofSrMquBndwydPLyORten9PwyKXZEAxMJ4MGYyfQr9rufNlun96BDvA1nNAvbbbXMlu6fRK4Up23HZhLqE0f44cmiHiysjhcxDBDfd49N+4eVXwFKi/7n4qKhpAYC8fK1e7u+SP2BEO+L/gT0zXwLOttAsgW7+zhco4Xawm4kEvhg+KzYpFOviea6B7bHao9Gds+NDzHyoQ/ZFXdjmn944r+uHo34Q3cHBN2DZStFm8BimsjqJ3sWiXPAXidApTbNouMVHdpwk2ztMYPlQttwY0B9EPdpXt+cPId53G+bmUP0h3z4IkC9r98m+Jmc28kfV2Z0Sb42nk/+s5qD2IDiOaaXlBzqFwf5YIuUIF9//pi0DzE0Mxoh/uxxmnCzrWrZCnXek4GadtrRglzE3VTDaJzDp2sZdqVFY15ZMxkkN370vLpRjdNLVX3NXFGgy5lNFeAY5TlRB3fY+IpZt11Csw0cRZqLnsRgy68SrJgvvKpi/QRZ0ZxekRHoeft23SkHgFVyRwe0oK9bysMo3OkzP0pnQDVJaGDL22hK3cFJ7Hh+Ha7w27JTcWdHipLR3ZTnuwbOOgmkWF767AX/rSTdllDuGTQohMBwzHpdsAlepTXBzovXmr9xwoBA36fnNA3M0XgBPO1VTVG0uRXhbuhjD/dCpqBneB7mNDPKyRDLSq1RbCNag3qpjXF4l+BV/87jSMwCkIXJogSnjKtebYYrqyCeqlAz97VNZFpYfoA0XJVPAOuM25cR6ZHha961xxBKvPHOUEcMgsoGI77Vw2ucuW/PA1hux+O4u7XLWGnUIUKG97Y9eNFIbVjk6WvJUme12KThjeEFwNKnJgaDnRtvtiH+5v/pbr7deKkkoZRbw1DruiZEIAkAZ2Q2Ma9l5iUSmoVkI/ulBBjdnhOaOZEeoFL80MjhjarFqiLswK7EW7aHhLSqVZR/8a03s8YEpcqfYgWXcB/VXJwIaDsNKXCOCg3gCsYAA7/oaDLV3wtraNlvbJIZ7ZfYkDr3CX0h7Pcv/XFmKAe4u7eFB4+IHjxk7rdGbmxbLbowUt+hSNphiF+V4VExz7RVatj1pORlvG4zGVdSdDdS+dB8Q3MvMI5NzhmOVB/DR8OR+VO/p5Wf2a/dW7HR3PqoWN0gjOid2z8wgV7pgMIl/fcSS7Uo5l84MNVBgL0BgRu+8u2sNUzMj5KHXJE0IwsHtW6uSVW0ezXkSc+SV3/uDeVDXMbI6GsU4XycFxSvamxoneAIzUWEy1v1E3VfJnUuxwcvniveefDfPBOPg4SWMKoOcG74BbxOD/Zi0q2dqQctv8I7bM0Kcq9dMwiHj4sJbwl86bzyqAQJSgjImuJnthHba5ox5vy5mMafsyAkTdddzNpTRDpuF33tBLeqj7GLemTtOcxSjTlqsfMBjuxtIceSMxHO2og+jzhIISg0Ljpa7ybQkHvzD88FH+XML73XxLH6pYBNDAUdUa24okEITKamPGbbzR7qmtGrj9aSpmq+ontnJOHZD1TBozQBGLyBfG/RPE5JHav6iIeVk13w8k7aod8TQwKHcFVYfCIwotPnFpljseYG0WO2AKcBIOgfaShKvH5Pbvk2+m6EAT3N4aueJ5B0SkuCPJhr6PyhfQx7ePpudtuQUvRJf/HNWeTH948LMLKbfMN5vgE6gVwgnJfB4BupCZLBD0auGVE8H4XMROlfFpR8joGJnypPSUYR67tnXsxoBGuHK+8+7gDstk+zrY3lMOmLpMCeJyZQg/0TMdSK9Z6FOJDZPfYZO/kVs+P5MaU2SFixwTmzyf0hGOHkdECocx20dPlc93yJpDpRlfWUPqUDMrgC6tAXLHDdg5IkvPmNi6JPtJh79Vr9NtMXU0PjyflQuVKEWeZCha6AklSXypF1SgiDR0U5a0OT96O+/V5j0SHCtfD4HQb/tEBbsgcc7EduE+Z18UrHKXPQjc959opCPjuTnHarR+CbAhFSdQCxw49jeUdVEmgB6WfXuQ9bhl9yyTNivCkm/QUrzNDKJPUwt0mbSsj9+ViaGSqb9gCVYd0Bvvjtr6Fcujjdxnc3FHmu5zaTUdpK5hz6G9cOfm4s7klMkXwjKlbuArIRL+FdejQl3JIzh3OET1WZyLzBDnJNiyX2+re6FT+wqt0IyaTpebk3iIKN/sCuoizV74lxJxSsVHKWkxBv9qX9w3hFlR9DejncCNQOf8S6ZjNyV+ElPOU5Uj0g2daGW2qdvU9alg5SJK41Obb8NS4jDPD1NKbXifOqj+R+6W26iv8jAODcUxvFnh9HncHpq3t8N7v842pc/g1Ezdq+9Jt+OHXY0nHVSzlDKWc6J+e7O2DscQqwe8zgjwluzwFzWfI938i3H16OijGhh6Y8KMo6laOnde4Ia3cx3P8sKLe6KR+WKaanYeKFEcV4Oovjw/g/tlc9mGIMNx3jNRinc+fJV0PQtSCTOQDjF7dfFxt5pGB25+V4irwrKaKQCb5MC1Ou21FDGAwGsLlcTccIikIcKUX02hv8QvOCbHY0txQ7CK4OycPMc11kxQSTznUwgpCg8k8d1ZxMQNE0BTletLcWPa6vKuQJU4wMwrHAPqYwrdEwnCJqINd7Ee2Rq7M2tOrt/EHlq2/1u6Mv3QBGEhFU6R+Km3shuAmq4QB7Dp55v+rDbKhC18+bOooyNqsmYB2LVos9WeZKnIWn2MDd4+yVTmfLH6sdjw6GgLgHMH4oYMfzzboJWBH/BeBp6VJzvO+nw4cwneCg5qmeAOx3tukAVM95Tc7/4q/iEoiFA7SaWcfISmmB9O0jdjNOlRrFRVPIRBVzFE4gEM7KWc3zVzbHjyoOe0GJvo7CaFaDyvh8Lw1RTjo1/lQ2l+74cziN8Zv6ULKeYMH702fcc0fYTkhF7c1t7xHthSxyaTGe8acJ5EBlTGMFi+tPwMY19rk6zrbNOpWftYvVkflqXeLVIpoBiM5vER2ujiUuVAvjmP9213s1+aE/Zw5E+473b2piilJezmMqMdqdRDno5qdMjeRueB8924yJZD0558/Fnq+D7cU2QtDJaadhrYhjnGdrvmxhwYgKR44x51OoSO15+DOF/d8d6NR9i3I+CGehUkwD32NQBKzXkrL1DAZv+lCZ2XZglfFp9MRILMlPL4h1u8TrURn33boK6n7OJnCmFOEpUu/MgUcCxPNfroxAfvTZ1zMkeAnQe8WvTxaJB9ZJCV3DVAPPAMSSwFSyjeVT45WtoHz/lsGXFf2T++r8Xt5ve8Ydvsf+r6g1WfQ9lG/Voq8whmbeCMRpZuJGVdZ4Xw7le9NOMb2V3A1NADFkyaQNnSEkQkkC5JgGjykLkYqXOLn2Ai6lFLVGqL0ltpJlaHuEAewXLvgDFK44p59oflHF4zVUQKbh9uqohJqJtITxpqcD1kGg63kTcgIDTZcnv9ktu4YBLZt8bZa7ZH5KMJGUelx7S2qHPam0HAT0pGEpeD1o41Vi+Oopl3D8MP6Q60ZHr6nOZU7vYasHy1Y39FNuXihts2bBH5gXTth5zFsdzXKi0A9/tGKc/THzpqP4KVU7DXjk7FwHLVsrX//6RUAhx5VFn35KSnNRHd5RLiBWqPmlRCF3hU1hRyD6lqj2ivyLBYzhwMVWIhXgfGYRmmKzbVMfeytjAaUcdNq2t0kRHAC9DMpfWhGl/OMynG5u6HFR9VWbV3gSbf3fWRbGWqtD2kYwLXc5vl/28Hhldj6QEsvtk2PbCLXVWGAXZjs+m8LKIYFtiUX7aRTXIjkUrMvy9Ww3sjKxxggJhJXHkP31gwf9erwrkAhzubBeZAAo//4Vw394BdKLhlpkSu+naGnoLtqpRFF0EpMQpqFkmg1lJAp7+KyupPxzbGnD0Ke11z3yCgzksLrqrh//arQyTQJittXazQQB6Yds2m20qWDlvukJxBNXK5doa0nulbKwGNPCsk0nHKHVC/rvsmbEvUnuGt7kcYX8Nmiq99tQiGlBqXWMeareSZerdoUP4lD1W8bZi1cGjQ+CobjbqjjiOjtPbh/KjQD/pNM+J7WrsSuEMzbx0MCTpQsLn+NJl5R2d0MSAZhdvDyA98wncLIJeAr3pzVjJ+OM0FJ2B68DOsP6Aj9hC4XYL+ynqukveBf0BUb2wdh5juTh+OTIkQ+RO8oJObNcR4Bm+xE5OaNwumbw8K7bA2mUJR7gU30PSoj4GIBmY5lqxrH2Z/gT2qg8933SIbdatpK/UeZhS9e8+S0lH1sT7Y8kxNc5O5UFFvsyL5Yn4kEkEy0egAQQO9JKbyF3ggxKomigmwre8APbwOsyyHNf5JrhHCbN3H4/NN92NwfmCpG8YKBGZ8EcuUKGK2kNmpz2FaMdfHZ4FGaoM9mZ3gTcpYbv34a2etltIjMFZLvQDbOVFnP0h6HLBrtLueuxRIU/bbLJxdPmghCAXtc8Dvs+kkedNyOvvilvDpBsxqoRO7j0cIiKNvNlXrTHd8j9g4m7svfR3PHSANoGQ8pvAa0gAY8Qxkk3nq/9Don56FixQMGy9/fnzqoF1yWLrZ85qO6ZiqQzSiP1iZATmDM/cyOkCRQak1kB3VmNaukBM4gx2TYNXyiSxbGUw+GGMg3cYXQBXQAKYzHk+iihBi+Vzl6EFZLMSqeMPCJ0eUr85ilrt8Qqv1AapWgOkwzB+p+tIIv5AFEc1ufe8kPalrGVMwWifkeyyMzXygIUU19XAloDLQEoCfnM2qEmiHp1ItP0eajGuhRplFT/W6US6fWH0IGKv5VtzkB/OjSTHYlhMxVdYmOl3j80kDUlDc4+s8EBAFy2jmJv5IbQczlIEqZ4nTGX9PZX9fSklI3y8IbrDXs5pZ9AHEiYVD5h6rFm/i5Zf0mngS+334giKASV7l5d7AjJBm+PYsXRdDC0zaQwRb4YCdJ18Pt13tNMMKm/vs3/yQL1iChBGDbvfq0WiMP/r95aknhYzHbX1qAjn08mkdrBPon5tJrPtvB2CpHx89j74ly7Qu4JBSud06gpb23qjnMGZDi6c0JojIqphInAonWCIs+yz7I0HFk23Gsr6c9KRjgeU1fUS1o7o5WHUcyz0DuXpNdZPYRwzoiMD+csK48oJnrO3v8xPhUqnk0JPrInZuaAe29jEouY1ccv3HlSHBf79XLfyC7crPH0IVwZ27a2sijAOBGpgGcBFtqmBGGN/120mT5kEiqoQS81rCeVXjvBp3pMcy8c0bGeEOUxNGS6zMF72V5XsUjfNkybgMnjKk8Ubq3w5VtNK48qjmwDl73CzuWtm5dJGtFCKMNsneegQ9c4Q9Njxmt0yJVltInKGCqqJxBgZiefvA02T1G9arq+9aXnw2drOVz+AtfciT1CFEQ3yLTQ+GXzCrxAYHQsMQMZv9p6SaKB5QJ3uRayqDoolMa7ldgrAqAkIf+8sdtR6qvKLLXiiK4IJe4pzmMpufIdXZO2e6QxVggf0jj8KD4ZoHAexQ4zrejHokKhQuC7ObqXDH2owRLe+WYQSRMKFud1fqRczlw5UnvShNk1IjUtNLUQjvVWGtqB1VzKviersZ+XqlvN3yFSFOro5L4UvUeUBcX6ChcO6lkktdH4tfsSawsjkgb9o2CiF9MxGZQd4qiwpAub0fWknI6CWqUfStHNwhJ9yPkNEJsLD7TLSwp958zoLj0MNmBiDG96tfTQX0dviifF3jKPOscukC49YcMF6JwcL6klLBcZGnt2rGJPdEobPbKpdWJbNIeaA90RaRtDtr1W/+QSjWSC6HsljAEJzRiKkEpiEET/XfBWpqBvZ+K8kozi6NdBi03RYDq8kLnsOyMcdXfFeEtY/ZST2FQUCiYtbzx16DT6c096FmzNIOpOZeG1+AucyNgubft5frj9hIi4fZ+Ce2BhJylF2iYiXf9OdsjPWOKRmySGaDn/8EZ8YDU+P2aGz51Uq07R0yK2vEWH0m2STH1bE1HZg4rEer6zzZKJioVTju8AwvyuZ8hmFOGNDHJcmtMZmdDa5cSUnzHQZ4CeICYCRJVUfc0D9TvXUQ+q6k9kx6MvAinFWK91tL0KxCcBEuK8hgRf/+g9gmPKWwXqobZIxngcanVKnAvxNnRJxMI5XfdjiDMZjL4IBruVYEQ8JCUUiFHyKNL1zC+gLyJ7EiNZWcWNJhQ/R5VWL+V/hT+D2M9f1eTrwCi0po1kgWVORobkuCP3u1ogZFKKVIojjcMIWHLn2qdnvzyayfb1BRQQyZMvVoSu3OEqTtsqcB+DzBTgv43+rNeRscF6qafd0nuHty4jo3iQTltOtBoPII/AxQe8Hy14chuYyZL7INC/Xhsf/szLa24gNZc3qJPqTaALVUVI3QTDXjrQJmcB17u8VQBVut65PtY8WS3viimkMXh3WSzJuRmUjYrOmqo6PosKPXW4KKx8TGnKnSRUG3jm59+wuJmuD4D+vczcKbHBeaE1eJ9PH2jhWSjJfcNlpmP1hpKCpxRwCtJowW/4PDnsvhCU5S45/1/ygs0WYMRrZWNQra/jOW+aFodoh0I9u61KqWtbE2pYb0om0ZYZMOWJ08q2MdkMAZzkrLnUxXOyUN2Pk/eLWLP6CMaSJYqOOrPMHpI5WkOSO51bs2pY2D48KRPKLnI/E6MUeVoQIAitOBe8zbFoSCNvqCOZZtQ8zogHvdGzO0x7B9SJhka9cA0sA/mBq6fXJqU7YZDYf1fvJ2LJs+DOgLWzF8SGFLtwBLytK7Eyw8nJfoItyvV5pUKIfJUId7fzrjM1BfbUfCeiXLw1z5EnAU+dJqMBDv1y1QpPxlkXwL9ULP5alyfAhf7m5mmcelJGbzJLwlI/TQnwTqRnCryPASkhrMk5tI4jjfgb0cz1UdjwrmoTbLgfnh090F8opJ2Hjlfmu3UYEYFj5e1Id84HVkCKR0mGHMbV5IP/fV1VCB8zoHMnokCXd9JYnQdHLszalJMYIrr4b2G2iC3/6zQNeOEC3MMhzZGTGL1GtsGIkoMmJTgZ8ac21+3StF9RW0l+Or34xPxZVc4U8y+Rtpry2aJrvddYHz58XxID73Udw9RmBME8L269vdhdcVMP0HBN8X7p4YBEIfoLbgnh4tIkCZ44iN8wSk8Gm3DZIOytRweY1EHDcZ4soWqfro3rrReaZYcoZFOmYxPSbrHjrGUiCJeINAEte5AZTotsiBXx6TESw/2s0vv2vZJ3oTXJMTPadTSMTqJtAa59f2X7fx37Esd99nNuhaV9jIyOZvkzP5dsK6ZzNwaVqUqxdbkK4WKma9fN2nxRjPI9qrnbiEFuxlgW3gaVB2G0tkhcKlxcPJFCUaa2F5uqAVWx3Av7H6q5sOL/rmWQKhN74CxNDV7qOXVh+6rw4bEBoaDCgR7hlrXpuQOzdxSXXFx+eV+TrWxbkS2YjnF8yAor0ClEGGYEmMAksG/fVscftQRandqwDcZ1y3K2mS+MCLx1GqUUuDzDm+y4eL1KPN7dc5YU3jbzVTCk4894QA9fKknddGg0lnvw3so8qKjvvTw2O+wiDBX0hQP9keIdx9qr3EUpC45upn5liOpvg6JDK2s/jEwOe/yCqN2k5vM85QQP94uIBE7PiRcuwOn/5xiiNubuEHwsTfmIDa5rus5/wjGhPGck/Gf96fPe3X5eHOmGbOMN7hYWX5ork+z2Jzcy2I3hmeer+WstQMLB+KFETeKY70kzL8pUVV0OC80BCZ7O5HxmbhaLk1/Mfc1RZosZSpDMRbCWmksmK0eXxZvjKg9VX/PymAvcV+myoSqN0GKRkfsU75nQr/06F/mp/BWJSYGoWZ46tcQ6YrZ2G6MEHpLLmEhf604p4IlTKJMkBLofZlcC3hE9aJLektlYOUh6xNR3NRFqnyaV7b7x8yg1Ri2wO2iF/I4B98M3oTzEK35QtCwFhJarbV5oDu7/jc7dFLkD+sDx6vZ5wMm3FTmiZSxcdOlP+79yDEFIHoT05EW2ipJSbsJWsOUN0p7yKwPmM4Q6CjyPC4cHvs2eRFXxUeN9WhMII+/VhkwbVJEAWxminAxtEFidmD7/L06QCp9lhTxT9mvJFVLU6gRlZzEc42plWVSnoywFRTrRlfo0F7q9IXuT7sWDi0EXRATiNk4PrqEc+xF1e3p6/7ltluM9TJmqqsSlvcDQVH+IuaaWwb73EQkPBv3cRQsC//bhzIUMUQvi820Rk2TveW00SWQABOPxOVbtvY1AnuF6TynSb84RN85YQairy2Iq9D0Mp7gpHvtfglZoVVcepT9bNCE+4xmDHQa7EvpZM21Vx3g6QIQ51EssFPO4v0Ia01aGQKDTivBaXxi/XakH0AVXBaruc1Qmp0dHkdtVeRsVOxCfUH3BMfjHP5MvPmO8ma4jXzlUom+e+jBv4MzKvlbfNOT/TG/9EzRLpGk9EEMh7ikY1r3CVmRl70wbOj3VB8w5a9w5jkH7HCqfZv/zIQHmiAAr3npxO85KSivWZcesDUCPUeuzHRl2sHB9E0ATgiJ28kj4/pZqQHzril8opTwuIDhEp8Qz51paTzwGJSWrqlPNLvpCZY20f/URmF95WAoObFSfO1NPxtCDYIhtGJCzLSTJxNCd8+vU1Qf7IB3A5Tcd8xOHKk22V+TeN8tbtNKk0t0VlQkEMEyIKQ6W3MdM7oQzLbOJ9p9N9bzNoTjqU8zg2iNhzB7qb5MR3dUSAbipGSD5whNezm9I2M7EqkBVly43fqz6v/IgWW1PiVzMH+xBRNmKePuy5OQfe/c2I1Ab3aUQUf6nfkXKX4VSEylN8dQX2Nqgi7azjkgpMoin0iVVMQPiHwSq52+znFHf4k9JQ8iGyFX3HTFtqAbDNYEoNPKsUY72FRo0Hwuux6iOU1VkzxGIj33Y05y9EBvRqG3vLspMGx+Yjmy5kdqoEEw18JoOJaMHcnYgv/7G6pu+w0Dpft2iPhUGe8R5ExRndtyoIQneMCxo7KcRVgvvrLo0RxRDsn26l63pXJkO3Kwh37gejl/MH2KOM/aiFOb0OnltQA2DkCSyNFK1qolN34dYD4ZyUiss41xB+JKqO6eixJEWUZah4XJ1BIErU2L0zNjVWw/eans66RDOVDeNHFDaA3e3YSTUSDnd0QCY9S6G8L2eZWxrFRDY9WjqKuhHHBcIcwfQfbhUxmpsL+eZZUe/F4yRyNoQPKCXqQlx7UWDTDdMIvguIl61R4FWp8pCr34AEuT+poRjd0hVYiDGqJP0rrWj6Vkm6x5bnsehPLWs7SD6+yiLLkLzetwQFJ2qvGM9N6nHcVjx5YFF3zJ2Q4UT1t03BAvnkc8NZ2O3I0pl7Uex8MM+6vFlFcnj/poMTMIGTAuh7d/jIKybRYIPRXX1/PwQxuEfEnC4ELw/Dtr240JmUVNF9Vea9k/EAZPrw8aTHdEzmkTgmts65P/dEwdFEVqcC8scD6bLzmiX9zz+6W50IctNtNU1ylX0SNV7cs5Ul49X5hxt3JUzbVBz3C5M7dFuxAf8JgssVNIWBUSg+MOc/sS4Ae1tBqzpIBr0py5Vem5JrtLaNMK/y2QMuHSCnaQ0edBpQFwiVKHAK5a0uUmBhJ/x49TuWU3M8tKf2Gjf0qcbUzG8nkRW5RQBofOVdb5wXq5I7gyQpkrlvyAZGmPW4I+K549wIvT4LcVphhQIXN//h1WZOKkcwwIT91cpdslOX17bmd1o55bT3jdtL7mjwmGE4hDPF+jL3A87Q7t52UMsG3FNl+ynu/DkkTiWCLQ+3vBgYQ1z6ggC9EFJWTtIbBrY85mnOB3blspmCdYhDlIjUfB8vV4d4oVjAoHKO09Ck9tTJux4IqfCOMXNGnFWdNlH4/9kBw4O0Onmz0SacGfr3phU4FFMjuTDCXkAWnpEcWrHgCof64hgZi7Z8AQ6DjiQaSwl5LOn245M1QZDkN9wqvS9XPg4ACSUHHT/NL76Sl2kIprCxQKHMhb2sAvJ3czaLYvRfz6muwBKiMMIfZgE739vmnowY9RU8jTY+0LAwgV60gVLXIj4diDBLI2hnFwg8l/1WxOJUto0rAw7iRgO7Kcbv5d/6CH14mE+sYYpSqusW/QKPoW+gh5U3YDaGHFUqLYu3DiLFt0A0NPpO34bxHFUzbPQHAq7BSt0NRQOthlGlMmKGR7991yTkd2aYe7nF+NX2V+EZfIc4nS0Y64dzMZLXEWTv2OxiYaArT2Sowx6NA34SklSTzUJ0evE0twixJLvBUPitMJp2FAFCMkb2QBJRaOYYQQQDrncGXUQWFaDPAVMjBFklvWQLAf5Of9dGvjh+0KB9ZMoMXONQgPX2PtyBY2az4b+jx7xG3Y5tiMc0Es440xqjPMs17zdAxZRAuZrQ6HAN5mR9Diyp4495qb79+L300P2W2l7q+4bB3xkca3IsPLRh/ARKQ7k4uX8rwkDOufWFz8vdyvdbYAaaj3t+klaZYkqnfD+d1uZJbvuzaD4uMECFvELlcFZiIB2dWHVBGBYkH/SISasxT3kMIbiBtAhPnTXhhwBkryV09I1/FkWXkDP9oWE8LCtQJ+IIJQJ7nwQm/Zu5ZJhHfk0pSTq5rUNd/LGqQ0szVUa5WPh/D+fnLJb7E6NhanAMgQEGE3xO56fmj3XSoLTYr4NgGAR02jnp+OnlC3ZghNCpHeolaDaqDs00QkzorR/DquyQnGvWvCt/IJr1pl+q6dNQVa1FhgpUYp37l0bBNtnyHlU5tMLp+Mdh7t2X2VF8LgitBnGDamfHHyXWRMrnjhO60HnpWhRy5aYV12yyWeJSREX0Vn55as3jQo0ixLuhNHr69RC2jfvvQAjm4N5o66BUhjazlOH9+Z1RbV584hTrsJefqfrIyomgUb1ujSr2BTqFIRvoEm+TnwBpyVYbnVHgcx1PEVDkKeKdYWWsWW0yEdgMmBYp35PV/hF3bY/426wQ56M3ygakzGpcd9RBWW1QGCQZHrUWrE2aZskb/2KR5BvVrMz+tE9ZiW/pwcs9XddmRc4289C3pzCUgS3QKUOxvRc+U6XHbEAdA8fCJt6ZxWMBgtjXUUOdFVAyIgwwxClSccr6hvo16Su+5GJ6LRCt/fnju0OEyS5yaaP/xkMLfjhgczAWhRL8fkrCOvu2rwNTNFOG7fRbgbHP28HTkKhgcO2pnVn6g79bfLUvp78BWMXS7doPCl0xbn9l4rO6bb27G5+67LTiWWr2A75SJ3LhFRZA5CgTNn+WMXTsCzCZU6ece8UB71JJZVpuyoHcepxwB7UhqDxAFKQwBA/YqIleUPEteyIfKgna8R+jMN63GfejO9f9jCP2hG50LWEN7J19jyHMqgaLDxcLSsxvTfTdq2L/sMKmhnxsZs6tg10GVo5wpfdUb/2zZRGxz/UcE4oTemTQ6SHvW7HkSw8rxLagNzovGJpAsuDM4ZB9QQEG+/xgwoaE2e+LTywCVvoqyNPj2Xvp8OUo0Kw4HwpXfrF/GX2l6DzwOZlkAFhv3WESD0hZgABGfCvfddj70eNx031ZvLWHVYiL/K5xXOvL31jlk1nq4+u9I9lIp/KDERd4eJ2NDTpSUFQ9fzX8IALsqMNP7JJ6TpmQTA9mQXwiGva6W5SsJFP0O9UO6t0rMaywwVbXHM5+HLrd6qV080VKlnb8gFvPWKRIVVf0p2HEzUab8wI9EOuQRNhFQxTUMmbhRLQQIrrDVZUj0NfxmqEWPbrKCpBvD1d0fqxSaM/E54eE52tF8vQ8siuezZ9KkNfP/jgNSsFpcmkzwsKF40RS2F9r/P8Xm7LKJqQ6ZoM1oxspn2EuTUgsmqvtjCWVyYH95geX5hU/Eh0394KoOeJD4b9g/07OdX1iETRnEKtpJeI6slyhNG9ASU1pv5Ifrj20+QN/aVvs4eW6Cp+yKwX6SI6z0/PlA9I2TStD553YNrDVyPYArJce0PI2b/w27+GX8MlHVApLH3MQvkhJLIXw+YtVA473dD9Bd/PnhfWmP6E1T0KBxLc7CFpmN3CZhupIt0zpe2lbfYVJub7dN+yIZHjpmtEB+f34DqfVjQD041hzHmzr6hW0IyrwpSXb9f+ubvQZGFdhoBBQEJF73x3/VAMBQgqRvxsuCHzI0lCHotLwcB+2mKVrKRCE9jVGLAU0P8zSx5uHpcLVTHuMho+zIYtmoDkVZ07fmYVR9f+KU88uPzzBM/1kSy3/IyO5QyFnetXv8TcBUUxfdpCSKCwMCafWyk6TtDGuSupQM4skAX52LtUUjUPm5js/qjcRw0Xx/zNQIGP0NSTmgKHl7MgDv4u6fkZDz3VaSoOhCcAxwIR5YTmtV6jatY016nGxFi4U/VTpHEtrYg0lPeL/o9q+sneaYj4p9nGhrjjZ9taK4FdQ9SeIWTtbUvR4C5GO7Rk61y61taYzmvpRbQHnaY5mWF3CYK3RMqisgxff7BRZ8PB6L8TsEmGn00iwL3rXuBQ6cWItTxfWGcpzZT/ZQGTza4HnNr5b0HzSS+q25AuUabLoNPajiEbiuxsvoUxKZTr2r5i3RH3UKMGj4KuRMCzZunmuV3EheJWAF8q5Nlnn4t4Gag2+BKPxtXQ4JXDPyh2KeRaig0bva3JfXveft3q8SCg6n87mWJmhJLzo9As9M76frzr2lU8Oznq3f1UkkW58UqCWiGVUqMafZXC01XQKVfJbTBIwSqbT4YN5vN1ypQkkWhsrYxkZhSmOxC3CYTpOf57t2Mp96wFmyD2j3yhfjL1ix0njQ//FgCoG2Abw8BMK1481ngu37Hyria4QBJRiCRWrBVaE5xrwdPN5i9y4u0zZqZXGoViwgepsn/OrYkPgtIhLW8EkLSlIVydFqmnmHmqECJTtRowdrqnzL+TLZ41IcShIPoc/4DOOdih2ONCew/dHWOxhTGTsjM09sZ+BGFMBqwCLNZsC0LiNx3N33Gnf3wsNispqIlsUfbBNKzAT/NvGRqYSs+r2bWUEMe8ved5RKU6ywFnTTqQ/Qlt7cbmqUj9hxLftztMCWwvAKQX0p8jyvQZ+gXW/2OIk2mSutjdjCPmqi8zV4lYY6p5+t1DF7HTVkhfEH5u7ddvJxida7Qq9HOF95ipwHtPcO/0e4o/g0+zbXwloAvDy8Jd9WTZ7yzhQxEIv0Cjo2Pm4hUjv4o9rkrHxiakkoAhdS9m/DlWyUJWBSaEj3E4pKvrOAFNdesvR806mLSoN/cJcKvAWXXf0YW21Qxiz/Og+DSQTqJmbaHj3RvWkFJcbv5uKl45cagWyhz3GeqeEvhSCVABNLOUMWA+RwlERyCw7VnZF5V19hOf7n6rKdu0bnhOxWP82AeOpW+cSuu/kHfnGKBSZwcoIeOFJnw7ceea8WEvfqRDptwFNFkwBTKTZ7urvILkJsFR8yr1gMZfwUQECDo9ZXzrlwhKfqK+Z3GqC5MWitGKXBHln3C8A0dZf5sOMSrjPmsIoiFgOgkI9MiYr6qp4OfV+m9uoDftKA8qZkYCzvTO+6fifVvj9zmeLXFMaYgu2jHl4Cbj0uukKdzZELClNCQc2WlRMxBAaJvyvtGeeb2/Vpw09IkffrvMfhA5AwRLC0rR4mZbCz2hdpHg7yimNVvYJNSXtGz67LcMhU86L+2QjEwucWC4v6ES3OVSJhaEOKfo1y53sVP4ee25V07Ceauwa33uvtc/DrXgIxBn1i39P+CGFbeyxKvDb6HeG4NAy4q4GPOoAkicM5UF7G9SveMuLL7QUn6ZlqcTn27N6VszVFKN70vgYijsg5IMFNhc6WIMXrEPAbqiZjrI1PEM0FNWd8f5+LrZ2I5fTaWuobWFScvSehrbwenPyT/FOhoLnK0Yt3V8eH19SNLsmC87wgXgxTn98LUZnpm1NjsjANzMOw7X/LUSNxq/+j+SCyKXD8D4tYtcI20/qBjzBXDDuu0VRmAfx33rhqEgP4uoK5yxe86W/M4PZJDsprbCdxXO4RrY7NK/OO4XvOGShcMICwyzf98cnPrEQFa2KZdVZFr6iG/FOVhMUGJnAfEpEpTVJd1XHBV9HFZuAkCv4qrD8tyR6khHV/zB4SEGCOKesMuHAGlyWhtpeh0U055lr+cHIAL/WBD0LS0iuGuri+6nWPW/Hteql9D35sp8wsp3Frl8LnW5cPR638gLFp2Y9UFeZNtRBLuWqMXemqB56/ta8s+Oi8KxRZW1EFbMAm1+XY7ANtM9Pe2hwksdaRmm4izReJtiVXmYsQ9/em1bFcok06EY5FV5Ig7GbiU2qKiUPrTYZWfuaespxJB1E9Sr6l3tJytB0NEFiiccYLVeiVjcGFwckSm6q/CwtZyFLtvVaPylu7YzxxSxKIkQhA8+YFetObw7LNBelInS96z6qiY+YsKgpf9H6/XzgI+4ErmFsuD8/lmJhZERWn1IY1pPmRtaUGAES3Q9vvlCTtU5fHxgXulZr32r+h1ZIDT4lbd/O6+C17E+KNFqIC8NljcOi0kBUgq18TWbzbZ7rbRRWAoIZ7p7ChwyHaaZg7GeOoQp12OKgzt3KtnekXLyjEuXv49QIsXEBq6V8HZsx/E32w894LtjelbWQgZ06uPknU6YrCCBzJRgQdH8yhy+RstuXwXvt/LkU1vtXRq2elk4aYJE1ilSkqhBVrXDKBHCSOy843vNxr2s9pomVE1w8xipBtsAahLTrLw6u0Z5stvzO2V/ia9ElNcoVWUzpCSKtY9vF+AP/cruU3+MBJxfTjNzMu0PjK/2vVizdt9DGDuS1j6DlQ5x9AbbdC1ioXox7i9eeTg4L+CPuoOKQaj8dVEWK/1sbB/uEyXaM9gAUhARVn97ns+07NkfpQHOt+RSv2H5wH9WUnIWFaAVaMU5dd20SwUlRO7TeYl69nx0hNtw0x0Zhf4uPyr0HQyO2iZFBtXeK9TatjDkuhRK2DWd6zMoLKd8sHflF5cHka0jZxYGXMuWL9Dn1iT8knLKoUkQBoR84feJgGyP8KXns4LI9yvqhLltUA45cNLKuspjnl2CYNNB6Asakvs7J1Dzd4MI52bE8Z+sl5NSRbYd8Z+oajm4cg/gWqxf/Cn0n5ABKlicIf1A/qO5Dtsa2x/jfNKHuO/cpTE8nv+CEVxdak2gyMM03HXVG9C8pcHGoTn11cq6BAUFoluloWrN+Ilt5BFRT7ewGbTxyi/vNVwiukrOU2mbLaI9YGxAUuVsHJUtnX9tZXJ6wIoyj1DX5mwh0vHq6i/p+WHmL5dG0baWgEDG5fLjNeFQiTB0J6iP21ANmtf2p6ii62FIiP5itr8dGyF0NxjGXJ0DWlYJypkUDx0Ol83lJBywMoVb2ft0xD72PkT1NIN/wSd2GCiIslOwPBf+92SajStQOu65XNIIEEGmM7HchPt5GDVPqvj4pXPL6pzO1ESwFYCcTBAe33Ybfzm6xagzIrKQHOVmmRD7FMBAutpqdFur8ip11LjmrUg6+V7WiUZ2yBX9y6Gk1wskYTgdiuQTMDbbhv5kzkFqu4rcVXif7kf0+ih2Z2l+/8tADBlF3rpYXUBMJaAfCNiMVJTyblJpmPJ7QRYT1sSPx5/jNYYQj6ZaIB52HNHKPRxMd4uY/17WacTwcytWCb+ESGJZO+TxCv/YxpcM9tsfyoFAyr0IImRePliQnSlaQkjFA0RqwjCsD2/Xgn7+8LMDPRHmyDQAGi84gDQ1L3Yn9EtIKwODYKiKsVUjaJMskeoob32v8zMq6droDwDsENOZWY/v7KL5QtmiNmG9QHQdL5yj8ekFDs30eHsNln/9TXlajBdDo4DLc+4/O257lk+V7c4jRLcRkUH0FGg2f68x+KCKz1+0VaYVbXHLRdFYNyzwL9LJXbCCTEO3oOjJcb5Gm/E2GruBYyP9w7iwqFzaq+1c5YGzFlMMFHEGamtTC5BEZzJEhq7wMLlh1avf7Ef24OxA+f15JEs2PvoWtUqy4HJ7eqphlQAAnZnmk3F/MuzJWE04YnOpbkZb6uPzCfwxltj0kIU/e7OVDraDd/rudUkjYUq3K9phLAotxWgnVLR+wgdTbM1DYWgBle9HklqNJNAyvnibrCzBJi9ks8GJWxmtdmbZyT6ZPjzLqN1Ndt6Gkje0uvK7gUkGtz3DSuToGN//VD6XVdj9F710WrR/zIA9Yi0Yd0MbLNGRAOTUPEgsU0uuyrWW0ins+4VEGtrAlUE1pAdzqU577+UeOB/+CSAOe4HAm6Ct5QKwL9YfZ1TsZfmXlpagpimb7ARXJnKMl7svfYU9y8IEkk1O6PGLcPs2JCxsUE3EwN1dDaUifktgfNPpQk9c8NA642OS3o+AE/hQDyhfCbSzgd0qf+0gwo6m6SyBb3Tcd5VbUh54vms5FqlydmIcK6N2rPzR9hRu2BjCqYJM0h8UuZhZ6B4HrOMKRK5XU11FhPUbdQxdYh/KSIaIr52wKSfEnTmpZ5sU8mop/99dic0r7SFywue7ZbVVK+fXhRgJPtsPIkmn78DDHeyJ4dlqznYwRVw6jgLcgkIJsdfrP+JylhjPLRMf2spIpp7VdOJfQLWqmbR/nk/QGnggC6VnFt2winud+NvpBHUtLg2MdIxLyA7cug444gp/eFO8uhNu+isnhDVxPYzrV5jG296rbOPQStYMLhhTGtY9B0lT7a+jVe2w3YeJQ/eie5AMsurtGZqx9XY12ItDTeIKBgsLd+3rdEnaC6GijpUpdFpgWVKgccKL1j21Z/2Q+SFQRdbQj3woEyxPhY9lwFnrC5sc0KUSt1Tbqnko+JGE1dPopCZb2i5sYqNQz9tJBTWJbrghTBB/EsWJ2jZSX3sEC10rY7nCu66xDunp2oxzEYUioqEX3KEwsDoaOgAm1yrX95NIquogegjWgRMch+HjtZ7bMej9Rhr8cCC1O//DiFdb3xsV0s14EGfGepz5Ws5RqjiaXhwbvPbzb31tbbFJSNxHDsVtS2GPqMOBoe4WSaFfbU1+c2r6im5xEP1nhEHIbtftIdFlxCntSerzh7jj4f3sRUJI8uFr0YXkAw16Ak4ZrLNFgA7mNEwInSOyd3GOqowO1TxcO42MsDkum6DoNg4TNaNxTPpL1pwa5VJtfNMeKB35qxtFln5P3br/WyhDhTAofxf1aLY8DuzvrgpoIHm1sSwY6g+OEljCHsvsDXtXlnJ2Thd1Lrql/YdYOte+0kPIXPHAp7YrpFAqbVXmpxISk8lX7KehugHmcLAg9/bcP5gHeeTWV3J96CnStRiQVzOlmGm1qBh2krR9CyR92F/K9ypeRJiovIV67mIv1/JPTVclkiOU+fPxUzfWxV7LqGJmURXzY8k7Dv8ECR8Jg8GLOwzHMO1n7lubcenhpI1mIWsgziKsDawwkqWSejeMjxtGK3yKzUnNA31vBLyyF/Fa8/NsOka8oyjtw/pQrVjqEyriZjHMq7rBFOojFJnFOAXPz/ze9T1bY35XHdFQL8Xd+VLWiVlLYuOMb1GdQ8SvAS5QQ0KJIFTgQ+meAoYF1efDnF/3Cqgg4pwAoxQwxBYJcNOi3MAD0MVYASliCOwMKDLYq4srtdX93I21CbosqQSfPh5nDPM1VI53/a3qA3jHv5BpiUXUoNXkSgiQ7Sg7K2nyorOj6R3IzgU+zZJ2DtIGrtJspHM3zfWnqdv7il25aTavFdJLosSfYxBJLeId4sZH4tWY6A9RixYOI1cFW1bnwEbaygmWg2nFE0+XvYBwl5EbOjIBUf5WOsxMecrIt2aLXliJPyuVkPD/dirKs2D7lWpeACtqwipz47C8O1lCK3UVbXQA4ooZqjldWQIZD6M1v4v0N6NqaGK3a9FikbaBoyDRWj8FiwC03H16FjmxUOLDOmWbKhsROzgj3rn0hOsahc4RgzdLkP2zRv2F2tKRstgZefeZUM1lSx92tkfMzYCvMfaFRiJbkXkIF8BEgpQoaL47OsGPde2nVjSVpsD/AzUR6NAG4SPftxASFSCM7tJBLxs7hNNFm3q1/xKAIFNFpyEC4aV8ytcxfdWFITjJR7zs9B4fEYtcT6Plg3bPr+Hb1X6NwpxPqKtrvf9BuRmV1Vs7m5zD4Vnn6h1V9z8PRWNPjqy593mOGdvJ+meiSPnTlXFkeBl4SD2ttsTNMpf8fguAuvG4Dg0/qzJ39gDMgJ4hvangFC4G2fkv2s/4oK+oxp1j7TJMa/IPQj1I8mTJmwKdVis59ANboaqtleSSvQB5Damp+8DDa/kgQA3CFGWb+4AgBsuGISxXI2pYC94xhe5XyojFB98QjXE5GZRVYcWAjsGPyxkRs/ItaPD3qoVlWzFfXnXsXtcSSsL3rodj9Zz71aKZkp0hjOqPRRwWaRQNIQ/VPCUGBm0tV5hKdwjTVWQjNjdxbC43VEzj0G1uFrTkU5BLDhkhzd2nNt+OfmsvYqwhUyIl4OpzTbOyl5gwXp2lg+Vtst205cAh1V7in7MDqMIL3l5BHkGBEL8QfYPh/jt1dnGvwqBTjDr6xFbABSpQeE6yHB1CEbN+mCg/YZqW0UbFu08xMLfnBcgSjkWUPTGzHWcU+JfSPD2dHR2eNyz15qqh67ernUDncA3//IXn04R1joa2fAcP3+X4PXdjOy3a6AW9lxqcEGLv90cYVVJRq2g+EqK0FBzUx/taa6EndcBtoohouycEVoHsnBo2RZ96CWsd3nr8HMmwPjQsWO8iC297OXkolVZQfnujD8XI5hsvrLwzAw2VuVE6WWxDQBpf7qAYKdPaP1rA+PfMtVyTtpEhwJQlK1aD+S6H8Uj7pZCOVa0iGAkvJ0RFM79SPJDmno+MuUU1I/zfAr8W7rjCC5WAj+FkRVXMNnoDhwC0zN950X78S4bsKk1EpuVcsUAS4AIuoUiACvywXHlVwwhx+NjujuY2GapgPguAVNVosHM4QXfTdqsYf1Ta/lRh9jT6zC4j9T0i5M2Hjz2XaBTjOUb2K9pcJo3GNmPyj67kO/yLt9fD5X1hrA6CWibxZMr4t0Jz1Dv7b+JC3Jq0lsBN1VN2AVp6fp8Z5naBsOtwjbU9bi+fpo3lTXugjrbVf6yvlxehdUkFkHebN/OJKBQoJQ5WXlCzPZ2GZwX/CCxdh+V2Jk5iBmL06QWquGcrV3UBobTvJuhZQClbfGWKPqfVxrqb2yoGOEWC9WhmF8qeXGFTtjRj1RzGHghRSILO6ny74GSy0BYVL0ZUDP1SzqVpnflwCQmxI22tvy8lLj/kpdOdPJT79E4NCAJ3p64yDyQxTvJeJ6p6ku2esK7fymiNkIaoBu68RleTQl1/fUEGwMSc2A51TQYUBIhOVmG+oSEkwbn8x5f7cr50dNRtV32bzyxUq+O53cECRLnu8PlXfpFZIXM0P6+DXadkFZaRBvMyizpaSRnLGmhtOHSXAjSowLbnAYfszkej5FuTMjaZMSPltgTnUwu3mG1v46TUb+bRFcrYr7gVpOqcLQ39zSBVwS9WtKJM9RVUw5oaA7/m2l/7QauKxfhcj37JxBBRtvfrAvpoWqBwkRnx1h1z5+0Rxj9P7gZfiZKEGzKBUMKrllxfbSxOrOnnmhOKNus3hVPavw1fOuyZiT9ElXG1iMAmRUrEGP3urN4et4IvleeIx39XWqKoRGBzQNieWgMTkmaKcvlp/8Ii5o78MWdlsf84c9zyz0U5XwzlAhD4oCkfXKTtSZLjOJ1zppXGw1KNiqa0lnSgfWOTLJD1Eet55ptkasoe+wzYv9lqe2Yp81S60BlGrDsM+fILORs7Pgx0Pdeu+PdikZ0xuyTkasgzOQNxYbJ/pgJDzJ0qqIfbFupoKTQ8UEkcH1kd0tFwRSOsl8e7GYOhY8vy5toe1FhLIjgc6IkNA+Agz89iT6d4x7ERJrm6bc955zX5qFELNBHcyIRs9lSfTFQGAyZ4stAA3LJVN1sq5c5oAk7voSjOtONbAr8At/OJIIz715gqatFYDXAc26tDQQE6ZX/vd6avGiF/QZxenD33dL9H2bOdzDfjvW2VeXEQhAlVN+fTqoD3C/6AI795PiLhw0ROHlU8N4IlGJNJzYpNhKNgQkFUdbxJwdnw0K2Ie7XwvifkPppiTdmncsb2hAksdhoR+W6zqCqOahahdSZavtMEXibcesVSlsR11BBau4rsqeO8612FIyJ9jMKroL0NXmogR+vjcfxWMInRxokQmYfQtyZXYiDfQF7Ya1yGeBw2Nlyh3Bz1brZm193VM6rr6zpMsIC/HqgklWC9ALTMJLmCl2Ep4tNdXqhS5hWbmKVrARgeB9QULcPXWEPBjZhzeiVpzqUfxl8jtoPtCSJHUngAeunAGFGLB6h7+ucbcfxt6kkgHDpmOqErmxz1nTB47Olx/cPdtPe4kNgD+0WyVhWN6VU+RVGVh5V+0HYAXJZQN49m319CgBpBNya6X3ivN0yAsXUYeX/QV3b6KIPdSCSG4W3G+rWQVsii8Uz2/BrPnBbE0mfy2/adZ7fqlBXzaOoyUEJRcPN7rusaAaB7Rl/zpY4B0xFGR97Cqn4//xN4ZYfgsnCgDSjaP0xdvGh3ydLDgNhzypncfc3uQIToypk2rMYB93FA7sNvwX8n3bJVSU3M6RNuwwCeY/c/QEapVx8hs5FdXQZ2OJtw6mxrVjID0huO56zCnXkcvdhYYfkTG2KKFk1p4MTYnDCAMq5Kpb6XPm6qn2Jse7BEoU7DijTG4ZG4uBHwlSCdtBkEWnfXNa+5C/FM30XhZjiua3RMhUXWQkQ8gtCExx+CYcUnmphG6MOef/wR5filxH9XQvGxt2ax+SBSestWHkQEznF2aIg6LGWbIVVWASGXreoMHdvU9KGdZIUHsX+VWzPegPevTXbX3n4V3ZKwj/VRdjNLQL5nTv1DCjwqM9O+268UqiBVYZlfM22U0+MzvsmilvvPa0M3oWSx/NUnAVwqta9LBAiVb91xbypZfLs3qH4X7IysS4O5q0VMpzu/Toik8ZMN6U/Uh2uiDRER/IfDRUt0Q9BlbhwmOdGzC9gHAklSlJaJV2qsn0TGOrEb1c2iLxXTEGWbshUVco+eVzVIbwwl0gSM+mSVx7N+F0duXyy6QkVRNWlyUEP0Pad6jnA5PSsdjYDgnkqjx7a60I00C18nY/1jQc7+Hoj5pjETz6VC7xmSaLVb6ntcw4G36DfCRvXAK8HEl8k6mMsTiU855fs2pRPB15QH0FYY7MMqG8bXe3v8O4garXyqlbNraVyNomuZmNq1w+EHGCY0rIH44H+s20L6Q1J4yhAzO+Jo8MiGLxBXiwTwh63lnAZHWr9VE0D60/7NhR/NF1vBXSJrMbD0a12BPuFHooX9CjUR/FRNZ/kTdjYBU/mXUfgZNRbBy5S+//zizYS9CaYMECYBXFrhyex5PvAZFfvEuC4PGGz90pFEUThrAUUAAz5hbKgrERac8LQx2G/GapFcSXw5zTrm1GIIOq4QMosUdlvflNMMIRuaNM1KDl6KCbCH2anijjC8JcnrBbxeWT46dVDyy21Yn3VD6rGCkKK9EBUAdqF2dXU7ylNKJxRaV3PXBOKbdp9N03o7vBGmTZ7XWJAjBNNGNY99en+TGtb8Y1kqgRtetyIySTISzScqq7zuypvPNa+oDbCYPG102espG4sdTb2qZLgOKTCU33WjjMh6wyLlLGqgnRy77nT4BA2LNhki5/i9amIhHe+3GKR+EcFzIdIM6BA29N7fYkZomFU/rnQyH7Yi8FXykhEfvkac+bO0ze9PJMaL01ESZ2504itLzwYx5myAz5RSmtqMeQoKAOhAuyhmglLsWYOzvNXRMCFD5edqZnIV2TWxPTlJSlkXX+xsb9q/c1GMyo9tCkN+XkKjYJ4tJA99DTSYp5dovIELhlJnPnTha/QaardBY60Mu/xRxelPS9C7FAHVu9D4bRNAWyAsGc7lxCa/sbttQFFQ8WI2POkEHVppBxXt53pg82Wg8vSwOnV0NIsqLx1UZYMK0ZyE015I+b3OgHL6hgt8T6C6xMhTHXZKPfwtBqOz2xkAHA4bvLKGMMiBUBNtuPws5ZemWE8vorPoUvD8AooKCwOsf3TPi4Q0kpDIyzu+rsjAf0n8FtJqUDHdKbSia6n23f7pd0ApAI2qqZ+pmmxRz7d59k1YQNQBBbRtfJHSiQVi/VvgVUbEIk58lbgrXn3KGQ9B1dgcC5LMwHw5/PnGPJuAXO1yJkhIwaAu3sOUalpy4JzAAugTidvaFKsTBDT0gw3JblIdE+QR6xbRkYNTmNzKjji6YGsmn7m/0cb0fXLCLSvpNXbdhCNnZEwmuGP53l9wWVrzfk1PTmUIY7Mdb9OdeVL+FuRe8JNOydjIB1VZVK7RZmt07coQUJqMqN7zLtMLdmXWofv+VMi1SGpftKHjhf4bew3Tes7Yl3hpowQrwcTZTrr9PGOuIeN2ryaYAChsEpE+1y9UkyznFEjF8vm4aSIUTXfmRGSCEUW7GjS0dAW1fYzkVMGw1QPthVYDBZ5AioQggfPBl9ryQwgmBeLSpPAI9qEbe3+Aq9bt0/rl6hh0InpzzGmdV9c3v4oNjkiRX8Tg97ZWa9mnC9xwTztrMLxPSplraBRCbh47NrCTmfr8mIGgDXNpZMfMXS6X71/6QIRtzHlj8/npvEBHXNzjMwZui6+RfUNri9i31KAoq/xJpTZPZuxvxE17dp9SahS2tsioQ/J46r2ZV02YI1EfC2eLp8RB0OvWQyHsevXiWSmZ0oDNGpFCOTvpY0fC20tz/AWC70oYvkthaocpsxD/ZyNu5Hc1SnqLgPiLh4CbvbxT1hkuAcD3bIl0VVjcr7T4pDDvq8g8yJFQ7UinDbf0FZ9PCCpqD4RQw3FTWdkFTC3b/pT2T1A9P1a2SrDuCvWEdaZjL1H3Pb7Hb5zeWR7mlCW78/Tubka0vuOlMI+8QveeLG7u3+A5qeE5bmK5tHzlMyd5sydZNDYXVdSRhB9A9ZQmSH2EvJz53u3jY2SVVao2jJ7vfdqOfta7ykqdjqnkNbWl0UFm0SURUoZbwWPATiHpqrI2oUO8//qp2Tq/efQSjOruYI+8XHiWMZZNfW17Ia+dfd2shxopYd3FeArmd83O9yRPm2LA7G71purkPNE4F/oLemPF0kEwt2bOkwLQZQe1eEPsdz5L5r5EBHTQvmfn459ZBJjotNBQFL5yQwRdA+VXFOhknIvkHltGRhC/xYz3L72WZTu7igBBjEQxgWD45t3mZM/U0zD8J1XBx+Cs+Vqn5kkJCI32AjvQAwbimRpewvZ8k+kH/lXzJuX0KBwkN0B+yjTx4cFLDuVuFGBvogDCoad3wowtHnVdYguzPoYBMG0stGTSW/EemX/T7W1gAStoQtUJowJ6gzd9L4VegURVT9Kzy68LvLTSnBfxYwOAiICC39ni9gYu513UESgvdsfEqn/CgH4wbSDfQHweHlFU+nBRGvfZyKJ/QDvvVhYHwITRkHRpPVWdUSulDjJN/PEnFN77NUhk2F2zkf3hzQSqMKbrIB5xPm55nVLBT5evxwvOUBzWMdTzOzvPQsyfBkwxVziFRiRDLV/m2KmuWl/13O7T3Oa8BoyhHS6zTtC7RAkx9zGqYtST/LFqOIYCfNaWalwWJIjxnAtpnAdexFKh4We6Vx7AKDWrQKljQsOECVq1iZ3xobhLe9VkEZazcG1zubnPzSkU9UEXDt8ZqBaD0i6ni3RWmimaA3KY4WDyFYWR8u3W/q6I+ZmHBroUQ51Gq5Hby2b/gpRJVNUZj9UDfN0ArRD2JT89FaMxU62fqRf3OVJt9XWUEZV3JURXqLWlP0Fd0dWYMBRBCTdn2bwtZiPHlXLUbNV2HOXiDGgiXnBlCtN9P1K76lrcNiYXvMjqll6WqokXrglL7K6cZGeZ6bh5OgLla8eJt5Yz0PCp41Bby9u4ZMeXcy+yirN0WgGjWmJ44zteVZX+Dq+FAr0IPm/0aq4nqwWu7Tge119ul806H3DKzU0+vuI3roFoD8UDWSCYuHa8j0aWzxsH4fVOPywqru7msnrlH/WZKdtXdLN9C5oPAKocesNfyhacVNAkQdfU8onCe8WYsMLXobLarXWCpXbwuxBOmUp7RDR1fzS4Czm8sZE5XsSgR2ZY8tYRAVqZ4P3//JvPyXwZnx6fq+/R2+pAPYTzl7n0pOgdMNAOYKJL+gPC9oGYvNhVguMcgafnI/CizywRXTczlsphymbbLrlD7sWlsV2BVJeQg6EQLFFyv1IlmXZeQ9BeQbTUU+PoFrggikH7/PBD4gUGrilDre75K45+MDucGq34nA1nj1JbUk6LEWVRFKv12D6BETjRPv1sqXBe5GkYOIXJl8ZGOhjirjINDdVnJL27+vo19eB4NIJ57zd8x1gw/KJM9GoeOI114YtLQkb6bmoHtjj1oYWTS7tAlseUQMCVQZjfcBya7zfIi3MEmNle+sAWAfyDAE7fuceadjgtlZzwRgjgKNVVbZRi0DwL2aiXkK1E53l2GMBMIZ0D+wX1Hq7Kr8Ljrs362qh9Y40LMPwjKEKH1XlcuKOhGq+3aSwPYqI0lAQvLw/pHIoYsitJfKbGZIelbwKXApNkPljIthDln9XxudbtWu1R6ONlYKil7AH1H45eokD2MDj2SPvhmXm3QN+1oTU7raFb+A8/KT2QbOMnDeulereoP7bDmwaLKWQJg/Z0U/6FQPvSKr9YF0/1r/J+LJ9qCyU1gFf7a0WOT4w4gokMHS71Ecn261pEt6jwLqPMJAM446vyWSNdvCTxsxlrx4Z9lF5fCKNFH7SjUAdVsu3SvUtBYuzH9vKwmmwB1hejOOTNcB48GoRz2LMd3+GLfYyMIFBWZFF0QVe7OvLw82l5+G7v24B1HpEc+SL/3s92abmH8YdTxs31APNVpn4ZHV5BpqDZQMtSxY4x2l9XAoL277Qnt1jAkmR6hjEh01KQhIsBK09Ua7wbXbiAPS3KaCbRLdNAfbCJmrG+tNr9362ALGlZXhKPjwj5kYggA8y3pXZc4v/R7qhE8koSMlT0lVc2SqhWLjcjAgb7rH/mDVBIQA+lTk4S8UQriN0qKfS41t4EOpYyeL9ok5H8VNU4nfjlYjg70DKNJf3pRcQ9R3UAy3SqnH7mf6RVTg2q57UdG3lmEMK/QJyW89jONqSyuSJhXZQQCL047kkyWmvuos1iqIoOQtZf4fPri6dEHkWHQypYsoIrQrHHywezF7TWteHsAih80Slwwvedg6Q8S2c+2K6VzjAwhq/eDHyqKuEiemzmoa2biNSZTO+AMHRrGV0z3nJhmW6QQ/G9No2o66nqP/5Q+9v3Ng01cdA74bioUXVxTP+k0mrpi2UHYgo/C7VoZTv+1RJP3wdJMd5bmL6va35bbXBs3DzyU5XagOXGdjWTnOORhty06bCgWunzqWsO4wcfHKsj3oLx/sqELesUpTz48NzSo+grBxuBaTutXKIfVt5aFG3LCiqGAGFhVU1vlmv2Luzxkg9FjGOGEpqm/XOBYkGiEPTZg6fpDLx7NG007l/uB3JnkTwiRPcShEU9R/JNPcivr5Stz2zU6U6OUb+Axx0Q7DpbtQXS1TBmytpp3qc5G2HWoKf3RIb/ChRtRveepzWG74LggYoJ6ua5oHYQECqkQPYsXqAnT4LNpGZzWKQt183ewuqXX4qlqrnRpmppeUDiamFtnMtoLcpajc2G7tS3cMy88lwK2EmsaibxAADMUA5BgDyzr2u/WJF4cjr54oHAxzw9HNa4iW3SbXm5sx4vLLLtlbjsChthl9zG+9a7K+K1xzvMu3H65FLl4RgCUnYbS1DgP40Qqw0630uwMBCSivFCAs/GMcrFn7nGWMxi1CSxBIHrJ9w+usbAqUkT4uD9iSIGEMgxCQTmmzJ2vIFl+sVSWtHRNOq2VByEHi8awvctB0qdgMWtIq8hnmyS335tVKxeGnFlBufY8nKldTJsHfAYN8nnbtvv1T+SwoAfZzUgMFLsywfwkVd94I1V9YU/DXCg+qQS8VL1RbrbX7Ra1sIRS3NwkLWkq9yuHf1IKY4="/>
  <p:tag name="MEKKOXMLTAGS" val="1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2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dJY2OMwf8mgoXWrd8S3Dpr8K8e5QDX9l/GOurOelpINCJLA3EC4Lci7vMC6fiShJ1UHdlzzodfzXVhfa9I7ytnjk8UxGhLoYCoYswL6v0jmUqyjtlYKGO7KNrwdR3Jtqv+irS/Sfzu5qGHNY/GWRzcMCJB9+nhml2tFI3rlve3tOSrKeIxWD9P70wEfe8SJ6/MJPLqB+9+ChibGUJZcZ79MSo2j5u3APi7IPvBbU5vnnU3oHNXYDU1pQpsZPwllRfSorraV1v/13W5stHj9VkwYm3cencw98ByET5gQ2DWVEgqSQZ/W+iegWBwc5uL0khqyxbvZmzhy+TW1I+hoIly2Srcjlg6MINbVVTjlASA833vsrEPCGD77ExFYUQwAKUOIF6FvXW3dD2oF1bpTLHxbkz0VVA9WxfuhVvcjVostxdV5/upjFACCB6tETUrTDGiAlS0Hx65BiMCUR0W7lnmRlrUrfqcIfY6cSQp35ygIhpMZgX3rY6RtbC46nKErtVwLFwpJ3J8hEDGP9A/Dx+Z+CtpgveJXomxtfw9fArA6mb+hq1nksqNwJaARLJ/VZY6WFG4jw/hMMDuklD/JfZ+O6ypCRDJRHm2D2e1Lk0BEnHEqH+XpBnRnHmFR/DyO0y505deDDPbsz0E7/CZiG9orTjqbc6DVAhnQKweD0kRDC7ksPZTMIyiZ20yTWomRh05Bkho1fVXSlZlD1LxoOca5XabTnp/qX8K4K+yUYPVInDvuLxWKrm3bNlVdtjkE+uHisrhl8k2ZkbdQSxTYITpIWOFUWRgTZeTkcErRueqazvYAHmNGs1gEEbns/xpFHnrMJy85x/wkWTYwU60W/aoLgEZE5NfDomYxbWXpbCzgg9VCMjLAwBFOWFDgMPB4jnMPOgm3Tv9/P4LiadKGdGvmFOoKmDfQEvUSRzKsu+TkQyqSfcLBSweZnJyt8OHWIQdoFA+N2FSHZB7LQVZJ1UfNtAzajdiHpaStye81AS6FPjfDWakpxMTQZ4aNiPXr8Ba42lgP4/hCO02tnSI9XZoIv2EP7p+DQVKs7N730iQ8BxcrMXz/1ZwDjcXwARwJiTTc0aPKQICUf0EfmXlQ4Inkg2GKD47WC7gI7M9rANk4Yz0nICWYy1TKXBh3ilW5yxiYysS+svasiM0Km7u1QzL39BMEYlEy+dfvpdpSvm6t9k+GVXop/h6sMQflBnIkIrOZly7R9Pp1QQ6o+v7DlPNmA39PMlYi7NStIPe4jWuAjs+hLJbdVtZAb6dOKZ7sawcZTn8s42ST8qcdoJJVwd36KNPDuI9u63unaxradGfMEbDW+IsNLEcqdbrY1ocvuao7zUQSm6QJr+SqkJOYBN+wRgaWE9H6ETwW/kCPbNIzpuHtiNfLFV+9Vycgqlunfg2zGLqYsHO53pj6ae6M+Knn9zRw3yNpeRMF12APc/W8QdYrKXOWQH1qreCQ4x7iwa39FpoWXTaESF332XHRWzvDG5/KzZXCGwQrw3T2aCvsw2g9rhv705CNLDwSEIVTa9CJR74tdxFl3tPAoCOBy7rGV+WD+lbcvzw66x48UplzTwLRJXNS3ryMgR4fHeI0Y5ywX0B1pqGbWj+dQ2Vx7Ot9uu9IlOEY22XYVmIgYrneMgTbPAfZtFF1v91sXUd78kwE29frMjWUQ6UFg1BBukuLFb7ajZezNfzWg+acC5y+am+93S8Pf6U3V7mJ25sUXuz4BDyXdcRdsNMx6xjuxe3NcrJZAUdNyx98xT0v+qbTfo/Gi/EcQQchguCp8tbB7FQxugWzwc+IqC/ELw+0I/jqQ2KJezftH+E2mD3WegNFV+myZ6wMWNhFncYpeS1Tg5hZu9eCDKFybDlKOqB5/QM/nN+bZyS0U7nYNLc2wpmdwunu/8dDgPEIj+7pcspv4wn5/P80UoqS4X+Q0p8cISQVwh3e4K9jFQB5oocolWX1UxuBnl+OJ2PNbpA5bgDuvImLccyn/HWhGP3HwOjmAIjjMtXnmuTN0s5tVU5g5lCYa+JHVGwZqq+EGXgHk4PfNlWPLzqTU2KZKo9d32ileNzUSLycJp7e6WPkB0QYG7utJR+Toys8yMGBWZhldLiXkftKQNciWfLcKRgbgquBrtfeS6E69Lo71bv/DSaz0qNGPkFLoVm0xYnWefLbLTsLTjSNvWyNlG8T1hoA34UxOMHF91R5O89UZ3nM7NKBXlBCwY47Rzgei6hqyL5BpUcaz3YTqSwri/D/YjxoWDVIBEK+Qy1AuWU/b0t6PzHxHgZdYF/3J6mGgPY4P+EfxV/lxF7XBPhpXoJAUroGNoMcBVljKKm3cKT/+z2BE/euMOzQcZ6iyvkxavhSLChuKqwARbjpuO/QTFquk5a4MSiqgkScJuXWYnj/1VI604BceBRlN6Q8tr71CU/F35t9E2VSiKMeo/u5YVKHuhcdvAAcEy/TB72yW0GaQJix58XS0DJetdM7I0JAmH4zjBqtObq2CEtCkXc8+ABad4DFteu5DDxFn2rov85dAUwGozeqndCGgYOCVihg/Z2m2dU//0yoGNjMLHufVyQTzUgMCwZ3Uh0lXoorZg99+K9bdyhscXXdGSuvmwQ51N0dQp28gMms/hAMe6e8S0kNOgY+lgcUJoCz6O4VGeorrSY1bW2+r+cSOIKvjuwolKpxZQbSzblCW252IrvA5+yBIc5dwIzcThbQ7RmPqotdqOWQ9OYseNnCd382bfMTPdjJQgFVWmp7QiMKEAwAVgMa6TTJU7U9Ru7L2rN42hocGyci3D14/jo9Dm6fpMRLShlmkBA60a2x/ajjPjAoArq9muB+XAf4iRzkUs10QsTg8cuQy9TB/dWEnuhpAakmYii8VbCyqzlwNArhwu9zdQVu2678StDVjRjwnFG7oXqk2OzBHxcvsMmz33nqSU4swJdTCpy3cVj2+Yfnqpmo3u2yIBWiea8rtJX3k+xvN5ItS2z/rb5uajulASMsWIIXI+OYINyHEmDFUFMd7aXTB2EN1bpRIVga1Bzj3/uS6JrXD+tBgtkxJdqJyFkRtEr8ozEYpqx0iY9Ga2ITDynK0LgZWWFQ3tK8VHsjfWRC2pfIFj0ulq1tBAXHS6Uxnl2tMfx6r1aDJlObRlbjBbtS9Tf3jSkZsp4pVfNp8Fo3/D3SGUwiU1ECD/x0PM/pkcnD+v6loahw7BX7xfkMAz3Amw75nBXPd7+LBlq+X/j3q4eclWIZJDsN2beQgXAWtOpLliElwiPNklkEVb3hxuf7yvMwVIgHY0FcwCzftLaBbop+jMOyciYvMWftxCvv+QUsmqgbTBXfEmh0ro5pl4qGjcmk3G3YQhNGQn5qALqVhRKBn2cURVS2aazf+1CR9adK0IDLADK+5crZ6p4zk2xWBnE7mIqHXoPMd/OZE/cdUvgfG4Jqe5873vkGN4WXlbt/k4coU0tJWWbzKh5T8KbYAP1W6aYatKVehVkbxeiQxux9wa11S+H7kHZ9nD8VftYGjv5t3Ia6fSz3HE4kDlBqjFkJB2y1BU+/2EZHjy5vSYHETlhpXy6YMJAm7N56++LeyZCMIO8Dlnu5ajq7haMbu1XKCOjdl8o6uvX27oT9GdcoNy6kaz3jn3M68pKn8DOdhglFz6+BcsM5Yr5ME7psWNyY3s0rcrTc/Zp6fz6pDFda00THcij4lozdXKj0KinInavJfRe4WjfI6iYVlkz9x8WugrPI2doZu2oIhuGl/1P4ngwlO6y1d01JsixHp32wWL3neIQkLTmvkk9Au4aUbyzuYxrsMPkt6lMlbueus4ObrgIfjE2l66uhduiIETdFzyX459VBFsLxiiAe7hSpxtZ+scxVovAi04nXAVbsPee05rvifZFt0kNObX68LPsfuTzGaz3mLBCkGPmWBjZFthWepiGlbQVAsFmBH+yh/5wrDcUqJEzZ7H2019FfmyVkattY5Nenpa63hVfarH7+P7Bhx7FQP0f0qdxUMZBBZmuVvj9B7mPBk+Tgnia75glADFOHQMIhLnvc9+Pz9bKhL5+SROX9ZSe/S2xyngcAhKkVnbvMstpvpPZgEuC4Y6Bv+P0Wxq+PINvKWUO2TrY6vwmAk7K7LYLKKA+y1qt4rC2ayRgAuFW10JxCUL/8Y2ds+LOok3caU6Q4kvGDmzWz9m7MhSAbi8aMplL7ar8k/Z7UmS/EJYmnEZ0Culp34rNR21gqALqnysLaI8dC9+gip6APcSM1wZtiKBn25+fdj27M4t5Yz0MlAVmMMAqO/6BQZO1ivqnK3+J7pQdPJbIkQA8VoJA6LtlJ8EBtEzMiL2STTKPQ4Kg7bOkxEkcApyhuW6bIcL5+vzLN0aiA4SMZ2ajixWX4tDgVaNV7a9J3JUOMCzR1OuTaeTyRntbjk0jli1D48387KEQWxWOKeOomK62ZHJyRVPd08GlqvKAruCplBNFQrsL3c6rtFGrXiCuYJVZPim46r/gCl+woBcypMp1l6A1xaAG1uxOkmR9CMdk/uCagea8T32N17IGAbLmUVGGwQ+b5UgKhNRd6AiloOJ4y0ibuH2sJAk2nF5NLwjxfatWtxNOqWDwXsxnNdBkvyzbRcfS1POieBfi9ep3SKRQZ7FSrUeLcyEjtpcLRGPdi/v4L2FvawZrnc2ZiJFD9yNRZz1Juucbw/NyV0btOIqlA+upv1tnXHgGJscHoGeJ8cHRdAq2whceBId/DSc/Nf4CQewdCtrnsLyusCt1W6GhhwxInRQaC5Jkx0l25jo/3JVDRxF0yDA00izylom/H5ZxsePPvGaZ9EJi21Tqzi1aw9ztPqsgDLv0tJLYaZyACrZNI0+B9S8KWqXIKYV2hIPgcp/pPl6Lx+IBdTS0szQIBPstfUehmCq53N1FZZ7NMAClInhhk4xS1U3wiL5ow87+wm5ZOvrm6T2vBzvRTQrx0ZBKY+hMptBtseLwR3dKtQnysdmEL5MNNAosNeRnWkn4+gXXle+RMP35NlD/Fbi4EiGvRYm/hiKxt98nPwi2y8CJUmtRzumU1IwhyBwTOUvLCLK5K7vj89pJUIHuy2viYHLpqY3GWYB6dgP56/7QF2Pm8wU0RElS+y74GzqmFZk3js3OwE2XLWFfRJ6F5AAYw7RwScnX3JgHAXGC9eQw1aoVPTTNrNhonrS2d8KaldJNFu82Bggtw/8+R7RBebSbhIaAXEYMKxh4o3GU8PNOO1YXdQyn+JNQe65p/KyAnAfYMTHFn3YTRslTBCprppBNrJEAEMgLhq2MbSOtbJ52bKTM0Ud0wCJQiZwCt2B1DkoFXS79vtmdb3h1/UpRKMPOev9F+uTkGVNvVdtDXQlSBl3Qn2NwETVhNzggGd9kv4j9WxzdQm52LND1cPLt5rup0hcrPR7zOwYLpyXVCt0NwUDxYaqN+59Y+zjXjy1BblqXZamDaxFF7LJrQACOpNMHA/Ux4b6VBsYG+PmLJHdkW2J5eyisYU15iVAPpZaghsoCXpgBAE2CJlUsYxYNUXZpd0j6PUP856jyzjO6ynEhBjwLL346cGSc7m/5ygtMi5vGjX9mTSA5v9QOhAp4hTCaL1coarF8ZwS6JbL4xbkMtoxNewyXiKfEySKuD989HzweHQDofFAgXkdXI3/YbI10I5l4nu2SjDPAeW1tVsEuZibFfX/rR1q3P1EhrLELnDQAzeGpqG4D54r5nrUyaDk5P13ZZJ3ddEgXlvbxCDZiSOPBd43im/DPKvrTgBHEXg4LcapPvH+v4CaT0ji9PIbJMf6SFqlMyJoPypu1rWmAAJtdCF2qz1FDvMIEFPpBvR3Cz14v/zzmKxHf1oIto4O4a9BfJ6uAAaUFlG6dg65hMJtD/DXFuu7cPjfYOnlBAOvrrZ7hLRWQyTlCwYiIn0sfYHlmi2LFu6jNc/uUxOfw6ZJ6qgjGqGyWQywtoxDqEHs3lnA6/r1b3nfAs4jDqCsjL31vPCj9oIGinQThrbYKrQkTJoz/7cbdwtzpZz3BtPdv99q4Vm+Q9yjh8zF0looCnyrcEMd5CkPvkANKyZwjsziWoquZWS3XR8Aua43GK0VDAIyuO2h97QIKypmLKgb1JttV9KBYGwSlX/SP8xTocVSkveUQM1gx92QbSMH6FxgFVXv/886iTW7bfMFVYIFtj0Eve3FQTzgaL1GiCWc5sqUHPMdUpnSJI7kCRI9E2mLpgpdDzCgZSKzX7MS3Rciiw3FM6T59Goth1ayOuZjwuWBBpnOB9JGNcDLoknvQo+j9W1YHuLGhO/wGMa+M+FqJI/aFW0LLrVaRfEcuhObEJ/q2KH2KWdu7KGABcPy48dMV33r9LKK1p4dYGaJW7hxtn4KSuzPMQHfty9wB30u8Z6Is3gysUa3lgAfQyiwt8nA2VIMYz2C01rqMApy5V6k3aR3BGPi38tyybw6D1GvICVVtSF6F7aAIb+5GtV+7VyuSRtb7sq1PqQ9ErcJWFZ8ahT1JzsS23ph8HMcYm5/UB2fykz4CboPl+pYew8JZ6GaZTabUN9jBydDaugxjLqEE2WVLeX2+DG0I3sXj8d2K5s30Ej4Qxf6FZ33HNrvfR/biqSEhdhPXAnH19LRHwnLEG7b3KxaSWeH8g53OwHZbJMEwpy+f1U8aeeuDxBTFEEkSihZvaBqYIT+6VMeoICfU5EG5h116goPrAbAcrXCGzsjLUwLKq2JiPgv9Cjs9/fz4bk8JqJKgMOzKrwAA8yf8FZC2CDDiTnaed+c7m/KTeNoXsmR512T4lIlNG1OS55inQqqd2W3iqfLDzBJW/UwnPiCsKReZpJNN3+/uvi3x6XkWO9+4KaDxXjQgHrZZn4AtrsZ8dQYnt9GqmxhpsiCwAgjGi1GYqI88NJMp25MqA/MYP7Hs+aSDbZBny4WutYQlGCYAfDa1W6PvxC7FiztRdyuRHOqy8kr84plbY6iRu1PmrSi2mUK0OL7UYco+obJfuXX1BMoracptYNbID6WY8A2D1rCxkPhaSr12P1awltOLnXdrT1mkP7ZwuVLMoW0ykP6ondS3F/gXX7+XF4YErI7skG+03pb79X5On5Cs9xWJDOLEYN/qFJTm/AWDWFsHFzY8n3+PGmS5nr1FTlmp4BH5w/CfxPa3Pysvooan1QqosTH1l00O43O0pZsklxFN2uterrzcciZemyCQmbTYSryaz6zduwV1CVs9WSJKLFlLGoT9oXqwN9ZdToUoIwrO+oTAGA1mWcBj57WAXh5+DX6o4oz7dfV19CmiBztLhB/sKABRK36I72QvnSU9E03KLnaiUYPuhyQpBb2qyC7POT11VgAGJuynnB0XO3jC8cfm0CnnyoapGDjt6aa/NYNYo+Bpa3q9dVx/iDRaFMoCdhYF/26YAuBkB3zRaHrN7fwPcveLD7ru1YftEEDyUHQ/N4Pt5hw5M5Co394Ye3Y+d88Mpsp1M15qUJIBxDnQ3+TEWxCEWDpV89GwDrpRb5q5X6L/BzbrxKq2xAps8tf3+8o9h2AH5Bbh6qUDFG2zXiJ7te7xhTpLA19243FS9navfRXWpQP4zRCdzah3hjOIUR6j5BDaXTslU7mKzOOYkzKFLjfUN+IUt5h6U7L5BocAmbcneSXDfvxEDjF47BnDjMo2p/CznjFvJBESq+igC/A70Nnc807ER83Itt1zi0BQxD1ygnaI5S6DjpdR1+nY5rRHDhC+1BMrEw/tyc6MBPHbeZVHIxdfmiF0epRjqvtulFsvLLXYExBLw4byknVZLlGU1QXOqxmwyrwrgWUDrZweTYTYHAFN+dnjGaZiTqN/Cczt5zFmKXlXDWUMD9RnoG+Z7oEnWYk+kpH1D+43QvDS4LUPX1qHuuZG0LszuR04NGZL+vFAvByUmlCiKaVTVLtcxUtgq69+gSetXnxE1WnSDP93oAOuJICjrRO26z+DQfMVM40x4He5FzfBLn4wSl6IDkCqY6jBoLKPUm5ftFwGaBGUDG87qmLcdkL+XiqJ24bfxEajQ98ClVNVpb0uHWdYH5uSyf4NNL7L2S2amx9Sx3Z28aYjqkurP4+H6XlXsv+eobVb0aAxs5Jm214sLLouNtvgORJx9vGWnubMP2GNO1D9afWAhecQCcxugXnMEA9HqNKeG5uOC+EhEPTIcYQadqLzNf5yGEZAia81bKma3ynzkXqBtrClBWAaVLwKLq8DgtYRwTw83GgZLKsvS3piZq6MfTRjpuF/k2M51C26ovsWDQzwxnb0WC0emx2mOPSyhpJF4yx5upqsMo/8axP522vMAqOq4Mrd6t7qT2lI0jv9IiEu4clK+ZfEzZUJMlf8/Qx/3EfrgbtLOi5G6ErBa6Br9WPus8YIb4sCuZFy1k2MS4ZUe69gOK7B9g7jRFZ3jC3U7cZNZknj6e3aZ6X7U3pk2HxeoytW7PawZR1WRTp7BK6nhwDIBvvMDCSQ8KakfFgGbB+nrRcsDzLVsds/hyB8XUbszbT2AAFNjUqg7E4qIuWcWulITE9VJvBUJVCRcuX5H/73ZMunZMRI5DuqNF54beXKoaLLu7GfJY4QksUiPO3V8cQPp9/Jw3Sp0QY+Fb9HwPB9GVQc0BOimLQApazHvnMFNowl5Huh9LQXtthqU4S8Ea864/WKhI2TI3QAFqK21vmP1Qa2v6UD13clEgWJ9cWEMBxR7527HbvL2ebTWFWV1hDpzdituMODFRtUAf0PAQwXr8sfi/h1ntGHQoTLvTX0X/2unBqeBhGqAIECNUU1Iy2q9nkNWCMKxLdkdlPY+vxsyqRkioylH07WwB3CO6gT2qpcLAsLGJTrjWGJOG/SU2AqhZzMB294GUm6uHANllFfKsKfnz3zgfG2T4MnncwOSNHYvrTjSRWhmWGtAPSXtiPmwEc2u26dR8SWmlqcUwvykGAPt7Nc+yMsGZgzUmqe3/rHv07EcYKWtU4cBlJwRWSraGa3Ko45vzg3pHNyU23bwgmd1hQHnbBFLNIKZH7iSXtkxhkPyW8fjU6n1HI8Qk0UZz5Tt5CofnZ2IkiETMJSuypzH3PN2+87+7nClOyXFcnN6+YUpV9zLQLDTl91xHB2FJ8YMfricFoyP2eLdxJkdTQihTESAyG8b7TnQpd1oBqyU8ELUXVtAmwIED1WGI2qcM3hrTckv282+hvtFi4sA61BGoDs5Bhsq4F0hhYvwDVQFQ4XI+UE6+BOwE2v+3LJGxxwjZzcgYiMBI0UNGp9nJjYATRAceU4Jk3UlqwO0xCbHrYMfkcHrY+vox14Z44pbB0fogtPJIebzA80UpIlD6QCQXoy2BZ4hT2vzaBXIPLhAsExJGOdl0KqSO/HYonpTlV40Jyud23GQdjJlPrcJCqlTJtGS3iM+EZ8xKmY4kS+ZSWK9o7a29i4gr0mrvjjD9KgXevtpec2rXqw1vQNiN7RK0M/IdYbel86lmwGLXfkHAhoUEvfZS0NlN+OudF5wsnAHQiowbyeG8AEniOZzv2QLQXedYXgIknCupNU0zJdIkJhqWm5qCUzlrZLv3iH1DJFqbdmIgXtS6Y9yG8B0ISzoPlIw8T75KKoq2VvUDDACYa0aKyWYE9xUVsBLQZvJnHCm4ASoeE7BXWxZNtpOKIpVejrpCz7OjymXGa8nN3W8WaKfvupcwnNqE1JcugVTUjiqzruuFBM1fw6XRPmcYohX5Jw1M0/HIceE55/hGZYxjJ6esXvC33hqIPSVytvv0Jllyt8ypLNZlh900VztPCtpRl7q/Fxn8Xl7pAOUKlKvyXfg3kxQwa41Sm/FL1lsVuY2u1VhinTxhRTerrVxIrBg3PPKNQlN4UPhnm8ljRjmemj3AtWOWt6X70KX2cazjRJZb25JjE7fEQZkm9Y304Mw4OPTs4lVdiSjB7dMGZA8o7ppHUyrDvLii/sPkun5/HlpUGJULqtN7LBJz4reXnj+QEGfp82Lv+c6WbTrjBQP48doSwqs+sXir/t6oG7q/5zUoKiuD/TDRKUKrLV6g73pUsOx9WPQsMGKbg5pn/E348gezWyEPlXGurGaV00g+9r7tp4i+nCfJ8q6Kc2m1HEkzT4pkVldbnIMO+J+xwvg3zCO4ghOAWOOfnNFPCFfAUIvIkWySYUXcDcYEWzRm2lb7AzftqyTmhLTFnyrXiYR+U4lKM/Af46Tg/QdnYovfDxszHibGNRk00OUkn9A1SRSXhqMIuwqWZxRGpOxBJCbRZuYZI0TNkokRQBkBXLj7XfkNFEWfZRe95a8gMdq5ArrV6OTBL2PYqCII2zOI2SUv+7k5lnrT29NgRuPGHocyG9OAIPU2ZJfSXawedpl15WpwRZHNuBN09YxyPI89yJI8YqxWVFSMEn0/CKEMgi1iyL2/mo7r/wh0ZNQUDKgj88LsQguDGT0dEk5OKJcybAcYQHF3yUtzhsgt1Jok7TiUWl5BkTMdyOsjLk4CfLBNZWb/fNQmWxHd/oVp5KM5WlYF2XnSMoFgQ+4OyiKMdOYi34cRcO/gVDTk8H06U6uQwf9CGZeGS93W1LAVHanunKjtBLC25uIR77nGPx5VLjdTv7YLY+5tVTzjyGuVQEhZhiGNYYZ1o0tCIZa+ZACcOuGv6mI1YAjeBfccKUDcumY4+Gt7hT8qtnLI4IyzIYhSgA1WjkZka7R1/y4n/aUHuckTdJzLN9ZVYNMinOZbbFCc86b8OemdW5gPMvAwee4rIE84G7kYfsXnFYXPaTLXGv779gN1vggJFkKrws2V4TCd1Dt8SbW+ZspLxm6CmS/Fao0Fv7LyeTPr2/ezWuMhoMyyR/cbgYwgmLcecGwjdm5den2umWecTXiFZKh0xAUY2fMaBi7m07uO7Xdobv4b28TgL4Dr2EMwvdO6mICXTkHSyL1Yrh6b5vsvcTlP5k+dSb6FEj5+bLI8qFwI2aH16qI5ghpUVg6YoM+pRmR60VK2vTvsiFm+cxdSwuD1N3UQ4ygpuvH6MtfLH7L9EPcBqkl5qCdNU28+0kT+a3LhoBHJJ++IJ/JXQiclh76LMXdds4DwC674PdTzjDsZnA349afaOkkPl6/iXC27nXKxg5CrdMSTob2gD7KugHE0kTg56OZHpR2IAIOevxmXUDby1AGhj03+f496pyX/HJhONrPWSTk+VuemGwy8L0ncCVqEtm0sZ5Ve6ma8lIoHp3dvpICAdWiZJJAiwWWEPE8JkzfnB8I682MmHXoXphG9DvRvAgux3GD/NbfqxHNvHaYHJ7TaeKDjxjijPmDCGmk/oXS7BJvb7qfG/ByPRefl6uejmmCD+3jtEaiqWZK/i2mvounig5v7mJ8ruoDp8RrJuomiEPaEivv5VQqoX566JYPMMw2AwDPsiE9OzoX2ZgZXdMhkOtvfaEMzYOlzYx0WF06AOi4qTaiwHEYh0Wyg1yElXhITPeBcgwLOQalCsp+zgjLGjpbainZJw53GaawADhQTC1V1+b2XdKqI9L1PxMqHltl6tZXxZ8M3//VxwusT0QHVqlECEDpIA1RRLeWlsbncMQmm48HpokIviU151l3CWqNgXP5ff9t0OFUcjcZcQwvqMTzElMwASPJxVAxAf5+iq+fV3A2y5S/UfKvxTGQUdPVuAmNR8s8N6F+FjhwclmrFs1YtmWvZTAitrF9iRY0JImFOqDWuzGtrhcqKERwQaz2gH7yRYj40/BXmMn/jgJGmVtjslWxWwIeAGsn5ykCUl7N6LzzlfyyQQ1hskt20x3p4+umt+iVGD9eCmvO7I+w4r0nHf09t+TSKpab+eBqM/Zyc0b7ym9p/kj2g+vvQFXV6KcQocuFNsVkDm05hRdH80EmQ9ODOi78LWK1Rf6iOVtqkmROsJNm1xYQmCf3Hh/HcjCjikPRe8OSspFgNu7jgyvKvxjWXxTAgtEWBauRNl5ZgM+HoAy3a+4JWTjWC4QhNcjUynEzmtCzxWCaIYUsHQe4TB5KOJZdtUyMkAYgv76TKdwKB7VDl9uJoHespS1TJhBOqywqt7X+djFX6nrN+h7KNFM4/dU5mryIyTOG9saX5AydOZRysD7VBkV47KjN8DIZ2gbM8xsVXaAOXN6rx++lCvTBAY3L8Tyj35P4tQLbwbzvf622ZUX691dwdAuJ0eu2q7jPSi2g7g2ev6eE0yv87Mi2pcrvYjeMg3gxjf84XERvUSH4Www3u3LdLCXVFiEhnlEiDGt6bXudAIZ98N+nhYDtJJrzqqllyZENbLBa0uZIxxSm6ujswmFox6Reg2mzpCT7vUxLzJG17Ayx7X6AXkkk5RPNpAAUABpmPV540e8AnSfbIpxYB+SMu3LygDCMmXNsXt3pwmpvPeUmr52I86dX1g1oYshiaBuHECkYF6EYH+Klj3Q9/Wf9DuU3xLhnpjA5SRvhA5plLaZc66gypENH6L0Zjz9gmjHm/XLuvV09fwiNSuh8vqinIYWm9Im71ub7pLLaRy8G7UPVV4zlYqXGvR1yQmvtqNIG/b3CHVRwU2U7DdRNzD3cwgARsKKWCqkOZMJwFST/jfneyWKkPu2Ls3T/+ZRfOwaf1ilqTwPATKg0kiT/WGgtdkNRWeoZ6jNTScOHdBH6XvgEjw9baw4Z0R+THuQtL+GGBSCn9zqckZcIdKnTRWwE8XIbQpqMlHfzpB69mFop7k0iuvte1/XCXiug6fnnSPNOcz+M9f0tRvwXPN0qPyGm9uLBAqETT1xk5Bj0s8f34V1zmx2L/l4tUfa1Wo5ONeX9nXwQyRjuJrNmSSYiYa6zt/ch1WXhGTB1XTN3R9RhiwUK7BKTB3mjGSuS/RCzzlnEsPr0X1+TAQh5KS0Y9kwb1CNfnZq481RuXSOu6UE3GUL0e/1MrI7+Dx49DpC3cde6rFFC5DE5XJtLsKZhBNKucW3cZZZrkB1bz9K3KeCwYLeaJVyMiTxDFkVWtAgbCIcft/IweoM0oYUC9lIOyB2FgZlNCZKwrviLkbIru3UKj7fwqY2Wc56pvemIo7W6XAA7eRlnFdNFBcVzoob3mjBfP9hKz7H0HzyEvIl8ycpCbieqh86ZGPT9n+/IKqlqCCt4VUFSp6Vqtwm0pvAkcgumAJ9FZWJbmTcsYZFqJoRGNk3mi66IvAGGDue4r9rrAF4jGC+l/6R5suhgn0DSxqWLlaAREmVTOf4dyf5yxO0InegieBzbxtkpCsYJt/Gb/Mr0bQa/H4fHcGhnsu5x+b7nztL0EEun0svef0l1O/3uIRd5RLmDbjFduDTlEfLwgzjg/8WXzQRER+Xz1OAacktxXhDRTXIkTZ0c3T9mKqwBuHw5WxV8CToXTInS8d1v0TizRDqnr7hZcZupS1xNvp7U8o7+aM0Mre7CDJu9DGIUUyiEFqEIc08FIsKuKeSM5cmUqKAOV3iukfEcGfEE8ovxfA8y5uYVnyTY5OyDyOatSjLsKYbzWFMajqJ8vMC5knqbT11TVze7r/wNBSRjcW3Z7Qnv9KqBBM2zvLweItVqxqZ07mhDs+LbWPabVb4KMwoFuKxLfPthyu93GpE9yQqY/KPr2YuMTWIrsTiybb8Uzlycnd0dBD1SJAl6r2BHjpA0qs4XNwoA6TeX2b8JJA9Vt6bW2exXQwEpQilgaPA3L43GkSdxvrH6llYjXnKyteROnPxXheW9wK3VYUyQlWPeTQ9a1pUrK0iBwupBmhs2SpXAPMj+ZGeVOcZlIqHCLhtkBKcUO55q17i3PTsv8WRhZ2fU9BtAUalrpUUGW+z+WERrupDoZO3BXT3FLgsOHWlAuMX/UR2Ltj3EzVVbxQatD3VwuoqQhgIKVxaFlb910DRHM6CmKofVLBvecR82RhTNR7fbAcKbCSanMX0QTVpvHQQBlbM95GbgoTlrn1QpxXPHDwUejIhYuVMpzUssSatOxXqNPVc1HvNZa8pj3ya7q4NxEsJRhKdAXhnUGvtns2igdJMY2rRudGLAGZJD1HEpX+9C5xCUD69Dilwp56HuHyFR9/J/ltp/TL353FH909IGat35Ynui5IvHmV+FiY1/lv/IWhCT12CdMBr9/z+aoTMeNIPKf7hAl6y9Z0v4yAFK+6LwboJVDsa9w3QcZxZIAEz7I1+A0V6zYWeADonZ/fxq0k8xf9+c1uXwdkSCex+uFgfHTKj1nOB2ln4JEHZYYgWet/UPJONUbKp6LJf65FSyMs9JhD1owIqI13Ufmuu0JqwVmkrWtGAwoz90A8LZpxOnLiOF0xopfvccWqLdvoGlf4GLRjLExYrDWkRmd0tPIdwNlFJAIt3NdwYRvvjg16GDLWLREnoJ6B8T6GsFVnZh1TM/yhNNifFnN9TPCsatyZQCoT0Tcp7BE4CJwBKWQ/Dv2Te3kGWj22VIGZz22SCfGh+rNjVQIXRaG1UgAVei2AQlApHX2F/twynzHXB9/NdJ3rfNL8fUpqnVdyFqSDIn4hRiJak42ghdI5P1pcXtIeM/GW+eQPe2YXbO0sfh40QV//y1Jj4zhvD8MTB8CEx0IxZEwRpwLnnwrbMVYPnE0aD0und/VSk4Ch/tpWu6fY/g1VdbPNnv6diuUaRR6OWYUo8SqU+pn5QhG2soyI7IQoW/FzFy0HXRgIVC/Q/5kZTEkqKf0oMg9wolJxb8EpXcEqvUa64RrAJcygt0hNWn4yBjryKLgyEGHBZRvrPy44Ii1ArwXWsl+NF+NTy8mqskGZNqQ3EwNLQI0kOpnBgAB8YVoqYnhTZsdn8LydPVws55qNxN4LMAO0akyImhjYXh2pds3dNh4BZ68qptJ7LX2YlIxVOzcXJGmpqdjH7hL1cbtTgiY5DaU6mCDNauySHnoasC2i+nEitKvrzJL3dq/96qXXEnH4YYsaCJveUbv7+o1FyZW9xyIQIWx+CrDjfs/zclWqQHtsINSjw3+yq5C07kqrTfJsU+R6RsvycyryO4NEa5jg3KrzmYEhtV7yiZigjuVh43IvNPlNGK54r3GA4qvZyabgE35Q64z7GJqyOG5PG8Jr5Kou10gyGudCtc431c+a31MoEN1MN9vqfLj0E/X+WZ5c6KVZDseQOnahBKt3vqF4BjGgWClMP8ipMwA0mg+5NGNAxriYAh6STbb8PDGFFQTg98mS6hJ0ah8LvludDT/FlsRRf95mdWWipIdeAY7sQOqU3Wf4peRUnZbcX+Z2YsvUdlukWe+LwwIsgVpMhDq9wDapueZ5ozumnVGMqsCJ0OKpnuUJ5aDx1cKRV2Qh32JkT+UMmnSEtBz8IgBtGX4y+JyyHK1tX29CmZchQitIjuD4RGp08Shij2/VFzqqUQzd5wWrCm3ii9uif2hNtDlcR3E9dXPXBnGSYKwneEFeevQkDp4CGw7AKwWbkLZhUyutyBIFUoBGoH/mujaAjDA3kPqD6Q8Vi84VtHQAT6yTavagjtO9CnV98omUMRF8LRIntV2O2N9BadUP8d/vVu89QCJ2on4FS5DWSmjCoBAHnF2DURdlr/S5/GK4Jtj/rMWms4iCGXxhcWgv5uQJZcQOT9ZB/o2MbqweQXwhoP5IsTP5JfE+tsUrF7PAIY3tpQdgzjTqOJue5WXRMUjgzMua4J26Z2+dMolC9A0pcvw00y7uHA6ZvYpCRcWTGNLltcC79NwiIKwSAGOkvb3l3+lQh/V9itnJcK9fgTFJtzVNi7Hzl4iEdgJMajPFRhdrdudOW55gh/vr8oXbkNeJnqmv1spexwHeBZtQv5BmiZe5wm8aawurcXiV/ycwoo+TxMPzDSGSpjmChYGXhFnANiVVwxYPxO+Y1Eyd8xgTnc9vAca27J/FitPuwwZ6azqoZU0p+smv7Ubr8ZPlO4j0S8v1IxtlidnemgcJ3aIj3Mk8KU4egLVgaFzuZMcxrEFI+rQj3CQq7KOjv3lLldfPBgDIOWyzgH8fs5dISEE2iFQVrMASUMUWSPWaxTbWDGeM1P8JjHbHNjBtZRJdXbnxVsDiW8uz96ms9GtuBJkQar1MZ26U1K6kzEH7VEoCQOXwubOVBfqjkwqsCEQqIcuhfQ2p3pdx1GI5pwgo/SMShO6WAY9bBF1MVO5uACwvkXtoYm9gX2aQuLcu8j48P/jXPCTHjNLXsqSama8wMPAgiyqlADOts1nk1A67R0MwJ1s7Ah1Na22N3iNvsOsi7A8ZEmA+wiD5vQGq9oDPP/GX5IkXFO8HcA1SZWicnvvS97bTQ/XaXHLi4pdWY0Kx/D5t02ASflB255N96GcukDhc8L6Nw+0WS3Owr+GNSEdDVtbcrBPBx/trqJaVM1egP9NIMCkEH7C8jp/+OwFLWfLlCMGNWCs5NodtTA8LWH9vziJ5aBsn6359P2B9MmuVq46Wj7u85X6ReWc5DgcCcPOsPQJ0is0PyB7vqw0hNinlgMYYKCzqiUyzjk7eER8Q+N55FxwkVd6rTNUiwE8oEyt8o5k+ML/GJtbiFrl9C/E3xetZVfhMeP5VVEhSeuaPbwV0m0391XlcM74L5/s8/8TYAV9ilDEADFVb/rfHDtUVIKrikeM3sbo6Mp9tlG9PjBSkq2xLah5JWWeHq499tcalBfKsHagQUQPA4kQidNsZ9vMa+THhgYROP02DLheBKOfKHvUOClJMH/DsUSoItzz2f8WBp7/5Uz1HzV7M30xjOvcn+bl9S6lnFEmHZG+9wIHKQXIOvJgx+R6C3h6kk5rLUv+e5olQRvtnvxpl5QxHrP2lomN6qHeex50hFUB32aVlJ5tburdMqkUPkXVc6BsKhyb8hI3yF5IUxUcXrgcJEEmadq3YDVhnHXbuEbxajpaGJpsbiQTH05USflX3UIkVG62RmTr/uxSRxz7vuYjbzvn+69Cu1PWfe7Fe65Xut92pw/i1bj61lS7R5YuNeIEmWSXObGw6ZxZbAFOn0KN2Cb8YdsTSEmawlckMi1a7Pc6iea/LXfAiFuuphKXwM6xSwiew9WyZEEgbPo1sQh0ZMetN6Jari08czZVJjuht5ZTRiq2PUh1kwkeJyoMuAvi70Wp2i755sObZn6dkB64X7bF9jPzvTYPYz9i0rfiCw3B+lsCNMyAaM/bgcAiyvru/AMXYpnR62/ipmRuuSR/8jV62J2ieqxoqwJafJJz/yX+ub1ngOKXMResmZQMHC1vmS9M9WUB7W45a6xHs8hUCmlp8bUodwsOlCNwSG/Lo2xnVyiiw1+rDp6l7wOklAXJLs8Clo2oE7CcwJ2WCw5wr27eNfzgkzZpLHTL2YhUtJiPP7Agg9Aj850pAOFrh8phid5/L7LQ0kfSJ8qNsYTkLfJ8U+uUl0G0Y2T6Ut6tSOV/K+RnGZJmbl42H0SZgVdfHQCe2HLuCEDx4Vt3TyVDmUrC+XZW19nmpCLVZp8bMk0Ixshjo9albcrK4Idaz1tdXKfkUM5VSDlJWLhRCUHbcV3KKK+DPdz2pn2rMWUGhR/04uME4DMKNy3IGjYAFMzWAEBpqmQaAJkYHfk8ur8/dOlAZd6H1XU/iXtvSfR+H+KzjopvhrgI+PGa2HWKw2CuOsO0CRmG/s4oMy5Q2qongg/VrMTRLm+O0JX1Rj8fDAj/pQuFdyAixL5BX/mPShUNaTI3ajL7xFTWKG1OBS/dGLTl+z+W24YYk3iCOdFnUHPwFR9MZ7uhU9HwHv49imDrVl3TOpdHYqBwcT9ywWiELmq+j4rdvwTcH2SyfXDlb4KjBlHSl3dxUPd1IMMJjy2tTCMPOwotqozZdS+tyZj6gL3YHddb67TBV8gjEeN3KeiZ5b4r/T0d2trewCi4sdj/SvMb6V9NS+V1qJe2bRp+qxOqBmcQczzeBxbqbac1EC9txQZWoqRVCxfyBg+2CdABDSFptMr4qbbSMZtewmc7q7gf329pUFvc4UP/PsegWf3MhD8dSQww3GpHoh8oLN9nYfxgR6+4jNHogE/hoZjpAsPnFsxgAS+C3fCv0NbwZDfKeyLfXcYPG4yNksuCW160eB9bTzSG3ByDKL9XIZiEaG9x9icvanh4zkIKR4cveVu3Be8Od8srejPZkxidrqcPWSycJE+e5rbEc+DYh6KWECIPV3dOI2BN2J4YoJMtkL7k+qtzRq56Uu58EzFCDO7eqOrrwOXg42EBYRmVXFd0CeOlJA9XE2L7WCoAJUVm/QbwgkIYg2TR2qaZ73Z384iO6vmVY3stP+0z6zRETTxrdl/8MKzhP3dkVLStew5S33fKRYnje9K7lvRxFpmZCvHo8UepCUVKYjzDRPS+PSy6YR2uDo9Oy+rkbpqNfvkXapLiXRbNPYwRlwDlH1/v92uXu3kHzBnVMv/zRuQswtIAmyQ9uxF7m09E4SuQLVPGhQG0ELIKrL6dS92es32FQYbnVW6DFdNo/PYYAjWLbwN9zGUe9HjuMVxbABrV8ZzcLe7t8Naq6bKsod53Z1cidzTcu8UQJ41rzoC+DRaN9j4wfBd4vDmQ0bWBDmFPbPaPmCOruNUzhTdj8FzEq6ju5EcogjnZXWV4KD2Ul68H3MMVffXTXdF6xgarFq0RW9Mp11ZFOVRbf5K5hCmRV6qmWPc5Nw1NfgTAFSRPIlxtFje9ajLhqaroSNKDy5/Jz9G2QMi5sPw3GbT3NjGsq2TbwSMCX5oq7HiT6idlx7Z6UEkBelXjs7FIxdpDAIeEEWFYILvhHS31r6N6aIVDbrK7722NhwGeuJA1imNaR3p/QkKW8n0GbuqouT974EATyHLHi9K1h92BpDJ8cMRJ3aurEWKn3j01hmFBkhyKH543eB4lRdQt1NhTMcwwm/Ua2gdzC1l0pX5g1sXdbw2EkvJlcK/HI8BeMbZblsrhgfyVrO3Hv0q2njtznVTuQE/oMgAiKb3yT4kweNuCHyC+2YsL/li3MFWHDDTXDbb/HyBPRww5SfsKZzPD0t2EFXSdBycyrZ1F2kPruS4IBNUR13/vONt3832lSxs71mCSPrva5FO9xwvQX9Z867w3KJqJ8SDWXJG9aKXkz5OFJiIZew5GP5WQo4FGYZvSp1zVzQzJuWiGOkRwy+72r6/fWSXynAZqqEmTnIV3elbmZxGinmCGC4AHEMgzgjBfFetwCvILaTu8kPr+5hsEMw24rE9WhROm6jyZ87pewuYMH5TiRqWpjcEXT70flKqgfuJIzUpYU6LN494gU5SdZ3Hc51EkC2x+BoUJSAv/FQTORRMjLIcwUjr7v7oPvhj0AybAZxtKq6fqCxrhkCuVp5Ytm++PzLggwqZvXscL0cE7Vyu6iqHN+PvDTQ7SA/5ghmylZrW8BXjCEep0rjJrDDzBCKojCzKk1Mz8y4O9/SY/cAQo8aV337Ff/snEpks0w2OwJbJWimkaWa7E8mNRwYUHCqisO3nxAcFyha8rOlbaDJ6VLaVqN7/7puBbLyrznbPU3uPM7eN3BgRLoW+6xaa/bBNBzhPE1tLG+aikV6CCD0Zbv6unbzB2PW+zEugAQpmwiBnqywPP/xD0E7s6qAgqk9eVM9w9X2Kfll4SCFOFlLWFGkwZ1ysnXrmzzYLgDYt5LYaVerb/45JUVIFIS8pDw5dsb/62NwbRUR1pl5M1ombH84HJPIpE0xSYZdz+Wk1Dwar9lxwZmTJzryzBVl/wcjDKTYaA1tn3ZJKpj0bnkSHcPzhQR4xZ+gjTirmco4POgUwy1qp1SzIUwNx/QaGGU4RBaPnDhv5qJk2XIa0wBbtmhblJy89kH9J+cd+g/rvBWqU18i0fHpUiKvC++JZUSks9wy8tlxJ+oW3VC87Werz+29+XBucLBtozhKa26s06asfYLpJQwBDcfKNN2+Fpyr889x7n4oDV/qVk4pFyVde1uzapy2llrNf4NM5ri1jJaf0HoBd0N12IOBHWu9tOwt981mKlhvOzm6p8OcN7HO6aDfvtyxiOcYtsDzM3KPAoVtaA18X2cTQBktGSVGiGMJzu42+atL5YBqlSgz4M8JbP22bPfvzf+2u+bTkVNx6lBJA6l1exHV6UDbaVd+aNQkg6X4W0YClNe/ZCTrr2lyXHq7fAzc8mBcT3qjSAsDnlGcz6VWYKObWKcrnXWN5ruxMJ1rdYX7AwfCbWdekulKyMse55fwlI5SHsBQfJPexk8OktJudPaStfWeI3qxtFDOaSq4eUN564skd4DmN9hLkIBz9eaIprQEjCpS/Qlt0vOEWLaXFOSXfTHMiExaklKYhN0X0d2KInwpAuw9JkmIt50BH2GxSFPvNLZm6Km+F+lN6DyIPHvYh6UdknJg4mIQl/OLe897aDhDWVKiBKCiHifgHfjH8b2VE73rQ5faXCIGqGyC5qaIujURIuoAzRz4fvMak8No2fYZs2Uvo1peImAjDduADwV7eXmsH1oA6o0dQLtYzt5ISgaDI7wBnbt4h1hLXbUKjfeq0PDQQJ8GPylmxRGubMyzNHoelVHxB0oYMUncO38yrL0oVh4j8j0CxNe0Bv1hsDx2J8q/wR5Bf8DOE2I3H7gwQOrzhfFXQuicQwpRlKGRrKM0QiwaRqPkGmE5O5GP8dmfHMtBoYMUGrBAbE5Sx4PTrA23igSkf/vRW65b76I4+PCLGBMRKhnaIkDJFBvrfyLqaHO8U50UiHV1CAoE6C/Cq9Xf65sDtfAOb89axWLokdOs7Vei6JxPrdcl4UH1Io5yiEomUiCgkmRc4oweU2m8ZKfueaCNaxTDqWWL4hzWcVRFML/vEhML88bXMTnLDwDeIsfg9MKUyi44XbzhKnbGS8S1PT/GEmOYJ5mnyykEWx61wJC+lFLgQTC5WOjhA0BS0jPlsGEUlZ7tN/mppWSTgacVkvABfLZzpme1/aIlK5XDFkyJcUkf0iyCDAPA5a+9+JY95+Pw8fXDYHQV+HUFRG0NmU+AgQ6/9yLFnRsixGIJ5n2b6EI8DGm93gsI2DCmg0qO1NKRR+UfpKo6l586bHTk2ji8+edhcSUx2hDxPj9feqDC0Qzj672/mNGoirEnbiRLDi/jM4CrK8uF7fqvYm1qFMD6Q5bm05/EjSaqK3qKAafXHfkf2uP8S4HIj6ozB/e8bUk1By2GGYoo9QW3i3ZXxYVa/+rN2+Te9hOedKBrk+iH3FsMdya84hZ4gc3vBYAWHCJdtqipGM2zJ+lysVRhSeBelQF9/usQcdkXcdBaUcS9w8SavnpSHRiV38hmoHAqJ7EHKh8V8Pdx4lNghLYFj39AkgqYyfCH8YSAZCLbvK6KPCPnV7prHNlbaQtacWx1grkjaaAVZFrEvhiUReCag36JBWMUgdJwFZokyEwB3tBlrn63KsnH45toZ8sdyjjAxqNRYFHCrBAPO5J1r8Wi0mRYq8AI1N7vXNMiSUwMmtnkM6qxbrFXLIfMEvgoRIs57N+Coc6p/XRPMq9XQBLSnNamG5x6NJkV+2ZaJnbQzNsl+J+VmMwO6aVhRak43ZvR1qSz7p2kRJYH6u4k1Ha4kX8s2IzoFWw0MiVsXd9hOUFIeGe92Hq/KT/QiWxHeQWj+B3DIuyiL0mvkVVDG32WErJ8A8hRY5F+UVfy6nbP1EnKGCho8rxhO03GNk2yln0qVM3Z4CVierjXyRASuoRV8xhAFcn71/WTRBwKe9B26fK1pC4OyapfoVZ02yOfQaL1kaPfcL4TCkR7GxF3sgebzdIEwiMIJdfaCSS0FlhzLIRyOLwy7iVJtTuFDu0gJ8+Snq+qf1WAPaPxENgsufi3GCPimYU8kdcHiNpCbDk7DKKVZpJ4qTE9/ArgaQouleBtUOPB25hfX6ZH57KHvXenyEdxN8cT9Sq+kaFy/f43HeFDVgfZvit/hIo2DjzlQJiFbfmqCqt6cR5418S7sO0ke0qF0h4IQ8J28lZd2VBen7T5fX2kZrxnfqpy4dYw2Sdc5qGuvKbJaKWJMuEbSTC3G6c1VGv349N206oc+bKwPML9THGDwAwFhS7pF0Qrrd5n+UfaUo/oaJ1qt3P9scccmczN8ZXt8Tn018yrjTdF/aLc4Ym7CAAnvbaVecR2MZuWuiIel7shpHnpxr3hMfnVWmN5l0Fl50jO0zO8SAtHt9eYqcwgaCp3Yk5e2yYgSZmsUF1SW8mKzC6/vp3m/WOsT4qjiFqLq6nSfIW+iKr/QN1XQGhKv3Cgb3RBli6GqgfUj/wIN7/W7v6geqRjm0J9tm4pmaSzM8ckf75pVwP9VBEcLbm9YhcA1YrzHiqXCER1Vw8YDOCxNGrPVC7+fFu09xgun8BYum/iT3q1R88nBHR+of0N5GW3HxaeMH5th4Ifn7lWB2hCpotALdaPkHVibAyfr3u4sjfr3gLBt7rKcsUC8cLYFJ8p0twCsiRizEi1KNrcm6sB9/FI6sROKSfPJkOEVyShBrodCBkbQYjKDhamnBH5iV6WgtwB3upYw9DxvjjPdC3DJkPkQp9NfYshyGBRxoL8BwciBvBRhO+cbXxmyGnDFCTWkZQyJSnpo9Hul2JYLnpCmriLs+y6D/JL5JYLm1G5TCBy5hVti3oj3AnhX9Yx6CGAjvyM/XY67Yx1Oa272xBl6VDjX9tGwlayjU0MKIPuk6TNhfTP/ptuXlYjtnyi4PORIFZG3jstQOt6QeUC2ITu4vUr8Exa4w0FOMWV396Fo7mSxET8qU0s8/qi3cCYN7BtZSIo4xpdbEvyuLzd1yddPZvBrr/NFjSPqrcq5wvYAT+Z1TThcyxDzqWAGl6kGYB/An/OTH5C+dvAnN/xVZ1la+QepwXCY3BQjqhk2c/rwllLPf3LkQYZjycasstiH3lsbTPMSi2TJTwMwtGzbciYV67EXy2aanA9GYDX0SxGwQhSXhHyi4mECm90Rxq7Tf3JxkzynMQAlvKE9p0q9AiX4ari/n4fBaS93OqaGdbfWKf+8TSLUp5qZAKkM/wU1X8Hj/T1bJlbOYNbeT0I7qRju9gc7VNrAAWzMsB85cgGSOTjJLJ3oQjWGREdw0KXTDYERETFfA8dxFq+K+BfEMQyFk0e1jim+v8GBSmU9puCj0KQjMJuiOMTyvM3iep7v+xVcVwK7zBXC11NO1ANrHoo3n1hT6HX9dNbd5OH/SIGLEIATCGrMWF501wSc0cfapvJIEofleXxc69lUOwYdd4otyqEpUjbcOKqC6OATsxizlzySp1zKp1ggKuuCXE8OiDwR45c5A7LotJuOWikPT4JqMJFvVFghLrr+/MnKgd8UkML5MH5b/II8QDf3h4na+3tghaHqd+PdHEjWm4TXstgVHWY/mN/rxwkan17KODlsKw4w07nzF1Ytbyen9eKYMY+S6ZdP+ni1728vVR1BrVPgpH9vbZEHDTfvWwxbFwd3Ws0pTrovC55R7l5tWbQI8dwijlTQMHsIaNJE9KZDwLMSPHFKWoNpKyPD2MrsxdVCgRUBiNjUw0jg1xjam3QiHiXhtmSoJy9GTIx0wimH8biEvoabvFWhfPPQqUyzPSOhHG1ux3fcMqMzFncVFhJ6hbkptN1GFmLC0vhVKux4CwgQ3WhhZcQXHZqygHHq37SfRbEIoJSqhR60pS3OCYI7ULp8nqwHgtMoWAHzTUIRp6FXlMTGad/+mKgyWbGhYo7xGeQXez6ITXBDinPeoQ0lDTv6JdBLoIZgAuz/JUPaQBhL/h6Qh1Xk75XJ/v2ox0nxfmXqZbsrFuULG0Nz8etuw3q7WHU9n0i7VwEQavigYm6YlMkcTo4ie132PurX5gnPDdR5JxvRdt5p+onVws9AN56LhY09S+J0K2NauFF+9HOEUktizmuY1t4mIdmRXF4EwwnXGDj8HuKKNDu6QL0aqyafcg7eoBgoT2e2WdwVvP1k7rkaSrGrIXW5nFKLqhh1+qH2J+o4XtJ4p1zVfmjJzH/2XDMC+RM0tpRWpFPrfVMTVa3h6hntQ3+OH4FgM4iBNGWwNJRly13DAQBioDZoT3DM4ixwm0FYy41gCd9jfnCfvvetqJox20+5ih2KWZ0A4i5IFBXswbJMQQB+evyjtYTQj6sSLE6YcsIUXz12yDsbFgwiaF0elTy6SwnaOy1ffuhap5cIH4JeZtIRXWeoKAN+FrxGI8F20USL4b+xGYYmdfomGf9zPjty0gnMfhKQW4zn7fOpp4FgFys37sXvst2jgbI1A8QgL5xc38Iz2ugaUU4+2p+R1mdALnzqfV9iphP0CQ2261a8UKgC6bt5aQopUpIpGEVZJ9eDbKIRM5HVJW09LcNjP5oLvgvvjU/0jKHcUngNS1u0/q8sYY2wO/Xg9CIFrQ/KYZiFCYH3eXUzIPuG+/U3BIs1JBddHzjNBymMKjDFTK2Z57IloHD8eb9ONsln1B3oHAD5fd0/g7qcv82oz4dvN3HCS5B1kzDtWEaw08AzwUy3BHrhukVvA2E7W7v+O//yEIIhs30WRBbmC8BvvB41ABWrcIFFLk8D0bqM+YZuc1GtgFSZqIi1nPkW17fXs77ZL/OziO7dToLIjW0Jyp6ByUOM/lOSI7V20U0jkHpzuEhdxesskGs7fFQ4QiAqm3bVLSEXSzlb1w4aaxoXHK4To42ASu2MDCowAIareXTCU6r0/vwMYa4LyjYu5QOPejblmM6P58kxH7V+4CtGPmzbVZknKCuxjDYbxH75KIJOnq9Ui/Q7hBKVDBh69kv2KUHBnpNEZTxhXLujN1QpVBgDt1qSq1WqAIRQziQEaoUnNi01ls8F5OMjmRPcmiSS/AMfAnrdazGG6tst4oUZgNCD/AxHMRV6yMLelpCb8L6kprWp0izsWgonFIajL80HZ0oSi5G6NHv7R4LT7GbZtcHhWOt+4jCh2+nR8Xd0uuJsU98NWyipq7YVbJalZqUXBvEjkwmcaPNjjg0RpAPolVaeKJs2qY2q7FVszrgalCqBZpgtKTxt2cJnkhpDdS/vUlEqownckmg+1F4/s7t40vYK/h2JYPkreScWMLEXytPbOfsiIR2cbM/W+E28NMviydr5IYmaMjKgY5bHlh5fgyqAj8DVDpTxaAttt8eS3Bo7iU8ltpcGydi6SyiK5Blql5e0TF6zPV0KmDh+g1e4WhiDjJsQTAo+lOGKdTf7g5ybhgVfYGAHmTx5tHQ5Qq4BG4vQlBl0wusn7vR1ikBfFbh8rH38x05t1Sc+2iktuRno+id8o6CyptntEsuGRsJ0YlvbllHuo469LP+kPg9VI6qap8DIwSGeDfsl5wzy5vjfZ2WbH/TClSvZiy/KLs1vhmkg1+Jsi1WKpBpgOs6XPTUhb/VMAS9scatizh5QZg66XRxmomNqp6/9fOYTM95/+FnM0FywJmD3+0XlGAWUCIN6PvBNlm/SNg6spzctQtBNLlDnZIg46ijS6XgwXTC0Uut7fvxbSjYKz7Ijph7d9pf5+6N6myxyBHUo6CnNVsvKgSV2b8/WUJWcTNiUZDZaUoi7umymiDg6aecH89BkvBbqW2XJF83WsRBHkUBTtm+ofsiPRoCNwORj5Y7BMYwr46yl9haCgXN+Y2dBRFJGHUV3VnQjoAltr/sbH9f6Jjn1l7mawaY6Odawbht8z5VIA5WDHsEloroQWhV4SAdmmzNWEwCDxB78C7MJV7ebpFUcxgu+TcF6WYVOZ1V1k4rMKRK5LMK+NxgakfCyPvYfacuKXO9L+PHp2Q1Eu1mnGTlHHDwLO9lHBolI/TsV3gtbR7owWVJy2uQSTWMCKqLZx19UjXy+EG5r7orgLJQJFsviQZMp0NFj9y7cPEM36OxowQD0aEgQeIxHLdAit/uSm/ALy7wryjauAcD8R9TRwV47NJuRlBFNV/Ik7PoUMVEZoqJr0nDwEjdZ49rOQnFpbuXuQSK47MCbhphgzNoeVa8QMRLduVTqLg05ML7qXMwttuKb8sHJioG8oDhC3zEuPboPZMk1ngazviIV9sO/4qQ1qU2gb/0yEnGaCulGxf10Qlutok1xy6892EvUBIcSvw9rQcXEA9fkYjFQpixupjumA8KFS61EzA+jDeSa+WHTZVwTTMFQ9IqieihLal/JO0U68fW8K4LFhMECF/T2uCHXcGeM+P1q/6/GsJy25XCFQ/Cq+75QAsHCSNYR1HO3kNmn/E4HUK152D11ZKbzC5DUatTqgFaKFG5Y+VNbpUyD3I+Cwm31IHRHSBP5ivv84uSztYKP1YtQPquTtoH5wBYLy5Ywuo9VNc1326BlWEzPQ3GRspnGuaV78iLsFyi0ODRD8Az1SOmtMv3cZiBCYxuXYEn1R0Yno38QZs9t039ZMBglQCU30Oq0xlW8g2qY5eQPPSdOdYNEFFrDS1uEWYP5J1GMlOXmnM/gcsRUDiH5h/NRGA8jhEW2bwhej9x1gjLyNAXYcsrxbgQxl+SmAchTMo50JQrlI/XrPdIwkrSKpsnayBtn7RrBAfB280h+CM+48/zTOY+SkMNH6H+AnCHodRTblX8jqW5VbZORL20pDZRsBo1XQG85xRl/8yGPYsKpRG7w9COBk7p03IojzcVs+qEhk8keHBGzU+Lol9G+RP7suCXY037ZJyfdzAZafpIQQGqkyJ/NEzerIaGWVbEaWU+6pagYd5eb4Hbk2BiECcGS+YNa4gp8Teo792EQ0rWpbiWnU7n+MCAPtYtcNzZVndQ0Bf8oQf2WynB/ikkVPqFS2el94dS4gnGuPSUf9Tec+NhH996LY3UFWPDEY9WelF1Lfdqbg2FC4Ioshj4WxcNqJlj1t5pQtYETIzrVWqMo4BVlVBKzxgmtg18KNY/SMRv/SSMvN/Vjlmzpp2H5D+q10iQ2gIMLLtodIBiJNGj+KdqnLtiE1OfJ1Z1vRIqBl3a5GdJ/0xCToKd3BR0ZBL1IegNTP5pg8eWsHTCDKJG3c6HMkrIHBMFrkQpxqDbCrz2VIwp/UexuxSd/DhTf7nnx6Ze7/Zfsfnw42CmLiFXOmGWxENcDme9gxpA61hk8BTPDjWuzASoH+b4u0qXhdmr71al1r1FrfMKywJ+EOcpKMG6xpzdfkDXQAtOra6JqI9/zr91NmOFW/MAWTLr7cC+RfEtX+VtdZDLlJKkMhhQA7z08yMZm21QiHcbcjwsCfY5CQwlv9MCEtU7h2Et3PXwstKqoMM83pNogM+7Um97NFIb24wQoi0syHx11JOxbT+OYWCUD62sxTzytZ6E2zTNVyDNgI6HRtMChN7CMkydxvKo683TVBv621LwWP+o0fOcFgJJG6k2SxxaHk+6U39aIcnLmEAh+QlaJyp9rGWlGXZMQZuxwKAdDT2CDpsFy+CZPdZ6dzF7oTxWoU+Qmv7Rgnit/qF+prxpNCM+DQzGMpSCyJwgLXvSPAU166I11e+gXMUIILb//aXZLj3votLNZ+kcHNDXWj7nTovEfAfmOqW0Fi52M971V5hhEq9b5byfvM6xmesPkm7Nde4qBgEacqbtnMQlyMvSy61DGV9fB6nIJdT3HYOz0MLMQeI6lDyZ0PeQjWjfdi9zKMputQof05jw+0bYh37Nkt8f33yiRGwL36wNVaU6Qghuav1kl/Is9awCclX7kgsi/IBzp1cS2VXSAUs8ocsPi43LNdq+wFKecCCeEHbJcmz0Oz28DQQqY/yF1lRkglEBqmVxvQEAwabykrqFY/XZM9Y0q/6RjFJncQdLl+JaBFq1JplE+ygnvdQZ0Zz8XPLTYjSg1cnIplPZrI0MC2hlxKBc/8aHlFvyhUZ6Gh088fCJWhK5+o68vMbEw4DIBMffudcDXd63nN5NnswAb8oVdJ+T2yThC+KbWM3O9x3lwV3HoXaIJ+N+HCk8K464I38UP/IhiJFGV+ZoyJfk+PDBfDfb5KSswASBcwmnlNGZ1rLZfXwGLdUY2mwNeCxebqgDSuODXSdMUJ/ntfdD7FzNZJeIN/aL6plKoKmEsg9pXvoMvn8qm9ykGVbbPaveZYqhUKnk2f1W1Q7WfakZup6dkgcjTxkpWuACsapBrzbRogbIn05Y/qn0tLaE9kUaMUAX+kvY8/+vYzQNm9XeK6D3vwiIm/WCNufgOXnhcJafSKOhAdTk3e0OXj+5PEpzMNxKyr+SiQuQKZvxE06QDtO7BSR7gpTMkqzZKYUhkV8uuSpAVnMiVR4tuleZMsx5r5OyIAftYWHfABlL/yBmKn+vOt/QBKkW9vSpZW/5NbyXAUnjiCY4juLHcErb9kp1DQG//Pe35s9Ggov3JWPvp7fwtxwlOccxswDvJPteKHlV6DizNTM+7deys3G1GIoikorcoF7GiMlRY8i/ViE065A8KAyut4or+zuJwc6kgarnxvJHYxs2b8BOtvqrk1OoZJTJxT/dz473GPgIO3SAR3NPEv9yDEgqmb8UXq+NNivXvW3T3JkduOCnS4Q2uV2XnRwYC2lvZJg2xa3UQycV9a/NPdlf2XHqxxOn1rga1M0dHXmd2hHRXAUBy5UO0DowzqYJV1ZS2U4U3CW1poUG+RmMVWgZZCWV+8tODGqd/rnRsbQjKds5Vk733Sp6sTxR2c0aLISc9vEo3Y4ibDOyzDvKX+cPe9f0lnqVyKBFwINMbSrhYAsMRix36ceMMSTUS5oR1yyeH0n35aW5zYVKeqCktTaBxlZkXkPVEJJ5kdCgvg7Fmqs2v9RziNop54k4bZeU+rw4Lt4ehfLLhHGV4a0TQdW3YmVulzcScBrgkCOMgYlDSTLkRuIFzb/lE43xHEPUxZapQtdUkQEMjJtSPncxqUPnF7lg86V2SG9lzSSZUTTAveQ2gTaOXDCr10ftVjKaS9MAj4e+PTYVoEBD1L3FDsraqLCqVkSoSue/1jcWRt7qu7aBpjh3Rh7jNbnXPFJqbMciIKorf/B3g+p4xzRAR8GzgAKV5c3ocFQMXAto3n2h86qcNfc0IDHLOzXMyhUQUa6IN4ePdxM5Kt17Hv5X4CfwFnx3uRVRpaWRpK0JuwzIe0wJ9/A/lVQbpqELxDjtYH117CgeaLCpsqlUsjr74OHFXohBkKoM6So+ERZebtGUyDqnf0M8hPpzw/pBzlIlqV/+4Sg+yfG8PJFiXbdFUK6uuO8K/PFprUQER0UWo520ASgkOSd/8jheqaZSP4Vfp5CGHM0j0XOVRq+GOuHwvz4qV2o2+jNqgGTWm8rTFN+hKYtCOjT9muiijlvkuuUPg5QXd8QgKH9vlRTZanEinhKaeHDwbkQIiHRBgKGvEXQ+bnZYfJwK2f/7ICUVX+Ih6YiaEM4lIPYG3IOnCwaQfDmUyD3ywBjFAltcM5DvbERDWTlY/IrJSrz6YMGGjTCj/AC2BhKn3METOXuY5gxM7vSbv8Ve7GZx2/qn3fVtYF1VgqWroyPR0ZEbSap4SL8YPvOPcKa5lkUmea3S28ZRqDygrCkGGfpa63depm+kLuh7Ipwm0lBycU8tjsdwQ5l1EkgxlW7b1TAJgjie+MSSt/2GT89D2aN8ySJsiO8YKBZ2cA4gj6f2eGZLmCxqVr9fIZFmz3c6VRiJqTijG0FnqQA7gLuZAUgQ/wojoPHxv1000FvPew7JP5ZRodMrWBa4IbHlsEko9qnCXlUgWoM0xV0qEUHniJrrzkcVYJLR7iRHpwnJHyjn+5E57o0r2Tt8ScBsc/K4hly9hHuWK9Zu5fZcfbvgtbFHniu4I7Xoyoa+ZYkigSomYuJZ13t9Idr9gYrsyycREvpyyhOFDO+KJn/G3wn/hg/++F5EMnunXcHOEhbcAdAt7QvF2bw/pas4hn8nu3zSmrllHcRPtF7J0liUxxRbDZm4LULasH/lQ4rnrOZgv5toC2PgerXHWvSqw4q6+aqNwT9le6yGuFznlW/UrETbk9nz/d4swFEXU6sWHooFgiIc8BubqpYblPZCk0VnXZW7K0Q3+lOF8ZPdysqEeKiXOxhtko6HEY+36cJq8PJF8DJnxLhaCgLTfdnMhZvUH6vwmRDRWF+UkMXJqRDXlT57QK4UjptdvkjEBuetqDa3g61n7LRE2ulSq+IkDNRUTSi6BHMIIfmHkY2ARnUEQ0ex6WHUxNfP+gZuGklQEk5dkB3RlRZMi+D+KydAHJIX/HfJAYWwLoks8jpou5w1NVSzv9h/QBtBvd6i+FpcfX311lCA0wxPzE/0EVUFdQcMqisDeUBWwFMVB436NfmSoyU3iGElTtsROl60eWT0GmN5ERADwUxvo6i4/eUW+/7xuxMAIqa8JX6sBcYST/on1Q+WAfhPHxe7+KgUafW4O+OP0hivxIu3eJegPbaAe5y+9w+JXUD9MttnpCrRMSkkGgIh6UIT8K1rmHKo9WdllMs5dFqy+2oFqznqLGYuwe1JFXq8wBb2Y1JTlCfb/w5LsmBBML/vFMJUe+s+hH7TiWYIEbyy4/pHyqKYtRDUHDQX1QRfATTx4byPsmPq/W+RMKFXKZ0kcCgNoRrNUc9g3ztxkw++ohkQU3MqKtfwxbgm7cW6Ej17AKcFlGOomKjbGm0gIW6ggkZ9A9mrE6qG14dW6llUio3V6KuI3w7PksaKCFMu7S4Li4vWqes6kmbzbM2bfzuUiqf4vlnCSF26vcaG/4RHu+ZNFFQ9x2RMPCbiQg7d1DiRdephZUrcPKg3DxPS1Vcb9JTpPLyYfT5QaoCmjp1Ia3cNtpzkkXb9q31cyJf62owjvcZPqaIZs7nLWNaktNuS2lQaYHF/opzNyYEZLoEJWlK6/IupgoBRjuRFrKGQ0Um9MvN8SJLQBECdSkKCWMRqYq1ZOK+VGS9VPj/W0zkrnAY9/iVgPc3B6BHdBkY76EWrs1o9Uws7A3sVRrCG8O2scLO9Z+aOrLMXMHmQzRLjhJk0odrX3KA2iVMUfeh16Fjo1XLZIbCKRsLsJuup7m10d+aavZ1sTP+SUU8oWHycHKkgKxj8TwTyzGXgDhjPuYpU1z+RhLLFVeesZcKnxOG5Y0oYUYCfs2Zc+BgaRiJtw/oW6kFUS/bO6EpsfJZND3XRJ3t6P3wZGzS//G/l8LEiOm5l2B3xt78U4tWe9K6BTdPFeSKM+no/YsGW3n8OI9vCRlTE5rB9IUGY/hOWZfJNj9PLaumky0l3I1eFMklhGjrRpAYhWmG3BTbBO7HtnjLdFKhStLi3Ac5TgA/XPPR06FWIpFeZsWQliJafYtHarSK23GD04ZmEQXq4R+c0gT9r3kdi0NfTAKkACWhKwUeTpVqiyJA8Wxtrkrgff/AHBTCu6He774gOXz8slN3E6Mfs1cfCTDtCAFnpmgYw3f0nxyCu3xG+Njan5SuYGIPPjgP1Z8dZMHlYZaYR73hhWOtkuGhDdRRepp87kCWxYVlbNsh4GTnw2Hsj03CeFhlx/4WQ5UX8cWc7jX326ILSdVczqsp3Dd2YjTXckzZFOf8aapo/AITGiA2UV1Qded7+oF9/zx22XV20/Z0iNoWysxNUFE+7lGn7scBNll0ikDiMbrLdDULgLTWs+7Qz7bcDciOmWL6RJAAsli7Uzi4Z+/b4CP53yU3hv9/5ncJtAMKU3NDi+KZh5UUXvG/msnPtgAEaLRNNO+vfhuWxOueGNGlrCQCmj1NjkAccMq1wfNAlnMoIso2suarwwMmpTum8mLZ4U6dRa1YjDFv4BibLyiSC5e0C/dzBpCps5GWnAd1QW9ONaTDy9dRIop70tNcfIx3zCtGzsjP0xsgHbR7ccJjgV6NbR4mtZBQg1gEqPut58XG/uZAGZXeMlNQIBCPYUJPKrxwowDuy9W3xtgAWare7d7Lf2SvidNdbFEYFJP9VImRI6lrFuE5i8VsbU6Hna/IsEueeaPTyluicqqCQF6PCH/1CBdFXpLGyu2Q4EVn0hFMOwlFdfq1F5FWj2YK0wMhLNkZTerblV1/fMhTO7PSUNHKVm5eLssqQ+JvD9aa3IfFlkuIEb6d/BVMlpkn1bw+s8pUM9PoR8aEyjKpLZdowVS9syrQ/Lj+u2d6AqEDnyaqi6L7oH2TVz64iff6A9ONHxbnxKHT5wAp/cY8koge+LcdS4uG4MDfVmUqlZPbNLxxzTqIzJha0pVUn2xY1SAX1Rbps2Tgnlemn9py7X496gM69YN+btaHEVn+Th+DMbduWmHVhEIjEa+Cg93+4iFnxWNnw6QLBfGTf7vTBXhoiqwq2EJ9dk8RF9zA53CnHxotGLi+RUZxXcLzFI7YooSZgpTRaao23NXmdr/RHvCO6uu/KWD+14zCtpMUI2sZcT4pU7HtqYS5F0WAbI7Pq+IU+xEC3PyBmUCm/GXkKsWo/Ycwxq45j3eAPOb5xNj97dnZq/0f/KW51Sl/HL9q39p2yPRosahKGUigIbQ3Ft9Ri9gIIzkOqaijL1Wlj64t9z2J8rn0p58h4ReF2GP6ITTYJ6eM8MQfExakVk1rFWm0WcxLzkbx0WQV1zu8SThXqkpmoeKT3vXBbpcUEZ4FDI4NGKIrMdgTipzQFLPQNqQj3PJ5FBJ4+OuDjv+zrAbXEk8ONSwDP6ZkY/gXiU7CMS3U19Tt+1n8cXagXbBrBS+hI7Gpuv3uvqL5v2TMucqXTKZ66JMNIElK69PF4D0SlM4au+ZVyqwI1wMXhuah8V+pTD6mlZOIDsDQ5BE79qW/dawiABmoMPNflkrMet9S9kHQe2NnmS+1kCajqHVi1NqX3UTV35KMmGVHvqZuQ55Ujb+gar38dYxX2i0K9ShmXnhp4GMmZzz1u/Cxw8FMKKH2K25aFG1op6q7Lx1kzvbUl3662fiGqQTvy5X2nm0/Tc6DU0no8LMjsnvTqfBKV61RV85xHjkNcZMmqkctITC0nC7ISIJfn1PWRBrEIEE0B4vZ78+cvR+x3JxV6GKU1JA3U7XvHS8jc3u+Hlfir1nkge9vZw4bjA877AC64t8AA9phchV/Mj3cSijHkUN+X/CAjG23gQVrWkKEXm/IJXEe3s+DFVbstIhovPLKLDlo7LMs1tHFqwWDVXoLrev1zyfnv4lZEvYk20kaNqwYfJMqreO8oRh/XAppSB9L0VJZM6uFBtKrgzI9utiIgw+S78TEu5p8CJuInQsZpTqQjvJWP4zjiG8TV2yFPzaKjPHQatVsp2XbzTCQX9uqAJTDTUuVmrirId+Dt1B482YegzCQa5ErRaITVzWMhm4VSnK18EXJR1ZbYN2r5xR+oVFWQixJG+GMyNTamt7nmPWc/aa3Kjrzv6oHtuTxvXZjhecbYU8oT/P2kuVpFm/rmTt0sTJ1Y927fC3P3zky1XoiUxpNByARsiVmcl2x1rTPN4WHIIbCPUm/55n83+UXFvcnNeA1txL6pNM/+5QXMdzHnO3vgn4HD6wagGvTO1U+NozSGjixO09ugwAz/egfrb4sPAB9rf5rdo0VbzqcA2QLQ7wjqbTJBCEAP/PKEOIzckbJjbOhsKF+xtI2LzHGTHrZNKMDcPTGlrNTr4RKPVweV5FzLxikY2P/nhaIXFBkvfrWWu2BI2dvHxKCmc66Y0cuhKTXExJv3puVa1wivXZw2TM2bGNhBzjXL0YUxv9voGnloWFy59qNEOaywvTXMT2bMnfmbUS2yM9DgmNUXeQVEO37KVq4Zi0cWUyLDBTVWZozTuMh/qP81HND8Oc1PbEwGZfpPXlTddLpCUavbZ7CwomuZU9v7V1oUfS/nDRuc3oDdi/jQoDRt4hjg/681P3+exdf08bPnGwSVczMg2FtdRnoEGk1RJ4Fi5UI/PrLdLtTcnl9tMAD5CTL7oHFVntpsypPm6tDLTBjoEOWFlMgj3hAc0MMy4OMQMS9sm8m69bN7EtrpUVbNEmq9zbGVltllaCyh/nlifRoNY+Uvaxl7hq0L7vKUAtqnACY2jNDptpxfCX44SqdJT9mgrwmM2OZvQnbP0+zoQ0iewSelpFjlS5on4xSwNK1Po0Y5x8d5gS0F8FglCwVJrfpACqraxWwS1Xkh7efeMKFl3EJEfA86m3dqilvlgSOOZFz4DiSmJvITmXqQMTrp/uxtnTzYVIIwdELY4CVrUmZcukTSN/r4OKix5qqMJV8Zz1EfEk2DExAyPHxrtDB26pIHjtc8HMom2mgstk7EzX1afhCX9tISBkaBSdWY5uMNk1ZYi8o4spT0VBbA+fwIXFpTmAUNppLlcvQphA0IedkUmngknwNkDk7ngi+T9Je/nhqYOy3wLWjLjGV0VFAh+iIHft/Wh9L4gkKDjHmEwK4fHEq1COYrQ+MlLN/hkEpigia2R1VLrveO0UjJ9VRQE6up1ULEO/FH7QmwFvcyVsLieqME0k88QEh3Oy5ZdjSRXzPByJ4t/HNxdaw6H6wkDKiJ3331qBfW8682XaKmNbCCtbmpTXOwLdYHp0SVBhV3ZatO8LoMx/olx67AIQCL7ngM+8c7aRriZNwleQk56W0Y9HlG1amHckEVg85Y5Rf65Gw4Y9Eq6KiqKF1GmHlzyoCI4eyrBG2QVILXJaBi8J5/yXu9R7J7xq+1AR9Z/aGLeFi8IuGgYH4ampwLKa2TnP4xYr8rZX5C4qErxqfNFPHtMOM6eMcpodIB0c+qAbsQR6aQqEFkEVHxguQtNKtMpjQ87jeaiDN/Az+nni4/0TX4itCApAqdndzzuAEBM7M4xrMAbhmdZxo2XJX8HU/yZyJFkshKcpAo2ve/0oL82FQBIcx15h2N3yIXf22VNHsJ2Pp+sd49k3mVn7wuso1iy/iCA0UYYP5qAklffwTGyS2SM51q8DQFg44FF0qoOmOh2qigcmniBABJ0KHEYw3zbj9iisGNziJnO9Yctkc7NB9GDeMihDVDvL8TEnTpT8wiOaC4sN3bHDbUfBMts2vXCkUAAm6CQy69+B9JxpBggd1JtzAURmWZ8mO8MdWXAiGfcRCSJUpGxOAA+ak1O92H55Bh4gbRabu8Q/xvppJZKfYBZ59gtUjYK2lXx0Bwj+zagiQOE2hxCNLyRc71cCT5GThYEcTrXGE+2NigfZEerrSg5b4qRH+K42T3oNGpZpuQXr4y86+itL09Vd2opnL3qUR1zlCGTyDod0eCiiwxvInky2RSOIQDHHXM/JaOt3AJyKW0xq4znOGGS2yakUoFeds9sLQAHsUQcJpzf4a1nl83oVseg6kbIeri8Sypjkdm+CF4CpFkbkDQmBDSJ2RgpnGJ1dBUxsW6tnTHjGyS9dW+Q5sB/stIMl/UmL0bMCvvyjYTkNBy32cqFMNPSL1hG6xP7ARiUJVZb9I2KcPL5vefxz4MagDu283jdgwYL1Axfjv6C8CsLsiYoCDQ28WXmNzNt4JxMPgwwnDU3V8EBpTt72IgnNvbvV1BEsNG/rGjx3VqAGRxrvaPd9V5rshE7IYFRd1tskz98uZ+Q3CwrEGLpKtOCvQk56RpZIruQSzg90Uc0RKP6s7jByeAvx2iYh/8wUuV2XY6S8H4Bsr32dU8vHVLwNrhRQg7M8KkStNi1UwzdBthXrI2qwXqDE9s8eopRQEKJzOcTHWWVIQkFIlx5FCdxlHyjmmJKMV05bH9wRqiR3quYwdf/+HeoBLwbV4sCHynm+NfLkBkRQDgrc2YqswsKA6p1D2g2ZBc8YTnVk/nRszAaZgG+iJ9gs8+A5qWMZwFKyCE/R/s2O25fbZVcdR6dP9LvQRQKHkppHchCScFPQXSjzNOkiqCN11/RljWwjKNyOdSlSun5SNEJ5YzalC8ODVN0OL8sSE5YfkDjtt2ll3/KwTjPL1XmssoBxxVsZeDGJ67pIvxSKo76VcJIjmx/hnMMS/WQ0i1xmgqu5bnJnSdlvuImIA0sNsNutGy6xmm75vkunA4m5k3i3o2m9z9ITOcPOQs2AlXcya0QMHkUwazJwuyci+FXwaGemK4/a/2O3FPwwB8FEppHTntPESJkaSlVcHGyVlC8GjHCiWZRNCz0PbesmeXEU39ZLw5iJTR/vOEc2vFY9ZQXavMt7T+Vw3e6/UlKyEcDfnqTH6SGvvlBxN5NY+Rl4uetJrnrG7tGg99qKJzgr51rAU7Lg9tdTod2KMkCfp1seQF2q9yPBS0xY4eUjrmK2GW/Z2x34IDSegA5Pa7s8KqE5XEk3WXPQbIgDIoQm3lNxTZQXWkuVYaXhMlMmU4CK01x1nqFbkLQvxSmWftRmUTIh8pN4JJNHoehjWVWLcCuaXFO5iupabCHmro6tTNS1uLszBSEpYrQC6oPkwI3t3/HL+dTZ52ofhwmzg3GcBUfrUD6sYq3bU3wOC+cYfnu7eUkLen2YiaIK8GSiE4x/c+l6SQMixMwNrm9u5naZvNCu59ez5kNKHv4f3Awm/4ze3ylqC3c2ZVdHupxM27/9iJ8UxqCrqAeJ6akcTrBR5JMxGQPO1+5kEKGi6qOTDABU3z6WUd/KX6rEClmBnZQ46UcCAvAG0Bwzy0YyKTibnM8Dqvvdm6r+YTSj00QstyRZwZDxEE/yH+Lp6B6/ZMvM0N629siVLMSLXO/qqq9xvTyWWGfZt25uleZbmQTKvvo8ymdZGM3rEF6WB1tzzTVnjSyko9dc2/mUBezysfjR5M18vjxrjOwwmDC7XAo0yPxngOmnMvzKkDHiBhCUornRrj4zX9nJYIGys05K0KI+TeKytmIiVGZz0iy60oBj6CPG92sj0YSL/+8iosFjgCZjit79JqKQG8f+bIdgNqTpP2MCf/Lgs+dJe3QWeHP58LUh/9J/5VkcCITKndOQXm9/YZ1OqiW/Y0ches5BXv1WBrOPBfCuCXyJGJwAuOXsyKJy7GKFMSpVcA8LgYSY5A+U7CSFdbNXJ1ox//G0lZwrO63LfGpsGwX3jpRFHuk0CObY2f0YkdjPxiwLvApXleDmsBvEhK6lfK2cp61e4KTctlNzhGd6SOSof8OVuOsODTYngM2o6hJ/hKuCuND7FfV8isPQqJf0FlfZNuIERQDdt1riMk5rigSy+dNikd96/vf66zyzLg7eFHI6tTJAXpV6pRzxqq+e5fe2oIObO7QKmbEPb6FkSKmwkrDw1p67zfkuKd/cTDtNn3XUK1KwmOdMC+nyAb2jSxB/fLXc6v26tGxZOlvdYc7UbZeim2YRQCLZxUOZfbIhbhBcGPDbgftt3hwOYriVZ6FsKzK+sh1GAjNpwjNyJ9VMNceQ9/zgIu3q/TEJu/KJOrWtqNc341CUMRQ478AO3qxIweJHa7uolNl2/Ld6+/UqsGWvZ4IWHy+P+k2M4IQx7T+R1I/AkEK8XyLAe38a19MXbX8QOf+S1zG8u+F+R6Je+LEj8Fw0D+Vk876uCfhCJ0y0iKQ6rTjOh+t1K5y9Yq9IEDHdqOBgi3pliuR+Y+/AuLB6ep/PTimPfwIySPvlcD7UfKT/Guy8qbZaNz2csMeSOG9NvzJO5BOWzY5O+Ok99aW2CqdTunX2mPdSrn6IidbKVlnrD+AOLpws3aAeQq71H5khC1YoKNP0WIWaNolhj2w1cQWM7+S0v9hDjc0hdhDWRoB7KHt3Wllq2DaN/fT+NIbsc48FW7vm5aIxFzfqD6sMHM0UTO8GLFUJWpC+uOmOgSwfVjTJmiFbTE+IFTSRhQCgfWmRw/MfwVkU7ssHkmLyihkBCZEhpXo4dzq7HVWwQcoMxYCSV7we5TR3AKijOTDBUspLF2rrDYrCo+rJtJPVEK6VnfaYy8uuaEX0o7qWhhqLS/SQCJHIPwpEHTkf2MIKeO2YDn5GCWE+SrIBuoeEIszIeWs9c0/DjH7O1WHpqpCqVfjCara1sACivsxPZjQ5ZtoDk18b6RWvSkCJcjYZ21zVPnDewsBKz0INLQg4J79SMbvrd0jF1OCU/NkrJMn+wxmIOMmRJYpP63akTyMkmQEhRG+V1fEd7EnRQsAyMH5+wZHXX3J2Hg4uct6kzYlMjogM7KxA96D76RJb4Pj8ylV2xeW4IPS8W5zgd0N9Er6m35yVJIYV7WlN/r9m83NlZsKUnx4wKNeVJp8IuAIbSUgvKJQhQkj9fTwADrw7Wu88fPGYkYCPvEkQlf+bFfW8DhOsXb3XPKPIC85L4QSFc2i+jhUcE63BPGlPvoXW7/Vq/2cYxZHrx3yKKVcvl4MxMvTpMiZyHT/fx8n8whGcImm6KyRWtzmMCXtwJ++1rG9ZY9qS0nmTTV7BM91RzgNX45jVsxILBlVni7O5G/buYqY7q7i/gZWhQhB5uplpjrbIbB501gItmfiRWpl2bN+G8nGhv6CPrEuAohcjmYha2kx+7kPC6JmMUHg5hZuFfdrswg3PYdRJ2kOfOf/B+alvF0dqSI3wrf0J+Zw1Cgw0nLQ5WlKkDJ7NPCdUO/4FMyGpmXviHYHWp91SaeTWtVqq14gU1NTV8+5mJjiq1k4yYThNNZoTepLM7qtOMfE6nlBQflU2xn9noSUyygsOx8/GbnmhSTaG94dst+YBU9Jcn6aeTewTS1bWb8YIr3KtAJSwAu6DKHG87fww/I41GT1oa0yCy9AIpdUSGq+5gBjKEpY/Dh+3ZYP6qvqCarqzlziij84lkIqOpAWlT48LibGfO/zszaRg+u/+5tMZ70pSXjCjFDNvS07o0vBNE5//RwV/Nb5CmRyJhN5LBPLt24oeaUD1dXrKzFCf4FfJ+LnE5nTW2m6aqbD7hzzDHd53UgTkCnxxim+hLoR5KTvqsaHop07ke+6XpPQ6Ql5ni8ova5wtYecivYEP7aaSEPDJCMgVb18E3gkQob+oVzgBrjoDe9FTh2zmH2B1AaW5Aq8mtIA+EJidv5FLrtRvWbgx6i4fWnMy6tfXxpveUgMeNve/ElUmg0ckaAN4tgqRYZZdDUJG1D/J23wt/O+km8vrY4hzM4tRfKwW3cSgOuEX1wb/ngEhVmEf7tpkJLKjLO1V8/dZVF+iUCUV+w9OQCt8478kCDPYFQTX65PW7+nmGxSfs6cTrSh9LclyZdwmdXjwOhuvwFcI9jg1bWCJirqUC3GHvlUBbCNSBHLnr0STTxdbrJ91mWOvRR9zUxKH32tG3WgUmixUgci4a5+IeeoDAHjBQ4aIrq0uRCVSaSxjaZzwF8MtSrBiVKHxEsHqQayl6EOf58AkoUUWfM3Q13r5fHUwFkU8+hto13Wqk2kTQtnJaoiPnR4GzC4QFs2dAUba0GKK7zSKniPsxzMDpNwbsF/5b+QnNAdYjPi43AFpzmMKlgaslT6domyIkOPzzQSrF65SgPJZr2hi6CFiqn+0VLx7VSyws3y5xLSIfRbMFl8ffJnN22x9D442YETRX5DujRMJr18JVtcX6Kk3991mquchLeVsQWWeyWmAyRLR4Jm+Nw1a9zZsvM2I6WcHQlxDR0OZRdzcdmzMtDTf4jPDQ1nZ2MUv9Cqs+uFL6FbNjrJKlPQLIBJYuRqXD7k0PXqzLKeePNoNEd+j78idpW/suLhNcEm8ky2R3Xe0g4Dcnnovm3iU9IBP6y3xeywRUqJPND0ASIbcGViYjJcCRKVoV4hWo3IMidRDkriOhfzCl7Em1dV54TIrJ2Cg035TdfXCrepgfVCOzpIbX0m3jI4QlMd744e0nYm6DxyR7mwcEbpSSJvk0bm8Ej1QmSL/nR+C2Q8uDboMoyzwbgWx8fqXaVNjxKjy9gCfWHSi0nD4fAoRHPGCMO+DnYjJtPHJ9u6t/uFKRJPVpz2EpBiz91hnam2Xb1jxN+Y4FIlgV/zzos2X8D/2q8IAMGdpgYXX04zeG4rMh4HQ6irQb5sBZEBza3Se9h9L3lf3jY9ISuAJLu97idxWZ66Zp0Bmz7UmPk5cvCEf4ioI3jyKrmb75bRqCr3zzJAVUJzl5k3ECK6Ro3WKwobLwni1mFgGMvGIlyM4rXK2c6pQH0A3Rf6Y4d3Zw3Gadb+jZbdGaj4sN4OMqE3djFkGY68uinwJd2nzkWRMsdHUuU/GT1nJm1hyvLrHc9unohhtffhjnU/kvjSERk8Ha8nU3wnAJ7IV+T5azAwdPxhNyFwvxURc191fhsaD281Cbrp9RxFyAOVUBxBU6xXVdiN3Ex4e341lKqlGzOyOsvXvIHzwsU3A+q2mttY8NN6JYA0aXQ8ZRs9yNu2CvCc3kFFBsJzbrtWUVfdKaAwO4zy0VFhk/V37daPe9wttEOz73D4QrB5r19Ofhyye565nelmLoxtaCOZX43zCy702oWQ3OdD6uW2RF8VJLr+wvRQ9f54KKbiHNcgomurOnK1GxAFbavlGwFIBgSxTpPU0B1JkNMF0OEbmz+Frh3sqfNIP9iDzRb+U3247IWdcLTC4qcHqFSpNCAhkDSJzCgxopxHcJd4j1xo+3nqBKTASINbiXcVJ06nKIVmRIc6Ue0pD17ovZmioOicVVyI4VqsEUpDxVPc6E1a398ncyJgrHArJUoavVDYtQwZ3MsiI+Jtt8kos3TKPpFOqr1vYOSN9MTCb9wF5qYu+lqnkp6hkQwLiCq1mGudK5mnM684xCq4oPUx87Pmnw9y0wrb7EeO8S2oVW2ymXvkjpzuNoqHFc0AMKvuxoRb7K9+GxlJkty9WRF5ZCqGpx4FOJUAvnFbRK0u2uxWCBL5Jd3rg2DsFasZVv4qS4vbKpHcMLSNjP/DEA6+DnASU1QgadcPGt3eb9/mOsNKTE/Rb0E5EzH126Xz0GM/jVRA9TH1amGaBNtkj0br/caj84uR87Lt7n1l8CVBwWtoMhxdYx8Q5nnwrL4iJV4BGmh6BfvbWhCxj6Agc5rVWhf2aYn17uqLn9QCssFjJqHLXW2BljXCe4iLaWmvGGSyGgkDdFsBIxnxG9NZYFPvVWi0TwU4MUVVcOndMm6vmEYO+ImrCtA4KQAj0k/hyHHufOP8TySCJgh1Vmjx6Dxc5INwrUrpeILHtVw/zJQ3u+4Z8LQPn5uLsdzuNzAMe5fLQ/l3Y5j28IN228arSQclru2UbrC2DORde8Oic9vGQ4xynTbd+zAq2UDynBX0BW0ryIzpw7Q9OXf7DWMn/6l+ISrgvQqBk4hGaP/Hpf8snVtB3l49kTUJr9UAgzSw19psxmV9SmmQJKTOYKAsuLL6edfzdt6G6c4YU4VyWYLsKd9oZYswCepU12SMrffgT/MwWWXBpdKrUTbuxSbcASq2+6OCYVc48ViOItwBSbiRaaxrtDp2zqnErUa1IUFSEE/Umu+JiRW4qB5/YRzms5LxMBiw74IoaCwNRTjROWDGCKtKKtWc3XSxcNQU+tDE5ED0+DXFwSxdsCy0KIBufoEggsvU+Vf0RIsLKQKQLSSQrVLEh6mEgzsPMR3Qy0TW3qMYHEM5kQhubvcXBs4P3FPbWpCIG7LHvC1ajtn06LiLmfWZxPAPmhs/7z6Ti0FgUzUqePZDEjRssKG1zBS0L6mtj0omRBsZsCGE63Q2oPC5GAv0L0L2SFrCEc7M51Vl+Ktm7IS8L+62b6qivsmQUrngQbDszO5yec3LQQoq9ni1KUw1paT3l0g6RO+a0ZeMtanAbAIQNVZY0k/l2yZSI2bVRHNOYrRg3qgtGqUyrCgpX05rqWOQtNhMc/wYbQi4Z9a0TPInfHaDeXQQeEtGFaatpCs+/52Ed9FQdiBdBMCUuAGYxRZlBCJdSE/5g+GNVPC0lMW8YWoVc4pzAbg3e3R4UbXthJFPqiocsfYRW6cXURhgKVcvtontR0h/IFTVqMRtlxYI4XCsw55igl1M0p93QZ81hvMGhYdwoDpgQgnMvZK9BWXfv2slVFeKScH4FyYprnbVdoAJaEwLojTMOLCtgGgBJcSHvPQo44amGm0DcotPGQe4fnY8icYSOEoTVde/+sfv60HkhYqID4BvXgDahxdEYPw7uA6xn7aWvoJ49YNfXHNMfp9A7wIW40CCc48aNSzUA0Xskw/9ytxJwJht3aOGiKWleh2L/AbH7F0pT4V6Bv2QvDb9EsakuOlLCz604u/+KAIlqoan9gnVXC2bqa3opXhHsB1Fp8Olo0wHlARNRgP/z6s4rrtWtSryV5MB9ZrVUbFOGnb5afokX4hC2vh+peqCKYpPp2kS7mownc32Q63l70x21pUXJF6cNNtXR/ICLYTLscAbmmjM13idekXqaYEMzZaqYDbxoMzvIO5Th8UU1rfsiqSiuMjyJf1e2e7Lc1rNZdu5uwOyhod8IKxTFe9Gy/tBbZBKkCsGKLllJAfzuBhNLFUFMLZnnUlf/owbwMSAYfJtYimNxum54S7IYDl26apZ3yJAuGhTiqQD3jWWw62/wMTvQl0hzeYkZ3Gw34aKwf7NhBC1u9zLozYWYQ41RpFO51diAftFfd5RAFzASk/UyjiFS3PDBi7tJzWvXIolqQRu4b6solWL7BpbMYS2fN3cciqrakri6LJuNOS5f4EhYtJHz0ci0kID/K6+Qt1C8TdMTjQOh7g3dyvrrQ3HyrJSVBNFQq8lt0WIV5o+dJyaxuxqR6X0xpyyZNkRXxz73208zDnYnLRuDvdSaRVi3KuDfg1CCstCVHbrNuG32/UwuHgziT33xwwpmhB6Nc034Bya3EvFJAsVldvHiZ9++Ad40cA5ULC5F6XJUA585yy6xxo8U7Non+BidRvgTZo2MSvvvveCHnATIm73SJVKZumzWE/N7mZvZsoYGlkg7TNBatbmQZXXmfAiJ6RoJIpul8B29wNxYvKU2pyp7bmvRtXOiEqJnhTRE9T8e3eI3910UCGjG+NO0zSkR7c9KVuD1J3g5fjbs1MV2uydgeRI/j42Fx907M4dSrFBc3JEHgSWVaI462CG7hemHlIxDAjDGO9Gutu/54aVbQ6vzx8F0IiWjs+J9aSPnOHbCyFYmI11O9XUEAlI0KbyaDy1f/FGwpfyRVY9OEnjPdIj/apRq9I80WGA1rOmxcUJQMeSoqTcn4xE/Wz4RY8jzJuhPTBWIdtlGaSZjT6Gjdnu8g3Pym3Fbh4O6UxWBiFhpzFI7SxmzuB5vADjBldric+/zVrdUmEhK1h9FWq+ScoKxYMwdPo3NY6ixwHyQD2eVJe59Iam8aY0+BVTO/nc2htNibUMkUa5izfK82nZaJPoP14VsRr/ZHRl8xob5/Dgv2V0MpkySG9HlaWM/uyr/TiKyDGH4Vx+A7wI8msHkqYRjhD8Dtsd2WbM4vH2M8TzmC9pIi3p9yKKuOhdp2xxGNwh8hwdCzlhkIoUsRnDzir5vKstUyoflpKwd/jD7AFcNNzjeOODv/NdJlJbAo9Xi8Qrn4oBzF3K6LJyEWbMgnseisULvt6Eb15Yq614NuFevaH6apJA5zhCTik0uyCevO28Q6a7irTOkWsTYTIIzLQIE2utBX/4LbZHc529FdRPaSjMRsavNGw17XLmpboGaiucFPCQU/pPb/f10G6NGIyfe7hqSBc252ynfFv4y48jqdwqRNDOc8NLaXnbD9QTb6R+cPaundc+TaR2CV2qannp5dkNpurjfx2yDol0YGR7N+SXTVW/elpcnG/nYSZw2A/gvPf8EE4mwX/4hOuA9Hc/GegPz7nzQkmicTetMmzAt3kVuvQpzuHZyqAi/SeIu7Uad3tBRTBxhQY6ACbTnFaNJW6MlVEUEL0m6InLwim78Y/6iO/I416eELlF8r7qE4EjAr1CPF2aksIdWnjNag5LlwxYb7Dn8Z9NC1G+zHBzrAzDbCtkTcEuLR1Jbzx2v/iZJd5az5nUAOTXO+DJ78QBQbDww2EXpyfTuBbZ27QuKVUnoXjVWahZ1RVMPdGLjLBipXSrADchYF29h7AAPHxmINn6aA7XaXcRk/Hxe0503cKwDufWnEcxFAgYuckRPWqzPMX9RhDfK5QbsxvudvhcNEa1U7Scap0smwJMRpduzFD797GQSLHTE3wqJ6V9VYRo4Ym1015VlGDqAkLwdXpzd0YY4utr5Y7w1jnDAYRkhOXNxOJe00NrxQ5Oj5Amw4BJfEr+C/TIOWHUUDWSRc2dBAfIZKOR7Amb9dhdeJ1/0NIoSsrBQqqi51o67MeHFMdrk51OKRejy84b+XxbrxzI3AxRDvBgk8xZU+OWIBzVGkARmEp2kWPDo+ql89SulcMdW2eMh6KR3yNlDeFPThadrGmqdBt7klVJD+ObPGq37ogtQU2pKBTNSl99TEv0HKtGzNDbrto1gL5vmbkhMXXNrV116nCIOY60JdfvqBrIRE/RFLH5iF8stOsZDVKTVSqx6PY3RIUeF5tH3zIqw5X6+0fNG/E4pNq6CTpCrxtj6VSRDNzsqVM1cu3qytifrj6yz41C4dBfjp6u8Ex3OpeIhfZbo4HzyBVatPx3kPCOF/3IDddrh2wszttX56OSv//EsetmYfad8A4dHJVlxldXGRdMKD/kh34XgeG76G7r5M1hYPbOWvPsrtNlEpgL3hhYdRJ62TKwXhpjanoWYCRFQ17EoJ0bh7k0vA3Qn+S0FUY+3G3+hom+jAtr2f5bLtqxgDXZpO1+dn0yS1QfOCHsFuLsRUlSdXTT//S4U5zrrUeEUre/WLOYIl778rTcsojiae4lulCspoP1HnDVoZMofNpiSzaI2jIlsJxcbgaCfHpLukbs0MF0iJ5slSGlAEgCaIqbLfJAVk3WjHDeZiT4ccZ/rPlzrShM9y6dxgCDnmrVMeRURpNNVkVOFacFLfWpNYuoYoXzWTWerwI1KQfXu/cyzWkrT2Mc1Do9cGbPJWMJZOBP7y8Ro/kEb8ZtIGmMmWHK/r0j73gURxGjzWiDq/DPNWCqRZNgbT83svjZRE1ozMNIxuzcuR3y8uuvEbsehmHJZYc4EhZyTxXDOCkNBUSmYEHP013onNacAi8KvFtrn7cpUSFum/UiilDyW1jt4tmOyNhXC8p7XqtuSuNH3n8YGgGbMclRU6RttBkjk1MHRul4ugpGMPC9HP0PkSnld2s6I86ULrw07174sDEwJoWZdCusyq+xTDGqygCbrtHPwjsbT3QIeq55q+p+kmIeqh7mK+iWNJJao7yMm516T2389pzXP64r4aiGjwDz2ObCiYxXcQl/2KjcvQBW/3hHxQVOw0lR+QbvVYzRil1DuNBE0vnGfAx05zoKJkvD7Hrh9R4tYBc0zs85uN+nGFJA7EqmL1NHygEtJn4j2aaGarSZ99V0hH5GzTctRgCCG0vvq4ebq7xu6LUFUkqzeicxy1lYYax+YpQChBp3UqWYURFN7EMJLlEzCuJg/p4UzTLXnbrjWuWHCuKjtqgANUUiBzV5ydHigTJ9VjGxu9tRBPzCBRPZgCZaAY6y9PGgm0yquhM+aWGJnr/nbtloZlwsPpYuYsrF4n92bB47qgMh5KbXpY0aOjZct5a4DxZ2TKhtm6MdO/CCfOai16JKvaARTiXcWO7MqbGN1mydZU9ee8IYSJy3RfH1cEuDujtV+MWiMcuOFttTk+31TgcGODQMy2U/k/4Q9ZhEHlt6eyzP7Nkfu/xwwz34qn8m0A3eV4e2NscwWLzzxQ+bptGsSPUfj33jLiBT2Drg1yEV7y50aCmNCVx5+IODAss3sgiTJ3msA54F4d/r+H6R21eDGlKFEAzC9OjDnvVHPdJaQRnuBEa99ui139RFNU+RzFlRLalHm7zg7wJmzZFMm7VCdaOICPbnkm2090Gn4oiHIpkM0CUKjyMBq9xCkvI5lhgCoM5A9s6EKQOvGL6EAHMGfG5yYJMB2gM+fnmg4dlIFOQmCCSdEOfor4+Tjjg71OuXsVmXbfWzbSfJfn6KCEUR8XsYIz4Q65h8ur7OTYgTFxzh0+1aM/W5z7yjDZuOxPMvYCkfslJ4Jpnd5cG930eLl9evBcZ/R5fw6ULU1u6aWiirmfN6ONwpWOslNjuhATyFwV8iV29ZgGmO9xEneGYh4csPDanQdfgkXlIFS/S2XDzMAMnEngTeYpaKAwvslwRSWmyqNP3VGeAg6M5sXpDIt+stnr8FuaPxU5Cxrx+ck3Gq55itrSogEddMAZ2Zn4peQPDjCTQg6rB+tqH3PIFx3UOC/CJ287IVhZkVG7wg/4eXZSDZOhblkZ/UUbeB2GrHkaBCufDgqCh/Av6M6WLIDP2a1WOWLKNDjS9EEkPS/m5V1qa+5NosZxgazTgB4V3Vp5RUw0Smn0PH6TwmYzJpJvivTEcoqG/xxjn05fZfy19/8BdiNKa2GR9xe0L8nzG05J6frwuPiHdlMOhlNY7sdpy6aGeXdllJL9WbZQGiTvlJdQ/ktpHPBlCGy5eYXmk+UVjQQGrx87ds3C9fhm/uj5dLoIxVFr6G4gMmiZRGm7lnBBvl61JNdh7Mv7qdm+o25R8SgJ+5l+uEXCvAtun/5X5MWKCCZ618DfqcNvxcaZXs0+6zjtrN0JEM/KGn8cOUaQh3DoVR0j5c2AodGHGsCnqNK+TgA2MucObquIEoso78LjaPikRkLQvLl8StyOMXQbxiOEE5wMGXZQkNxE/Igzmb2rNdeeZX3KMuhqYuZHshs6GYF4KSxTxwfagJuuPY00whKI72D+YvSWAc+L6wF897L9n/ASxm1MlhXKV31nw3hdMSLvyFWcAsLwqieMlIxta8TKL4JNyw1FweEc3NioIa9F7bcEdp+sSIzTM7vlWn1pwneRTUd5fwHhPAm3CK4cB9eEG5wYKrgNL37m5loOEVvTI5OUVDdEcjxW/tnQdoBwpQFLrqOwk+NvpxwBuOQcJiaCkZTwRHGe02Bx4fISOalJJFq9GKA3hg4zNmurETfWXfOje+61EP71vIH3uVjmmiHcrUjCA1pN0B4s53SchwVYhoH22gcwq1hFEtM+bu/sZPbh0E+KHWxhhGzpfAa1/oI5YXsZR8tEYXEIH02QXP8ymrQjFo/kcKte8WqzPTHvEEf4l8wIff8PVb4jQF5O3Qn1jVFEvuZo2x1cDsnM4GW6wLGSQ7gY9jYnHBNH1J//S71Q9tp25xe4C91zZO7prO1sAOxiZoX4Dr0A5vaYcW/SZ3Yn8ylXakTMWN6Dmpl/eMurAAqnac5nQIbzt+rhvCuz8nUt6BFZ6P4uWLGVhczVBWwIgxyAh2ah8F0l1rxckZOflDGtgq577khY7vxlPJczE9dUmhsEX6SryrPhoeiuhkJBmExCaFAuGt/7AnGFqXwyRqOaQzfM5vgJJs4DIG6iqX1obGO4PojSCBkXlV8my2qGTO9A0eCiEmBZANhHWgIxpBBaPrmN3EH2/AGCikRyvGdOa/8Vu8thU+AKqJz9YqSq075fzxXKmJF092EIfEHrhN17nv/GDhssi3fomUP6Otbj9NhFNtVqqLLDv/wUxonSBiGtagWm0wSNAqZO8i4stwfYdNgl5WiIRpm1AQVR0C02aytQRn8b1DEs/ZkESwg8mnGH3lIcJmhixK9yKhpoW2aJJs20Pnl4WgD/nJ0vq1GFohvz8GhD2xsTb6ZVmnl0fppqbm50Urse2F70a4RHUSE+7PQVyZkSBMlUG/CYR7gSbu455HMyZOcCKZCe2I3UeNvDrXZVzTTz+DGtNNcSzZ8EA4F9FmyztVvYM7nznAk1a0T8eRCxNf0evMcpJTeHAmjfzAcoGbk33EZNOLycdHShBW/wrCSf+HqJ/hGvU02YLHrT9UWtQMalBALfcE5VQ2wS65mG5OzXrwis3O+4PDY2y6+ZdScziHyqPG43KIXTKBh54hebVgpdLRuuctEQrPuotjyiV0fDlopFArdWPpgNbqlJ3vGMJ++TA/ImIuvXsyq6a/8pkD/uEeGXuCDvMcLC9LdQTO06TfDePU11++ku1rVelYiX9FutZTAXcI8dgPw20XLnlP36b3Aekjq4ysZp+TWvvR8edNGp65t1JGvFEWSZGhKVLpM0yJ75yxToo7XmZy0Dvzf3Egjqtjr1mOaWOX4J0jGQDcwBAwEP/0LaKgUgeaGBZgpeDzIsTi3Ap2LhFk12zTc6u/x/J6AauEetlloyAoaHgRc7psGOpVaXS11Se4v7v/fwG8FIfUeQpNeA8zmClr0mEWDum1F0ceKtJ/ogm7ks9kmaVdCMLlaLyDCDS2ezNiE7mJ0arXgdjh51YRIfD3TtE9xepYAakhcZZf1Gb6qACiWjqN95IjBtxlPzBUC32CveT0602sWB/JTbhxf40wUAaS/m69GAqIU4JQNTPQDTpOn2fJ/G2GWgez6mHxzF9j5mEOKc79UbGX9yh+3oe7n3MKQ9gKe9J4AymjMyL7wAc9b3S1w8VHPPF9XWe7hApOg7sFBTQB1t6lDtoNy+g7GSik5el4uyYH4sQISsCULHHoYmlgwZfEHpcPMFzdnBhM2rxQwsj74+8DwQCpksc9VsmN/55B6deqwr7KV6z8Vc8LIUtd9h1FUdARIacdj17oNJWsrXtra2QZK2snrIt3Aj9HjQbWN/329rTshuSVLVb1rBWGG25IDLDHE6RUDA8S1XtXuwhIhSfza+Q+R9vV8YA5WKX0/bp/J9BC3mBRnYNP9awP2zNdospDX6JiuTWTAwKuNSN/+8Xf3IBFlZogPfFBhvzG9Hk/upP4AwCfjuISmvTntYqE2RBeAv4qj7FUAd7dH/eStdW4+ZhTRwQaBbbqxvWGVfabYf0cstqQitP+361n0bp5/+dEX/jNl3CB7xIw2zGekvPc3OLqU0SAi69xuPzHUzn/SJGXEvPOcqq5Eo4mcEBo6LbLdP+sQrfQCkGpzUai6eX+yq8fameASF0OvgpQ4/RKCstyKEh1o07hdEHlTTU5KJUiek/yW8DZwm1Q8q7Ora0uYtf6uauf31kyMJuccBHHI9QPUxwZ1xDswhNEfTz+l/JoDOD/WFynalDpWzfbsRDxX5aXVd5znTo9ieKJTELfec4jtiRoaa0GK+Z7JmFw0TMTrUTcu0A/NqqrGx8o4DP/0/VMoCY14jjurbuPBuJqwIgGpooOq9MQ5vPaCDmO+g8tgy4xsbNKwA7CoJP3X7NFBQwCn3qgZFAEYYiip5a+Y5Hy8h9H0vV7krWQwSZMHa7FoQVr5qX7ZHWH1WT14M9zLYv/CmVCewvQ5V2+OYYhCSPIPzkxgouKTF8Y78HPxaKIm1zaIz1PqeAlukbImkcUDpm/EixVuFKNfWF43udyg4Cjf2VPdK+P5UPSz2lGy1++tC5kdhX6TZl07lYoLTfkT9kzW2QHYgVHQTdr6XIyW0wixVOZMzDROkVnenNeSJJQ6ESIzWJztOF2oDC2D6+NJef/w/BIiG/s4D2LlCg0BOJgdxiMwWv2GEK/ZYL+kl38OEwJPVFEDgUE27fn0kHv1KHOuH9a1TJ3xUCqsNFxQo9/y5Ltjf6/58bLeC/hUP7rzzMVoMrxvcGAP9xXL8C5f2RfgMwo3zU0vBKrhU6tGfYuVy6xCB48A3+ixCQVyQbYwc/tY2gqLvW1bH/L9UK3/VoVLnoriolZjA46tUYqpkVv1lgfOm6KQwFGPcqHab3xxs2+9wzMC7xWIcl4bqGyECjyOTXSz5UQr0ybJ0e8ATAjfTXuLU+E5jFP4NWFCz2bNG47Xn5dF7zQtis80tLxGGcMRUhTaC0+ItNJ8Il4fgkQO5YJGiZVxj7AxIOlwfqODhQsv/8iBxlC83oVqqKnrwIW7yfwQaR8fpg+r3kgcrDeaiN0CDnPo2OA0wOFf6aTUorNIsN0JzAj4gRlWOny7m1ZHVN3v+KFCb4xw2Cox+4Pgu20sDsBAwPVT8MIh+osElxVRLj3PoPrdLUA35TiWNVbM/LCSAzodb0JZOQTFEddVTRvCXDSxgXVCFvWsYYEDZFAyyYXri6mApbi6uNphinPV4XyUIruw4k6Sc3jbq0lx/ewiQdie+QxqhCfk54s/JOZRaB+gW3cvDNLkK7dZBFyzYsx03hjNE0huTWhzvqWVHbpWD+mBbkU+fThInwEHTjAeu6xV09KQ+h8OUzs69Ag9YNckfERveclyhbpaCVQvH9luyf0D+mpQPyqONcuFyne7Yw+9CEyJ0+18sRZx0Y/METKfQp41A5Nc/ubZS+3kLKvnv08F3psLKjRZxOqATLwsCQB5D29H7sXSBs6ZnBzbhglnDxEYC0hzJ//nd14ad7y5JluNCHezvG4j636GuiDq3lLjK3IPNYLUdjvSx1Vwg+0IDuCP4XIqVx4YoQ8s9Bl4nDrYB2QKqDJlzmq/UAY+VZuyjtYo0tK4692FP0R++v1AVH4jzO5jitcwuX5zB7J2qkyxtwGtHNRQSdL0V0sRi4Gsvv2wzJvg+4c1R5VVj3aUXDj3WIyObZkPVfp7loJQZ61YHYP1S/QpQuHd5Vkp2PIqIfLJqVjHzsAiSUVYUbgpjbisb9QhjlQwVV0tsr3Kq64sO/amkMC0IgoSxQnVbFPcnErwOYWgGN3QgOwkiBs5uybrcxDLbfHv6cNpHTK2X06B3xHDISpG/R9g2SoX+vTFEmKcH+yx8v/Ss7AcaXJc5SI3NGmb3znzueIhuB+Xc2GTnb6khTTqeE799EFR/WEa1e2zUpYq4dW9R5ywFx2l/NrCamctl6hqJN0Hbq+5/x2pKjz6sm0XVCGunK0CdSMBbB4u/p8jW/hK75fz/WdPTYiJgo8G6teOBwv/Fdpcqi6VMWK39lxnAX8VlmmZWneIuwKvu8X/GW87j9ais46UWUnwjMQIMv2yo67P+uKeg/yfhR+IgdypMTFr1As432LZnSrM3LBrAk0zy5QeKHEpnuNUZ7Y5i3olCr4QygZRdt1WYpWVIGO8RnmF5lgQ0MLSwfN/OCVmyzNRF4qtDGrybTOF51ymwGWceJdF1xaGgKm2BP/4Va6IUcOckh8M9I0YQN9gvDkMDaefpVY6GC8cjHMz4L/gwAfV3G7dzmtmFM9/xsH2ZXK638gtbGSjtDiZEozZ8A3OJN7jGwe5roAZwbdX6VQYYG2gxFtP5t0QMT2F84Sew2O85yLdY3uaNeb1EYxXZI9pRTYnJ4mblC0jiWmCHR9+NLg1cUzk6gsajgaC/IA4+4lLsMLO1SUkPEpgVQAN09FuxgTVdZOUuqlDCdWHp1u7QL5b63rJoPWe5kzAVgnzC46svFR67GyB5G5UKnG5UPvUCvl4L6QPsNM1lZrz7s6GYPmxdjhoGTec7MAq2IwUQYuJ+2bSe30v5RRbiwJE0RwvxgK9DwGz7cyaQ+bUfNOXeAY2otvxSzzLY/PGNjsC+XyVVwBzz5OVpvvP49Z3+01r6xUoBzV1Z1XA+amRG2w3VHKsV26iStetp6h/VkBSVpPTyOX+IKqdZ6cvUIRx9hIua8xruX+iZz0D/P28gvm0D6AQu6a1q6evUuH+zYi77NwesRIB0TLdisT5tRW746TsFPzbk4fEyk++1ZFSvQj22txzruf5Ell5pzhIHYdzfAnYjasSLl4pdHrz84bbi1AGrni32DoZCxd9N4EYEOlQ8LoltaTs/Fvf2zHudp5jjujiy0hL1NT/XRgZa7app74AU/j1/Tk1A+H0zu/wyxmEIOk0JnCra9O5w+3xWa90LdrTGf56jgdnhly5ySJwfDYD4N05y4nTZt2C2mZ2DPkCj5owrcFD2+zoFsl6BL8bepcii2bpRCMd7QGyo04cK8BGz2g0P0K2fKh/RktrrcHlZ9GW3OnyvFLAuV7jJRr8ipXiNRsPp0mEcT99lISjVhu9+1B9UPBLrUiuge9mD5PZNyPFOfM2D+HOwy4kPusplTjJ4noJQhLLV1FWswerwYXf90wp1Q/DvYdV31cV2fj58YxCQ3UeYmPCrUJQJ+l8t6IT+pXnm58RNheEjnoBjfB/1fw/LYIplubN6v6L32hNYChiol/ymbT2n6KE3/xya2dNcW7oIVkDkqmPeNHd8Lh1YiVNSZ9KI1rTYnboQf82kzXyKSqIEz5tmI4BmZTZO3BgXpGQVNBwxiQRY1FV7SpkMAxQihrjsveEBZyaG4wwlHSFHi8ogfYEOD4WMH5fuFn2FpmnCfszCx52Fgmw0fNlZG3432OKtr2CQkCPLdEGy4uYJw4rOBwYi+kzmG3iUaTvoVJzIptIO7HHrJhFWpeGeUaJHbFoLtTqhIaITZjWctWQilviGyHNcx6eDj6+0pKDguVmxFs/Coe6Squb12zRSbHXFdKoe2KjpIdtr5589OHHAPuLrfJUHk1VEpfaZcOrji205Suhv2ZxVgJ+l5FgCDv0XxmXoDD72DoTIRTt6NwUebht8WntHzYlaADprttHJ9GLw7+AaRNSkGM/lTIX+09u/oLqrOkes5dug0IU11zIbAgjAfm46T9qUMfE66L3saW4I5G6zrxJ3+0r5wtVT8zOyxyf43Ka8zJv1rxmNf/VL7GQgs9JpR2iWS7ibvsRtf6JSRLWpPUVfrTyJ4qCCmLGkdWYQyruBI4sAEyQDHgSbweuJU37HOPYPw6O+Av5VhcVNVg6/boYJ5FhMQy0vqqPn4PIwltdHaBoDo7f4zJ2jw2z/U6TLHu6AGPCPQf0FzHfdpUMFys+wpHmOLXU8SksIooUXxyD/LiP1I8VEvF8hSJ2ojTS3Dr1KSN6hU8qYznEkoR8lHhToF4MAAl1bCJvb0cQM7fjLQDbAMeMl/3oxNHgPI9QtGai/7Zocc9KUYKWIuJtp2VS53K/RU5kgPh1o1dLP4YuVFtEM6/QjylQEA4fA18Ljq7hHGEBL0j7gBBFR4ql6gDGMPC9BdwbacwGLyKETz646L2xgBXDbOTO3wFOoBxChtPIazIDvs/EOThoVpGf1Fg4RPhBxFDUKRIXkjWuwiUpho4H+fwIGqDmMokVYXUDTSkwvIMMxalSiH8qPOwbfKUxAycANnEKBSZzwosfGWihxX6cZ+zWk1rr0u5LdLoDvUx4F231+TPJzN9G7auMFSGB18fbwa2N479Xw7CWDUNc6wsx5cIslFFcF8mp/goi4j50TbCC1FEbRadRbTKL7CtATdCl69l+eRZTmQV01tEHAUKdTW4n27qBmhEHv+KcF1jDLMcfaYQavfTCzPRg3zzYo+jNmpgZrUN+QFpjF5X89qo5z8kmIU2mu/3VH7ApYZ+/tzYmD0FwuvISSdiDgpp+pa3azzDA99bHv8ydGnn6e1rfAIkAOdz/rIHkDo0rLvEfVw7ZzeaFERQH8b6pOZlPlj8XYR++8JqfH59rrfjNE0N4ijMyidO6POjRDUQYxEbeuLrGJSrfNyEpRiAlBz5igIR7nVAuKBh79neHYUqu5c9S2RkmAGN5zAXiTmluzFvuWha5yx5mtWLGeIo9DjjyHWU5va1gxwwhrmga2dnKQEabGR4wgtwAqQQcuR1C//pvVxILpi0jOdp3cg6r6v0W+R+T3CaQaIkNaS9sQFC36FZ5Ej2aqHsf3iwqoukmIY4tmM+jDLA3zbJtuKlst4thjp0UuySd2sy8lcDeBsQOXczI69+ahk0ub7kBATBoGXCZjq9hU+tNjElOG1YpvNCrPuTeH3u6jfTcRo+awtT/EsqrUPQ/7y89iE/cx4r+rI4e1eXNe7gqCWXbcIVG4n8FYWm893xxrueZ09eb6z7dBucxEpGJAxHHCjTHpSyU8pdWN5WrGsCAxct7ZmG9zm8pavfgu42w6gE0lii2Cx5onOZgO8aBn+sMVHDqxWqod++a2chK0/7bfTg+qFNWCbVc7h0rWwW6HMIN1SwZQCCDs8aby7BOH2hke2rp0kObvRi13B+EfS17ARJAZa4HDgS5xSkU8Ff0akWvnDu/L51hpred2QmoUxqioS7YB7Bz0vzHzpt6rCEU7/Yaxf6HKfXPOMn5BwR9YWe4Cz5UQVpEIaBUTkar273Rhjc4FyF9+mzt4xy0UuTRqevNQ0W+1Kg3TCmZn4BoDRPA0qbzN7NIOL+vrhGsJQxrheYCT8vVOjxRjNXrra9SAXLGAb0lMauCaJ5TFbJaWxT9HBVHibbsQWgqGspx7mIuPYw/QPVds5rpVJld5FfmawnNVOl7vVXaZcAgeq3klCGtnVVgDY7v9r155RWEMT1HGvw7h+9TT6tGeYuqKhCYY8r5wzfkorJvgrV5xVKtillDMi+C1UkwxrrUHamVUhGA+YCBv6ey5z6Nb3CZK7cTCvLhIkTMnWj7mGGD7/6dVeYEYSNFxn7Gn4Erbr16D9k8OqsZf1gLAjPDpZc6dmDFc+0oF47wLFPaVRTWdNZqM/pdxET43XjQGJN/0ninWjUzPjTYA7E17ViVJK8Od3mUWjPhnkn7MBz+F6UPmOJor4YQLHaYPCUUuZ1DzjytNo07ZSv+IZgXhFgqBU6xjeO151H7yVx3ctWaIPbu9ZtmEqbbxQPyJ1EiDlKaASPyQ/RW4talBq+xZ2WZyxyiUci4EP8SLXtAWCdcqrYOjX7de4zMTL1ZFLro1zExYdNRvZeyIxRD2wbmqAq5CdtyJTPxkyDHRmRl5+L0aoqhIwTvb2Z8bTeJQamaSqS4Xt14H8MxKG+yFhMGd28PASCvP160/eI1nTgdo9dFIWEdlorkAdof79g5deB3giJfD6FeY+frd4d5u3Wxe44/JrMXyOToBj3pfxaythST5DZptPMd830W+pDvszNdqfrIwGP+1VfbPJ1lNlz0KI+U9dA9LeC/8vEJBdprYByycHBGs6oY6r5Sqzz7BtZicP+UVatPN52r1p60ywdEun1N5ND9aAvsI58F1vVuJDT5Crn79ehPDbJm28OCbqTmWxpaddxDHV8nBLDVxXb4Xs7neDXbIyf9zW24GMs9ZBE74jD7nXC5N6lC0jJgd66CKDmPKToxYANzNpOrt04FhsCY4dvGGnmH5BAvG7aUQ6cN8J+SLhooFMTjehkP9WkC8L4HwaJg+GoGyRvshEX6eCphK9lfPJKEEY/R5FNFNT0PS5xN3/KIL/iXSWDCRqjhmFINKoib+ALHwXaq/NCLQk80s0xFMqGABo68biZfk5OcqFD8UT4085hNv7ONvvipqeh1DwEzISmDrHGa06v1PfvW6LrNNKqaKGDJMWbSNvAIEnyVwAK6xW6yqQMgr5OWaJuWrFuoi3fbGponVrcSiHUxPIMal4hTvEYTrlFLUdGPzPTwvRVoh1+VcumhmhZCFBghZxtdZd4XdNMfBj574sDFIR1+e3g/E57i+jPcsHUvBeiTMogFW6lGPKR4GqEBCdUWNkV5+4xBXXjVgQfbiVrfpIOXc/oAyKd7auo/yZJ918u74f2zXB52vquWdmq1W1nhSgL5FF6MaJpTDH0ungzVe7ZgcmXLkgpxqP4lekce9fW9J6wb8VfvOArqFgXFseyEXH9bbx+uH0WjRH1liUCPw72T3sFCPQMCZAvaT59/Mb+e2dY31/tCGTgEEn48RoHc92TalRgoRYKp1e6rZy2slrk10M3RUJbvlM0MFpsr86o25TViHp0L39Da04gJiP9T1kgd/lLtQPAVDc84r+plEi/8X3iPec9zjplgyxFkemB6OAd0Of/tlm6LQr3CgxghHFiAxCi8N1r8UikZavZ4YlXNy7J+EBIOk9UzNN/hN1wa4yUSapCYuZbD8rs3ckyaBqwLKanP1bAHfneGovr7IG8QNK+qd9iBB8KVscBfXft09kpCyjp+VSTv98WYuwFxT8Shu1UTabvmLjF3V2M8SOyr9od9hScUQcAPEcL9enNN/A8Yr1zlsMimcra0o1ccZcrHW1FXp7v9EEMsTRZsmVHkxpVzttSzVLqVnpAOzVk6meuq5AMq9VvVixlZAj3SmvpC1zf+awEi1jH019jRW3InxD69Ftsbh3AT9OonlGyzGBk2pE1ZQuILmgbFmQCQVLYFodHRfhHOVZgh3m4JfzSq6Mv/K04hRs+ZUpfMEOQLFdSn4JzWxEQoZUID7gjtCV2KrDZMilqhzksGCVfzLxpOEz4XuIXOV+ySR67k0+frJpgv3Uu/bkxZRBXGzBrm/pJNqY9jklqy7j8/T62ljJ5rbTrUrxxUtsjfxOevMskBoBo7z2SiqVgfwp9ZYLEvH06xoGFwaoPGusZZY7iB/DYjlLaxjEVydSeOb+LqVSGoKmEdZp/yyA8hcRzDq2U9MU5Z66VVWYnQJ55JDOf0KLSBZNGlS6mJSaVCiCkOC7bntM5AfHAin34brgGloMmn4EXkEB1UgWWWnUFJBUtE7PKIP3y2PLrToDnRBvPT4P1A1UvT+BqqWDyj/9c1RwHvoI70ho2txn97+XnKt9MI7GzjZOHGEkZq6U2xQGyRL2N66uHYT2T5+MkKP1H/dEWuBj6UVCpnpLS1SZ9WnGJFsaZLiXnQGec7Kxb4LuOglKQYZbmaVvOMUJfMZLSEMfvZ/286bUuWFOuwr+3Y/NwQs07Amdb9GaZ8njLhDpWaNFfT9bQoex6R4oSQKjfkGxNv7G1RKNI9WggEbXJFsja4ZcSoPrtOHvabucYRBfZQZaNWzUbUBF58m1nvkclX0iRS8xIml8XzQk0A8UsFS3pyR/0DzsEBZghFmd+6X0baJGwr3LcTyjwbAnFWdm3WRtphFzMrIIdNcMRX3tqeswkwOf4W65uvc6g1y6WVjRLnb0rKMm6VtHGZN7ECIFHtmVST9C3xjpa0wb59DPGjR0cd0hQ/p+oM2nAx+aHQVoUZXL/847NcXJ1029zpRzhlVTCHqSlUY5NkxK29ELpumO01jzQLu21AxK6G8PnfPyBmUm/KsSx7FMl57Nzjo1NumDEivDcrJ0i6fOvh13jd8pJMccgXYKLC3j0hgkgXH2vkTi4B5Bh9jXWP9nOOHQsE41XlvFPJYP0vxEJfCqzm6eF3opWOHGoNt1fpzwCjqk+3Ty/44x/Jr+F7+6tnpJs7uFCm8wWE/cs/24UXVj5IfaUVn1GtOZIwqBrevs8n3XjgmvXYICEoa+psFPlkuwr/ZiZw2z9HBzvZkmJtJHc2eQIVjKDPO1wpa0LkyPgkku007tVkufMbXY1t79FoNH1WSZvX1xnMAjIK4vmAr3Tnx7tKnhcsJCkHoP6AQYBaXE08+P85qafAtLh/REbGrlFRwG48f/pZBYEYkswqpCfhXc2ECyZNqoVwhrCgBMIf2oVM8FT16w3xI9JqTUyYkQAXqskE/XWlddSrdWinYuKcUCa2+FoNqFkmT56ZijU+0StISxRWjTwkCsYab8rn6ZVlSxtH4OtyX/4cL+nzAd2dnUOZiurM0QMXeuOWcHrglOT+9PuQjOUle13fH4+3tGXrqe97WQgqWlNZuPBQSevfgvQs/9lNj5jLmUo/YdNzIBgxBf7e/5wf6cpLSTAAJUJYlPtg7ID3pq4R79ebq1T0Zk2JddJKwnmSrlMkGrjlC6kWi4d10QAgZyKF4ZECkQ1aNBoAPC7/a/9cF5AoP4a9UHYLmw5QidihWqU+AvN0yh8kJJ6p8VKBbwi5JPtkP7W/Y/cGAuZtwuEEqMNlJJVN+YXYnfcAZRxQ+XHj7Sntmt4H34wTlDLk344eeeejSy8Ns3c3rYaGIc1/DIbhgrsxFOr+qsZBKBTd1U4sarEvYPJNai2J3WiL8EA49o8VP2LyS2XoEw4LfpuRTGQSe+tZmcOvXjeWS7Wgqn0KCWrGGBvJ5Sad08DnlE5DclHl8dA8h4WyRryMvPCPMrfiE0DzNJrAVFaKiHH70v3y8aEbfwJLDvMc9WYAHv8M2UeGfNZ2RqEBfgkUwpEXjhaEIoYFux7LA7yZFZokmJYdBzVO2gUxP2UOofiG/SbH3D5LMYnJMsyhjVPe3gbJHcNm8o9yHOFTgWknLA06sFkq0O+ZaOKM0zypHiNq1BV8lb0wQPajSyvgsqQHJyR+1nLUb/nftON0GjuO28+X/wX8OJ3IQ9svJ/oeFU/sTPm2rqsPVr0rbLdWb5pTZpDUPR7U91Mko8UAAHVcMFUslOEWds+dBy4cVUBiVm/wDegKUbx5utwbuoSSOCVY+E3PDSOuq5hzQqtRs2z/FGgUir19qfdwRkOd+0ZOvxo/vyzpY5un+UmKQsmSpCKVcRQBeKK2MrvJf+FXiIHpFUgzJ+5TGbVKv8tbTG41xp/o1PfjOQns7hmfSf9u98cNpznSQRMxOvqB4EikYepJg4Q/9EmMhgmE4hHANOhMC0L4VxVxxZhl6XLSppw6DuFTCE8o7T4YvHclXpdqaKtk8UAzCUJA5/A8YS+9NvEO6RN2DqbJzHGlWvJIGYpXKcmHUlPCvdoo2JH7tGATAaDNF6zkGgT9017yooLgpHFHgMVOIDwUsdoSgmM2Y5oDIczCEBfAy2q3ZxSb1YFoXoHtHyTsLBDtQzAtzLiWzMEdWEuguhyYiINfzL/SpnJ24KJvgpmmAxmA+nihRQmO745EnttDXZKMJjhDhVQJTz/+L+qKWCxqkmNGz+d2YxUarKmZyCYMF5+yw0x4VJZNS1iAH0p9dIE1WmbjucukVUoo6S482HCWZE0OCl3+OH2wan676fD6Kq+FqeIqR/owTer38y/Gg9dClQoPjHw3gGwxD3Ox03/ionRlMXf1n9xg6qGja1OeIhzIQKF8cZKM6/ESFcoscNVQ8afo/JezKMafdCg5aMpkiQqqVoMyytgf+FsHN0WrCMP057ts7a4FNFVIE41Yv8eQFdZa0Kw1mQ6OJGnE2cjBK61NYmHtRH3sOjxKnEs7yGtJo28j+RI/dkuPOI25kCtpFVUcyNERJMDH+bmQws1W+CIiQD0B2DlbXxOGenJQJIXYPWfa9r/UZmdz28v9UX8ReJB9Fv9zg1HyALaxvMptTay7+BSTpOkLzUFvlRaPzoykw02d7OtoD0Bg4veUkkNsMCqiE4F72vd9KPGWebvcUmvuuuwTBMVdvwarAeyudNXwwCdeAj+PmWFzGxp+bW9iOBj4yY4Ltv2TEEQ4gBWIx5Z9NsjyOQxxZ4DQgcC/39jhUfhWkJKTcKlc5sSNaqUZphc2hcaKyVtqg5CDY2rodVDytkE9TLRxK/kdj21FnWNWV3RztOHAN5L8sKQ+T5ahvN4b7dqqc1cX/df2gD207V6KDhZoIYrGdkPVSd3ketbter27nPCh8L9b3hUF0324l3BfP2WkmwMvO9HCXPBD0e/2rZCuXaxkN8VjdL3/fEzBBkR76vrJITUmI5taai2zfV8dnYTsut59eGWuFvt06M98JqjMx9+J1eedRklPgoC+PihJxI8AbwDO8dLbnXJM5AY8Fli8BM8Y2v0M8rVpKBq6gSJSjLqHY0Cs1tELXL/qFvh7q1jhAMhnHMz67waSbWtWlZuIlARWkQbH/GyDHXKfKzlEDjeUaeHHQP3nOGEK+PkXYKdQvNjwwKVOX7Sm5/N0zInxuer8YR2mcqrirtV+660Gxc4P4pcJ6NnvYQZhMDagkCTSLCU1NDRdKfAe+TJYnhSuyOt+qAtYwcPAMqV5WqRL9FKT8DvH1YzBYcCP8cCgmGkV1WphwsrVuT3mieew3fHi7Nyf6c5zyUdPwWTl6jTCnCcmh9wUJnZVFShww4W+z/ma2tpb92qNqO5dNpyKLXvoX3tty8dsvuWqQpkEJhjBKg7CswXdBcNwFj1dq1HQIlpNzpi4AbNy2gkmhgSu5LYn53Rb+vVq4pL703TAeaV9AiPDs8q1/CSeL28kGnnspxiQeFcEoznFiLlBccHGzDU4xC+TB46CW1R+vmGiYkYjFoawzX6uX3bJRMyuFpgXzdORnvKTHVWM33y9u8V+YnesUjwo1I8Hp/BzOuG9AK1/Ee4ZFomI0kWCe7fDdQ3SbJBsW8hGieil/sLMHEjqTebt0/oEjfGa5kQfxMuIWYOayDZzUJLKPtjYQLXpI5Gy7Newntl7/M4oewbufR44EmmisAuugdt06z5yCrelprKqM44IKBMJU+f2wMSzQQKMsYj+aPNtz8yOmdY+z+IaLHaNuJ4hH0xGC3uTT6DWMR3d/S9i42hiO+UTg9lDux/QR235OvFdAQetfga/DtDPx8UvWCxeaOatwd1lADblVDz2u57NYN4Jxx8QOlHeMVdcD50MyMfN3kyMFEEUuUiqPWQShPmexrbKLDNrgkcXuejPose7NXNJJZqD64jXNbASLiQwz8Vzqwtaxx2ihi5N7cpI1q5O4O+hsSUTdvkgiHf2cfFj5nY51OMRqZMCztohP5C5Z5JTwoLoI/7sae5V08AESKEGpp/nzfuMY671u8Dktn57wpRirv6yZjGoxqSy2gJtIp0LsgAROWh93ov49fWwxz/Bm9WV5DWVpLGZgyvqaSle8n+D19ug2iQBnN+//PygnTHnqwHBwlvvKJ/BXB45CY3yMjwM26zo8BnRPK1LeNJEtkv5kHw2vmjTcA9Ka8bpiNvYyKhwDpdnmG48KjQrVlBo1vmMOkS6u+pxgA5ic5dtqgfLmRcdq5yoLIbp36uUkffnH/y2uQiYcZFlJc3pCUlhrU+QPUAH3QF3tcSeF6RArdDeOgZ6qr9klS1aQ6Vwmld/tJpyNCP58/RAWrx1da9mM2Dzo+yOwyGDhCxg065JhWtpoA3WjoiQGOrWLk3W+fRGmxKo8HJnqecqduTgwJ3cpmBmLnHFfr+isDv5jhWgVzakLnWRhDKOtyXo37Gdy7ey04GVNfiewh+ocDk9OwIaPqOdsKfNRpHGiM0bCvtBTgUVNT6DPkxm+LsS8oOGBGBgQ3683IHUxzfayPrW+YC2Xsr4AKuJ2LMRSKlOFGpJr7rhv6DSWIUIFkKnRqX++GT3r3+lec39ZXbgzPOcQwoynjw9/kK/9JziP+PgkSGS0QDr0dlVCvjcdd1ioAbVa5O5XICMu03A+fI+sHp4yWFA5UunmReg5ZknJMGNopVtalkVnbLuqe+yOfWVT1PirigeyTbR+LObpkaKhaYUq9oWO6ikrAukDKLUklLGwbQ8g8VcACwqEUWS7cvgrVJGuH579Xl3M/ILeX8xKwBq9ayTA2xCTO89P5MNc+XBKmUwaWYEzdcUhzhDwSl3DDY45rFZcaGCA8dCIGHXW8rB+UmN3ifmYmPb7tA2mnFF/HB5xOQxT3RG7r/Goi6ENKaGbZEkRsBedNWsN6G8v10VmLHEJQ2dYlrlORUAnq3AKoRVdE8FE++fKSpPBDTY9IiyxGeXMj7ljfSvMD5qaM4it1+iJVSsVPT0Res8p9//PudJqIJk2vZbBIVS+WOUcM1LJSS4FfS14ClxVRUWsWBA88rFIb7p9btULm5998WAxFoAyUAZQD6J/NbXJtvgiHST84HfWEiIaeIcgT7Ys77hIidcp+kYz4bE8RL5WrRLd+2+yfVi1NUkwQx00DNCqTUuCwRZ2FQHZXY+Ml0UPy9W9YHUv/9jkk7pS4pSY6JTyqysqSljqKaeKAHe6kPIIQPybtnPACK6ZcL3i8dHz1AFD46kJ5ln+md/dDFy3VR/rXytyt4aZCEzr/sUe2dHWSz43liGup03PkkhIoMjQl25QEGGlCldmxP6hIdH3zuQXsMjkyeTmvnnc/XD4wPHbQx7X8fHW3vPwzVuDK88qvub8QuRZRow3cx5/lLjgyYIzHe4sV337D7+G7sHAKyBPEyncrp5bFVeZi/iGqtYs8p2DaO/8omrXwhXy8361dAn4QquuGy7oja6YWOG/s0LZoxEd6NU+wGxRes5iYGZpXdY9xbf6rUdrgnAugaR582rghGi7RbZ/7H6vlpQstoTegq3P7BJk6r8Nd6hIIie4lF4sNZRiDPKj0s4IUanAX4YhWc8QvZLP29gx4F5/v4PDUr+LAMycJQXHvvguKi6Wq414MXSI7TIE6WvGk/AU/Vp4bAJ+MUcGJZeIuLw8JIdQBJe0wOci7zAZDT04iQ9+5SWKqAYDoB10NbxJXfhyFV2Lh5QvwXpu0eXoLEKKWFeoLFIRhUm1XsWURIT+wo0AgsEVgiQKUksV8xCtOSDquZTiNWRAvz9GveVv6HUZuUoIaMU6O9a6CcQBrRE4fIl0g1hbmCoy/EIU7F7uYE0Ibeg0C0pYh+NEmsLVmJE6MdnZ0R5OCXWbfj2v7QnXH0ehFTJoDZMiaA3FMAjotBFJkVfQF9nWbIgZiWKR8ozM7MbPFebHsRodUeuofpgGNp9YxdQXhGjL79KgSRO+s8FaGKlk+oj6ww9CfR9ogWozEpt979LRoclqgDPdb4CNNE1W+oVjvQqHUo+sb/WL0hWTKbzO89PokOQSvgq6JPzbDna8oTkhvkRC5HTaRjjv+V5upuTZKPPOYWphT4VltOb4s7XJfOi4wi1icsrQWcHTvT+Ea8UKOMjqQI7YGPnDQXpNJn+O4wIGO2dKkyE6h9nLq8ypuvZwWqI3JOt4lfNvkv0z9lI9ZPEqbl3y+7sNqTJUqV+PdQX2EvwQp0KNca2RQx9S1zDgvU3N8BYYl31X0P98S4y4LBl9pQwFwQ1We5RDgG/3PumBx0k/neH/M/gfOOLhZ08KBfvIVzyNl6tiKLY9pMzMiQP0jFtRsxzqfWoCDCIlfAPi5JJ8bSCkk++P5z5Q5YoLVZviihz9IVaUW1tOWflw2xMV++xpzj5PGsb+syVzTbDJz1sKQxrdU67/+aqI6F9UAHZrqccQZv8qyxfjV61B3x2PIBVilZqWZQ2YRIN4JvrJ++a0DqbI+uvckbPT84Efo7HWcDiRNG5FgoTv+wNglVBNABv4wojCvKxL4aOuHJbkclS8A6FJ/+iLlJuU7Pwk8Ex2kzkIOOtZtoUbClE0sRvXFtsIVyltfiSPYnHKgwSByH4BZvjLQn4zpI+1jlEec1dxOTgicAMl7xZxc5ZU06CgejjZIUqLDF0CmqIqRrncTAA481/CPeF6P48mG38MQ8ARevo4dYd8jrbLTupTEyiz/bzpiTH7al4aS1W70pGWsDi1VbUV45YZ4jedD0CmnjPqxyRNugA6otIFVpC+pqC/AtMs7wNEQRppBtosSX5H/W5c9BVd/APJoQZ/l2A+WlPMLITD/6WBNVooewfi7VEtqW7E1lwu3tsb1CRnHXaOxwbfD7j6/VbidG3u9rMdZ63JvYri6RsD0Yovi0YVokk0d4ggTdXnG0V2w3uL3D0ODH3oqNJXjAyeUo1U5XRz/eEDDY1sArPgCZ/Q2rqddc9ssMtOMCe37YyNejC+lDmUY8AcBy+b+n2bZ3QbtNbrGESJJITbijFVbOUWx8tCh+AV92OMkfKo/CxJY1cqFP29gi4EJsgDk306tGrb0qHrSnOIMKaXZUM0L+J1wizinZI5v11IFvZzFAEEdQo4Q1igExFQDJ6WFGV5uO4WVKIL7W6f3csZCg7XIA5M8I/Fw+UVuvaLJhBj6T7jNKHxTe+vvH8cQPV8VckQJrZwDULPHYW2r1QxWfanBIVcsRl8AQABn0zSGjfKLQdUWzSl6n7OFj0BRTNOze3brQ8RStxUwMVjqUj4S3Io7q8XGgJgm4UuwUu4Odhy1Use7USdHuU40wXNbe9xtwx00obZytt49DjGNmy/Fhvi8cXShefJSZ/rFa804li+j4EO/lHJ9LLYvGExt1t9cSoVJ+ZMN1sVKMATjvqYgbwSzGm9PHEoxoDRsAqobyCXQK/w2Ub3dV+PN753Bs25ZlW6OpxP9vDnzeLldONYk5AEHuIz4qA2iQODDxx1WE1J6zyfXzhlbRXdTz3YiqmmPjgwI47kx2EDn6TSbSJ/jgOHRv5Ug2yWrKxBdYtFjgadGeKOksJ4wo27laTjs5XlDwEQ6BLRGeAX1e4Sv4Y/fGZUTPBFe/dWFy+Bg0J/Q3wddePyfgYDSwnjv/0i4iubPZVJ6FnkbY/z3ySfHyhL+8a4njK57IhiyKNr9ap8qyTk5KtnTncJmZUGbKw6ileOnuSVHeg4aWl4KAPFffFFld4NhL6mO7F4ftJpJFELAXvQ2EqehRmRIGR6FuarpWrRHQl3eZY/TvvaZ98oNQCpaXSleQzFW6NvgxMcoXZPHIF5gvaA3x1NB6GI/SHVIIQBNu7EiSwkXWJDgjFe4+RHj8ael2JlSiLN6gd06qS4yQJgOMxK0qJBRmEUGeEF6ZWAljfzJJ7hoogBR1IYThH6sMzH61os00QpNEbc2NCF2LmYCakG3/uUjyyKg0Qu8L0pfIwiJ2uhp4yoCwGSv4POw7Tm7fEeoDhlTRNt2dEV+TQ67ebK6qWNqdtnMP8T40j9wW1/5BinBbJFjNaPVqN85jzmZALpOFMcnSSKsQHwv7IDoVUplj7bQuJhFmOiAwe6s+jttfauSggIS2Y1TE8QTElvOGCAz1JUFVZ4uP5RPR8H0tKaWlwUXjqGiKUoAICVzxV+6B08ykodAaZHezjHHOBYYOpeAl89kNj0woZiBJHb+1TK8rF/Pvyvhn8ThnF3VCgZbVthm1fZ+8bYZH5y/jlerW67CaRUszAfXs7j2O+iSuKn3qlIlIKWfX7hVvCbOikcFVx03wNzmBkwpICf0rh7DHyvXKwv796n8d3fvSgc38DBAA7u6AtUN2SD1krZ8HOCvH8WO6k/9io9qJjf5dGEL3nbfqgZ9DPiBJoxHP24H9E9eBEZoydbmPxmoot3sWiIrCUAd1ZmJ9AGEAH6snIJuhSdroh08RlpFC/VIHWTqKHYg3dVOacudCChDVeyxxSKlPSdqdfA04SEJ3tZl8qkCYQN+b5SS4u/y+xIH6oZGm3P1qNiW/IuHVbo+KC78m7mK+3fAzKVc3y43q9wTCDp0LNkRSkbEmBiYqgPEGRzXiGP6z+R9/gIfyaPCVD4Jw3+WoNSeyWvdenB4kznJM/iMcKbPIGxYx3VXcUISO+O9UyAopYZf+yVCRJvO1rT0gvh4Dpp7Wu5geS66/G85OIF4XwAlOQr/f0365VUfxUMSFNJGmTdXYagPOSIYNhVn/uA734aPaVaRNOwsRloWOxRN2wRm5IuB+R5xxLGb0XwyWabG86GYmHkQN0oiF6vQWJRdj01jOEpCi1NXoNMgDQjqvaAWPKy1gm6ifDMWA8sAkuCNXlO8i/C6IFJwG/dRjfae+vsSEpiR+A9eehAPEkdRLVCySDLoCG8WCTvqcYFbvjrhe1PsEnlTjur1gko8vjzhvTiGrHo/TCClEDsleQYVjfTbrEy9uTKQ9sgxwgXd3sB7CZ6hHAsrEH+3EAcYbrn3+4Ct8RcHAbgfwCX2gRR6LuEUCmeocDIYqbOLnjfQvtBdBrdovIlIbZjDpv6Knp2bgBPluIZdd9lRnLzII2AQgroiyTJ3zAryhYtdZsq32f4OwIu61Lok/R4u3RszEK9PkG707gBKLSNa6AjK3W4WSBVwEA2fdM1/Hk9BV/gUL4HQZNxNMYCohokofP4otWw6/uaz3zFv/i/3hs9ARiWiTi4DBXxIZQ1bG6Ci6B1BxtJtI146h+UVRGPGpPl7Cm/9xwHXZ/PASj+cQBbQcGVA/d5+OE2bWfaVHJb3wv0/DEidMmKLrqekbeD3h2ukRZ6dypNtyTRfnTM9hoRfumQc0jwSLG8w3zFKKGfY3fOSoTXCWVwAYfdKGz+vQ9+T3gWJUESKv6/73m0PXqViQ6LVs1YgCQ6igTGrR/keqSxBUZAsscI8hsBeEqQ8slO9U1RNM2X6uSTeLiQYtwBlYJDCOVyK+oC0BBLnpOf5or7UwvYqjhsaUui1m9c1Sm+Ljmzp/xi3hEnNjd1VvfWsJgNQ4BZXFDSix21y9dN/tBIiKctd+DPW2gYIAUnhNmcqGe/U+iaeWPrelP+O1PjXZgezK/d4Xy7hrMIOPpoPy+XPcx7iuZIS/vxmhHnvNrQ3d8gIRPI4WyFNBiNmMJJHbHugYeJ+Hw3HFvczhrdLJCa9/VhzPXHiG7GNskqxNoQCMe7wwDPQlCzFKNAqIuFhFSlslee8rBaqdioXChIh965xMVGV4woSl7dr/WYt2JFzNgSe29i4YObSXU4dlJJACJZalsDCF6PP3QrZJ49j9xpm8BWYfnYct0uyYrYFXSyEYz6kKnWI9rRU9DFYwM7TQ55zceR8YT3cFausmsak6hvkxO22HHWBvOn7ZYwpxlbCNl09/67xtki3kxBmwLkq1V+ca7WEd7Ok6R636YlmWOWL0M8IxTjVQxqwQgbKjsu7YGrsCGF1OHpffULD9OYhy6d1Xy+EUgHBeQ+BlkmiKN1uK4T2vRfv8/17V/NhmIFDOMWXAduJYm/Lz7IIXSDQ3rDCoI3PA2unHuX8XmeQHJh25wW5i5dOU8JWozzfELYVJHdRo/erzDCpnVQaF0iEMbqLmqKGkeBwACIUopsaG+SX0EzpuYvoTTtgf6L4bzM7ntwRtHKhsqcZOIqL1wujzuo1yBztd0uPITVfS7rTdUcZ4u1KHx6ZZ4ESHZlnScr9G5p7oIcxFT52Kp35/rUI7dMBNo82tP4CJ0cZLkb7LHJ1k4X3WKUj1D4qNQcgFOzpx5YFZBxP/4WRqXwMCNtCtxVviZt0EamdqyyZftqFz5ysrfCpJipTz5nhvwKfe5+OzeZT9d2JlZJkwlbNykYpClrECkQ7oI+PxeteuyqNTHmNlaQveZcraxpeWDPYU3l3Ib54vQKeJ11Mv1VRde/j8vcskhQKqsazcuDhGwDyqYSumpUcD23ye5iuqtzmkpo/woYKxKcSHyFtoeCqbiGO3ij1/Vovj7qfxlCXAS88PI/az528Dw3jKUeIe6X77v93Gn+regGdyFRFjjcjLx8ZHpIVojSoa3VnRNjNEQfI4jMBa4Jc34Ce9WF/IG781Z0gdFzBIPwNAupKFaZMJVBQOlq9UeuWjM+ihfcx9cR46/f+9jw8epHZsBkz04MoCYmX0qE9xcFHr1aHQZGqiiFYt1avXpwGVCf1RyDTxhoyaGae1v7tWUH4SRIcjyVHPGWdyvIXKTyuo/reCSZgE98edhk342DdjqZ+HbCQEylWoFv8RK7+ybEO88+aglQv6A7QN/17hFT18yvXe5DCILQTzeA8T48PCH43AoTCwXEGTcDnXbA5CI+HC0Usuq27eY2jZSvXg8F4IRhvsj0/qrNTJucZiNv7saknLa1wFFhQlqmBCvHeD2+d15bkFm+WMYu7UXoKWF5zHHOy3ri4oYcUB3r3Q9twpVFzRQLe2gDYO1T/y8g3ZcOS0JKAmRT2NQhlF7mD/tGXEI/MqAAy0OZJZK3rEp8mle13S6S2V+135yrsHYKfFLgg7/m+fXPhMDCT+dAxGdhvHI+wsw2lD81ekqJ23WvYbsIXve2yYlPIZSpuD2fNHN1Ks+58tPhFMxXh/n8QqFrmwiByNL6ct+kDW6sV0TderCtfbe17qp9STzDOCE4fStac72B1AI8xoShO52gHoKci3f0EOu0VsqH4MK2sTzMtEKUqU6OKMXxvOFvb8xe5IuiNqewDhUI+wWAr6gZJ95Bk7URdcsUezLxVBEZhvLqXsPODGbO1YEAdTZtU9KSHpJmKoTag4RxBniCa7HyYEhFajtCMoBoJalz/JnEo9Sgng9mfaAx/RJkEnCQ+7foeLK6bjjMJvoRIOM8rPlOwEoeIX0tFaimY8J+SswuVTsyt8IHbrfsiaG8P4uMpLDmEDOruO3kfXWz//OAr7CE8ZpLXQ8F2NblvDMsbor6UdodbYKuSDENJAZAce2pcXFOgQOVubEcLuPBlySDhiqM0/BzFnuBK/E/Oku1tIWsbaWdSOuuasF3230d1qWyCeXkJvJORdwBb3avOhu9ogDb7TwgFK30M3fXACtAVV1KrsdZI0yY2J+kCOFVcUgClYGDhMZlPhKkRUUy5FgrFW9v36mvSn+TpWMWPVzxR/BBStzTMJmmCo+cXhnpz60yfB9oUhOhjQ/eACYut9p4TE72Kd4Xm3Oo+ghchhr00YJJutwgoFt7TmnRuBsTAnHfv279OfeN0o5Itjap8CehRMs5PI6Gih0btwKGPxOXVJjZ+Urwl1vuIm/pcI0fn6vJrC3442idVKY5XN1H3jXeGnb80quqZ1IdlZMVbbGdDr+SPahxiKTU8IyU04T77UTUfXgpzBRZkLfBGdUEn7xnYZF8h+f+V3gLf4futUUx9sEgg4geaJZqAhAkOgqRrEDa5dyXGhG9cfIjKjzIVez55eDqymZ9aJ0gWTxV5w93cdwof9HDQr7bFyWuvHC5LknwKmQhT/mpm3cckigcXCPLIgzMd5Zv9ghygzp8pmyQb7sgX5hXwZHyYSW/opoRZxNA3UR7eWcnBIlyGgFo55aPx76nCHqDnIm0Utzdic7Ahhde+PIf7GSRhpEo5w+1rKgVUlj5REEFRItwcthQ9pucOCaGxc4aqLmceiTuUWrLUHaiPKHyQnPtZYA22Ery0AhgtpZIrlxfR+8pFlBhpN2yR1evCh7YmWsLIfAy0sAiOpttZtSnzXTeLqUJrN33irqJzgiojHvBJaviErktPTbDFUTISz53DzbGfXRHk5WxEGwrmi0aX0qoRDPTB/ubAWo+9eQKOtiXbBKgfbgZ7coG4X2OnQJKBy314xzCujfbjhvdvfjMyZ0QZ+lmxdooC1z8F80rYgQDmnjcAIHaCEhTdWO82vXtCtyuy1Rl5SKvCqRsHd7L/cW6Dyaa1f9pUpZjIUyP+lsTkzxwD5hAL/BK53gpfMLB6AyTH/kiKtkp/fpwRkGoZgO0fyR+BStULwJQ1bBS3wHY9R5KU04mSPN9d+J5AdoFDSZAkGechUlGfh8JR9/+GK9zhi6XUd7qVuH5uehX2l1XVploMdoG/NfA21mcaBcuumMPkxBh3XCyBidnG9xnnDmQefYDiJzrQ4A0Ja7mfkjlYGrlGohPxs6PDJSblMg7Pj4M4CqTXJXS8XxTZMS2hVv2siMEFhVBn7ZtMFuhd69Ya/ZYgj26W78oyNKAicpL9gXyx82sK5Q0VvhacPZTUQ3LqpXTvQVbMP0p/2NDDl/gf2v/t9yhc2Ey44FB7ZN5Byo55ob21fFAARPrYghQymVbfrL3eXyupPVLskOyKUw7ZHoZPgXGC5K0tEfEGquUyt01yBM2vSjcjxIk3AtN0xgWGkldZbkebNYKyu+iUuCqpNe2lobl2Q5lAT0SCEpJd1UyDOE17kSsk1mzjKlzEts5kuyY4z8Xp2FkTNPqOT39cln3KkYUYRCXSLD+4WEMMlcjOYyjkkozWocDqP742L1ukyvvqtkrzOghTqLZ/5xqOOnXL9ZC1+WcVpz974VnkLIlIJeQ2kNH3sVhKKniicU9fKAodvs167HqsT08CAwChWN3xGOxMFuwgfULJ/AEv1DrqxkgIzOD6NjqtlWdaF/6ruXIXdQv/jCHXLTxdYbZfEiox+7Rg1420KudlzU0wzDorK/BDchm4xcCQ/J9bUyCimfz2MTTm19jL2TNBbcCEiTisnJ+1xKgWBErK+HoVTyKZIlZ4dz9rQEbepkDDxfi2lCX4IO0En+/wfEiwvFBCPwoXTTG3i0FUan3noISB/3ftXLThwpLVyP534afvhx9XrZ+Np9ICsQQ/NmywvMtFUlujMz7t0SdGTQdEt0YQIeGUyggYFrmMFfxvL4ugaHChfoS0G9OmVI/oWTuV6SG+jjpxjHKvOZv2BH7tQd2RJEZ2Ly6zIGG4QF2bAHn7zk8mzqcIPvOeAol7+NLKYPmqeiLghfBBwK2i4xlmIn9O9dEy8Y26vwI10uucHoXdQlMNSoEEdEjSmD2rTYb5oKzpyizawecnHCTbnwyn5S+LiUahJZOfpdbQ5PFpUFC5lS0MUAwRTrg/o8FFj3/RKZjR7fzp4dCITm8hjqHYbUypdmLabYutCrr/tgs0YcVu184442VIIIR5XdWIPfXPptDiAICtUe7358yMTmx7ISL4TBI5r2s9yHBs53VbHEe1H0mKg+XFTUULLdQ0mPlRoND5u3zOQR+emW/Ql89L2XkaM5m2L2jv1ee3GYiQi02bNBB63kQ0VUFbNxJ8nUW937Xf7p70PxEHb9uiVhQguXreMCKS160WI4u5Bmkl8YwAg5nKQyMJhZUnwoQhvkpJ/Oj7y1hKqcoh+lbk5rGgAswe+9N6wLSJIy8D9DNNvy1QNcHhx0wgwLSP9/heBTm0Pl+msg04JXRugOdWhuMzw9UzkO5g7mjq2+4LnJ/pZyN3GvVtI6netDxKjjPa9v63rnZlxqvnRuSrWrDYCDMLLIZsg9uhVdBuzV0+SxbHxU0oX+1b1lXZ+pGMGGAjCgym6LoR2w8tRAF32Hlrza0JSIngxQF0nrGqalnff+ESTbaxMLHrCYZ/tjexVrbVr4wK0OOLlQhs7Vcj2XuyvKtCee5r+iH6v0XLR8ap1YGBvhCdcQWWDcbRXdpfiogQWd2au/sPMNySQDj7e2p0fQBtxaFxweMphYr2l4CeSsxen00hHhP37/1AdbMzL8cvfyG/yefNO3NZaOW0doctGP/ogtaRJaI8zCTTEr0gHgSVU+g77uFMWINHKji7+JDc6j87Z/jZFnJTNP9spNvx9XLEpyb0eLxzgfRxhK+/v+YuLikrF5hxIApkqHDW7w5TSf/57fpsDJ6maGK4AyB6Q0f1oQMeD0Yz9Zu/awptt9M+r1M0gLS4+Ulki+69VfBDEj7HDsubD5Qz7eFJOlW3zK/zH+YAKCJaGuYrj7Q/pus1u9yKVfX/kn+C5aEk/cCooT7QeP0+HL/xHBa+mPYvup9TtEShSIAbnsb6nAYBkc/bItaJMebomdapdLrCwlOnnFuvnaqOOezfusXS/lmzSeZqfEc57dn1onky2pdknqZZR++VQVOrV50iF8XKfSlYZI1u6VX3n7+Bm4MNJDrd0SvfITbj3CRSdlBgk9xJX7gwyhqf7YlIyrDh364uVEVb9BiukjKEeJUx28UyQ3fO6fouaWjw86OBu5LHx9Qp9K8Y5iEgJYdq9/5eQkc4xu2Fb8YdN5lkzegc0rILZ/U46afuE4TpcT/0O9PnSecqdxE0mWj3pMN4K9llr1Iwtd6CrrJE2cUJnXp5yyfyfZQYnGZO1jWYlW06u36D0C5PhXFQRtEdfraS7B/j7ulr+4ivSeye/F89JsdXN1SlBSgeqfpfw/pyr4vNsIaYNyl0nkdKrLt4Pu304EBRSJJNjWb5rsgtLwO7fC9iIOPP0ce1cvdsruLDnjpdsQr6tULltc0cK2XAPc7B0wuHnckR+2C9fOpY3xPZLG1thpITGk3mJ+zONBJHKiCCw95HY7n1P5yWu5YVKyx9R5IXKgxhpLnyWpqbEqWJ3SXftIGxZfbZhvG54gene8WCwjL1eV+fMRKaLn/BlNGEti7HejldtnKRCCkxWKGl6LnYBV5WuWJzrc4ZcZYgS+C8I87mgzT4VH3tKmV2GSF1pOty07Yt9Eyss92rTkR8bN87hkUJMWGnbb0NVxY17uuuQT3iyJXHLt7WdtD0KU2wUg3yDKzYK3P0GkDTlcC3Kv6pgEMUgkdgWItk1x82L28SQmhepXHpkWU8O1kQsvSkcIoIccIkG6U74OAyMAS41vYsO6G1BvJzca3X/iIJrhZDyDSf1Y51nc3B+zY8Q4datBBkwQamgjKIP9W7asQcsMu3XqO1CInxWR7awKsF94/KSzVMcr2WsfY8CsZsDwg+gUL3q6NpMBSCAFwn8X4O5Vwttw9S9lYNLjdt4+ScFKLrMfNH0oCQ+tNsPhQV1kSWZdKTSJT90VDjAhvGTo/FnYYmH4qUzcI5wjSRVvAcGRizvgP+tNGdMIFbqdiKW9qF5mTJvQq4iktLL/96FOn1X4Gf1//JJSYwWxnKxuNPyaiUZQ3b35/tSsnWhdu/L8Qg384KmDqFqvdVHynD23Uu/Y9YBJUdZL4FfWm4Y9+k/TtJkzgxl0i/T2U09oFBOM6VCyRJS8sRLCyZ5QYvZ/0LrWBviCPrFLWQ/jC4PKXQ8CImqBv6Cg51n8Bs0WIwX2gMCGOVQ8676joH7PNgVsz1prL5B9WbvXhCEkBy1kruR13wv7OLdN5Wv1v/9xWoESdF7zi/kmzAuQRhkiYpIH1hrEd0p+vhgkbt8wM4aCs1XdYHM6ZeD/UgJTMgWzuQhIyQRynuUvFohR0mJIVTq7AINKq8pAvhWQqc0tq1lr3R2YqeAvToBwCBAMT0ywT4rASDVZbMi0AuXjHVTePxqvt1wCFvpNg1ozyZpzUrYZJ4zaB4h3kVldUQOT7/AgTWdQO9oCV0OyicIWeTsmlS22wdunvgTRxXyCQmd2PcnVH5ETlRWfsoblZn9+LDLM/Elyt2+ncg4dIST8ZCHLWYc5qkalChFKSmVnBhJQ27x73K4HJ6TqL0+EIvSN4BaK19N08VkamqJ15Rd1xsXS/DHtFt9Y1kRDKLaXMjKCW0qWyMNaljJCla1pVwj4Oj/PoUAyoXbrDrk7iZ1x3fVlo+PeAPcjCxc39k6FyVY3spGuzufJ5We9eu9pt6ZnNdlK0/h/nldx/A8NBogYx/E4/GysIHEuYQsjF6Zl0jPwBSOu+93rsTyEIXifdze5/cI33iV4BqYpVSwhaS8ZYmFQOvA/L8L2TvbUYOvJeJld2KFaEthnQwTYmTWGZbyHOYtLTZOl8M+15xHczXTgikx8wwRG3oKQpdtTEwDQMS21kfkFKjP8nrTkZ34/RWDbQw9p+LujdGbbWLxl+gxjm0SQ+U13/y3F+jJ4wnjcvosEgTXBwVvQG5jgVmI4vrMdQY1RBjrB+XbAI+fFGkcGgDxMLO9rgADXBNC/9HCPQrhsxm5bNU0fQ4QtuBC6qxqE1+S2AgCrcQerycRtCcyv4o1aLYi1N13toZkB+QraHcTmCT2FDbQxM5Icp/W8+g6mU1NnRKLekAU0hF+Qdx2YJg1OGXaLUTzkmtXlO9fWGjjnXfVVuJkBJxjT3tR7Wv/raXHgcUdsoiNres1BTUgMebEldWsYobSlHuoq89RI0u7Oh196x4pPjqBQ3m7OHxlmRC4WCr+c572dw1XwVpL3KSerbcMWJtgAMnU6EbIaqhjbb7EoX312sWEcpz9WXTJtopL0mFvOq8+ico0my+Zxfz8/V7oridjtO/biuPZosaMtL9siICUZ++PkS7WWmROmQjtohdixmTiu7yEZLMv0DJ7MEnx4E/v0shP/zWCiY8xSItLgtfd2loz6pHEE+dl8aGg5z03qBgx0rHpXDggcLpRVCz7+Bj8DhE54I00N1HaYaM9OR9eNHyv6zIfIfhy/JMZGLQjteUhDVYZ2UynSqfuS+FBwG7+Fw8+wUHKrS3biX006AkZuRJXVsbLinC3PKZi82OM8U8BQufq6p6fjYZtAHU63gOROP58AyQxBigmqTeAYOqHYlSxYzUwUPX2hOuettCEb++K+ZdVu2JBkpeK74Cybi/+Az3bkMkafyh1GT//8MyRIwi6JVv6b0L1qlWcMKMwec4TD0Mymlhe3vO0sxZBLdfn3UIJ0DkPJmqI4p/ZW4Bbk7wY3UQXqB/7oK6CR7uRhNIx/pS89vAwDbBgoIzpJYc5VuFi+MLQWscyvTIRrb6d3dq7H+uNAgmfDL+6v6HxM0PBoxTcjCt4mTWWIeB4/yQI3RObytiq26Mgt08bcwL0YENAVgNXIzoWAXcoQsuePp0GzTIgzSRHgUOTB4zfut0SwgH7bha56T9MP7GYtjE9JaM4FllJe4oaI2XW94lYCWIXE7syr9N/vWfxnRLHVsg9gcL31x4DORxYkR+ii53j2DRZEpqcndhWeyy5EW7FLU51ak9iMhe0c97qPXIXkFrPOwiFlp6adrXDCK3B9TcjKQSyMZJZx8YYnW5nqKL++j2KiYqaCMWyy8cDYO/ke+t6l1GdqRMi+0tQi/S7Ttii72wkQDbeA7dr77fZggQhCul6nXCmJDzJef2fhVvmQAgiG65cfJuurcJ2436KboB8xMRLogzMO2ToMFt03diZDmB5GmqpJl37Gvew9JwFkgFSz//MdXHVMjmm5pCAQSylemMCUc8xZj51WHZL+Buu0Dj/MIey33mTFwzrIqa7WwKBbifH6Cib08loE1/dzBBFZzPDdAuQOPEOaBpPgyQFHdjsEiY8TE9d/BKHgxC+Ar0HhB7ulP+5m4CLvc8ekfxIVdCnPOjgYR/2dabyys78jb4P45SALaKiLpkwGMH2KpLiYk+3gRQ/P59SAwm+8iZvmz7PY0VgfHTIrE3aQ1gRpAmfaWIdpryh7HrpBS2ML4M/pTbr18BYt7v0C7/BkFgINknak3UAThJzSOh9+uZlH17VonYnmp4SgjRyWBLnJeGWM1UFrv+HLOIUrMr7hyQFJSIDFOGU1Fg+Z/WNJYfOElYHnibg2LXF3+hCD78Qf7hyw5vGR14HSFBlRnWbsA6WBFNA/VxKwcu+fhfj8XNJq5l2pkoE42fcIQbREGcPwe5ASe9tsU3onqhTyBf8wJ0kQGlxy4Uc72WZ+9vIlzVeUKARnllCUtHZr7osvsl8bZ5RPoFAJP2GrpdUbqw8icT86roOsFqaGokCtlcMBR/TDPec3ou7prOUAydNNmcC7AvUN4Jsuqww35o56pJZjGyZm1tAqu3Fk7RJBv0viQqZicEBNYff2v69XR/03IR+Eh2vTDgDSJG6AR3V2HzQC22X7YVCFaWYFtgdlap77jcWDMm9Wjd3zZXFMSHM1MDaMvJsAvYp0Ab5lcksM5QJnVsvSPPMqDRaiKBYczISsT00jdEpVqCGEnRNHGBPcPHKyUzBRmuIFsewpiJs6puuII9GcMWVkJeZ7FPJ357Q579PJ6u71w97+bgPSHPmbMVO92HTmDzsMRCNsIX1clrZOydRsIRHYcOv4kyl7lS9u/avDAWzi3v1IbPfIIBjAnRnCtulyj2ZatjDmLDQknE+OzKkArxIlspUXdkhLXJeHMuozgX/SG0dKNVktLrejNcrCLu3N1rwi+RDuhhK2fz4BG3buRNb3tpWfNallWix86wZZ3OrTeIun0w8wJ5P3euGKnvvzuub7Fh63+allIqyLe/AZpMTF6jg/i7uuT4dLf4Y8ktAzrOQyMEGv/8SS8KV7i2yh5c1DUgyAnnqMREQF63RHEa9XJbwGEvT151o4OmV8QU7t261O/R8fBhwzukSZv+WIovskaGefEJ4ht55Fa97TDnmhVQGbH2jk4eVGLmDNru/bb6lY0I39a7Zq09tTHubG6yfE2IS1f6vzfz/q5x98u04rdZXBkBxtUNKw0EURfsgYXDY1XJO43WfAAT8XI0SCTUnfhwb3+8djnNd/hkMvVGu4DWy5cTT814M8wsW/9YBq3MO1ovg1Xzqoxf6yLgTp+wBD5gy1ZYCqNr+PL8ML1lowsuj4k883blH7hUnQDdNplw4KdfSrVVShKtKgvN6lTG5tM9l8yLiZRyDbOSUCljALC27piLniuIhSQKYKdIhZ4PahlHMS+45AFJIdjDVbHDLPrRp5Dp9KzQR8QafbdTjQDny86kc29aEVtpdQeFL7VoMKPXLGM2KihB/ul4KjMLzH/kuHEiwKGZh6xXQB+rogzXUDVV2TbKpzRwagSfKm/uVxsupGts6pGKhi5ImzmqTol0m+9H7TmfBnLX4He4gubBbqM9K2lEJcRtMAJQucyvXS7IvZ/5EAH45wEj5X5W+7/xgxCSdGycyQKm4cK1DgnRbdVnvUsm3uaxUPNajEkipYgnHUE/CAn0sVdKZ7/aho2Jr5Ih7A/Co/D9JTnfgA59md3QkX++hB2D6OisSKxfuRclJLYOW+2yV/feyPNvm9Tu/qaqQrE60s7kdG8koAafMIdIdRLTbzs6v0hasF/X8ssHVoyIFLW0x2FHByfIFLGratAD0ImLo+jc/9GUfZkz6a2U/nEJmkGClDIIN4ywpPNFaD5pYbswFfiO9ERZZwH8zcyDLcE1jPvwS0ZR0TjcVDs6daxQxKCxYIOZFAYmrp0DFBOip2WRwYGMoPeVCiQ27CdmVQ1LpEF8GXOLo0OaJACqP5bvUaM6cWDtJlqEPqXuPfARUQ2RJd8AyGcxSpkJOOdPo3HDdCaohmEC96NpRr/InFtIptj5+vWEAyGAiNhVRgynEHMhojV6hYKcPTgHTh5RbmnBerKgf+x9W/lD2ZMg6QlPdodluQwoN32LA9bD+WhHXkg5PKCHZe1UJ7QleZigc2XR4M0/hdmHehslAdgUWaxz+HuZX8fC2o+BLtRhohZba0fUEMJschrKPri8GGQ7njmDpEUqZ+5HTzf8mpClsq0Vz5bD/SaFOt9LweiBzf4Tke2PWztut22LimnnbSgStWRTp07ZOPzWBFDvi4+2J0V7fLrwiVOdSs5cqZTaq0mJF/iiGw8KbrLWk7QmZnanDS4AqKq1WR65rtwWjLDOwx9OfOWKFcaPyBiZQBqJp83RICoEH0QaAMJsJxYXaz1FVX+Jx7ktrRj77DOftytezRUb9i01YAe2ifa4HcJFrJYM0kZgKr2epD/YISlMGKcOgXo/opcB6eNQ5L+iKL6QXQ/OdpE6llWeRmxJBTbym6aoCdTn7qCLC7Rsy92E2k41UHDa0EE5AYR8AOfzZdmk4snpIsAAYgC+FSpJ7RM2vEvyQ18XrDT0Q1eLFhB3qT774wUSle7jKU1SRJLVkEvtW5XtEeNgPIDmW82VH2v3cWJOUWcJJbmxLV7ln1X6fv5STgxC6HNpgWTeFdohW887ZXe+iF8HrXe2STiKXpvJtUXV41rzvJNtSlDnBHmTn+QjGshtKX2ntQZid9xkMO2iLD3a3mgxQxDm6cu3bxPOnLakuVCkXqM9pa0oAlyUg6Ahaz6Yh57302Z8CTY1jNfcZNJOLDBnYRqim1N35TYmDKOrXk2yawqZKzVQN++mhwLDUPYUnQVhcjLOLyc9aCZGtovOIb3HX7Rigr5Z5PS4XJN28GTjQOkH7ZZcyQmSDQPPtnyOCVtn7TZWk+YUQqpZye1DIO/+0dIftoD+bo1BhnkJfqwUX8V0e1dtVDF27Tc480ZRUeeQ+pznHF+CBV84hKVVmH2Y3FNzDqgs42VlTJEpH04HBAjjI54u93X4kSkT0FN4LO0MpuD2HaasmGiJIrQ1RnXGWBvrjmL2lLJ6AXSFGRqwCs+8VjpmK6XhlsBswhHiLjV1C6VX1plQxAotfTDqf0xac8g1MaYntc8iNlltnxt724I0BQpdSnOp3SSw9bA3uYPPhFlCDq1wGWlHdi/q00Rs4BCUfkyAzZh+JVt4IdiqS8WPnH5iK8YObgWVbhDq+SgxfFbWSgqy8WushiOl+PxDundAos6vzLE4DA8G4V1JxRm4LfvnOIi3vu2D3+i0mq5V+qbRcpL7NE0Wz49wwaXeq0RqVXT4DCMJBc6IkFEed5zd68Si8DFZQ1N/Vqojq/+NiW5qUhM9Vk51hq8YpDERlWtL+ikdhiS1a9WsPEzxIJvSxxN/A//BCkYp4q3E6xM5NgVxbWjWwBoeWVie5PS1duE1HPIuExr6gFY03ro8URUYBQc5o9bKyF+TtDf5ebrHrkqTjh1hhvlnK6N3zlBhictm5M8LmKVIDBntqcI6IetH8hfYURgc5MSlKHICN05LpOXmhcQUEu642D3l1G7+b3iO1QSTJVvCUBxlDF11DSIZtqtFQLc0eb3Rlqw3P9esGpERbSsfu2c7o7mBXiQc2PkFJL3Vuhq/ZvnYpSqUuuZOqpIn9jwQD5WlroraeUVUN4mabJMldbhmm/OAkCZ1gU1Dy9H7w3V/uVvzUWNUwn9J8JzbP4oHYFx5gxq1h5T4bkEPBkZNpubF1cmp9O6WxmneTrEYLtgb10WvhUiOFRT8zeShKna4YWIwHOuz3FCovd3Bbi2P1EtpOmhWe5/Qb0iLmpTrJ54ckqlA5m7vtkDKxoGVtbrUKsGQGDz+XNPkRHdyjdEtoXe5CgWYstRNczzxv9Y8zoGIse5K2SKFmO/d8o69eBy44nbrM4iJ3IQcpyel84tU3xQyhqm3GY9Pfz3GAnbTrrpSmXQgkWp9EJZY8CvLPSDs3Ro/VXwQIdScXDW8e0PjOBH9im+AZ/sxtOGdccBjviNi54oGogEzv2lJ7/ZIGEiVJpsgZx726YJ+86Hf11gk/PQJiKpZUDkKQtDGucA62PI57YxhejyHbh+2dHxy8GJQSRHAekp1b+4XkhEGVHrZdD1NS/dNUvxBUmsbHrDzF4XK5t46VufyOfJgmlA5KL+a6bEToHG1C3DLtg+1MO3f/aUdgyD9J6NF+58yGOa8gFwYgD4funVSaKxInqyjLO6VcqxwsaSjuIEdxtT4noKhl4m2hBTr5FvqCHPYIdcPc9m2IgjPd8dSMrA9uwn+CbtUu9lY1KmDyRV6IO05enPEiAKadjeHu4Ye779dq0HcxRhaccQ6x9/XbQZIClTd8Ok0sjADvAnarVAbPT3WOcAWmKdA13cUnQMXk2hJr0p/STfifilqRioLXrMtGpGyurH1EMwq1MXgQBeucfE3YrhDykvgmhbH6bpJv8auLknfKf1TM5XLNy2MSLFHa1Jmg/mc9ESJSnPFRQ9DibVj4i3OGi7dnAkEvtWjOdJnpdbzLPSVVimkdz1ST7SLkMWGArxjCsQmLRZyFK9ybNj7EyHX0fjqK10hi+AzMt62Rfx3wUUu0Oiko/cUu+vdBSPnbFRr3FKU6HeAlA9ItzbN1TKa6Rq7gGIYTy9ez9d/oAZuCjZg5bwXJu6JlY3Fb3v7dl2bNyVCR3P9vRwM8XNe+MKd00HZ5uLp/0O814pSk75lErTmUD3lXP0hFmyh1dRBZ2q/CWFs75Y3yRA9S4GuU7HhPEfXcXkMpwtCSr4F3NindZS8avFLifSc4Dp49HQt9h4fD3cxnwHQLeUtzYvboCGKi9ujyhXPpS3GTDbGR2fFNiQrU3KAt0qs/1z65jyBru3jrF3Y1dExqp0X30LC3/NhaIiUJqQ4pUQmc7CHe9Gq+8j4elWuCjpWJsQPd8yii/+8TLGikv6i8Hro2z4ONSPIz4lCEAon4DeWPF4WP2qxnJbZBZL9xQQXyAMwkvxH34opo7TgWsUaaUtegx6IMJElmcgQ/kRTIF8gseX4RnLOghb4HweAGzKJoFo9xluM2t7NmISjM2t4Ft/pnK8KT1ZS0LI9q1MkhIZRMg2DuufNdtz3HPXI7jCEKyEIw9TYOREq5cWaNQJ+eD3uwMht3f9fXIhnS7GDzWWF8n05QD+hxHyOWPBmKssbqxF73nRPOsYNUvNBHjL5zdCIjJqR1m7xHfsvl1PTHhpMzc0/4ar5x5SoMsL6s4DYH7BHbJwhX2kqheM9roo8nrTRayTT0Roes1HBfQnO4gYhaCDOYvijiVr6H9vvkIMqVMZ+GJglgUdu4cnaNKEldjGmuG0xf0aZpYJtLV4R/Nxp7z0X6RdNInYOQqFt4hsT/66LISy0QrVce3sycGsbAYp9vEia4ro7vICuvW9tIvuz4Srmc+AimWEB68T9CQVrd66efCDoaeDKbwnuFpPLqqqK3R5lwREajc29gkE0d09ASib2hPcCYZQk+4pZpqg9fAYZCHfzPV9VYyeQWjhCJ8kM7jQtsYjMqv2Do0Ayv8K0lERHxXvGsBbjVWrxhWcimMUOF9GdBUgkHEZ9A+fDB2TKezvorgfwVq+E2Jo4AUv+s2LATakIOdnipVbtsQcCCQlBQ8RebFrEO/8El5lRStqA3jPcNA766Zv2DXZ9o9ZqGLGAgPEHBK7WaeYn8qiOxwYb+8fdHZ1LIRedUxYxQVqNV7mQEfLDw+GkEjFrfpuPBl6tyM29ypHb0BWh6xgAUdgeCPMbX2FyiDbH3yo1PQpAfVXaHgUHfTosKs6eT5iilCoE/wfCSYdh3DJKDbyoFz0sI/MblmMnqX7I3uWsf3fYkWr2q8APvKpw/bOj55RoTUygewYxlCH8AFzQio1puEvY5bBhsiZsGCxpbzKot4oSWY/urxt2RYWlDk2Qf983J51ee9xKKjik/jewosMqMFf37be58gkclt+Xi7AT3UsyUGhRQCea6yXAexpwkQvA4A0Pqjc+unLhSHvRssQbJuFUqnCry25oJu2N4dkLMaPO2pgwyddKfOuKBCChZRwxGTh/Fjgv/nqX1kWKpSgVJtB8EDep2zVq08y1IlJFpoT9N+ApggWUQhqXMU7bButIVZO4eDYHaA/uigdamT01/WNM9L+QxiifFdXJBjcqVDRy7aef3Z4bXnEPHmbkrBFSJ4A4suT+9H33yw2rgmudaKXQcNNa4kiNpdIjocNy//3INgNJnR/yGavBjma+L8HYFAuEKv058CM9VQR0yK3LGeu7FykgdYmulSFOz/bLILOkwPUZJC4WAQjnGVxjObKlauuSGeG2QVuUhl6EEw9tmY68NpRZ2DJF0yZGEaJjJvDeeu7MKNor0HyX6C9ROkWe/hVjWtFdMQRolGwkAbwXVDXtZ811XPiG3TM1YS9a4W5aWQheIsQNs/E8vMTI2PwgKN/+KitkjQ3UQ1nYKEPoHqoV/eUob+MWu/b9eF3Uci7Yv7/tw6eCu7ZPpuYg7Wa2QSMDEevpdk94JJvKcG5aMi1kH/s5nXtRL1zxCU2P4h/HuUzcguJknxDTD+93P4Is7lmo63xRkLpIAU66eqyyXPzRANFBtTJbGH835c/7OWzzvJl/eREaR5x6WNQE5hyi2QJ28NYAofY+DCt5HaqYpOxlJFP3QzR6+vnZ360BSiOU93285pTq9QFFi9oUn0D3DA2Lc18a4jbRBIpInh5kD7IiZpowAbpy8aOiq8z440FV0eRMZUgFe6bRVVxXqi1TqaxoXQIG2am80oV6aPN74d/IZqlLWnYcxvF0tQe/r1T9WLEbutMkT3QfCYrROkxBugNf/tFC2ZbmnwPLRoAwpt7+Hgn9B5fCyWGhZnwoRoqvCmWqR8gMRKPD3LaNn8pO9Fp38E0zof0rCCBC2BaRCWmt5UJyvJYcgQjVPVMmhqShM9Gt4zZQu0SJH69bX8CMOhlPNOANz/wZjLza6DRCzafjl6iYSI3l16qbbWueaKqdRZc+NGWdMzkI/b+K809bW5l9qPUpouUq8Yq0ZN9TudE0o6Xt/YozgPzVNSC9rRnDAg/1zgtEy459yNp97dbXVGkyn/3qVu/22DBhJfyaXi5Acp6wkp5+9gFW7RWEkrUQ0TcfHo4mxeh/uyYY8wFa+XPp9RKsbT5X0DxsOuW+YFD09OQhfwgVamuxA70xO2CsPabc4AkpKhL/dKItF3fcVzDX+jAEQ+63KIqLQ8x5zjvrwne7htvUPlKF9Pq4ufoo2A/gDdyx20hARuQT8xcJQJQGCP81sBhOW4ufMxwHdqE5cVSTy07dsjr3xjPdI3WxyNZsDRs8n//c/e7vK4Z8lp6LOfFd7Di2QUuiUXGgMOZJpxA+GFTVaUaJZQh+hfB26EASz/vbR5eWcGVQnk6WJjHgCrf8Fm9aluJzSoo/kh7oJUrTxj870YVetS+fiAB8BxCsbKDK8m2Ln+RKEoP0tic7WR2SLfKP/KqOH8zkdW3I/v61yWGFFgC27nXpDaRvtOeYE9srq1EXN8vRXbAOfOvyfSYTx2HhyZ6w4l/lzTDlyN80lK3GQkvApBBBydNri9Q4pbY9A0kJW/fYBgu/dUHxpEvuc7iSp95x/YYBZIUyBWs/64jp2HQN4zO7lpvrlqAyK/JvdlQEcM0mUcTcQY4A6nTpw6heToP9FM0YPYB20j+uexbNFAX8zqnoDLblx4kk/mVrLbbbGz0mUOjalzmeM1LpYddvDdoyAYe8RUb6dVZ4MmSatwASOGJd+7g3vFPBAt2ZhH6/hE/5eTohpTpEJqy8LU3B7pRcYnXZnC2qdikNJCutwW7LuY2ABiuZke/vpWNX5zkxNgTVWG22rCmuAOE8OsyWprMrcPWt4Aj2ybheEmb2TjBbu6NS4Q9BxwlscZMZivlmizXY/HzFqx3QjdSdnflLwRBssVI4orf4XbrETyByxIPMLioVgXzSRHFEsC+BwZe0FEscGpLzA9EXYuYdaNVj1IMS9iIznZK9n7hM5qS9K0q9qVj+Khpf4t7675TtQKGq7bQly2eMRDOqbAMjhl1hddVvFF8Z+12BRAk/rVEOdHmCaGdKYRIblhZcfvUQyKFjggHfbsOsWNtszU8N+adKvH878LA5sUa8ztnH/tIa2cn/S5LpF2vZDiz/K6kBQT5dzJSj+1KXiqyUZVOWT/kEqyoEqaHiKU9WfoMH54Yut9tW48ZkkaBCNmjiUIiHpr99I1q5uzqXDKGcDGyoMfi+XlVbWohvFa+Kb6RvdvYIied9yt5wOOr2MKVU9yTEajsQ6+033QUgUvorOyWLiCoPennVfxbZwXRjs8QlouDRAEfmkfXkExx5Yej1YZ4vB47NJnKrnQpFeEUS6jB3acKjMoKjFvZ4KxXQDsbiXycwVXN+BXWyIcmPy4o4AlsG8RDVFOZYeMnVhn+rqc9+ON8/HM8xSdny0+nmFx1BLKON8fgRrm6QNcVDVaX7LcKMmQICXO+UsxATdx56KN8bGwZI3yeIbZg9DaaOqOXuvuFhrlFHYbBudHoVd6yd3ol5AwZViPq9ZMCTtRcaBzZTQ6jlaBswgKOhxMwEtKLMwRMPkx9dfk85VPrvGNYUPSr91yGXMCK3sEGgwdJArN8FMXBCBUZQu869dtJf75EBFlYtKcj+TAHKBlWRCGwNoqcfuG29Qc50cXAS4DhOO+PKkSjaFPqif7Q4VgnijV/UkRNLZwlhBhqNP/H2sIrL2O1TD/NivQ1+3Doyso3X33gUWXnC2BM/qOVW+/1bZ98E/0BVOX+kSey4yiG9xVywitIDYxLkvpuBwDNY23eNIxgU120nabV9j14+KOzNlU2egEejloWZ+3qRBYyTc47pX5BiGZlBq3qZqwulhS5ivof8AzxG6bM2u1tWefezputY5ansnfSVv+BPMWLUnxag83XUZOt2FtjW7u2JtYdd87ECxCcltqSMMiqq6mK+ndy5U5k1i27BXAE/0pchqpqBqMGGqLWGtKloWlHtUifO5WAxEg4gFZUZVrH84crce1RNV35eH69OvEkU1EKzUCl/MFa3S5xGC0vtR+BJLdHM8tFRUVVLl9tTpxRANyI7TzjJzq2ST+FhIdo8fvZmy+IqLZ6skLs4PCS8rS2mho63oJ9B6qA8l2JqMiSGrovRWrN53QFKuFljsvsko92kt+xIgx036F8mElQsOTk+g5LFCGJw9ultuydtCxZwslc6mYHk9yursmNv5msR4uOZzESwc6neaZU8vJh9GvBfrPMHQLj4tPT3F4TczNFvpPpf/yeIBOuGRWtGdmBO2UGSjd69cxoWYGr2+tjRnxilI7APgcePhkhUdv3VggRY2JQB1H2lpgXH7kxicWjhLytC/qgq+RDg+6GcmA09AIXoiv7XpHHjjWDt0T0ShS6ZkmqJEJLNlYA3qyceEDpegKXaJCJfsuKGgZ+GpVyfVKBWatJPmDVEqFT8Jf1Gl7D94SIqgWkDca14SOVXJ3mrEiPUrHHZGQKYF/8UQYJ7oqgps9PruZsMMX9aibW6kx7xd+jpupQcQCAmm0qEa+StcYz8Yk09BlBev34xMB9qDNt0dh6riudUTk14DS1YK3oBLV4/rSidFxaCbUkrhRJQJEJHs04qNydd9u8QTctp+5VfpxmZHe3nCQ01DjsJsV4HLqaCSjnerbyOjzic4Kbtx/kXEfxTX78XAobH8RHfzlqhgddwijAUBkwBbIu08pAstTWFNSXoJpO2FqEfykXoZ+sEn+O6w/A5v5jdRe2hs++Mz1mjmOF6tokKb27PW1Y4cEF3yODRna1uGSeB5gdceQp9iDLnVFdBaW1RrwayHWTknUH6HDfq7kf9LVXBYMTx+etDFQvD0opX4ALqM5cdkhhtDjH29MJCbrs+kRUrMIUI5dNI6wE6h36fFJFHwEcYDNZUNt2DcIO1frudxbCpEJLnyjlbbDkM5gO2rokJIcXPXRYlEVIVwKh+TSlS/5Lv3BYKkLtrVrGQ1C6cKYFMRVlYqRbkbIkiOBeG259Fv/j5gp5UAvoa/Jo5qpTTX3ICcWdc/XYWh4nFLKIP2c+FjnesyxRzmCtllVb+mstwU3Lp6B6rk1tiK0uuCcd+6DdARp6xaQkVLpa0G4u9rwsku2ZuZM9sbUH0b+cFqeDrJoRO8gRAmuDbgU0UGAlA2J38KaBcZ20s2ajKYgZIEXsi0uztEtZDIH0bBRntFpOrapGFNfpGykfe31PArkJoHj7Q0/HcqxOnbQDAhF3nali6f/7DSfiNAfO5TzvhLkERNBVCZ0EvjMdWcfniExi79ArNakKtJao+nO0iAqFXzSUQt3gh/qzPJ1ZGBgd2tQvm926DArAG1Pry2rH6NUdwyMGt8DWfCW4WrFOPP1a4AxUzGHbY0EAPCvMmXfyXJ40VqIy001w/ZTw5HRcysvSy/h1imudSYZH/01LidPaGrx0JTVsTqrxDqyJDnTpJJNmn9D9xbVkVAaIAhaqJwdWxu4ni8gcSg5Zh8ncQHhAfSV8ux3w6Bhi1GvQuQ5LxnyAkWIJ6jrqZLWR6AlhP5A5cePrmV2g6OKFtBt9NGiaqnzJVuArujMvqndmc0nisWOxhrf5F5Ni/roAB6e688QrtU62ynCFaHEbz8JOZ+tswhn2TWLa+tYPUDxishPy90nsMLG7MHVRehyTFppErYNH2VPmQu+vjOPK1yDqMJtYin3VpVPdmHOrNy6v4pdkPcgfcpeMhbKZLel0yvJ0a2RrcazFAmE432RVzWWRx0L2LeTrVWZmdJCKFQtYYjHNVNL4ohNsAwFRV7lM2k1G1WdB4+8n+VeRztKTSDxuKOpcfES8LmO+KG7mdJacuA8sjBMf3qMtVoqpuTsXNEApz31PRZa5AioflXo8ti8K7VKIMC8LEjmyBIYU+gtabcKIo+E4BDP4UqlecBknX5/yK2THti/S4ZmGuY8rIWkUeZXNqmTO+VR+emvdCi1FLAA0L3AgyaDVc11h/xvpfob99YIFUq3YyXk1tswiMPElA83ccOoWlwtFURu5TzoQp++lj53PvlzcO8j/NuovXGsLGVUHpyZZTLWEb9m81yyIYX3BtKYS1zMW4Hv1eotkVoSFlmp2+CBDB3HJqs5LpprR2HZAS6Sosc2KwUOvn4tNwJlOGsnUTJu/zsjqWW3soFCjXuikqJ5kGOtmheTb3TiftjdKJhCIRr57qjWVM/Bw8qREGDyO7Lr95le2I+3yvZqLdpieutUhK5qzaTufSLuxuLhi8AT7JYUvJszweZNy3aBgP+YFsh8s1nr2Vyy/4UEIrhWKaMhtd1u/dX+R/NHBhIUiwYVqoH4XV/cunagPPBEcRy1Gq6d9Hbz8+TL1hGD0JxXqFo6rDBMIvF8PNU13psay8bkFciIMChPJ5FF/friFuXrgmLqSBW8lsS1h7SftS77nZESt8Q5O1L5XGoIchkZZpnny7YMuRESZKBsqcB1zx/DIp6Qbe+RoGJYKTcrf0jMSGWVKpagoRWFLQDeQ/HXbLD70tE0K3PlQiwVYBnRhL2Gk6OvuqfnozZCJMlZ5oNQUCelIr+EuJF18qsPyz1tRkVRBsr5GKVUK1M4OGRoi84I1Lg2QW39n3pr7xJUc55dJYMSXOdoT5hnY74idNvFtnujXWWEVBlKB3hk9LCEuRr7ZcUmMgEhy/2lfcfObc8mqRZkzzfBCGHa4HO7/RvMTm8IBSEbPLYkQouwXsYTBV2TWYYztcnpxyMYdLsfvtKDLVmVcqWizTQEx1S+pwKlkzxR4s3YS+i0+Qp3eVKAVr0E9fG3tWwa0Anez+G/jqBZuytAjMFG88AZwM+oBcTLQZpaJMhswQKWunECr2PFDIw5UQamGkt2guhpUclCHNJRk95WJ+oBeItc/xs69IGcG46osQZ9G/NjMGrNVl3nz7o6pkmlZ1vYINWov/H8yDqHYihBptOkEkSZnXnBtjtU/CmHTG/ohtCPNpRUU9bO2SIpFvKbze3YS2m02735Ty5dc2rzU0ml7Y161a+hZuSRgsM1sxZc6tBXkX8Cs71TiM9t+kU8S3VlL8MIcyZBh3D08OwBkTwAKb9D11RjMwO9Ew1jGQTE9uhJ2iNsjx6UMauvfEImiyTHemCkeY6p+XeA8eFNbNuB+fMgrXEAW3qA4T3+s43fELcue4UHq/bmpOq/JgriP+xAOt71NumYggint489xrPAbk52DPurJRAfXLrfqpoDHciDEhHVkshNYzaZTVFNnwurNfPJxANFEM36I4wtksFIJuOaPP90w5jaVHdjnzP1tozrqsPgjtAFqDDPsILDFjROfByEVAk2S4RfRMJizy0aAoSkFRAWvNPbrLc9by85OU6+rTxiVtPcnkWOdXypUMbN4A0KYauwYEP+jT/sp+i9l/JPbPFlr85WrJwI+nZO+mtv7tfrFWqG7aG6O3ZOTRgFtI0w8VqFr8uhtA14uByz4+c73OzDiDjEa43ExyDsRXuSZzKVIQbnyxsEmfO7PqulsuH0Vc/SkIwoFaQ5/6r8nQy2V2Sb8N1NclQwopJUNV4fbMAqTrITGdkMuTs41YmBydWBW2yvQfF3I5p5NmcZnxDZog/95qwX0xzlFC/hCJ15tGyWZ5+TUwWuUkVHFOOH5FQ9qC0HBGKL6x0uFhobUUiA/eTtzGnWAwK/4eIS+y/owxwH23AxmULN27MItKJZe4OLhm8rzWF1sTV4bjC5KVvf6B2mPQsTjhX9e7YcWzYK/b8t+xm4Lk/9581hyOEPfxfpjppBna2/ULKOi+kTwBpJYSHSUgWzmw9YpdPJNcUnou5Rwukum5h3ABc8sGPwACEEtOd0fiGRQnwUdk8qmoDSzg2pLZ8r529kswLyBKELDlBacodFZoxiCylGbrNq8pCFhO9YJi5MrpZQGwWNZ803HLRCGXqs9CFIdpmV79eLE/2aItMhRMhM/FYLFtWa6CZkVl4jfjNEr8CehyaTZuR+qYjmwp091mf0HcKeZ10NaLC5pso0YSk2NGBAq4qvN9i6O4AVY8D7cdyotnLhXuG0kHE+ed1vpc6fZHXICi6fNA1d0cFoKTDEu061vDuTogZ4h/vCFdLcaW3rDfvH+0zrKzwwBpdv1TTQXczv7PsHb8nGJlxZ7VEKK+pzbxLX58mf0AiYPAuOdkLqLig5GQ/iaB7kgkEdCySn0HRhZTo4qWUsB5dnOimsEoPBtj5MEh9YAvMxDHz6pbGwn086u3U0bKbp/LamWs19Qis7JKQDXXJppTEby2TKLpIqGoWsqI52l/F5hi5aJlVdMxojNY3O4rmkWMsqzGORvQrerNgI04atdzyRQmFosrsh0Sqt8dJ/Jy/O3qXbv1u3gshHVkKG4OeDo6fCZSFg7jqFMTWV1jNxd3Iy12Ch5lMu6YoIQ0w+1gcZQllULcbQKoh0laPaLxxeJOOFIK7bpIDKl7dk1xbGjWi0his/DBDyswBB1N8df3yWWwdW3MSd31fHSHw7h5pe2jv9EzHfkE1omIsfD74jl/xeUGOqNpGgj5vEqhxUe7Tz5l+0Yh5tXfPYt3Geu7UwwgpaSRXRP+8ZHB3RZqCCQj3AvzxrTe/kJaDJMpZB3hU7sEJjfP4npWZqi2Q8KZXGYayCPfYSxSlWnCD6a+e2L5qF3nD7XFfLorR9FsOCbjY5mjEi4m3ctaaGNomYeCh+cp74mwCzRFba2GT9OUKFOIDscV6aazcrFYyit4xZ50cVkOwpl6sHp9ErSlzpwY/rqiZu2B4zV8tnyEILurfPsw9EIKVrn+bzeZrNN/lh3Ob0mMuBsSY6TUxF/9ZsCRzNBBssewqJ+WUCgaU+v6z2hkwxpJVELptQr/sGe/r+P8dTaQU4wB+8AsrZdVEvuzas/zmKpamdd31U5vYLqpBH6/cSb+PUB49AphDTfYY1B7KbFb9NFDtx0RxElBaDWTz8WEVd/6MijN6XWpAHkHxxyp0F8BbI0NC4vit+0lLugHm4nPWgTt5ITS7mxyahD0YXOx0+qGPRecgrxFusrNqRKxZFVa0Prq87LiC2ht26TfEJHu/ZuXyI5k74bvFJnc9DzVW2cFarIIMgA/2D8WkkbNa3jm+kMkmeZcO5uOYGaZ3RQScOBEuTLdUAqPo08k5+nftCZhUQPho3S9RkRwP7H++6sfARPaYuSK7ZayR8a0hGByVuVHHVw8r/Q0fD1HwyVA6Wvuhrx8j0ofGd3ftFXdjySCYp+BdgR9fe5mG9UFCcuI5y3yoKx5VUeRzdm7jQd/cRjvV1z/ctaCG6Z+7ctXePnOmiffh17Re4bVJy9tv+UbWhhlwDmHONdmON1baZ6adSsMRKYfSO9RabjuOSKPLEuP4suf/+6EKQZjxtsDW/ij5S3hvPy7zr5sYcE5jYbSHn0bxGbJe9spUq8GG3wSM8uwjFnfeVJVz5eVP9ooy/aG+3fcwdxFUvHTAgaUVVCwMoDdc5vK16H3qztem/kO6xBPcX915nDSuwHgANvFRgmhGFrKALmYSiBMdbelXy3t+9cpTWhi0KuhlNcyOlQiXOoaAwSI3qC5tu6SbbQEwUVjtXgsvkjgpJ3Q8oe8ZXng84U01GeLnjQjG04LtCtZTOzcY0StTnUtLubKNLch8Zo0lDebP+KYcKtZqgSou+vO5MLsuzHO1DrjC0gjXjpcQdC7PhEfO/VNcn80xNGmlYjy3ZC/nYcpVokfrUPWVF71eUuu2O3SNOqL4QYEtXcVGjw12JgkVtu0DCU017Gg5IP2KGlkBuEpxy2q1qkXWy1W/FAj78f/74Ec/VyAvrmmGdFgV9k11E2yG2QDTVkkf6ekym5ItR6tc0dmYrhBuY3+E0y36gGhOyDAF9TNfhjmF2BDPeZMvSJLQxoc5xdVgQyVoB7GVme2XMeRO1QPCatBWzGNiJJ1E5XkWGTTh+R+Evh2+3/C0IOa1h4uIEzJ1WqNVlpqPG7px6LAUTYkETF4yC/Anzy3xTIRBwP7qN2Hk5P38Pgmg1gsgBX4yKdq/aJ27QLTIlNI6rwH5mkwFb6lX3eiwkFvf4DJ7mrXOaKIMh0D3Y0M0z0znY8Mg0imWkbrGeRAk07vF2BGjtE4baWluie0w30vcvk5EMvQiwH4pxAZNaegP91/fK28ctyhs82L+Y3+kDlNMyffjY1obIW2kcSTL2hb7Xs9y2GlLpSJnjuy23P8Hfu6yeJZpCBMJ+NeGNcvZcH5GA4667dPR2/vNoZchQRCpE+d0aWTrU629LS6Kvo0cDO8kaJVdP2ZWrWLBd5kgsBHKO7XuIPZA263KgnDY/KjcjMpb6jm9JN9y872NQ+5qoBqY+3RmEfGU7lTYq61iNgnLGMcQpmNCtKEzrd4J7tSsyyBhj27G0EnF2RiRbjnqWFz9DnYWVBMlmRb59zQ9n/FDbCAviHXbjc9ndKhAJuOkTNBhVC9sg2BOKWTL6sF8HPmycLtT7RgD4Wd6ZIhSpModwxRJOt95PI3JeF5P81cwToDpojm1cBD7/pvvSrQ7AJ4WZNfKG2zf26IMrAasv57/EOouni3h+2Y2dcrVPsDdQYNRuPfxO+DCGBz6e3gsk/NRt951AOCPSCRnHWuEOb+nCq58XWaYI1gfR1fG8YTy5z7YMGd8oxPeBLyp1RpEzAkQhIysdIrNJ3THLpxdK39bFpXG2tDQ1Fn+ZMURZCOyRFGKu6Sr69iTQ/AuGOOcN+qA0biuPTHA3eE2T7mfU/sX166Wm1RHNwo/GLCu09Je5/ciVbsY+KSIMq2I1h4+Ui2pPZsTek1Eji0dtUZodLqjRJs+mCQBlEjv68cIs81I5iZpFZ/P0A712YINLkGT+2hJ/NuPTAhke+vVERa5NDv72NjPtC3+gIaJP+vCf0Mch3h6hr68Lmq4HZ7/BYnBFMDgdU3VOGHlnIRcqixnyVisbxYoxmaMW6/T4rV4r7urZIgU/G0xAC/OKFrMBG0W77mVyud8Yuyk2Win9GvCnULZb/NrPvQvCNe3Im7RBatZLHVTJY3jEU4ZgV07ysc7D9zkOr82pU6yYSYQ3/VyngFkpALuolB+WwWedswkDwPO+GUJmabPhbTPq/+vwPIsvvOW9d0ZG6DlrAhXHwgmNPUxmFdd/h/6WA3x4xYrrHreiM+Gri5k7lt+RTDRPfRZjFcxxh4tdupBpX1lLLxam6/zlVp5W59UF3xvjiuGJW8c89i4chdAqJ2PM9u4SyFod3da9Z+UAPje7b0MRtbQQUVfs6HwKzjKhnnZo7rbCRLC589ECcZLBGT7JHzqmmquWzv5+tg3tLefeCAiJRYZpc/n/vK18KAMKMxNGo1TvLG1cIAL4VkwF3fXflgZN7tPZsc/Zkl0dxoloAb2gdZpm/m2gj2hj+AKtf89qHCzx/lZproqfWPdb2qxQRCh8OqSi3fSm/zINrR7u6RpGPf08yHmVLVTnME94R1xgBKN3MnSXnWgxSqzlaczCbwWg3BfvH+scRfm1XZCAbr1clQqBRvOiu/p2tEeBkanx2HbNvLkUjHD5mIQral7M1g9SizgxMSW4/e0sXd1E9wSa3vbFv9O1YnLLiHL7oVsoO4w8RRXjDdJM1zUP8eg9ufY+162zs06yJVOSwj/wIKFe7SNY1owfMTjfrLF3ydppWVBbHo4ZN7COq7E1n4u77xxLq9yn6VIDcom/DqQQb3Wn2BYEKUZRTSDDz8AmC5zCRzsP41A41xC9/myOC1DbF+e9QaZ5kpzA6EfTSqGd9eOtaAcN6BQzP6tt+9zU2y0a6I2Km+6980/zFMb3yR032lc3moQQtYw0m2wKzoF8USOrJIc6z3xH81Mxs6qfWYcKUWSs1FhslpChBXX43xT+Y/5/SZ6QS0KxwcPRdUVxLnCBZFRh4XH25MCFLcwJtuL0Wg+pZkTYiGEawV36DXl+0M60MvHI/B8gP23wuFfQYmoZQmqJptW8kFpyL7Abu+KqL567CfAeZuvhN9CLa7woBzQT4smULXViQBPsuPb6R+VOydMm0KF/97dhI47ffQJujHTxe5mq/Od8S1AOcI3q653tay40pEuQLuxd0pSdiLJZ3obcPAL9TXrHTle7itxj2Van5/8oCBReMPJq+4heMtLkgse/WTu2xPZT6v8/8Px/yCMNqk002qtmBGLqdYYuSl9+rJpnDbdTvQ0HTckADjvTGYP4nlz6N2Xwf2n0v1sDG/G9NlA+3qZP19JHzQFgcSdhsjhDt8GBJ0nmFtPYcIsYUy5S2xcReIZQeyVtH1v+At9iNNphZM42pGhx/Y1xRPwy7SZ+GA4JR4rkj23g6FRWtpVwry9yuU+msbHBtllCjc3lwpoabr/ztHPEOOE+3ZImmWEqYK8undnyS2AhQ5EdOPkPfUGBAny+H658LnYrv9u4VcO3Gk3ehFge+O34KDTTsMHnPFTuzeAbL0d+nnPu3TRAGN57/Xu4grQDmNihsVsSqQTZC4oKRl/GIRt+8DWF1zMG7pjqOrqn10CUExn7BaTFVHt1f1b6aEgGXvbxoZQ0CBA9AehJdHHDCy1kIuHHjcW0D4+iChf+9mJTtL188pHm7551dHAWcX2JDl62tAfGAdhkX2/VOgfiLmciW/QUJU/OFXEktYHNH8D66nxFSgrT1iv7DFwnvTEHJUnBZ/BdJ3gYPX1bDBJs8SbpcpRMde/cERVXNhinzbePI3HNHaOtkNaWV4i/fxl14JlxuxuzRNfBrsfoFOxQiOdZSOT14bCC4P8FoDe//Md+UIbZi07TxMbDLo3hDJmiXQ7d43oIp0BbJSK5pk0QfKPoeeEfo3Y+PJhTcN443X//NwOPq5EM6cL9XssjTS+lqM84Zyi2HrKvy8OE/gCQqsWBDTzHYHGt9LDIp7eB7fRZt6NXKq9D6Pk105bwdp3fGo4GDrsUodouHeHhKVDIYigNSG6p1WObqj5fxK+C1pGv7/hBo5utFRTHkPikewT6RaBATEqAyFvSvaU3OdTV2RL/g2QzcXBqv9gUC1gnmW8K2TP14bK3TRj5TV7/Rm2FLwtveNBKez0xFmsKYJ+6ez5VKl17wyfMErvvrC0JcPVGvxyZF7tyHbU9ot2ArDIQwgOTCAJR6LYNsUjUbOr+ZjwneABAFxt9hO130IdG1wRyrONXKsuhcTfBbJh6q/rTHwJerQrLzlwLsaOzxPM1WC9E29W2rO8RnnmjsuFr1MzQZSY3widf4BkeRp9ePyTBfnyc0it3436fSnGifwSo4v4i6htxCXZnsKKP5/j43rqLRO36z6rvgoiq5XA1c/HYYb4YmT9ay44i0zMkrrSazi2A8TuuDOGkU8VjK8LRH+jLa2N1X0wr4rUNeHIJ+HT8YkZOLUSfYTl2YxSoAXxNE+gz3SOfPU00+b6OYRVoP8P0stDvGQbB3jF76Vx1DOE8ALcXNzWVTjWTkqIJavoOV3MGQKRratPEYB2QEVWlA5s88g2vJ8RVz0HMkyc+XRhoGGVarFvMYUnnHPwWupyolKzshrkIn7GjN9zsabV0tE9UOsks4BsfdsViVj8u3ANbdlUMkM3DWgdd2cBK4Q4sErsnShvPoI153zhcAHrr0ixo4cxmpNHLnFDQIXStu9WYX9ACYcRs7pJCAQTnllFwpiB4CCfUg72RTKQ/Ad3Zf7hdg5bLd0eecI0wlRg6Q9/pgy9bOuWkpJZUn0dlyeciXMPo5YzLJo9MsBzlx5eveaFODqLJjuA0TKrn+bw64SMXPXrELFOA2sHuZdrMLbcZs7R4rBGEZf/SmqCEw9WmIWF6OXrhXCBi/dSbYOdsFLFyDareIiVGopac73KTMDTROS5bCKrJC7ratqsItey3hNUNZ+uJBupO0vBE0WLsMlx2unhXqzM3KFch6y0WMpCom54rQHocHOjTI14H/E7XAzA/uHcO4PvxKUBrBFjcGrmF0NcynWDotd7RxoDDXzyWs6apNlyEt01tnM4xxZ+zdr3OG2etxKy9nFHMEr9MFDdZ/7AwUuhz9uAOhiL+wECOY4ZXhvW+1jLRmFn4xTmKYpz78od+ZzcnC92ok1ssrtw5VMy4Y0PzQ5VDNECMuvnguEikkND1gl4kaLDdLp2u8QHuF5rAtNE0A28qLiOptQ/qFI0TC4/tDjOENcOOfCVj7WRTMUS/pS+8nrTrg7vWF7MQu49uWmoyJduHxddpH8Ey9JxLVNc+pfTAY1/zcDpLlEo9IJGQZl5xuCUPHFelMXfy0fb/yeVN3SdVZFRsrteRvVxIYzt9ld7Y62hRj90Qj8KrL6hG31xwCjppEN7Zw6z+yHHbbC/bRrXsjAHDjfmou3O+BwD6VpQXOG3cCwJhKQrcOgZdo1S340C5h1JlA6yY24t1KMNKHC7pe0S9Kh3yFnTG5P6DJ8GjZRls7CuU6aenx9PNnvthIemMvevu57Bn8e3ba4fR+9Dep8J6VwkE9jJg2xA2d/IWMdZzTpL4BESRpQscG2lwwzmF9wIr789aaGhCCPRTGG8rdXxAGBtzCx9lVXIgjmy9JSK8+c2Nql+JskrJwtIsLuV1AsFJFs1P8GW3+xEFugoXgw+WkXUh0IuHsdmJ+i1fYUaFJfhCLdrWQIaG2bCgIkApqzsxmKOPbwoqx+WHikqdAZBH1uMVdvW0OnY5vmAWY9eS1p64eYrTCAEfgvifVIvX7fVQWBVvQskXu662mSdPAmPArMORCAs/ktUtixkvXRiomAdoWFAspJcHfJkyIgt2x7fB0/h42wRoOkOwokwJm2qZUgZYdHU6SZmUhTtaw2qa9FUj3KCbAbpnAWLxpNv0PXs4+Gsa5+5MMJqTYbAUVZ47s7S1K6tJUo3j1OWNb3MT4o6vdfTftkHFqTUssSArUhiGQBg3vJ9IDy5UvM4HovLpG99+gTmE0sKwCskOPyJXygjwVgCkrSjRMunPVnh+oejiNW8e/zMpGjlpWMXNzfm46hhGymFDx8EBLpegzZvvT9doyfD+6VYuCJIyHjNWoRydYWfDjTdzurwkXjo6eMArBrpDBqKtZgtn4lC7qBJGG3NKE/+hQJxAPq6eCr51cv2DBgFKLd+n3GZxryhf1AjwOAr1lN1kBaA1Mx2Fh3gap5HOg557O/yu0iuceFf7XNV1Bb5/uJMC7kVqTWfXt7nNQ80jiDyliNpWLn1EkGblyuEih9/M4is1c9sA65gYlfA63JbrtHRxor8Sr7pXpHpjDnvMB0RLTmu6+fzg5jNgFQojHTi5eu6fgP+7vTVgIt5WhgcM5CNRHsRIDGYD+G8LDSUHAfmMpt5tmwoyNAqbXGq+uiFb9B+Eq/MjVOYO5j+KVyKpKrZ8sWixL5P7I9WBAyWXZkZ2A1uN9EN2aZCZtyBkCgtymqmGI+hjJCSKvHhdYy8p9L2jGepZZ5S0TgI0cKAS/t3EKrCWQtbkBUF0gD2UsxfM6qpuhy7UYHwCpY/3SuVkM20yEZZEsQYNmtBs6fqpcO9/MmyvxKqsBQnDNx91oeSfThaSYfaT1dVeRTc/t0p8o1UlOZJIR6i6E8iRLUe3H/kNZ34T2z2vLW4R/LoH/c7D9oKf5yx7R0D9a5R/5Q0bJ8zsH8FPU6pURaQDduIAtVFR93n8G3n00eLUu2YW68CfA0GJl4DWw0xtZ/JCcAfJoN2hx15eEVukp1jQyXvydHLLGG8R6kCyofmGyBDxBpzPLcuPTZIoznTWFKj2luEl6ZY4JIcobi5uW4jmA2cZSi60YI5/shz1RkP86hVM969iOB9M7BIT6v+iq356AeyrbB3mrA7HhcgqcEi1flhyizoPlgiASHycNTv7QCj7D6LtrvGxy7OKqcbgU4mFkgBR9yfS6L8MfE6rAWnC/QYNxyBPv2FAx432W0du6sRWw2Vrvw5uEZWjTVokFAFyx4fu25/kOfvQxP7diwzzGqP+MA7kCSAfRXHWrSkHqXdtpFVTbV4KKn/PnLDDZjvX8liKsbqcwxi1rEooi1lwFhMcQfdyAQdgSrBHJ1099P0OIZItyjYIlFLlx4SJ8OM2xbda8wJGTNTOTD9R5NhXvQavwa/6NZInIpIPAY4n3ggqosin/oggpEVdYtumFWjoUZb9RUf+NCBpTNzGlp6PMlJSYrqfwXDgqbe6CFB66il4fWffLh6GXvK9osEek6pam3027bLRNmP4M2A95PphB+TJ8E98p1N18j7rcnx/XIks+AaVvPiVB5e2UQ4d1XWNBJ7mHY3EuA2g8ztMSsI6vRWzKOKCxrwdZvILEgOYl3ogC0ArigNoloZDNNO/gNh6QtAGcSi9dgVmLuFbLjY5if1TzbA652H5BC1goOX1otWmqQYGkDH/7OVkrhZvfV8/R8pYbjxxE4vG446vBtcNVizAPDprkx0NZnqXrwDIWGyAs0vh2oaQLWTclwBIr7nwNqnEz2Jml5gitLuc61et4/6hrQ0hkZLQeKLCOwycPIHAIJaCM3IiWm8fFbwwg3VWmVVqYnKUb8b47YyqXX4jbMV4ndqRB6TW4mR78iRB557LjEeIQT3cWS0wMokG2SgWpC2CFOrOwc/sY2v8blKoVPBR/jAkAQDvbB9pZbmCwYoFjNcsD28Z7PQtd39rbgzha5fxIWqy3u9kqh1wO6d8hzh1J/36Z0JGCb0aK0LjnznnMyjQglm1ahN7YxtjkEMko+l5Gu0XpQSIBJxyEnqHUdGi7y1aWGVWyiJLxvf/SvkwVxspxIff4jUU+nAXRtPvwekm04Fmbb+NfW2fca2gL5RvhiZpJMpxXaYscNVSgdSLd9gHB6q89GRRBi+5eqvjkBQCVtQM9HlYmuwKwqUD/MpjwHS1Oxup8x4uBPNLe33RHfT7YrojKU8rvtM/Aij/t+Q47oQSKhJG/pRbuPWJ8+9q6r5+rgp9hmr2b/GL1JIxtCKfbfuEQsZ1jS0tzA6JdsYUB1r2BEcx7YCL1HGbCVLjLnUoFDHrzARCtUsmehAqHQd+8GtQ76IAyda0U6TVihiOlV6uNeolQIarYcFSX1Ant2tI5y7fWQ8oValjtp7bKO8fU5lmxLDy8Dg+52Xar+6uww/SVXQp5VkDaURJx8IcDG1MOTmLOLfuSGHcKuB/d6j11YdHXA1wygQmYrhBLjyQOqseBrWkUgHukBz/NrFAPwsTBVAu7nC0jSGWoFjSutW9U44aYPr9UgYcjmOJCB5Ls6nqrgPrISPob2YhNa6SHE1fuvO4ayRzcwSZBY5pptskZtU1JfOzljMvPUWF27pnc+8OxSgTL0Lzt+//CZfmNxAlVi0lvs34XHSr7ArUyFWPBsS+cEehrF44FW2pRoDyeD2JZ4YsQDpVRNqcEcHhDP4h3z7XVJZdpYdGfq6TAj80hoFZrWOLw20ApZzA78pTGjCqm4HXOHtn1Hp3h8GRYgyO/NlDcb+dWwZpAQN7fqBc34D5tJWRECvZ32qnEpS8xGWwViKqk85eVoNNQqqO0SIO41uvGa2fc/5dUKlBllksunteHaHIp78gDS4FbVo42CynMXfOTn7LxA3cdaFIjY5/zeVb2plyCs4wS2nPeo/8TxzEYH2bOC4ecHWBpBweVFHVFNA/H7r2bsVDSwFcbMlkIY9w7ujpKEM7F1NrHLHk33XD9yM4NzntDFws6s+/pXGVEstjFe8eufE+W9atL/VCu3644OaFrl8Tky7KaHTPCqJKnrhdmyjIGaEnRdLNDRONuYeMUAjzNVtqNUR2E07sAPC/uuwmYl85eTSjU0nu5xloUAc93QAndW9WbQIeZ5CKAFqp8QWNjia84uzt/QY16BRsbSlXkoTVZbJehDFBsRXw7cSAL5snuK/887mNJYRzVWG1deLHBYob/fKnok70rDIKYrtKoMts/N+wc6JsB4YsMC6Y5772uyXEzvLWuPxt/N6DVbxy8gFVFL9nCIM74Z5u8owJmAT81PHUxJk1MhheN+cvjzxE2M/T8o6kTF34NYcH/NmhknlcKj2KWSHoeKRJ879rkGR+TBlQVjMg+MEtfXYDGEhKztDMORpMyUZGJc2yL3IY8vU1YwOXK9oR4Hj3Uyi/9uo2eCxzGaYP95swXnp7Zyttjqu3DGOIWd8UIoop1eB+/3WHQVURhZtnTdpmxGEifOlLa87MPLDVRO3Mo/U0vi8mtSg+e+/e9VCWBcWjtGn31mGj3Bo/0MuePG1Tji2bMd8Z7G3AYxPj06uFycktk02GZOKlXLe9ahl1Nb6i4TkXzv3rxJNDcUdQ0Fk9RdgIJPq89dMuq0tTX5bQOqXrUvQR7XIydEne7081B3JGGCqF25f6ywOT6RX29nXXumrGACS5ruKG2FIRj153ZsC+klUxd4iacr1vSxynyy3J5xih+gFuX+kHjx5MQrp5bfR/c9spoMwBzT2Q8LZGqLdqh4ApG7EZFv7lDGRCF09rFgiHUioluSpNt67/LA++OFduNTFmcTPJcIDqJ947MgmEjUv32vyQXef0/sFJlQwCl4fdsGjdQvJ5UanEOvtntxXGZ+Gj9YCzpVs+jNwIBlstxsO4Nso3oxv0Ciu+6GHN5e1GBudwu4gCfPsWLmafL9O+itxlpVz4x3E/rVKnojViea0rnwg0yMLlTeCzndgmY+pj9JCObb7obxk8pbDb/090qsr8BKZC1kvNQyLuu9i2g5b60AZeoZfeWB8056Te57uHt7OIRFlRmVnl9kYwePKBN5Fzs5+chVlV308lNbSKzMcihlmZHAEVo92qDBuwduzZvzGhe60sCfGvX4juiT0USGu9MtUx+S7tQZj+MHlUxINJLlBgLZztIik1W8uDtMjbVtJudRCNfttVb9lUnO1poBn9Ukb5xWzI0kaM7t+DXdmAqpmp0ZrUgV1ONKQtKLgytXt6a+niaCJBacyTcmngU3fXT2+zFRvAwu0fr5Bpx8Ed0YTqilBfFzti0k0GgazYqATG3U8PCQcL7rtVwXSrxEwOLFBD3QHQgO+s1td9dm80IZzHjCEMR7IXqbL3NI0+A8r53rXcef/QUQux6DnhB/dhtCvkgCy21KXEgSKMmmJo/639F0DMcLQvwUsb5mvQBLGG+fQ6dFMVi5xXMRTR4M4kbfCfSgmIzu/c/fg5cJOxcf5JQ0EdJFrFIIcUbPqkdo8fhOWw8zmTw1KQ8VehtQiWfKQ8T6mXOm9PBw0OvkjE1mY8m/DPY3S7aDrBoPA+clFk3ytjHcdD/x66FQqLx3JrRjWt5oC4aH84wQqeAF1vH//QIiWIh7eODaB2mbKwSs+zbUxavmUu/Sv8A+Bg/wZCq9v8GnZ3NlEycEn92my0aLQrg8kM6mBhKDgEO7ZMdel8g8zhmNVhMhDudVsBggEHMpu0xudqVrZVGqbUO9gjqn9DhBK87U0EehLAbzQKrvNWPFT+KtUsQV2I2TJwiSKt/7TR8qyCCLZEVQPUB4XukMnmjR8margxqyXqmKiL4s/6XVWCs/jM9xbmay6AfKMglGJGVSrdUcuKTW3vQnIh/aLoYx7hwkJsuufwpyOgOObp+LyDS2YsaaGwdbjWqgdfdoKKQ1JEIV9DBnfGuPeaUIBrwKZzlgph+0YozapgWed7uzkj0zyFC8kTTht00zgFgiBPIrJxSSxs2a1CZJiHJnqnmoefA/GPB0OKyT3608m43JwoqvIUCPL1bSV94W0UBPs+zuXgJ507t8BkRk/3Rw3eEoVRC7dOj07D6wNKCrhcRXGZVNv6+go/7xcxa6589ZFdSUS3QqkeE7Wjp8EtIr8S7zvouCimU0Tb1x5kOzhipDpVdal7/tj+zpjLeQlik/ASwiNMAbtYDvZ/TdhhQnQN/8FK7PAXkglkhaTXac6+hLWquWuS569u62YT2tXG5NK1uNhlobqygAEFlmsBDydH0OnZk96o+tojvVIZC7qflbNEDmoQmOQZuBgnW9dI4NlS5pK5OvwTEW+3W97i/Dtkt7QQ3418b6OFg6mlzb920W9PxKnhql8T0z/odf3wCsmKEynW1PzOC6F5dv1Zsv9Sb7YMJlkZySZ/BMoUrr3Q4HmJ8e6rKwaJCQvIgfCeKEddr/y/XLv/35rkrY39CdXdmWwOuKbhtEt2ZA0Hegr/6sD17y4e4xb2GMJCwovXaaoER09uQY1hXg368S9Riho+9vxQnSk7u40jOk3M4nxq1JrhEfOhELnKn7zTI0F9aUG/Ps65eqeMO2HjQKdL1Ym85ZdNKDLrPOcHhHbU0yZpuHl8HogxRAz1Fep5KikWfxBN2IXJluJTHXKc2hrpRvzNSiUIkHDtWattU25iZb7lHdbTOD2Fjeq0HqdhQqn5YapEIwL/ZQLXIgwTAGlJWc0hLyVcui5WeOcdXjWbcYVGfAaqNwwRN3mAhqCi2Esn7ogONdDpeIWfPC1eu8P3LSIyyN46G/fSld+NYVkYDLFF3FlAdooILUiWfLYoT7ZbV/y7aQR5r5DlUPNRhmJboHtvLh9ddRsYaffjz3+xk5PGpBqc/Y6Aig0YhE4ot+jh59m3ZAZAZeP6vM2H+f8UyZGJfBdcuISXDgVJVb9T2XFrou2aHYGd/Y2BAOrSSFvEQFjDsAazfY+VXZnszoSpI1VwAbj3Hd6ChKv+JIBp/splPfmuyFTVWRN3NYc/APjS6TkIT9rQpOduQCovKVFgV5WCZO12gUswvt0WBbRwe5nsoo1CQPevrHngk3lW6ITaFlwgMMniArw6zv8SIJYPMCr/JAIiDVqNgtqjv1lTVuC5UoS97HNvf2owUYJjP+AkntGDlFHebigfvFJ95LfjUE2Yo/AskSPT4oOGTBiYeSyWicTrFrLvQytFEmrUfAb2KdiEmyE0hNTVq2SeLyWBfZWTMaf2pbzpBzpxOs1dGF+feyfuOvDeh5oEshJ3XkZZs9hiWROl5WMjulPjTMEtrlmx3UL749IKoOtzkl0E/KJxC1drkUcMCbJbD+/wbORCvVP1xgXrQCWLnW37/I/8DD182ERJHpLAzitzJIhfDpkKXidLo3ip2QhBKxlwh8YGGivT7BR/eUeCjaoroxgohmsq6za3bLFjK6o1o5G74VN82LUCYpyMxcPmM683dG7mfDC7UQOoX25lY+BZz8LqXufYAyKJtYAUq+4q3TYhIfT9Zj1F/bjQiHScIarXD10DOMXvdB+NXF4/CaCmq4X8+flu1fd2gkX+3Y0wAi5HI/xRCbJDUnAo8hMFVgoNW1HomOZ1YYgztICDkVCePpVApOpOtmjE3hDrkM6w8Fd51gx/sC1fGe87TRfQLdUUu1ci7iPrFv0Fa849XOdbSnVQDVlV0SNG5J3RhOU4pzC6cKSvugjV0iXM5h9A1iRjtXJezC3tcPQmelk1qxHHG/24yGYTnjVePXiTyOZlTfjPBUkx4EtWJp3JQ/5CmmwbLQoxSljAE3Xj4F28sxKk8a7UZenXHaKeY48otKjVcQ+GnFRTC/0F7mPGE1bZjw+nfUTIBfknY54QbN/+/a7rJEuCtHR4bUAu7Vv0OpTyE2PNYEm7eF6WuoV/2cx/dq+TojFWjeeg44WsXePd1yWlct+HAjsOhNtYVWIhvVmEIyWMxWIqQ2wFBRZ//nshyo9W800kbFsTORtBhgQ5Ntl7JWszIJTubS6mPt6YshS+ESuexVlPQ9A6n0ytT7pYTxUf7mJy/2/aGhPwz5filk5H6ihsrt3phKH4RGlygxfYAkf4KoMFFF0tq2zSRFQdxyrrmYSHbSAVcr0TyZH8is/AxHCXwu2xqO61wT10IAa3hC7pUViDTQ7jf4Zj0L8Rm8Z7yZvqpy+dsOCRuyrzKnoYq49nyaDpxeswRpQ+x9/Uy0cXXicLWLgALDkTgF8uPeuCIBqxr2fREvBOROmcxNm1qA3kPKSM6Px94z0E69HFA75omjlQpoOLHRdrvdic/gY0Z2TipEJ3vJEK9QJK97yuj5Sx5TgEncLDYENGjrlg6LvW6ITS6obUSyaz5zCCZN950CNfZL9Dy6vQrrEDOO09WxpQikqoWU9Bo/54xcN6iwMZ9NF6KT9aVNZIDPJFKSfKV8OEEbPYPqR12smzqh3xRFYC9n/zC1H3H+Hyy+rVHlJarxhTHVihM+DpmB9dPDiPdcgcSL0bqEzlNP2pIx1xsjmbJ/Qqno8DoDJQRE/HQ7I+BVUcRmPnacGmENJCXQTBOn78SRND5y5iHvM/Br0n6yv8/AL+fwUj33ClpDfeKtmWY2wPvJTBljy4ST6eG5lTxm6eRc2SOC3K1asTVZuWmTHs6pySsV5EuPm4VDp2eXzlE7CGWqpCVysss/7rrttpW2ZsnBz9QE7AE70KeLXuKRrYijTXDYUyCbITJBjPLEl1z32uRzc6yDDpTS52vws+j/duT4xyqK6YFsq20l5YZ75Grr4L0o3c4An7qPV0iKAcA3pvAkg1YNl1ZhWIiA23dMWeRJjXtCr/vGnd6Oz2uoDIlNkifze56/NOV4AFU9HShcgdsLkSFIslnrrH3m9WJ0s4d1kzpBlYbzmtWovqyjm+yFHWXAoYpEvTUB7FIK8XjFtPqHmdBoitBeDuNRmcz/kWPQ3d/21AvUklDfr4fHSpjPr6pO8X75Jc2XYpD3oem2LJHK6h0udOXbHWXtbiZfwfQ18/h1gtSCDFRb+lJQa0mf3Dp3kJgxAzV0KnH4ks/iNthz/JTXDxRPprpJroONdWlw8zqcBd6aXN2IjZN9z9E/xLeYeA5TIO4HT4xJgDninDZ1G5WtPWuSvXKC6k1sKaxcVqpj6/eHiJBirsyj9HWk8D5GdFvqIaw5IWYicKmSKp1lNW+YR1eTDchAVObNLH0lSDAklxYTjGqDCn60Dq2EAptG34RLpVUEg7OxHYpoRIrFOAs1VM7HkuY+jdP+BmlP+58fu2F+c1ewYnZHb9q4QA0MCcrK0L9u5AiV2WVQFHFyQR98p6WqmKwhUo0ORh46r2BxRNER4wnKmA0j2r0pX9E7QlxHPVSbM9G848ndgKGOkSYa/XX42AtK6h5pJHhqTjr2XN/VoVqPKo//D+091+MvEDTkJh2Zdv+MjMvs9DFKg11VfHoNH9HDboQoiz6XkXcTRfxmREV1f12QeAcfMihYW1C7nDqBbbHWw2ZGqej8EpDJuXPUh9YaQwDzuf7Et9zx/L1GxxNfLxz7HLdHjsLtFrsTbJxVqqV9PG318xNvILlaIbDSK2prbVyPKTbuTOS8xFoo9CN6Rfp5jMVojG2Ob4/glFQusTi2Uz8C4SKftRqErOC8TJc6UY6KePmWsmFceVnotAUDl6vUPzYrgC8gQiFeRDpdEyddcqjD/CWXiNcMn76zGpMoGlOmYdajVRddy9PvrY8wtViCNjeCwwrU1HcG6OCvQVaHECAkMR5i7UbEgiH0C68LGiINFIeZ4tAfZCkMJGvQncBAr1Eg1qz7JZGTq8JvILyFv0FpAWhHFmx2hEOA0fvrwjOueYVXcamTAR1lNXiAi3O0ZmgeiYQ42SfW97WFPeem8hgvk8CN14+OfNgq/RVMO1+uknUM4BJef/koIFe6wDtaN0E8ksn4xlz8HOqWGusLh/2tEIwKaH+HOKUar0XNH5L2Sb/AWZnuK6/MUzSZ2Fu2jMMZAHgm90O65n4FPrnIP354q4O7B2GziGmiTHrIOFhgj97yZOxfJQ32e04MWiD+QoNTAYXGx8J+IeW9j8Df9x9uR1waxTHlZz65p57gpC9hNQ6DQW5Rabi8rS3VYGAXuMbYeZhah2yv5FmIBVYvQwEfXkf2EKPub9uLKO8SgKcXPvEIkLAqrwXtGz1TyGC9vRGAXj/ZioLDXwcbjO/kT/Xp1kbSILY3/tRuKuawSmCuFAj8x+eJE8Zq5MAY1gGnITtZ9bUoiFXkX0oq4mcrfx8383mV0gA+6WNUoO0jelO0pXuQ5IyIAs8asGlPgMexjxgUjBawBHa4U9jydqLC8ncKoIpiFkXMu+y3HIB1KBW8nGn23VBSGHos8aSY5TJ2en/eR1aWQYRFOoRWIexG9gyMqM3NL30yPgdqGuBBHaVTobwIH9RfUA++3TDIv+HRPB23hfpV63O06BGk7+6RgNL7fani+F0GBVk7MGza5eJ4OTZAMFq5jYb1q+cqo120PetCWTNFzIfE5w/T41/2325gGrq3V6TB9LotBsBkkgyMpGdmt1cvI/FG3sKe9JkrZZMepTnd+MtJnvTWWl+GY5m3kACTp8Ps/3M9PtQL9YyvnZ9MzWlIspy3ZpSMeHnRY0Vd6Y3e3XvsAkdLDzrOUb+7zRJ8uOPn5PNOBnF+4BeLzCKIavhwC9x1tvs7r90Q2cqCv96bQDn1tMMyOseVqsJYbvkUcDDUOB/lp5U3Dcd3SQ+DDfNtxg/dnlOgKqAR8Yy3tc5ef3aGra5cUrZg24wwUD2b8oIOgklRIZ4pnru293m6fyp6URxXJn0W83AxMvfVq5IhEDpvy0hzGn1DsgXc5Pl8BrJNLV6C0ODihy09NFFLZBG1cVTN6Y62qRCNNmwjXkG4/BF9Ag0/88IfEBhv8tdBWs1obmShhgPxda+F4Xq/RxWecBUcASoPKazKyjvKh+LFJZco7nqBn7k8J+HY2+E6k4Tp3LKW5PXIpSrcibJlsikQVky9bREe+L9UCwxseb3uJ9Jy+iccbYF5SjVyvWymC43a2LQRf8k73kQz35u2K4NY+vZJacK5z3ssUOiDDk33OWuxxqKM+E7cQ4y+Kjqe2GX2hFeJ8Ja2jUk2zAKLQvsPfdrJPhDWotp4QmV/KlzUkaM048QLW+/7/MzUsbQJRKQKg9DzfBf6aDQzXPISLuD++q8GgoEzn05Y1Tx9ISI60hRacDP5kcg97qxlcixnEHLDb18mpIHEaWioQLn4N8jkNkoVez5+EuEuAey0/vtEsAecCpBm1MebUSW0TDD13MUSYyNnQGZ5dSf678Cmet9B5I7AZB9tmf54B52aZ0dlwKWEuPC6Su5XXdNDfmwFWMTuR/CAu66zP4oy7Fowun4BQPIZmHs2bT1fhFxCWnGeZh7kfEMDxxcqXc32O0y5XR38zPwHEVFarN74/TiZzuyw7JuFf4j11gS/fKZuPMemppXJfEfEJH7KNzdda3vIkWz97Gpmt/KTgujDRVhi61ZHZZx6ocTp9lxJRxOuZgVbhbeFRp8bxv2I3wN3SDf9i1kYsSofxo+K4qenqsJfb9iQLd3VCakxAHCFS4+2DLGh2ayJXhtrntDDI6L+1wnw+oH7ULvI34W5Qa+ZBcRk+Pk8ZgfnZlMRN4xFnanzPs0x/5o2DsuPjNho+pk3VNzKNiYV8LEXVnAwomrH2BYPQ5skeVL7E/vHLmEX2jwcxk5qeh3Jt3gCjUz2fu7H1gXyhc3B8S8JcqmPtx0ngQNmRBBgdBJlaHFHV3IffoXrlQLer8wYiHOB7d9E/avLeLspzudYZF80cWT3Ax+NQjFQVMuEcOvMgcKevusqDNOQ87dacjVl0Jg3VUWobl5BHCcECotTzPkXdt8LWEzYadGR7aAGwkA3t0rUkd/kDJmRPLAN8mBrRq2OoQ0Q4rBGuMeZdo3I6ftfU6M//8ljsBe6NSfWR8eFXj1WZjm+ndB0sQM3mIjjx7lRrjf1yWXg6tloJprIALsekj10tOSKTeleKJbKv9oEvzU/sO3WIxQotBCddQw3cZ4G6VyylE6JTLhX+5I+zIB1KE5zqFOXJuCFPep9/wZR4fOxMEWKc9LLZPcolHPn/8Htq43FRrGwL9aw+vwInlMgpqHMHvdTQDIz7EqO0RJwk3IprioXum5reGtHRoezgqnCPi6NRbBoTo6x1q/FpUEfxYg9KuZNwOLjBm6jyWbQH7bqmk99JEGqAg2Yqsb0ZHG/ta6LOxr/UfS8ZSotYy+s/K/2Y2y7J0OcTDKX4lW/icVzFky6sM0l+w7wI86XiGbXjVhn4pLx/Zz1dQY/mtkIvLMR+aAEtK9eCEGvSw6gRFu+lmmW7oZGh3O7MiNuozqj02XBGdI+RUQO7pAqwSz3Q2jjepA2NSN2/6ZuZU2FLFN2UzgZZVSWxQlrn9LIQzOyJn0gCzT+VC2dFZF+gGqKxDlRdgyg5roaUzb/4QZb6L7sj9Uq/ZtM4r8Sd5VsYZ9eA8Oy1g67De2OBiVcfHOlBmv5ND9nT5A2qWJa9SSI1cF0X/n7OrQOfHQ65Q88epwEgmgS5n8LS8eMz5PZ+MZY9Bz50su2P20yKkhuwDhJHD2ubDqUfnv3lMtZkI/vV7AjmQkACCuiWd5JrTaaKZXBzSPVfn0d52OolyHiQWZAu/vC2QDF5VpGj4De3HXxZFigbJToeVv8JLcWK+mOrAABGM/J0xF3BjPXmQC82Wqg0wzWrMw+oolVAguIwjrJuuyDAPPJet4RalfeP8aketiR33zDNAMyJDti0kA0gyLv1Kw0B41iNNs1F/VsybN1X3ccBm13AOfnhtxkSXWuSp2RHNzBgwgIiwNetDmw6UsvVniqInZJJUQRP2om/4AbUBTKnQUMlL7DoNyF3NZPIJUBBwQyYonLXOEPn5jRQwxerjkt+zhtsN35lKnxm8oLtwfqe4rJh8vAUUVCIYAxGPWb0OHGOZTb5aew/m9uDELIbZqyprFyE8pmZ486nlaI4uj9lgqgf62juKMGRWlXO9TPFKyixfV/JMkXbsu5QTr8Cod/gBCUpWr0nAB6Wd5WXN4wQ2lfKFWgnT4SIdKU4ATLR5j7vX8KWgq0M8z19VxFUYdH9qXX4MIjeIfIFWN7MS6PdCdEhxIYknuJyMFuHJFfQ0j7aynU/T57Ex0zqyTogjrlgYEz4Tu+5OkBGXx9pZBdppiJv/OSZpHeUEgXdzJ8HxDlzXnD7LHABTlGOGnF9XcxnBgl5cm2eE4gHNLZqaCnJqsyx2KqPmQ00OqUjEzYHWgD3R1k26ukbanINcKlzoasqJbaFx0zP7X7gNuy09+qyXjPyd/FsVs3wAGGr3p9VZfZn7VsXqFBxEiuup0UG5WKdoX92JxcUK70foyyir4oxcL4g1euCsERf2/0KPywnuSgHi+klLaRfJp1U4D68fZSI4Y4xRZAqBBzgETP3QN6400s1qkYlplTlE32NWq+32pw+1OrMKRVFNjLzPk/cMjyZ3Bb3xS4fVb9PeGLbI5sYuvMUyTfkvvPQFgyrGcFQ9e68sthDBfTkHYk1JG7YECNvNeOeJz/OOOpXncvRKDKjhXDGWTMT2+Gcx0K0rvv2S8hMvFgHyUN7jKLDUo60bt5LdBQKu3q6a6xqtXGuJwPc9ovaxdu96oZ3RI7DUYzvhua/1Akn2DdjOZwh3476f4jy+qeuQwatQFdgR4pkk2KblAs0l3Gxj0sboXQALg1tzQHb/bSYjqWX7dTDTGYSkinRTr6u1Kl4Dsnjn9vtnyE11ApDLt6Io7vQq3KMoVcwrocPIhvSnS5MmGMoF4WztsYFYduX5Cni9u5c37mR0BoYigEk9uOMFPG8OuIaU0QA6pj1uIpZsl8Q8KhflJXaUWRs0k3fL+vuJpw9QMkOzl5vVx9PqKfQwH8oUR06SJuIA4ckrO+GRrF2YMP4VrhakM20bbASOJojdc6gY7hLC9/ppqItKeCt08Cxu66Ma09yFvuVuIK5sQi9DYv3ZO/ErUwA9gT/bazn+Ru/5LuklFB3OhzrTULTQixOhDJKQ1a581wA9JI3MetYcIizrNV+zyRk7uPrG77LANXVZgwncfsnhQoJjeevyCwlZMWsm8ylAoLiope94dqebY7BlS418eNXs98biO0L9A/iUbZjzceP22OGY8izDZmlCjmMnU/ibHEbbwEmIClFV1nmgxQIJt50DKYCG6Af/50oCaZuXMgbgJYJm8Jlq33cKsXnMSU5s5oOYFj3EJA/XnF3V5NdoIyFra1+3ixv5Se+6T8xRIOjfKF83h4Z5EmW7jg1xNRgY04vVBB6Av8Uuy34zceRJfxDR8valPsNtDOzzAwf0wMjIRnPcsgg2yz0HMxW849VazxjmVoPwltFIumIL0XgsX28F4LlcbojPZw372APSiHRi6oICZA2XPPr/PG2005ZlsJ9akzpfIiYf7RERZDTQP+EUH4hWIbZ+95mKI7TVjAhit7hhmES3QiJN2NzaDdTkiKCPx+CpyelefvHGS9IfSE++paTwRMUoGxTebxIajH652n5q4lUin5pTDX4Blx0g5yv6skv/fCJf9+YOoqYWVvu0mg6IjWa+/OnzPc+3YO3BS6a6XCu2JIyliaItndIR/NZgZw4jO5KJ91xvfqLq0ZdtK5zxQ69oq9OoAnnD9N2Rn2offfArxOukEcpZvs91s8jeYWikl8UzTqM0y9bxk0YMjMufrEcJpn/wpmLTuJWSLrdyP7fXuYGDFcQx6XNYcUDufLd8UVPRJjt3cjPDnTK1qxo7Fj+P8ckTpOcPZz13gDUjn5slKGYAGriNkLHwmOLjBVYRryCMPqsxtpcfF4RAPLf/rmUZN4vhp1pbk6NgP5+3P1AoJJCE8ETS1uzQ2tBE/xAxMgpbSIizuij15TU5KhsvNm7+t7ZOVDSqes3o8MMIZbHhkfp9pak/vmJD4JIhbsdUImP5SKcSjhbvt6I368dQkwogdrkEgg6RhFTOIuTGv7e/ho5fWShljys4nJ+Ny7NFE/f3oq90LghUcyxIJq0dQVKBWlhKqpN/phkmls51bQKQE3Z8ed9Qru1uTyyZkHAX+2zgbU4tuGsBaHminW3j7WwPfsg5HoRvdcC+v8xQodlKKtybatZv28NA6GSUIsWhgBVMfObb3TkX2W6F174o9AAid2VKB3vkX3Z06M/CVtxOOK7jvAKUhiWD9NeeB31+j61ttaamJmWzDiRiu6GiraR49+oNw1ZbWvq8TzKkTf9Rnims0KFWBe+A5xDhT2vSHuYVATlHHccmYdUReZE23EQKh0K455WojqecBqDs31xDKnEDACpQRpyXd1XvXvfJi69QimU/sMF9SrkWPojGB921wEL2IAcyTV+kAiCEBeln3uHNZ665eS1k4nI954s8hs7avwCVk5yIv/psuazvPxOYit/3ePAkpeZMMfCzmaI1xgbh3kePLJzWK7y2qAFi9UhL7VX0pq9OOEDCoeKv2FOWlrGcJnrkIFoC1b252xHdIuRiQMKtWmgLYACavg4jJBvq1AJgnB0m+U0lxt+9G7u47TH1jrefQP+swyMsopMw+JBIG0lxC9YgrwzRK747w162s84Go2+E/NoNfYOYfXVZ0YK0faX1AEpCe84E4XLcD3HrKsLVRoBIydVgR8hAvKIGpgo4ZhyWo+yPoD1/91ehb9qlRgIZqefoTr0MYh48gDUHPWVdZYgj2kWuMdYiCJTQSm1QbeUN5md76K0BqhCRCNVwxqAhYXlM6Y2fBQA6sWLKRiIngx3dLkcwJiss70/HBrI/f0ESWqHJYum1BrHzODPmOlJSTHigKNVUgBs+XjU8tMbRgvTIst/TptlvM+l5vYuKeSuKimd3tE89lHCwEUjYT6cVvf2xMEzwZEx5ZArkUe/VJvXud7Pir3ZtkFtHQO0AVAqkYtbZP0XHXa/zanF6MO1SrCRqvrd3xZHhdjsSvfZuoJCheKxUwBg6kh8M1Invj0cQiB7LwvN9cXFVaw/UEuwsljFEtYCHDV0Z03TgS1f8T9ZO4aVHaHaWf7bcSYh3AAreZH6IRSsWG4M8BYY/G7ObMwMUXR8+1DlKUYy9f/eo9XhXimLSkvbVJ27/6dREQlwCOd1sWTAjVg/lMCJzU/Cv//9ehRAMQ58tzxyfjnoZbb/IXQhfSCoMOECQml2HmuL3/m1MvIBRawflhuX5zVn1PPrRP6jn+H1EiQRHbqn1NTEfE9+cXoIc3+9l3N1vF2eeD6R8BXbj0dxGmef3cyd0dvzm4udnl3EC4F7b2k2DPfQ5wm5Dp26KZpDWlKldrE6GOapkVH7DKePFTE1knkeRSG+hvNMoVFB5PiseMAXbX+zajvimGQTo2SVuETB1WjqI0+pzAGP+ejk745t4lWaHWlz3I19dpRbSlR9NhiYHnGOE+pot+aJojJxNqAiiO9V8pJ3CTFA7fAfDL4bxYh491GArn8aqvwkEpbpMuiHHUV0jZcHFVZPza25wBB+t8Xcziu8VEyVuqzUfeVIT8DTK0rZitteQshAA6zYDZt8RUT7t214Wna8JzthNbme3Hv+vZrrG+Boeq5CXSWEhkgk5WbbncTsu5iDWHECdyzxswXNpFqzq5r8rowe1gjZ98D8GgW1RxD+OMrSm3N/O1fZDkh5gaV3XvX0tr8trxLsNuu9RbpP22vK8fJMuqksEcM1r2wpki41OZHHfg3gpQioci2+nnkASEyitqpn3yw2/w1h4buZrXb9tIsNVqm414AkHYTVv7XtPtb4b1CyE7rtOgp4zrGSV0Zsr8gyrSQutEavYtys4vgUMPBZ8uEn5cvBQT3VaPKhQJgT1MJHWFxYgkaZkNJmRXDmPB1w9eKN7SkFKXkdqbVBd6pJHcOTUJ4q7SoY7lpOs9LpIxH+YshLxwNX5nvZRz6Oijf3lJYekBrcr207ang88PcJQo9ESorjjlt8/iuFk7jtOMUQzWiuO53HRsYbBvXlAW96eNFFbcrCrYiFJLzbjWYsA0OatWxX0Y7QsfVy73kGFXguiZqz+EQbnsRc0UdnLxiLguOGHVN0JtbH4mZt8gj1HoTr2io0BVgXsBTA+PjBlO23OkYmdjSqVU+wJr28x0QqlNbqlE9lyZ3DOZxMZqnVs+bFGh4ce05l5Vy5CslJ9zQP1riaSDWNXn0AFNhhI2hf8r+Cju9CFX4vmZPfsRPQ9awtUPWSsqhF9JmggdnwR1WxxNk+FxZ0wmTbUa7AJADWGyeq0uYlgyIqBVuEwaF48o2O9SOtSX6rwZ/E9T0smlQmonqUzwQp8qtZmubGmZNiqZsrIVRmuEpRgSxBX1PxvR1hancuiLnblbmWd5J1CDJpEcQd+0qJ93V/dLD5vbKyCPT2zx/nmRK0kN+qjuBP8E1IeEdFUrEMpaXIuvcEyVhp4yX80oOwdX3VocgxlRZ/v4rqIaihBujNf6Xft+qJR8DeapACiIt4cdKhcgI6sMBaq1nnahT1T0l7gt36rPwn7+bMaRyVJUuD/ZvkOzcuXnMeEO1+zfrgVr4eq+NyIIqcbsNN0a88JM8eLUROucXD1akEDPo3p8HB8bzPTZCkd/l1ni1PkkFbJDA64GWvvTnCR6T9YYCVK8S2HnnQpV9WL6iFztXH53lNAOm3g7KYNBVIdQdHhMvBcfmubJDDsVxYN07+SnL2//ONFg3gOQzDBtEBHL1SW0urVUe9M226QX/pSw0wlVrAKyq+j2JAqqv3pk+aIwJheCRUg0HbMe41Zd3ZMD/Jeiuaw/bppsMB5uEZt8a+6QYACyTB0wYbcqrBczz797X6mqSV2ZHiBlKSIkrfortCrTIPGo268o+hjOQ2DM0PfnldtPX47HrhT9zXmY9M07XdXxFuNnDTJZTdctTi/Bzp/vPJmHO8NjmBZ3yQALWck/mVImYcDvC3rC3AeCQS3P6VgUAk3sKk/MAdYMjPpKmNLFt1CThYHX7R9GeeoyLmyW/kuHmSnWH4x88E5fdSHnP7GS/ixvgsqgiCBkc5XLjlsPHOGUN+VJudo7Cv1CS8M+5lkM1fggvCtZdzhLJ2h6mEjuU7QHtA0W56+j3FU9mzsMLz8FgKGKzsF+2wvW2HBEANNLlx5X3d4M573tpEVe9C33NAAwEEySrt3TVT4MPaMXSDRtzYwbxmBkMru0Z7fJX2NivADZIiQj8aq5wbFK6RFoK7eo0oXwIPVC2vZN8jaKe4trnN6xQnEsCNlLJe8UjqewXrNSXRos9l5Cs0f0GHzzY0Hp6JGl8k6JXs4PncU+Nqtl2+JyuAEPcWBj8cSxcHdMYOvu+GPpkqyXa75D2n/QvW4egmJem0rUoY1yAr5CpDYSWpHGefdWjtuZ1CZbRphO/6XVKSRlJjYUepsPXh+89v2wJdoyZS3pUvp72ougch7tjArlkHlEHXlgyBCh6ZNHwn78wRNqTFWNCp3B2gcbEns+YEHY7HmjYT3sRZQQz1SornWBbL5R6p8Zopky2OiuBVEGcPPr7huxeI/AB+bmoRag+CqS22EpYCgzVMQmc+diB8kNAmZJ2Tv2qBuRrdUgeZVmzgMa24E43kOY2Liu9zNK33jIRMYoi4TGBIfp3fFhyEYtcZ0U9H+cK4rM+/Q7tMYppZwuvUlNs49K2Psy+sbGhQFLb3OGVejczO8dUe2PXWtrFs8mYeXCkXgFTnkdl1PIHLx8P7bgS77fDazJlDOlpZ5UjavX1tejGlkBQ3G05dJF5WwojP1/yPT/CWrkolsMHQsyzLEhIRTjE5Qyhp813EntLj/Fe7Pt7qe1PZ/4EmywyPcIpfIwMtg8FOfkT6/QLxpK67JwhmFe9DdR2/mwOnzD6uov0uP5gxs57Gu+kLUFJVLVe6LQrx3U/f5/D2JoLG0N2Heo9iEs7BsaQ8DKh2iYI8WdsZM2FpEruSuF2jhUcG4FVMfYT9k0fn2KsamU/yPVS9KHJPa2BZS6dIPHnpNp6+G6lEVEYAWUaIaw9e09uaYnojYqOoQ4N8WLtVjo3vyarfiJdXdFbErbepH1d/yKtubGBtHeJ5yTFMKnakxeXojyjC85ZiKEK9iv9B1qOLVvdP/gT7yPQK3kA8ZS9MPm1ISo8DJE2TscJ9uXNE1vRpg+bl4bvfQe9F98ud2LbszuNDgAiTuGYvdrd9xsbLoo3/xFi2fJqeiV4gA/y64j+TJ9bN+AV30hcEUjwAOL01jMnhdiK4e01ZXOwPXs7u54IwP0CBDQ4wRF0AVMuMU/te9vhX3F7rk/+vqtnRDFM1maGvIrllhSPT+uWI/kbsQNNMw4Af5rGukLar2HecyUgQVHcLG4PiVr4tZdb1VSaYPew1GMDqjMEBCHA7ECVoK31U7sQaxVMoeRq1h7LJkpmUTNLK395zJAHB5KJxyJZw4OBh633yuW+VWOY+3Oqr30iRtxwDpTITI1anVIYChRB5P0+fFiLP68jOArmhU6dualFWIEVHM4TPQtahZRVJz+qVL2TV3671Nxj8NZBb20iUeD83SurFfheGaxdsWfAflpYtI1z+bvdIkLd/4iUYP54M0K75LnoRceT8Et57glqxR49sGhfkPdguWpJ3ohMTlH14nNsgY8ltyhwTqLEtcMANHVb3S0R+wPYHE48KXjvbXHWOCOvn0eCLSNlXz/bOHbzkBhFXatgVloKX7rTBmMjHZUy741F/UC5f9/wU0ku4ZXXiRwSJRpauqndBqQr1eLsnagIezGgjefSEDpAjaFg9oPEfFY6GYqdBbBr1rknqK5EasYojbJZsG8v7kdj7t6Bi5kK5glp+9aKsFXEwEQ2WRtmYqi3jHgxxcUL12mZL6c4Invll7ttZUduk+/s+RJTgyCaGWWkswekfBXx/v0Cq10UawI3S88ZPYmQsl7BXwG+SUF8855iGktI/YYHXvbVyFXLQ/SaILCd20sqnbGIJvFs/hR+CKcHRsd8Z1BTqgL4kQfroAFF6gaEO7r+e/fqir+JgZ9aYe2R2HhNfcU9ImQIx4amI/+Ct87jel22gMZiTly87o7LrLoqhYGCGCGYQcjF3hMpHqB++NdVmSCzT0is0KHJACKR4cVtm80rEx+KhMLeGalBXaLteKJrd/kh0WfpHxrk/BDFxMIbhMYu6qtP0yH2qHlKTo229MJB2Qbcz0PflfTH35WJxOKrsV+nfDUC0VCGlYR6bmI1kAHiXg3ZiHqATMZoFjxQpGKrlY4YAaTKLVtBZoYfMbACbtvtS9aoi4v5FHV3PzsGhaY+gbz/VSMopJ72J/RZJt2G+rwQ4DC5CYabXjRgnXyoJhaZRLWz3K4fzNgC/AJvYNLNjWGz7hkOKGkgvT9dvHXG79OxswRN0aErxfdiHpefk4Im+h3VuWrP7klptrlLEFd7jez6sHMTQnuXUTMIusOMXguqiRcR98Nkli4RztFaAAMVdnk2HOtb80yKbi/WE+CB9zT2PQi4dp7WbKuzIXheE+mGNOP1KPt+yr+osw19zOlR6OKgXkxeGhfSyWCcrk019Tvh0Z8zwPTiky9U+U8qRo6/tFgsqnhbfP46JXOsSDxCR5nSTIj1LQHwKDZpdMmDXjHcQj+e4Fy2pY+jrKeemP18GtkT1Tal3gEhv4E/rh1IRkEqW3BLjygo2txX50XJsQ/0NZr/dh27L48H01RMUpSuw3+Cr07FSYUH1G0JmbekrdkR9bJQ7EXVHBkMOGGsZJzXDIj51dc3FjBWsHMXDVW47NhcLjWUtzLam0ouPifqEgxcW4cbQUUr3xh4Zyqp6SiYXHV+Y0SFkpQLP+oqNK3wOWnu2sNElhJUUzFCtUPIUOpI9LxYBxivDQevNSymSEZSkGKv8fZH4lZgUGIIjCe0vB9CnngfXx++gxKA24+EUI1FUdlimokiyVAU1GS9lBCqPpExPyE481mX2CxsJH6i/tDE7T+KMPM4t44hDX0hnB09htReiaABqswMI+63tobICXhNQ1O3/NH7g+9zwTd5FeBnSPDWNj4sIUqr/UiiO6EqxZlmZYE+Nxs3T9W6ucq+TukHncDn/w4oJhxOhJH/DAQgdAxTcDS3XXTYqO4tc5Irxr21nSVapEa8K6Iyrn65h1Ex3phc2Vk/mQwoMQAWQP5j9bgAWKLgTDhhGqBU5LjcmJTmH7qlLL4R9QHVYzW/T1V4lHx5S2AbOXlY+bwR35bY+72FgMtQ+Llag/Hu/tFyOhEMUYl3mbhYxEj1CcTNQZx9UZrlS0YVBQnP/XoxQaKHjEnteiGeysI15lu01xKBwujDILnnwqdjp6LkM2iLmmj8ddHupbvHI5/zmU8OwRQRYA6rkNef4sLnaKqPt9/pUEOFKw7t7qyW8bsAjUw8wizS0lw6IK5DDt/M59GK5SH0OAtv2Ejn3VWnkCcR13DnPVlpfYVHPpm+PJHCD4MvnPE8iSrUTw4lXP3nvJQuthw/353oMhp5wjxTBu6kaEcqdHuuoKtFn35mnebRRR6gOExYP2pZDu/HDweTRn/xAV8SKjtxloG7+ctQkPIiL1DjEAohcGgjVvnUH9G2yqcwBf4HNmzrqhIEDCkUv1me5Pgnj1T/eY/YAYGgs5SkRYRbco9KTEjVX4dcd2O4P7vWCDct9ipxoWaXEsMNgTMs8ycoFLR+9emdxyWFW59ivww0HvAWwpzcun4Oew9aDBUjGhi1zXR3vUt1aUkcogQScFzn/rSZqs9idPrz5QHuccNOnoeg8mc5QAjZdmfc1+RPyqjbl8S0XwEVBELoW03W8GwfljVm3Xzf3djxEFB5a/LJjqt4b0AV8ZTfVc37ryX3CDjFHwBJr6gS6TJYh6EAj1SFvFMQDXLPgRW0wM/DaXbcyPHwCXNEknUvocAbs8xxJTxvC3H8E5iIWFYpjJDSucyBM2I0Y8pgMNLZ/Ynph7UvHXk86hwrER5ZLCv1fWI/+GrA/YQDkX7vd36di5JtTdWFULu7J8PusnTGQ/xMcfh+OPVvuUM7oTjMyYxfz23ofvGr1knnKvkdNEAx1+/2dPrcPeJCQSNcgACzeIxX7Cdh/HB4jscKkFrlWzLWffQEDxjwuKx3KQf+ppXoSoDjU1WBgLjd3Td/VYqFXpjPaXwhbS8BRrovlzYQbixp6FHm2YAT5g6qF+0kuXhrnmFSFcF3HIHxSxJynLSPmo72ckJNifOuMP9FDz4EZeKSlhvRYzl+NnaPmF0zNv/STDP/lgCPWLzG81latV44nO/B/yxZxUyCQTNdV7+/kmiYbwr7UdzgO6PCXi9YQbPJZCxNnpWHldwOrmjOiZ5ViE5UoYGyU1ZOuksZCfMkHknVeSNIN6KMFXdLPjf9yu6/jykhu9xRjrpWyMaSXaGJ1g/s589mpAu6wg9K6+DhhsJ85Aqeubeh8bY5dWTCeeoh+CeuFqJCDj1bykaBFywaJ0yBxN2eDzOhtOcWbR0n3SOTNu6j44LP+7t0ianT/a/SWAcQrfKajRiGzl5kU/DFbZq9jdc1DrvQFPClymoJv/CiA3a9h1PzK5pWug3eUXOlsdRxH7Dr645O6lz4BUL3izgPU95kWNZKxuHUET+kqmqkOVOR/A1wxvFf8iTth8UhQepxQBkg6tvcQfBRoKLWLchu0ddBtz25FX3waYsJy0IDUpSMhN3DD8Z7umFQerCXb+BShnf2CYPAwTf+eJkWDHBd9u504qbYSo9+2ChibFSsPPQah9/9xOtpGpj69fh/qzfQXGG/jNkiakIDvfc+sYziv/9pRw3mf/FYSj4fsaqLEB6EFOFSj3cL+bZOqn0ZIQGz6ABF3cDLFE6Car96qGtCGM9J6WEyOdC/hJpa5VFRYiWHw/EzLwcn7+UnLmXooTddekESZKmcE4BZDIlG1bd5m4OMtwk+/tGJB2KaKKjb9ZCXg/OVppOgGsyaBA2IqSJ6RRlGhQVScph8XE3y8xgG3boLqASoaprX4Ak38qIcwUTv54ZkmPXaWYuZKMm9DVYv+3GPAGCsm7uKF8SrZd6q3nKKWKqjVEmOhwt2pJ7vPhGmRXcmWFLAiigMXSXSe2FCdBT9MdwYqt08On5IkSmZMLGoxdUGZlVJIN0T+/2U3NBGgB0xeG314q/QCgjGnQ97A24x6MIIa45NJL4hkcutDxk7MkIjXb5bno/DK15oZza9OnSlVWoaYwWObTXE1TcHWD4WlfK+O8A/uEkzspHbGcEpqodUmCNjxilzQI1cndUJd2qIUAvH7y3K9zI1T1Tj6I/xZ221ZPjVsKfOnX2bD0WwCcZFDDe2uZP1emlym8vEb5on+5+IyfPl1OZc+9XEZdZNdvkeD31dnaKTaSQY4MoY3VdpT/b1x96w3ldJ47dZ0MoHvxSBrwVsaU4R7rG9dWdPJQWtt3QvW0T1NiTP+Ss5b1E+eNt09ggDMR3gjfHcnhZvbsoWp3kf+aV0EfM/gn/Y0xf84b9yoGR/R9zS2QGSTVAKh3pbcQF+oMtA36/5cNUOLwWIx1yp6/Wq5mBdIB89gbA+IwEtizfvpXINErZx+KGXOiZvX7TO1V1g+CceH/39Q6B+QXWsuGXfgMQEN9aWt0rHBJA8WJPxu5GEVdcHaoEzW5/S/dvIh+7aP864/JRoEfYYDUvjBpWU4Gsx65ckjOfqI2DnspCNc0afttF3NCyQKE7W7zvI3PuoBMea7bMXpGtCXUNq9Yp14uvbJGAsoQPG9YZCxmMT6Rjn4FpujKKfgZeW8OTttCyIy0NwlbuNbZDoWNynbRG378Byn3qLVlu2K4hp4sTka0C1Td3WCOLsjWH5lEBRgqniW6X/RstIbuWnj+71cp9nzxXIbMae+rAyrAYasAHzWsxfD3nQUGXaehiKcILYGTO2JKFS7HCuVvC3JempcXgRdk8uuC59mugzt4gQ6JzyvmIzh/LXv1EYwgYoAPSgC6E6hGRZ+RmyNru2g9aRPmTZ0qYi4hi6YClyW1IxuSukprIC/CROVY8eMPVQrcPPgocV4YU0MuOPcUCW4R4D0OFxSfcsO31qivLvVDzqFTOKrgTpiFp8DbGrJKxFgH1JTUd9QyY1Ay80dsyzsX6eCNWzvqYKIPigr5e0NLoatC2XDZf0EHnSAVTsSyPQZguYQED1UsrfvIdYPNbLPsvkLuIIiLKjqbcwg1a9t/QbTguq93IBxYrGCFXld0fJzTikLAQOJNWZ+GBQBNFvoJvrVrTri8wY/MFXUrDaRzSBfo2qyV9OR6j4YRxvZO09E2sGwEvlsajecSBs3NJJuY6bWqKaV1iXje5viKCrDdSaMYBRaZHUDV6FfLkzPuPDegZyVENDKqBRGL76E9xMix5ISIH5rHxKoyWcu0nrvEc8Jay0gQL7tkimC1nKYy1SKo+KCpOsZdYIl74jy8IAHlvfLvGpm5RGlFmcPz8hl8e0iGKrjz29mGp3PjM2HJZkZ7CK/r33X9zWksB3HXtbIwdD1AXiWveCPf8e/6W/seM4cHUsolUOSjVhB7oagWYWGA7Kwx6dJ0oQ2dEj/O1uvqm/P4vuEm8NrNp5VI2refvYrYAZQDVgU/YAeGwOxYhFzUZ3M12X2/kAQYC42xxH7PwXjwTXwoXJhi9qbAjTBM5HuF7itKudDn7Pk+kiOjIheruhf0T1+ov9akrsIStncZYA0QvBqzwgeaHKahHr0vbWKYWJnqy2wtbtJOKkKvkGLaP5QPuW+b+T9df0uoETHjrSManasINvXkXkj97FPxlKRLyhqPRD/Fv+WloLSp294Fe1GFVacgS0136PbZXgWNnWzFiJvE3Rw9InoLHQibWa8xSfVmMnXioT5fulReIYtjF2n1JRf298DMR4tbl5q87JxC1gUKee6zHixn7L6hCa8jFIuCzGK+JCsbr+aYCDJS9w+UM7dpUJs59a38mTJ4yy8d+yr+Bxi4aBCvrXxQdl8N9yWYcnnox9wZk7p0KKbCZhds0Ai3us96QnRvt8RlBT3FuOY8m6fVqBwM9JTbPMSBWOjStC1HNWPyf/KC4I9uJ7dzb68kMFaBfErju7YhNGaFe1wXS9wRCxL+Hj54FjwXsQRTua3KoMxrN8W8ZtmPnPbEagpKy7TN93RoXOR/15mpjioLAjJ/ZfW2sj6bddRFYX3VbgUF7ma5Vo088q/CwWfw3Kpl/hY3LqhY0R455uS69d+IyJ9TEXR7/kYD5pWzZt96RRT6nvy9ZMJ0SIq8airD6EF8O5UsAgWMaqxILGv8HifMSXZYjGU6Z1EtmpXsg9/sL6xq8/3R5vyvrnPeB1oz1xc9ud7L1O6K4NkZu6XhGEh8KTNwlZU0X17Fvn81AXy9YBdyGHQF7Ed/IQmbIlkEMrQQQhJt+KUUa+sWpj+mnGWZBxOGLWZQFqnMXIgbWpezuezrcuVIztf9BZ/BzVZhHPvJKH6HmNdfB0x8JTFIRoHmKXATDzTtz8Sk5/b8HK6nL7bwt/vj7eydsHp3bKgFw5taiYzuaqGpbeU8i+0SXsOdKoKsHH8sIR8rbjPSlnq0stgFCwip/a47XS9/VlvoYvQdFolwQLzbj2AGJWtu0mdQmvm3P1uP/F5ntn/jIJZrDsolZk6bQ3+YiY+YqjjXwXDTggzwvbKRyLHf0NtoEAmRgUIq9ZlVNEzfSDS1oHD4qyDdB05N8QxNZ+Ssv9ptaJJTli5ZmOtotccA483blHph6UO+KOtKZcpdEDVkwPDMgrmGRhql3nFPzudV6kUYgm8T6NDvjtkPvgnZgT18o8yPRe29NuEjcC5u477P0Cd1IegSZoCLFvk8nINTql1JvZS1sWYnyQrJkiN0GK22Dbh4PjUD6wXkuKlheCepPb3tkzU8SFN3CLe5a3PCjsedwA8OCiOPmfDLf52p9ckfQcxQpXFGUq5d8nG7p2+vmI6wsWjmGICal7Cp1eJIB2SAfDunpaBZ5wiu1RAM3Tcal2FLnjAWLBmZDnfvx6sgo9MSObBHHeGYCw1YiNn1/mJqiaJk+WHcfh12XW/mF0tQ1tXe/1OCkuldGitsuRiXRB/7yrk/4tfZOxX0mEiSDu4akM/k6n2zI1yESnQqgbTcv8ZiRBUNyvQod2zP8aebTISgF0okIOjcKQ6j+86gTR0Xq8JSMDkn8LrIqX6RPhYHn4aec7fYK3yun28aN0NBDhjW0ipfQ3zrtYIg67kdxdiFWBlNMl3xo5Qmw/vxjQnpVdwQavZ/M2pzij8BEEAvjwcQcHn2qCdTS2woyOhDcOaftce389bda9aRoqRIPzMk+DfaqVE6ZmXVvndKQBmuO5WamDJg3D7imoHCDhjOTpxzIVd0A9P+qLJ3WDD+SA9ExzpZkRHclfUhAhjlXbkFuadjqzsrV1cEafsA9SkYtPGylR1n5cuZWdNhOm86a5GNqkRmYjzMrugK4yvB/aSnrSJp3OpMuUwfq4cJ3Vk6eqwMZ5i+IcHq0cAe0HEptBhF9Q7sCniNK5O8FpXCu499KVV6WoM/TOqthRW4gWbZdYNNxPN/zbJVjB5qowNvoN7V0tOz8fS4E3LRgELtAGMtuImSHrbCjaSeGMAYB8MBmqdrLc1HYgUo2DkCw3h02jIFLMuQ7QNP3bwWRE4iafOGP9IadOuapw7bPsenn7GR/Pg5upgLVIe/nhOqUqQGdMnrKkRpY9UJxlhfctIhyXzSAgzDUaTFj00w6c6Z4IInier9/yvoVp+QCQmi+cOPeuI6nQs9C+ADn71YaUsKxteCGKoiAP5ihvZK5TOQmeEy0/TE9jT1NQ3euOlaa+zfMzqMvr2NOiNW03kVHRAyecH9zQVX9FYTjCLqkwnDAYZGj+1BNSGg8BMs+7aEYokfehJbVMD5DxAvrNi4lUpT5TWf4Xe8llj3UUXYTcW8VJMJmS0ezhTpCCtdyrlv9gPDQmePyaNBzbivx5koF/aMxdXug3Ug7kPqyl2m12rA5jFszE+prmaz7pvpdFbjCm3rlQ+YL/QUgGAd4xG/t9pb92/yAx2haaEWuPWKVGBn+MbKqFQm174i1Rq8Ca0Eu1Ns6ONOI0zObjdw4MBR1venZuJgoCLG50BiaFWD3bBIY99XZ40OznSx+3bRNoNPAWG3K6Je1QpQ+lPj5WQKEjd+qxyuzOjhV41gXtuv4Z+lrgT1DOEfe2KM9uJyYaZFj1IoTwLQfLl60eMTUHl7Uj0nSncx0eM7UJDNkNvQJFxhdAkLyE22mPte7BYz9JKyQoZRIZD3JHSLbO0waQypDXCSfYWCHnu9Qt4t5AH0xVSacleh+5lFG2LIzKhaCwefeTi0x7/8TxDGOxab+dQOGrxg3D9Fv97ygkmMUI/KnykmxEbITUnhaPuzaI1f4SccHAnQU8Q+aTqPZO3RAC8F56+fedcisuOiF05TCrsyUjnHr4EBtj2ksNdIl1svzecIysUR9o8ZuorMc0jRHNQBSd5+NaGEP868ARaxx3xfxguddTA0mJWxnJIktyv5aqgKUdstHka0oMwzE7wqhsjGNUZPF0MWD7yr1Pe4XX/sSQjIbSGpZ7OxIbg45zhm9sFm/pX1DYl28iY/dFaCxyKBAxLzV4actyvzM77iIRE/UtizO8H/eiZSBA3fIhWklzo2wmbi4+D0NE1v/eJmxARG37dd5OIuwO1riBoqyEZTStz1a4ZIicLD9vXvVSIMmDnO50J6uuPcQLCZPfwAIEJ2ZVvKRrBnjsZ2IRBtn17p3dKmJMwQUwFUGeDQXy6BhQv9XQaAnx74IsJcaQEMFRwuBLo1GCJGmPdyz8H21X7k6hpXlXpjLFOF604MpKwi1rzfeATLfTwws7H2cHwEDib/liQleq3oUbNUodCJkoapaCywwRVP0ghu/K1B2k5II/UFqlKYtRGBd1cwgsyjnG6CQS4pIRhp8XKPf9730t/vbqGjceiAwnNKfllf+bVWGL0wduIG/XIwS4SF5O+WMg36qUh27IxDpyu0jshnzQdstxNQJpTR1TkJFWbzJrWoXNSR0GGcXITC63o5oIeTwF/f6d0jLR22gBIJmGMeV3DP43cgI4RZdSPgeK1H/c1bNM0ugsNrPAlfiUXt79oDZJzDYmCf5rz6NZ1nmM1nF+jQQEA5G7G6CL9GaKhDexiuW9J4nYi8k75q/GbrcNgNnj7aIvrczcPz8mul0FFJekJ2F6dOksWaTBxBehAFQ5kbjDgLr75fSNFveBd4aru4gxdmOEStyeb4mQq+aTTaEMM9MqQQJG3C3yuTo2mEhlcrjofumM8YWtIc0uVAvqH7z0FaIiNS17ZGSsjvymJbkBhaOPludx6frDxiNhSapHGkSBBD48RfNf9W+If4q9YY4t4Ti2UrpLg1GM04fL4HFd2RxGaQ4M7CHvhy2gnZUUlVza0IqNMffsv1mSAWFkKI+A8iwvbvyxT+g2X6ZP7qbuBI8Q7s4ACIeVxpM6R3DM7qjEKmysEuQnoZilRS4cuF1eTcKyekw8IyjMNSiPtqa9ZNO+X9umUnNkyi3pWYUot5ex9yqKDaTt4e6G0QkaTLz1hKkFT1JGYq1P8jlJqK6X2fhI1CV1YlrK6JckR0V++TAulcMwS63Vd+x+tQnmaCTxLJtRjDG2l6QldmduJEQS4I1b9UhhlPb8qZDohC17Nl/5q67xb1g6seHV8E72rQ1L4Y7ecSwGU/OeEGzo2yJY4YsJcz7g7tKsYapSQ6yxmjRH9rcCGWMPzXq/1AHa6WNgDMqjtcrVAWdEIdIL/dHXbgSC5o+syTQyFH5l1YbRXF+tklPlgGCn11gvEggkJQOObplZ1+Ou7p5VCTqfSldk96MCNc5Sw99xVLLpT+FVkXhC699l8oUaa53JHD5Iq/RkGgnG9qTrTHEH/x38RiZfZKNZdF0K89CT75a3LtxloK5WNUZFuL00s75mdVDCIsbwvegCSLF/xl4Gkj7qdKxQStnAuxQaVeHcbK+yAc/HyNOjdY8PIuTdBE40NAkr6gSu0j6aop3hY9HRjFX/UMxzw3C49LUX82B3T5kf4k5umqGntuUM9xP0NJADxq//6QAHq4Lg5nXUEDJFTgnPq5J07YiWpeaDbNlSVYq/bOI2StVKR/smaOAp0CaAInny4IfiLyjJiMAshbFQdaS4nf5Ubhuay88+yJOjsXtEVHP0vPNelk1y1PSPYuQf81yIWktiUsBuo+5gV/k2qaLh9tSTg6E6KfnH5oqAJSGTuAZr6NF+wLBTwzRWaFQtSNo6pGPvdP+vgCLr2ytlFKdGMUZ6d4xqnKRYZqmM6xI/gcE0zYa7PdQEm1dSpRYo1RSgn2eV5Lp1uvojHHwsAjFxcSjwisuGuSuVHiAuXjdEWWSrzFmXWpdBsXqNy/y90mJoRauj8os6j5psnxDdARuK/4/KQN9RdHA38vuv7aPkyDmOGUahY6mf4XOsHfDCNbO8ujzk6cRGYKZ3fpacDQcVkkoI0TH0Uois+NCPU0MBGw9IYzZNQ3Lz4mvAiED7OPKnM8p9AQcjR+rjzuPNUVKYu5pAFMnsj5xiMIHaUK4I9r+0PJoFlSjlk8i3yh6bYfMm3tisD81b1OPt2NR40WAJh9CO7Obc9TAelnbElp2o7bMGTv1oBsY4DrD6fIQDpMvcP2+X+0JCBvBSJLOmUcdfybSAulrObFazK9AI/vDzSFUdZu9ULVIHYO3JbGTKo9LKLcwgqyn76PV/eIkSxDn87Coaaj9CFcZtCH0KslE7KyfSaoVulb44P57qNW9LnAgbEODbpf0EvYzpcF1aXPKHrAOqGhShz0ZcBBILXYhgjBb7fa7YsZVEs4uxPZZhWqrTMieihXISv2Zwt+e3ebMRAcLh2ab+48bdyd7Hhtdfd5tWqI78eZtUQbmRkFZN/5G+rGmBoCx2DUthg9G9VAnr/BtTQ/9QjZ98+/kKss0hnw3qTrMhH1pQiOs4Imu46jDI/cq/iZp9qnffA+yN+v+Eor2IknsNk/Oty4hNlXDwbgkxhDvRbXs7VVmrAYkQEZmMRPW9DL1V4Za/6jlDRrZex95OURqWZ2qQVNRZlT63AuphkV7xKBQrJorsHm3rIrkHebE7q/EmKAYthrARd6uvSuPDZ+tNJ3NwoxYknq8qicoLWVIfixBQUguqh6GWltUVhwgY67iX/S0G0UIpQgD9qwUcCJin+4zSw9DGMUZJhmbLV1LUQLhtaFwFsrdCqFmHwCzL1NTgkYWBXFguG9cnrfdBlle87lrJQJZdbRPkPXYe3jh+Ri6VEnTERiIwV/Gw88IbBsiex3Bq1qZTCRYKrNqwjD6br0X1OleqKvP4lxDbFPf6q1fZl+mshxQ0CJTF+YlKU6Q7VcsISAEfOZ/9hDEL2ABIJ/TVN3IuCBH7yr+OIZ7iPobLWeYeoZVmyqA958S911UjjJZl4IvnvOcGXfxR5y+DKQCYWXDEeZfuO58A8Aja3sfiyRUkIh0lsPFyp4KAVgB4PUJACANP7+QSFyRC9dUu57H2845Pvq6bR3AJDx64JtK01+aX+x5m6jFNYWHroOdfivsQ0PfpZ5/N74bPdRjJw4VlokCsIPhwzAbTPaMy5mhhzigkPkpsBrjnkg9BZRc14Fy96zrXC+w8dRf9cNUo6QqQpgxoicu/9pFjkTq/0nL4kQH3wa5igkxkzUjBS+KCuyLj580biog2zwdoMquL4EtAXASAnjqTWSX0tEJmdyqvajeDVy5fJVPGwRVaEMCcOLR7kg369tjQ/6k/FL59QbsqDnZCgpVyuVgvNiTcYk9ugPHaM8g13E+ZBbi/ekYmsh5Tj993rgthOm0i3TvX56tnfOIz5xcr8XQZ1f2VVrJW92hi3bcqBaZoEpJX8EzGGqSASuRHOV3EH+53WOosM59cjZbBWNRDGG6RhZZrdMMULwX5sTh5+nPF/6bdyH/fkQY1Gv9jGy/pbNDjOzzmGwG315Zg5jQUagegxBdqFRKILPbfKUOl4SMdBzVnHQ4Zi4vG8Tryp1zwSPogOi6xdPbeHcZH8yT+q5Ox6PfNmbGrUmy/O9XtPOPeIPBB1P0je6k4OXFoVT2lwKouBzHkD68atwSuCIgfgfRZ1Aox5NY4Ct7ftEf5V9B6LZZrEhA23fCudNTF+zwYrnLeCEr1GDMHf2Ok4ZfYGNZ3s32biBgfA7MlM57evC0IPtIJirS5WVi6n+HZ/jV+pmpaQ9qW8fGhrPqy8DyqkvzgnUagF++LvvNgcZohwF2G/WX/cMWunC8lhNhOMgerRSsO8A/txlJwdpXZNufmUgiSwGJ6Tpa5XUe+O5A0OEotSwLOCVycucRt2DzO4qVo9EsMGDS0zeticI8/noxx4kaYzoe5GB4iknxRjjuppda09pe8RGwYPrUFSX7PirO7Kp5g/kGuPUGmHn1nVDvt3RUPcuL7dwynOCmtAP5sMqh92rvZwc6QX6oX1dhRXx7XCtDcH55z+4+P+K2RSQLqJpOznGZREX8E9Yih/sW6Sd+5pJMJloTz/6RaI0bR462HYLJXmk66Tbb0pOEJaYHFcqeYSGXta5dtAtOvjnwMLVuNuQuz54f++HP01Iqznz4dP14QupU1XTjk8NYTps5lSXfLQa8SVgPLiuvuA9tLExmVmy2j2pPKGWoUi9LgmkH4Zn15TXmWT+XlLgRZnqOjhYYt3WR9aXNgi1eOlvop5NohLqtPi1i2xk9jSQZTTp5nwXnFhY6UiWyXypMNW1u1YM/wQYLjJhb1pjs6ljixS1/UtPciBbGKrqlTrERdikid4kx0Nq+LZnBn+T/qWYL0wvWfTeoW+OqIEddn81SDYV6205Yrm+ORLijpLuzJEliOhqic1ed85Nyn4JqUW7AD9dGzYpPDKLQZUOQLfIGjQRQFv5mpB79PbfSoTK3Y5x0s3JbXfKcLHSWqyn0lpoB+Mz1CuXlwNVboJGWgLYGv15x5oBJ4N6OzVtjoDyhPJn/mTiP4YyfUnZ5AVLgYDtMKouGfX18+Mja6jRBO+BM7FziyeoAWaVUUdDIrz6dvwmfEqcv8yLxj7WpFiOjE+o6IidhO673bFMVEiw8tnCi2ZUkgkFaJV1u+rt9F2AELy4g+mEesGOPqtXBd83eIiJ8VR3Tm5GQqNpDZdlhMcw2scrQONQlmRp1Urz6ekFB5uJ4Asno2W4n6qZfgGQuonUMgmjwLM8vE8MbgTqg4WKwaqr6p0ef70HkOZhTZu1zXBbUlm8arAYXgnOjQxnnnc9qRRmYxIbevomOgdlL1Yltticpoy172DSaYLUTn1nW+5jnYHO06B/IeKavjcwN//x6N3CQJXCfY8itDVNeJe5sNBRDbdSfDV+ZdUti0IPevFyGBekOuGeGxOhN4xV0MSygdO9XJO0zIxwkqaduQpI3znAlIDdlqKeZ0Ukd+IDk7TvTcwbxntaJ+DnaVUBhSYBQ/P8S6Z1EUQZ26yy1CvcYL1kQ7aWHZiO8TtNHD4GFSLDc3TihNOG9Avm99T2a5nAVVS6S9whYO73WHdsH+V/bzJwK+uo/VCvH/gLWtUOCvJnLOWjI6aFGj6Cwypes394dUWPd4DLDox2c1WQpHXNTWtTR8Z9fSWhNKWbGmmBFTwBErpKC+oLS9FZrUyClg68X9hGWlk1VsJ/c98WruyYgJW+VuGMam8FHgLHyrgAaWG0EdQUgjanOSdR4JwAMjZjBFrzO4jzU3YrYM5KHw412Y9F4OkeHeXSI1vqfJY41ZNXjtwqbaoCOve4BIcxku+DHzWiWWDHhFniUZ7jWfH9NWCVv5jwhusbylBMGvOsTbvWumVMQ4Y2skZg9PToTzYTtenG9pIAqsRvtexznaq146oFrtQQPgwtDfY04bNRuva4CwSCrJHhXrHN+AUknrJakHFujQ1wQ2/RnD2s+3IZPZJ7PQFH9MtHa3IQqpDshcoKoa3u/6TTgHwC6m670bEzHo6mwe3fJK/giS6zwfQrSeVwjtgVP7SZY9z8C0A8k2pvGb4sGBT9oFutiKQ3IaooDuXq/tfRZZm357bO4IjScrRu5NTeu5LYQBiFlv4IMM476bqG+JMAhcJbcdkqQjc9HvLuS0p2bxBu01lZZwKZckyNfPlsbOxpI3OeUVn96dWYPVBbgnA51DGuI6cjLSx3Yxoa9gSVuP31+i7ehGV+l2l3Cn1qCtqsp6DjP2HPtttc1QPj4ICsYctLPGA+tWpDk93xBv32EeGLbHLzfCPA8gWvIlK43hhc+eRx8BErcqdQpdS7xb7rDl3OoS/J/u3E8O8E7UTudi9zBfgoEj0JOw3qoffLHV61FxcslOXKc/aCAktuHQrk40kE10eni6h5Zso05pAAGbBhK8jtJ7uQlFh3a3XRxha8zSDkkVYJ+zjeYpOLBbz6oRcRnTnQb7N6HcOB+S7wsL6NnXpGndjyqUbthnpOqkSy43NLk5LLCx9Bsc0YUvL+jeiak142tr1R18wf06MD6a1xG5O99HLd8ZwCdkwK3cdhbE28iT7ihr0GDAbvZIfVsO0XtMBT0rZlV0p94hXfY/0cdGedgVr22a1kHix7fIapfNwdU7j7uk2g1HObDAB2aYxRv3cLQZEGedhH5eQxjFOGVawu+XqgtLLv5YfjJ/irvnr3+x+eBO4yVu/CMn5K51zRV0JewLNR9xFvooaSY1VxRj5ZG+WpHv7lVWbg88KB/HwqdK0o4+R9TezzCOiWjkUalGPZux6/5SJZEeBC3Nyn7RERmP0ZpA5Jbf6i0+e29grkY4uuHoOvhBp/bdXa5Ps0NJnGxmYwHmvng5lTsdjeFUSfio+xb2JDPbK+8yBHjQR2p5xw+duh7O4XxmF6vEWJkFAGbovlN9YJlswvRR4nAwSv2UxT5sJ3zy8ah5rlqlQ9dqMAvZE1zyc4MCHJuTWaNxoD98bA+HE6zNV/q1wVUf5yjqTQdTbJ8Mdd8QXeqLkoCC5lrdEvxpGydrFzBGtyZFdAf8hnb3xoFaCB4eNWktcmd1jUifecFAqr6goY7U3E47YuvGl/EPMssVfg+dnBIiow6wxd5G24OaA4zvseNAHucutYaXchQ0cPdjfXdIsdNpbQZ/LMdXgUqm5Vbw2F2UNjtx7rNEk0uzzwclsUPSRwEv0Oyw7nsZqd6zunWvI8y1j/RI+1gX/AqIjq397pKtXeoFJfyUdr/Pqkbw8ikGvpQvWXML1vpnCLPScUlGCWbVe1IRxJ9UTARyYtGIwTM4gZsxSKnMRDrIHYufSBsp9JCkVqW2ciwa/QIOHcX4kVAbvHJDNUbR3JEm3mW0+hUT4eU9+CM+Os7noljuB4Zdv4+kB8yjnbto8iMvyYy+qpghl1wgDMfXT2tBBpvkJt2Qk4qrKmO8tv1ynzBx56D59JcCm5Ri7twcu7GPY0pJfiAzicnxvIICEzVpHgZwG/GnDLMWEhyXaN0NsJvla8ddEflbylwmANK9DCgMRUpMqHSOf4SvoYFImmifM7ATg28Hc8vjs2LAD7K6LOkg3cR1AM2UWUtngXo2usPyVZcKB20B7sMftKyhjpDWmaWEXnANIo3KKQx5jmc34yKvIVeqYAjPBFsuKbetdbagi3P6L7SewUU9iNnLDAtxLD9i//8ICOCwDqYvtkgfo1vF/rgdwxzfXroDYZVgjnSd1zZD4Ffc4E1wZ2ej2+3PPchyFn+7CkzQy//45oJMXP2seKMiHFN98RuD3AQQpypHywwMlA16A0wCMWDhLSlAs3UAdCBDJlh5Vl8kVv0x7LwbVh1OfhdQeJ4dV277dj29EZjAhSB1Wvkl8bUdSPrLrbk8WM7O0fcHmyy4oTv6h8Csna/Gm9gNmPiBP9eAA/xHVqGIgDoK+ZMOBtnQSzdNJ3QAv8UDb5dHHSnA6l2ekWKe2zoS1if76QJCJ6Agk2egnukKFlusW8tPcPhW8mjmPuMuoBYaoQGst5ZVPGFsP7RPM8fUAY50XoZTDGGBhE2FavwX2qd+Bi7p8HOv9a4O+s/5ME7k+gFY4z4SjlJIsJjVvCYUAwmYL5WnEmgtFZmHlr9pr/TYsW/cRm/JCm51f4FOpRcEDyta70pYzqd02xqs+IJAxrLeMU7l3aqAk8ahFEePe9JQKwTqb+y/h9E4vJAw4uwNMWOV9ML8b8ChPr9FjVewT7q2zfEdkHBpTOJdOOKffpk/FAmlSfRY+HaA24w90swTY+yalPqYbY2n0qtEmtfqwM2gFpKaWSQOj2s9t5FG/yXJko4FmQ6jqQYblFR6O/LUKJi30tuUBwDi6Fzg+oSspZpqb4rGpWAajqjCHMvZWMQFFsLogho3YEeU7Z/3BFiLCjs/x/wJcJRWSK/N/DUTuhElbkVbYirlHc0pHewQZDZaBAaUPyZ0dH7iThToXbrnDUS4/7B9vYuyWqmAw5gcli94u1XUlPHQX3u3+H1ucdt1YrR6lczxYKg28bK/T9Op6q+v75zGhFsGogcUABb5e9QbHs4LhIqh47qSUG+2v/NMqbNtedfz27NrMG8XcTTpgyz/y7+Z0LRlInThj6CVOq8zSNUE7vf8WoEcz80SkJ31MQd51yjrnirZTINHCGAdre5PLYxUGV0FvFHDujnHdGdHasHnsShIiSue2Q12R+4+1ZmR/X0BTUmPW4w1xxBETLuoV24RPT3T4nYxu63KTdwUI2wCG2G0Ajt+d8IC17oTYwF8/h8fpWM3RxT09u5i/+ySPb+NnEhD49WslKandPFN0haN+XNTg3gYx9mg9XUMmFjyhbV3ccadzU01wFfHwIMoJ86orLgqu6+4d7e+d+TW2xOjFfRM3FHGPJBFvSkkpsVb+VhhsY+6ExQJk4IXiWtyjl+KdVk/F/AiZAtXGlrjFMD/uYg77CiPjOzYyKMzTXSr89/hNtHga9nBAGsivzimUDQTg18975STZ9C8h3i1w3koPlLeL7nEIjlRTpClELnVpcn+qqjRuI/ut82480ZeyG6+b6UqcHY1zMLZd0EMH9qARcjCMRirfVAlcMr8jdZGZp3mFLqUC5QhtM1oRg0A7Bmiqp9uF6KRaPcf7jphTORdav0RTzzQBqscxQzClq2mysDE3LxDKvCUgmSIgLYsrVCy3Ahc3kjV8i+XUlUQ47ZFjO9E/MfBycaRLpGvlQe+af5Y0QoBKLPeV5LhhKb2Uql1fW9TaQDRwU7GXAhHi4N0b9eFptcDCis4V738u4UiCGNWfFseXbzZa0EFkD9kpQ60b9crq3kJxj7K0dc90EPRo8ntXmKZ1VfUe2a32/MYgdTJD6rPQ8fq0AR6nDNHIfGmEkBVr4Wu826hut3dRW4CChcy554KOHryxQLv5/0iU8znXQz0rhXH8oXup0Y5puG+xRbWlKBWzCq1O4e6DJ47MtUnuXUaxotYvnm035wOZu9SqGeun/5tw27xi2+WnITzQVxRBcg6KIiqCr5h5Swuhmq4QjJCMYciKddfi3UOCmbUOGh8iJvwJ4/G1zmLr+mE3xCBTb40xeL5yp4OFUSHoBMQ4u04HqySO+tFUm2eC01nNwhgjHgVLZyA+z3xYItOdlqM6CIrRYDLsagwk40ULvBPmdO8+BHwPeVuSMb57Jr3yhUYmKNgPBReto5MMxnwGZmAn5laxvT5JW1Kxhkxu2bNt2WEud1A2oR3C3UkFnvmEg+Fnp8F6uFIsd8eShbY+ixysQ+IfQW2DDk69QD8q1hHm3TcGI59C4dlA06yQsq432N7jkLVCj0mrnZdEgDi76JtEQkT0i64un8LDpsBumr925qDuFhqLvKgOsLcp7rHdQfWAGwkgXFSV61jBeTPRBnhb0pFduT17SHrfas1vZ1Zo1qnNFf5Im1qS9jUnpo2bSm913w6s2IGM2XsrlU2Vvzxk6YvQqxw/T6p9f8wkdtdrhRcZZihhiOXnDScQLDD037yba1N4oG8LXgmcRTzgYZBLCAe2yie4mRKUh0OIuGuWKe0YB7+WOIn85NgasHR/8jRAVGZommgDbh2uui7cw3Ts/iIMbmq56roz2489eW0hfxxY1+vFYJiHTT+wQ8eCmt0WZOYdq2P3RDFsd5O8KmsRpCQpoPdC8iUnrs5V5Vf2Zh8wDT8DHc4IlsIPICKegA2tgxIpvhT8KzXruefkL/wmVBZJ4i3+k/yuTdnG4XRUXgv567IBzjLr5Ca/pb7YeLKF6uE7krj7ZvuBG5coIP97V/ann5E9OifhMuRcBNP0psiwxf6op3LDPGKgjU0KlAloKX0c9TYJPfUw2oDbfvTTJlL/w9ET3j0UdcxdsM6dVWIkCS+9AJabo4Xc9olh7rikr8/re/an8TgVy4jyWjbGMfhs0+Bomps8V4nB4pTygKj9qbU//Z2wJRMBrIGTzFz3YhCggM6SyOClac0Wnc48ULR5PcAdgpHIBPrfIh0SyYMUQbKg+aIw36v2PqK3fXNJ5bx4h4M5qNpajdr7yrpBjnfUY4BN3uRiP4WICobkjfkh2KKCGzdf0WJGHHYk9S8LdZsIkXChCdz/Y1w+IS67UOaqEp5kngHzdr8ksfawRZeTo8TMjkVfYsGznx1LROMAIETgI3ndZ1X6t+Z/CQHq0a/bBFXVRWqTPIIrCGQoZHKrlSUm3QdTAPfhX+E6WJzYR9Qo98+G7xdS/w4b2+G4SySdg5+usGFbSi7AGXEUz5pA9uJDiM/cC5IndSXTYdSXnWl9fAe3duO/Xlm7LnTfdvzGn/eQp0979kLUy12J/WIZxM3sdQEf3scf7L3PV5t1NhVpumWft5kKxQEHziL6l9aO8hmFEhoyrHjgvYHS7XQ15M9rjZMmbTVnT+Ch481CXTX6UOG1ZXtNlGljOy5amZQSft3STnXYDTyaxysqGyAPaedD2gvDFu1vnevAsgdbGM9Xi1fUNp5254OEcaaXv30dfbxcuJVp7QF9xiLFtRIQ6dU8gmL1G1HATerESL04c50F3ZaStQ01qD6z5JAyRXLyDnD+Zcy9/UyPUSAHp46ML2X16yEl2hKFLWe93diGYRTpQO+jAiJrnTMLEigXpgAJ9txJmn+EGo4PgQEPiB2kQTHRj0vQ4IRsiqBU/DiHC4ZGnE1ZHtADKah5lKFoXIDXHtmiYHyjwgEnByda7ziTue28mG48zSrUEQU+QqiidsJ6FQY3RUaPMOF3ytjeJdmXO6j8MQOtUzkMCCITg2rSGBFgjhpMrV6NsZGP5YjrY+zFRJOUAqTf45WkJmc/V4X+UZF064K67eGTXE4fK3a80y9ATnWbemSsrZHZTCUzvyayz867ZoAV3mukghZytl8kLL47lTJNvHeTkrrhXtC0uHWUlVrzvZwjqaeF1ajVpMOO/1omL0fwTSHUSg1abc9/rlKS62nzMzZmkYGtevRlYwGejJopRUYrEWKIWzVVxRKVqHASFKwaV4HVJrJfVL+Y0PStBPhN23A5MCLD9kenD4dHOuGdUSe2VgeVTHgDnFuk4arpeCD7ghfRH/U3jmUQrvmtsa9aKufbdygAQIYG1VLRZtsMgJLPMdx/PPSPR8mikyO4BIwwEhlxg5lDqzMEfVlsL3KqPocXk5ZSkaEQte0+boWqnrBK5W4/L6GKlsCKniXL56ZHdGC7ftrVx1ilijKUHdmhvjn73O1BuPwx4YT9J/hHIk5UhKOhOYr2+WHfO3yVnioFocAUg7O3h2rzz2shmgxL1GrLjNhqKJz7TbunJPZ4l+smtmCCma7s6EXSYLP0u09BXwXzKbgYrxAz7/34UwaRWj7sQmw5PBURbGKv5NjAgXohkL8AvEdj543VKzcrT4LbneAH4CBDkCnmvyGj4HxVdtGFdMTVj1ZSjK0qErrwb2CaQovkVS5ruG/a2Q9QC+YLFklD28ubwfHSE7N1UhrmE1oraancj57xS3NIFgccySaSj7HFJDKii2kHMy3v1hj0ReIdNk5WfDmnB9A9DlkFz6h0+tF+9kW/DV6Wp79KMsfRGmBKyOuAO3MIcIVXNRO6PXGxcBNgvaVtNOUXtjOfgYYosp3WRYtTW4pYJ+9UmUeWgYO9B/xbMSQReFStN/OcE7IzZpw5TqS5x7/0x+LGZVXAWO6W0dtVQ5BYVSuI+CKhTxv1r65JNbQxzLfsYzNquzAnjamW6m606flL11sNlAIO+fjneB2z5orxSPj6QzoCw4CWWvVI1GuAov31VO1kdTy3mxPACopZgbpE53EZFwR3S/6LfbwBOD6JTakropEi20z5/5w6HAbCql9xf4dNY88HEyfDplE3Km2806bnKLApU+tFrh+Nn5AsGUpDW/A6aOweNhjj0CwTx3gi8Q8uF2m5jqXzd0hAI5QwO0IDj91SEySt2FSFRLKaUJ06+g4R8IIQWstZn8Qwlg4xzXX3VpIcgU3Gi2d4vEm3fKuizuNAfoZNYJDrIg7ajtRH89B+CrGVvmNzTWK5YIyQkdd5fFLR7PRFr2Y1dmnqddQlzUbYb48IYofsywzef/B3LV91g8NjfplZqE5Jc7sUj7LQY9XtE8hSIMGct8wMLx/HuGfnaqxn4OnIkOyexhxVYQBsjmLlDYKOiUrQjaR8TBhR0e8RPjPMoAS6WzJ+XZt1bA85SQ1aa5TaHo+uwKbMfUFkYn6/hxYAkfySYzPC8Z9cEI6vCeZf+C8A0f+nDJOofxaMaTkXnSaIh118FRp66dgM556rLA0ND87pu+ergwUZ9GNRuOIYEyn0JYv/L24jSnLPn03cLKe1w0wIC2sUNQbQlIE504fs/7NrQqcNcDWKmtG2fH/XtJsdoj5guIXugMaHmFTzvNTY8OYrzQuJhR8zlCX9yasstPd8IxqXrpEChk34ONL4s8itSZtpIZQxNiy50jksaxoocRx8YLx6Jy2fGilO9VfYGa2nFlsbv"/>
  <p:tag name="MEKKOXMLTAGS" val="1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ANCHORELEFT" val="True"/>
  <p:tag name="BTFPLAYOUTANCHORERIGHT" val="False"/>
  <p:tag name="BTFPLAYOUTANCHORETOP" val="True"/>
  <p:tag name="BTFPLAYOUTANCHOREBOTTOM" val="Fals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dJY2OMwf8mgoXWrd8S3Dpr8K8e5QDX9l/GOurOelpINCJLA3EC4Lci7vMC6fiShJ1UHdlzzodfzXVhfa9I7ytnjk8UxGhLoYCoYswL6v0jmUqyjtlYKGO7KNrwdR3Jtqv+irS/Sfzu5qGHNY/GWRzcMCJB9+nhml2tFI3rlve3tOSrKeIxWD9P70wEfe8SJ6/MJPLqB+9+ChibGUJZcZ79MSo2j5u3APi7IPvBbU5vnnU3oHNXYDU1pQpsZPwllRfSorraV1v/13W5stHj9VkwYm3cencw98ByET5gQ2DWVEgqSQZ/W+iegWBwc5uL0khqyxbvZmzhy+TW1I+hoIly2Srcjlg6MINbVVTjlASA833vsrEPCGD77ExFYUQwAKgZZalc2nFskCqpjP16lOvthPiNdTvSnNqAYslviTA+beBp9v9qpilpZGl5UOwKVHPMt48jrvP3PIJk70R3PSnLYl3eGmnqSpH6R1o/NI+jrPxKRUafl1FmsMG+FQVZ0sJ1x+x0VwMm4gOe3NHu+RyaanwQp0QBLSgQI6aOufciO3CEL2UmhnkCLa+EHwwHCI4uuVsN4AND0q0NKcBh+HJaAe1zjy6266eeG7N2/B9NK2qJ3jLFopY/TyJBHsZfeg7Gpo7Y/KSgSiAOXSWCB5RCOgByHzf/ehwE+UB+9j9+CkyfsuGPKYiE/iTwM5NdWArDLMk/g2HIOef8MZl2R05PVPUtAGrUtLvvFqm8N0LNxk3x3DMvvuj84nqtCAVHQNpzT9e0M5aflHPmUFh7oG9rXWxqMRGp3Ctu6C5KhoYNKBML10ud0mfHPL66fs1nkHq63aFPKV5N0Wu+2E9OCcKICB57ZbNVnKD8RbpMm6/p3PAI5dPfIPfIqu78pdsiTLsxHzX9twsqV3mmZYIPqAWmePYaPspq7Shp77WWdeJs/ihsW8peCzcnpbvzPeuxqdMktum80t69u6qnyLRzot1Lpz6HYRvYTKwUtlMW9wFWoT/PaazqLI4SHaF/8+338gvZQZxem4843qzvAreXhAxO2zzhs+SKgFsYp1ee/Yk0reHnDA0Q7u2N5CXEP+rrXEwBkVtJKPta4bwRHSPwBK2P0kF+uLGUsvdzRz+qXeN0Np3oGvvOK8lREA50a+IEQLuWiO56n6fFcGwxednArH0+qmez5yZFGPwl+KMUR3DFkX4xyWxKKMsBtwdbhUVutVT7n0j939/f7N4J7XUxTJTr4vZOIWtue0b4+lz2r34IeDNhmvy/3tZCCWLRrcsxFkYudywq4nOT4M29g5S60i90i6lEa4eWqViie/GlnriSHTgQ2yixpErvP/V9GdheUKCp5CDDDo1pDpgiR4NkRBkftzldEaj+MnZ5CW+eKdq89sxowrOKxNYQEzTYILnX8j6Hhi1gNvHlLtwYaYQ6vnahdM2KpNVv59y475wGdxb/N9NwTp8x1g6U8WGao09GlRplMpfgnqlMmJMvXBHi55onB292u3qhtALLAr5WWsc7RId+waqXCRbkEkXb0uPS9ppCMp6T8pko0Bir3LVsSBhcdcjbeE02QZokMsfO3ZSq+lsYrifdanUoYcul4S24sQtZ/1ev4JAQXSTd5cTXnl8Lc5cg/3GbeH28iOc1OhQ5ZXE3O/1tkz/H7vypY3s/VoY1loqevVf0PS5v89Wg04pvY9I/JVqlP4CdFQo+27/y4giLfbe0MrTbu6bRzeNi/+eJ+umIoxiJA7E/YRA77SWRlD6aQexkR4LmQcfCok4+l9U3yiUTY2PiaCbjS3XiYVifKpkEMTO8Lda8HcV/tbH8mBcWFpu7ZcQguULdBEpXH+ii+/epOOKQ0MJh31wcM4Wi59ORb3S5fCtTTv0VHTf+YmmZOtvtAIwyvHTE9Ty5W7UTiMM/aj+iJdDftSLal9Baj9RoZZZsr2yKBg8dL1Aiehq/zg21zhkcblzuoZ5VcuycP23/QQXRUqhEV7a5yOh1MPix0HkYxSwos5zyyqRX99wE7ua6k22+zLr1pfOsHp7547Z/3vhbsKxAZcfAQqkqvXb3KLukBuQ1xvtTP5pejAdelOqUbb7hLYRIRXwmTs8ImMJ6PllDrUi0NkYk5uAGriM//yxC/5/iwoqlAw7gQd1PSdopB4GG4R+8fY+Cpyul5FccFfLN41FQBFD08oY1gMoYy5DS3AtJ97SJrekUmkH4wtux3aO5mJUE3vF1PfamgwvRw2CxBc72zvPkWqDOw8/IApmt/s+ztcEl1avhAdKSmMqx7Bl68tUIMsacTH1vlS+rhHOyTFm76uDHyVg8YmxOT1ogYlTnF1A1k8m7e3eTYiGpQPT+VnC0oCH7YQwwqpoBlWP+tG6xT2RSMQQK4TNFol8K6nhsNOZQ095n04ZJgTC+8lHAwM9y8YzVRWqDeybpSqPfFmwPSYj6Ly42m8EkYLXOJkW4n7IGAknvTvVyPenuNrZVol/QIRBAt6d7jubEJSARu8dywWF0GcGToiExp0HHSWgLP0y2gNTrIo258kbgFlap7ouE2SP1DItNEIqcaGHXGRnDBJKUICw8pXi+K/dNvDg0rLlc58xMvtNL6msywmtVcwI6mjV/Ji2X/o/khAbJjI/ACemJl1Ka4/J91PYO3YTmun09nbskUcZ5LwjkMzUlyU3PsMfoL1QnetKDrUaPTIHzjwe/4IPgBStm63zxwVIxzubtOuFjZZ6RdbrWqSTisX9LtxyYSF4KkiDYuVg0IioroCjxLIapTqfEYrILeGr2Fhvmqmp8h5/8HA9Tzbkqth6OIudwIcxeM42eHcouHIyuhS/wk1xXODRKpDRsgNLEolx8Chpaj1/QRTY3bux7fOVlkVzwR3vjkph91DUTVmEAUjjS9BtTL/yjqnG4RXN9jvIxFTnAXChz6dOVyWPc5tqX+IF9xZTTFVu/JDW/JoFbjII00v75EKoW+tWBUSac/3RPDJfwt88NRP9xG1yBoWkxt15uD4fC1bZej1kmdkdwWNb+BGhTVK7Ln6ZxKVWqhmn0lMw5B+ZSNTbs/e4rwHDsouHLPtxSKpgqktlmYvo1i9I4Z1CHACmlNnFJqTK30wRzGJg/DyObosIrjfhJmygEMJ9o4iKpInk7/F+iEMun5AVnZXqiCrJ47tZNj9CYodCxu7va64Zj8GTbk8OgRZasQ8usYnEaeoANlcJiHT3+72LgowF25o/TZvShRovwh2azN7Vc1yTRDYVG+iF8D8ex51zF3J37dp3kH8U8cHkn4VsFhTLDeFfHO3sZ07jSBF4IP2ziVISNSXCyHi21fG/npW7Fp+Tjbmj7QJ1xybDaNVHouJ8Mn5L4eYmHRGxQ/tfLLeJaDSNJ5StAT3xqxqmfcEmBK2ssfIt8MtrlVxf8W0ROp/Fkw/05bsLniU+q+wkcZFkwf6Jh/i6W4LmIO//2+BYIxvTfA8r5PGvpwcmXE4f4YgEysw/tMKImWv7z15o2NoxaQ40oDphqsCkrvj5KxjSgOC5ilzA1z4wr+p/Fg0v08k0E4vLYow0zHTMEucAQEOMf8/nlg+61/WSuSkUiO5HBngcNKBExMIwdt6oOsfm/zjl0NFQqQjgAwbF/t8sY8CdheGRLZPcKVp0EhRbKapcL9Rh7cG0unikNR5RThFnSFTG9KzQ5PMVZDMuWSqnUHhWxCio9UATHyPlMeZypNcRT4G/QYsCV6QpMKte20IFGWQwKu7Rn75TXRY8Ihm6Tt/R6TRCQwuA2Z9vWNC20/V/MoN3uKxI/MueX4/TV3i9H26Z9BRBugn5xj2AlXLlSV0kZllFCbsweIISKGOzYLJZ/GCQXM1+IdDKc36vQBFfh3B2XMVSZLPosSbSMRflueIAwNVfo4CEEL+CT5R99BWodTWwblO8au+IX8Hly3bjsoT9ETswlEQr7y2LWNFEq22uPhp5jQi7dbWbToIveROuTm1p46U3APw9yKcd+/xBN+5SptWOjdRvRxkKY1za4qkVYuUm9WhuYIJNjA3NIqm+b7KvaP980ugms0ygBVC1zBpqwPi3evwD1kjuzm7LiyjUYoYgitcn7rnwjPbo3R+EqRok5+3CoFWrFfeMRHv8L0yinmbI/K2Bru4U/HllhHtQ6plnONkPjaEq8VN7QnWQcZxBOjocOTc1BapHIR6aheetXAEi9AnWWDClFLTjVKTn1DMx5Oyo1NGOdV4tAykGh43qvTPA9MJuiR4CeRh8wZAoli1BYJcH/HemQVCxcydfBr9TLB5M4900G1FIgu7cKKTFsB5f44GnJlcbv2a2+XzoLx8hLK7a6t9FioAIGFhkcklJO4Jnm2olVkubpEw8UmHdFOyjyqFlqGSKUacr0g8+xE42pGLjcisbhbv0CK0vM3YlbVFvzkjCDlsAZATS/JVZNDYsZrBUVynCf5UuTgOBBMK6nbpAUblgr5fSXrNLbZxpXhC05E37rJa0++EGFUcdi5qRKPDDvD36ivpZM1lfSZI6sbONlzv1+MPS7NB20vK18C+igv43kiyJzjlB9qjTatGL5tIb4MC1Rl1chVec0bLEwO9I4+wAQ01maU2nq+dXAGLAIdlhLqyCfsF+xXAkEP1B+yvanJgHckoYKmPvEG6EXnEGRy57K3WahRiyKNR9Y/F11S0fQZ16fwtKPNGzG6ePZ2qLmuMwSnfj4fknYDiv3PpluZ48or9yWOoGzDu+Ro3DZ8jAdLXUphEyZksy8OPZBQSl+YU4mugVelNPJXhVjxUGjJBC4vS49GWCoA8Yb0Fv6Uvx1WRIWqhLFsKKiKdIvoWElHPgDl1793E3NlBOcIHJZND2vwX4WVnjmh7+kHUbfmfCXndsnqQiOiXEopJrTo1c2pTiNYV3hCKDZwFt5l9VTNNb9pad3MMgDYG2VRlQv7bYhKB9DruIL++rB/+wkzBak7zHCo1O9vRkr/2TguLKNx63xaN9j0PQdeEK5Jgyf8Pxd16LIWAHf8ypyh33ICPIiuEuoEpXDXdrhgL54FaUYl89UJBpUMEn0FXpFuboWtxzB9smr4FuF1knftxSn6pqbfnT+ZIErY2ZkQUVmDJ4xsZTNOQl4xT5rMI1cNmF3B50ZWGywVpmMnZLwohtZlNAD+GOQgYA/QRefEx9EcivkxJ4GH0mVg9pLz8MbV0QMxsX9gYUh/fV6uVXNKSvK+iUrDI2sSpsQTS+dMg830MXTZOrnjq3+mw5m9UNc7cwDnVFqwMbQyM1F+2szJsC13ns45T36P+/iQtvqZdNVXdONjH+gnvpPPQxRXuANZBhM5n6jaTDMtjfEX/Z+1g9Dg8rSgz/3Z7GrXdqSHl8gqa4im458dBSIh9HcAWWgEclHBxsraqoY+b55E6ecKgQB9WtWWaCgpAadJ0b2KBm0Z8KgtaSwCSFp2J++6ykZL1bDyojke9JZsIgNHqvFFUhiJ9y7WbB28bHFFbk6P6/EgLPiCOMbMKY/jPPOuzGNT/9u4Xq6EGyY4kzT0/opBxFFxm4ZDBQt6yUTm9yamvgpfv1h3PlfRUeHIdibEdNzSJr8vH6koPr3Mx+IfVyr9hsJYuHYvM/atWnHCFHjvL6cI/j1c5J1i4l87Ww56n/HG3vyuvO2bCP1JAET9/7MhzfsM1BvTiEG2+0ygpC/AUBDRDNqD+aDDkXGMil/rXGkztx3XAFPnzkxuOEZHXXQ0J1/F41Qv+QGWU0rnvLP6/hWMVpmUEbF4x62bOkYZ/3PlcQly9vfMHEl7LGa+vKmJPu7c11uYTXxV6kRp1/vkrn7sqjQwA2Kt0ShUlLrAXRF/DAeWUgXeU6J1RpyObE5L3Ppy4Skyto3USgHQcwiss1LHuBcgdVH63eas/Y/PgJ0IICpr6+aSDb/fTU09AMs4f9MvDCzmU1utaPSUYvUxPG3+ey+vGeGoW6+pWmc8aNZ78fEqbWq4Qllw7JW6ExDBq9UD66S2Vga4I/wX1wHlopCuto/4UhSryU6BFXT0BB7DZeKz/MNuCeA5pAr2kVspC2wyxWbeepHTp3bMOCRvIWHuNesioNYtVpBiQ929kap6QdOtO+UmheexG+pCreRyYA4V5u2Y4ETO1IATSy+UpS5KhNk4TdQD0neOJzvARKR5Ta1VljlqYQ00Kt/j5Ddifbj0B/57Iuyt85e1lsOeAgjVpxHo1FGZy9n/LGWi4bYts9ES2Ww5PlmQX2wQVVOjU9C9nu8JId2EEhIq5T5EJAqi2GCF8XfGzqEsPXJ1V7tSJGeOj/NU1U8POTXwDDMiAvomhUg/Av8KjwBHz+befVbonzUhdpCXg/wsDwSTRw6ZOjM0nJhPBLTJeNp+K6Aa/allbJ6PQXOpIytBiARdEj0OchN5uSgkDUHY+Yfd6ZEESWNfzSMdiFvQsZxET7YMq8IQI/N7nMdox2rmGOR33+ZMGz9m8+6rpvuvMKjvRYLgi//A1KjaH615ltRHRtQFpz5XQju6GgqDtiYwLPVZ7vv81WKPbhwWC5Z9028AKDwCzPY2qeZZhPTxCiKIZX5OC2seN2EtZDTHN1sOqEmUa/Rf0FaBA4Kjn4o4St9SWAcEyffjO0gecIYYZIP3CMLtfoS28SFJ8gxh2/tA0Bcks9K4o16TNZgYaA8OyHII47/S5O+MvdYrsP6gs/G9xUzCVMj9lNhx6rcbOUql3SF6IvOTtWKufcQn7DTU8Qr1ciGHewA16ISfu/YGTdmKrizfKA2UKCPH1PVsc97egeZlcT0QEnYFRdVWNU6RrDR1fVNmX+BE0Wa2oI5LHgZW6fSsLjMAiUZcAPysQdiIq8lNnEfIkcBn0cNQ9hi1CGgbw8uLHosnv3Fv9CPswtC7jG3EgUtU/oqsgYjllOa3Q8UnaiT/sHl475wpIBSE0aoFxREkkHujyjkifCf5fwppuBHxM759Gv6kseb25B3tFdk8LWA4cGdVDdk1q1bo3Chzd22wIeWmxjFRiRgfziFLvaLogJdWM93r3iepDv7BC1YMDQ6XrLFJaaDIIx3GHziW3bm8Uq0s/jebXNuBrzU+4UlPWgxmLapNW09VUhEluzjOVEe8nU/L/BE2LPNZN7MUOH8kK66xtn2Rukx3FnjgqXsfRoGq5Ae09nOlArqZvqC3vxmyHOXCz5Pt0A39R0RiTS054WIIrF/8n09YhOqnmZwy8aCBbJY0WvdtNEaXOM3fwnBqjZnSKRmJMNNWYIbKlpDwLHBJZ6G8hBF+EDr3tdi/BI4dIaSWIPVKVD1oQ0+EyeLnZ81YtSfQL1CK+vecRyk0o+wwHaOY0Kdahahae+KmLYLWDIiRfSCDWSr25VeKqhih4Bvo/N0NbA3Kt6OLszUYXm/fxg9FI7cyz9ZskcxR3+soGs3gBZfbRcT6TeT9ilDWNEYW7GqRuOhlAsae3tsZQyWP/o7AACmHTvcPSjNfeWQjwa4A/mSN7aT9CeOYoJgtE7RzZSJ5BSbLBl7H1OqeLOptxjRineE8X8Fmh+QqxFgBT8I6WrGpTxIUJRQPHD4b8Ff6yCwfsg1h7FTX6NZJty9r74oBKfEWooNjrhOCHSXVeybyjWpmsyF7OQqU7mz7xlYqPKJwhwoa3LDl0ibcV2bo5rsfv1B7LeU880XXy3xAePm+M14j2e2FHMrAqFxGEKlqyfnUS3ooQB5jDQp6kyt2B5ILfhH3wW/+lgdl6Zwv050ZOaPe+gk1plEhgNl6h3JAMrg2GJeQ3XC+GAJTI23VZcUBsb0lXRWtuniUPKMPymwa9l+1D7u9kBeSDCYwdavipaIkMj3lJ6bCUvDktEjuktdvh67C96DU81DKz5KP52XirT5jAF7iXZGL1wQND+UYPvItuIpCnIYPsdE7rVs63XwoRzk1HSNkusrTzxnpCHCK+ZMHjVbSL+bodwzM+70fnl1rNRVvS8tdPsQY8Cn0KkgUWUs8jpYCurMB2eu+RHLz0kvJzf5g+KI5uC9Hq8IORZ6wnHv3O50WNnx4yEmvtefzXiHiX+jQNYqjmus7Uq4AxuvIkI0IlRHEqD3LSKkAEK+fh+MXjLtpwdKbnteom9lShYYTFSzPHrHW8QThFuEWcaWNE1S6rtfZnLnp7RJ00S6XC7/W/1IABml5cU2xHryH7lmMn67wf2DGPk2F0YFS4rfXgxlPXcVvIkghYvJiU+B4vj+FUwE/9qiySdMKEnjhjD8M8JUqEnmzk68jfb/PuKktrG+JIA6a/FELLO1C/iahyYg2YopCmUJ+RF4P54AYhVXnDUcvs7TBYW33y22uUH4Le4oATF3rk2ilp/Fp3X5Ty3m4dpdT9e4rr2bSffD0xHCq+MaJJWiOmVqw9Arf3kfvJC0bTFhnet+HalnQsNpvgWj1BTfvJvtUkWSoQxNgmJikpVHpQ0IgcCeWKmyI9Tu6y3Y31ui7sDO0np3fNyrYzOdbZ5fKf0PDjlEogRZLM5we/Ie8VhtrFXTBUCfnPNUExIWSPixE3ndp8IdyxVwBfnJ5TOU/0jUnoBR5TCuM3gfeRr3CHMSGHMlZeP/CU/PZECNalLlAXIq6o1NipBggBNiOGC598OXzsfKUFwF8YAsn9rPlEGs8z15gMRPWuLl9iSrt5wGFUMhcFhGofc7GLGocXnish9vo5n4aSOrnXKctV6M/xaesDjSy4odCUiML7QkCln4xltC9c3OxVppDWed49iwc7kNmVE9bQQ2PN9pfxlw92oggZVjjBxc4UkXB9KjuFzl1+sV1ph+JNu16QjeSGwenwwqNhM37m/7IZu4H3u2ugC+RIZBAILx7+NlG2c8C3GvDRZ71pN0gcmNaXufs7woVZXwdm/v13WUP9ijxTGk11FqrBfq6wBVStO812hKogjWMlQyxfiAyr69XnLCLdArMdrRXTw+x5sDcX1VqK+izJ85Q5rV5xO2ywhMQChrpBHUqY3bO4jvIAepmfgvwKTQveCeTXItUWgLJatpoC/XAnoD+rV75d6CObhE28SEwgDDxnF/SlvZ+XfmBc5ikvHvLamBZA5RkgbfeVYcOGPj/GOV1kypZhnO9YEn7qurLcULigYjzR0//RbiQPgkUlpaH9BW8wKqSnuiWVMuD9rLlhv8jAxlRHcNkFkmiKo7JLpS1Ws4Y2MylbrO2CbKwFkyFUSCBLzq8NMM/lCLBjrACNJFHCfexl8EAaHTGYiyBzMWIvGIiSOKN5iUGpGKifMM2LHEnT1n1W4qZ02iMWu8kmmbFx4UGLtw1G6/NYJPGWCGcPJT38Ya616Kmwn8UUZ5HA/xhRmHVFjESKZxmyKKGlIkAZXbyGwd9nKRbScj4oK+7cZenG/Wwrr43WySt9Qk/X3xOXUvctmjreltivx0QbVdlknb3k05sD9V/zXs5V0xID5DCTZrx0roYNtWvaobXvTSwxf954oadlQcdJ+xsQuWk/kXKwLwtGlV4TZor8KHk/850dlEHrVFxEH3WR4IHOWHXRuJd0UsHxY6w4CmoatT6fySBIzB2TKcBSMuP8a2ETK0vPm8gAJITwyRrCDRhTLWy4lohofTyWGLtnv2CKySFaSjnKI86j22nMJvHeOaTa1UxjjzreGsCoJyqTD0CGliULemDMLxr0j+IU4N8KJYKg5L33ay5QT118/oXYZaP0JiqAgfim+I8MKCEuPud2L5eJNza8CpLkkY++82BQWQCE/L4LmEay//cOOMtzeaR0D3+IG9j6iWhfXEK6XL3zvasiv8FNoht9k25v9pJGN6NCesEJl7wALPAUp0ehs+CvSTU/K6B80DxYyYecwadmI3YUn1avgJj9qZS98pqiHp5VpIvB0Q3Ud4gqdhda0HlNfN2hj1BUXIVnuRoyZAMi8uYjrOf8EFvBG/P22Ng7hp4KQDpN2n0JsSVaOJZE4efWtKSj7Q8NeJuINbndk1OkswCnvNz3KhXO6FLlHhTUlfEudhkEggIwO+Xi01JnrxCqrjoIFoX4Rl1jhkv4iL9rP1lL9TxMfXYuzoP01BgyxHBfbHzgw+oDAYNNgCJCrexYKWJLf67vhfAr8Y9iDrHBCm8KAHYG9w7mEXHQsWu29vsq32J4sen5LjPcTxvBPiKTVGwZiHZN4JuFMU0M/9xJCiEWN+z7xAMIciiquczb9y9rAoHQNZG1N4bvx4g9vgN2LFbrU941bO4cCMPobVkL0yxtzeqN0OIrybBVu8m5nhZb7ojUaHYxl0oq/G+98xNwh8vWumZ7YW9+IB35Ka3QHghrKtbj66JdEgw2tBa7qxJmIta65vtYzuA4kkQ2npuNu6yUDT6wUAK7hMbCGNSmYmFXXI6xca/oXwDnWtYrdJgHj5rGiWpY6mW/9y6gM3k+uHyYE3CB712N8oxA/kIWYG0ZVWVbRAgyzd9ke+KzWHuy75k8FONeVk7Z9cvh2J91dQipjvCICwY+cEQeEG1VXvP9u1W6hXj4XTfunA8awTPcHQtGY05XnrLvOZF+Pk63IrRlIKXHEutowmnGF0gr9ncYt5YlURjjiK3aezKOOHj7umu1iquns5ipT82Hq9s/meE5bkkRD7j4XA7mMpI5zcESSF+7n5iiXJpHUfsDyMvOI3lhFOItFYOBSWiwHI9OpCJxM3iTW1FefJ3gWq0HJCETjbqWFb2JSHBYJnoGQhTl/VTGQCv9NifuoraZ8Cu/8yURTvJ5RUr8VMurT38asEb7dbYoE3A7Ig2yZPIcq9CzYjg8tQOFZnEPsCDbZd/5zwKBm/XO+Uu+GiM/7/p9R9Jc6fZfnmr/VJdAMwtT2J24xAd9KYJ7WZoUpXzCETrqCC4favSg5da8rBJVDpXgRqpQAXv8NILGk1/Ti7wYeO4p+prFlNGXbbO9iLSw6pLGhWozODbjjYkwDrAtietrNnPr9hPNEHBVsf7vlu16aeHg6OeN3+7jeMVPOwH5FJUkp0kXLm3Y4dbDA/4vQS+1u3aGm0VwaLb+DR+UO0HNQskjmKF10uP9f2dV8wwo0MnzfbybUl4zzPIEZNzgmTTfYlPbZ1VMX1/U9cAehTPgNUVh4sPab45pEhaUvZdg+Sy5q5YK/X5XBk4C/u1OjJGQZNixMGxNS46DeH1YR8g3khjtgULEDNSV0dOYctjFw+/htoCvwYpe8m4KzYgu4kkBTXII1aF6wrDCvekz/sXV3SxrXtI5WXGTK8uVMgpaWO8oUXzdf9Ft5lyWKmFzI+rMulF398LKkviZUjqRfeLj5KQ58zNStpzeExIxIk8K0+hYRy58rYm5b4Ka39ocBPZ0AjGxIu4vaF8G1beinvwdZSyL+dMpCxEvKVzRVKlhTRrujg+c7lIUhFaPKWAlekPe8JLetaekvUsx2XwiRm0znO1OgWTAR2DgblOeheN2Fbtib2tu7KQfxasc94gxIGl7yvRGQFvDB805VVkxFEuLwFrBjr17uPl6+4VScDHrKrHR3uLdDMyYMNXTp7s923dU+4Qge+VT/L5kS/1Lcrdv8lzeuEwwmI7clDQBYvaqGDoDyaRUr6uu3mYWUzeJ3y0RSFH5ZbW/LMfyX4zDoduS3m1PGhekL38PSvvHWTs+e5PGb2pxd5uDMrHFSnRLLlifaic3LD6ZCetnBv6swt5EtNXC86LCbIU6kZZBIfpWQXv08ludWUiu859tRgxi4OyhZEtmHoWS6b41sSgE5jx4rwypk5RlzJ6OgAuaxaAp0KN13EUzagBxSNOo/USZDuXH33qP4dVPL9CDgKqFQGjDYs7brLGGKG2VEpFcfQTVOoHeWfHqXlB6isB3CSObECPG2iIrDtkjlfJZgW0Bvz4UaVc5kIvtPI3n85NDTMH0ngwzCLsdXaukxL15ztRZfwQpuvBQ/R2PypYzWJko7+dC2OqawLdXWTh2fkwki++N9wKxOl+KwN7BWB3ZreZhGlvVulpdlCygvxvLZv6imqawS5ZynyrOD9TAJJIMYs1qXDfjHrGsOkaUzJzwbXpa5vFZQcPPMCLDNrgYZK5FI23l5fZoLx7SNnaEicog6LrKJZLvQtusxyoZRG/GETHzLFU+R0qIkuBUqrNZIKvQtTvejWd+FMiuWFH1cG7YpTpqBxVBKi23aFo4Hl3b6FpP53BBH/cfcvVtX3LEC1iPnJAX7H5orzbgYtjSDIhBBQwjqcpbwT3cNAv7JUYYIm8ZiIKiARbbGY1u4WtAa3sdbLT6CAcf9O3rfBV9V4vPVNy9/9yTStnY2VjRuxsL3VFm3wvvyFwQwwcT9qESNurKkHtj3OKu2jknGdWa9vTQpHt56ssadcZ+WO+WJpcXf8kqJUbexgKCTPDSNrUiRtC39m/T/cw8PpHWm7IpWyAZGptoZCtsNfbCNNksbvdbDVESbvrPkkiQcn/zc777s26b6kI/nsZLOtwSbeTfHksFh8+iVucncnTpmUq0I8Gb7+uCY1n4bYvjbyi/ip+QcCDP8rEIjau2xQekqaVcQ1/obDEXm4v4dZ5RDD2NqSgbVEDgeFwrFpmwGJDs8upZ2SNA3b9aoCQtrO9rMyT+OpZJLwdHxy/8GoZFdgyWx9BsMJ0y1GesevJmR7/lev8xhATd+zsLEZXU7SUTfnbonIDkmc3QjNRyMVno2RvVSUY7Y9Ys1z3zawyZ4j9XjaP3hiQR1vsPNYMUMWRunnEQOtB23uBoFI0Jpih39U6XA7arxjQRG3iwS4ag25AFH3m2DMXyawmRt1JsmflUMUnRoSvdmaRic77BsySX55hGRqTQUKlKk6N+mdY4bJvug2C5ZASKR9pVfgmn0KihdJxQH80YnRe+JjzZHUxb8qS/rmVGOFJn4VCg+lGjXuhh8O9X/04/RoEBh8Y/SpUPGJf6LLthRw44aBmabpkgMHpwXTxfqg7d5EB5VrpY8I2acDQ3AvsyRTQqmmL45BxsYBJyfWI4TalrM0sQiLAe2w1qPXrZ5Yq4orGqWc414GMumO3IWWVwv7GfyoM/58dPqJ4BEnr4vaPAcSqlWWA0xmPG8vpJB91iJu7hDViPXfYA+/59Ts59Ldww0pWhh+SmY0mfZ9ysBoXoaBKEr/52FVQgncWpxOiyHTKRy8wv8yTo6VCf/We8UkCK7ZCmD2OZCuSt8J42Szwb21a9SMw4c2vTT7uX5KW6Me8zP7HgqofrlDu7u+W+Cy2t8wCM0guweTj+lVlUfOURtcsboj/43BNWtW+b0PO3t2mVHrZUYtJ1oUendW2bgyu4DIkKZS+eg6C/udiTeDRmB+7cAf8c1iUEIukRQtp9nw6m4JAxcOCO38tXmC/2zS24BQHG+HRMXF/aNmTFSmephTV2Z4K3V4M71iWH370V/VBUPyerOTETdsiI/3fD87Xh0Uob/vyrJP7WKCaUjuEXXPY619g5tiha0OU+vjFoiIjP3Sa3jFYGNN3eZ9QgkX+BhyZOxaz5yjq4PHiwaZYxKzHTNgRapzennrPHguZdJk4Q5v2npWMjHyHodTtIMbgdRncL971xR+oKzF9SMJ7X8DR1ZY2rIznjpdD/jrP2VIDa7EBJ4Wxh8m9HwEGULL24BJ+ekVZXyGaCw6p5cIk6COr0kPg7OZgeY0T9837GFn9EfWr5FMgCzBVB1L8R3CUB8FZszjAEFjjc3NBwzLJHzqc/z+it0P+hhbGtvWFsQW/uX/WhnsrhKFE1LfTTQpra9SiaxyphUCbGQI3UcjXdxjoUNL7NSxsaZLDIMpPQPPs8+NVz4X9jGWcz+AVLLVB9OZMzSTzInGgq7K5Z39+d+qAfZ0AE/PjyZGwBqxRIDFcGgMifGH5EObP6IDv6vhkNqrDLl/baewDLJdD7SmGm+q9lc672UzPCA6edUZvSKv6+xBVB/VT6FEWF2piuz4LOrg6AIoG6ikBdjEXIN9oF2gvzsXxorFtdrP4E4o+0pJ+TO/A3SiDkIG0JxFQSX0XexbWi5Rp+F9KUS3ijvoHSCSpWD5X3+f06OiaeGkDGNEe/jbFnKQt0+gInk1tuDNzgybP7ZgrAp+KYTCPfh64EuDPCCw6JU1b9tpSYQ588Wb1dB9/sh5xb/JNk0LsVs9GtnI7eSq+iIF6gnTnH5D8eWo56FiQzSeCG4NfzDvofYBB2bRJn+5a0ERMBtPzzRBOl5kFguMA3ROiNfnK989kWpb8N1f5t6ZKDLUUuv0a0VndYFkmD88KApUIGhPbRaK4kw8AmEdfJw+Rt3Y+3sQZSvTtWXe/SbWtodhhLfZyVCZjZyXFsBrPAeW1HHU3Ts6UqsEzLmcKhtKVNIhxqA9Rl7E+Csf5H+e+fjylgs7mQVu+CvDMA9LJFWJp9rPEh5cOXAgvOIj2LBJCinSx7iqO15EfURp9l0yp3k1s/OwQYXYgOzNH3OQa78Oxzz17ifCyS01iCdQpnkZL+HcRFkkByXE6uNuf521ldTzkqlyu6HKMeACuws/mlSgpid0wepz3q1S1XjhW4Xq7DCU2lRXbm2jMnDz0lKmk9dJX/wQ+9hKy5oxKdRNl3VhduyArKMBB5NiSxAwgWUoXemKYCBd17jv+0bFbaZHRiFq/We8VLD5iT0i8RanA1xs0+XvfVtuSNrChGUWbPSybHUV74eJY1LY/oJU5iUeJx+xWVl5EHc7jdhv6zRIvCzm6WKO5PilbCzkQShMhLLcpXoPOBnaFpUQY0SrOS/7EKQ6HzClQkbgkO4LJqnwNBYenUdZ9kuCpaq19qqBTKKEqCrQ5/5vrgGSyCIL9hLZt8WxgA3//JEwdSNRhEkiSmFU/Q4D8KFGzXVgV4JvatMf9KxNwLH7sEtzJl3iPxkj5HG3SEwfEZqVv+NSXfa6SAN696goKXP054/E0VyqrwY1/BgMK7wxfvsmLKqpLiIcJX40R5nPw+psnSixo87ZEo0KZrVLk0fMx/Ugp7bky1xLj2Lq3Akq+q3H4sK7RikMo7NL183Ba7BES7THuBz+b1bAXyqVVIpEkNI868/wJZLJzX8wQmfecdlTh2DiAnQ09ZPvM/DR7IaWbCMjbDuYCLX6H4KLNGyf5j8hrTskU1V2Uy2oXqxtTO7npI4ahmwVhwTZmhyO4hAsjgM1eQyvIz2SS9O98gJUujh9kwwGOm1+TkixYi9dxBG4EJS+zyrgq4xub3Er54mjgWwXsqWAZ8bbr+jnsPHgBCes2TDtX2LtO7/Fg+Ba2VnMVVsU6rfoLX/HOCATLppYCgXS4xkEAVqWtZZT7sDVBiVPlJyjwVOvm+NJkpWmLR3IAJ9kMlUZtWR0+t0ZoAQeajnTJ7f7WB3WBYlC58LYTR2PCtXt2JkxAVexm5MHtwjnP2X4jcQ8BlOumlxWib2tO+ooD90iihrvNGYw+bvAWkwEsPxjgYeXtYqKWP3GiWI3hMoZUE43muqe7wPVhFAPWHPTkWCbAvQRR8u9DVT7YsaGS9bd9WbmWwE0yIWyLb0kcMUXd+qMwKWgvr1H4AW3ocYp+ajX804pKIVuNsN7QcbWzoV2Hwkc4RCDymz5KtWKl+pBZ1+VuMWlYtHSx1lWSWIu5WoVWwSY1WpQrmsFsz9VzsRseKzyES5cVIcQfeW2TEywAEL7M1gfoytgjqr/0m81nH0UDW8exhbUvMIVirCo1GKSb3pQ4DSbkVidoEQgljRtz9pRtUdlyreJXpf5OP+6VRfmSJ7lemZP8RWYJUQLnQeVyTfR42jCdGYA2PZ9e/ERGrlHPBuBaaNZp/fRTaZsOoXxfho1aSlyS/mQ/EVEpP/LSThYjBauG6pjO6yX/5LLJW5maCatSKBcFMZdbkeERAsX34WI6NLjFO8NfJ00PK0LyHnwmmY3fQTFzN3Va5k2dn/twPTXz/Ti0uvgtM4JeTfif55BiGV/RhUSGcZEJK8/Toz11+gkNrrWO+ryvU4U7c8Lk9n9cpBSBs35ykHK5faBsIv6mL+BkNB97tnvGP1JPByDL+3pC3DqNw49I4EFZEkLwihSRWs0FoVwTTYk88nX+N6tsK1AEr69DP7JiqUG/KE6k2WOtloFcHxdhO6plXCLURlp01QDcAzDF/MGGJ9PB5i32WjVNMER88gIoFNFkRjSyJXwfQr1mQEgkS+24Z7eBB0U3pv+tihf2AL3SsWikIP0lLYJSn5BhrPeV3UAlyuGPt5ywFPBVX9svLwfDbj36myaN68twY4FJ1+mCQ/TaO37bZTgOeyQuXeYmY6KVOu2yAt7QsEK2yDA+tXg2z6/Sh1lXR2xL00rhw+pgq/NsFShE+vCGz82PbLK2Degci+7KB6xSmLpkt+mAMTWjQudNXVURkYbxWx6JVbv/w6DXmdbUJ2k9ZN0FcqNE2nHGCtEBfl7GelIT5LPzrWz8/HYEbNWej0YE1xjTKXuASTnfBFpulZEIhhhyuB6/afVJDHtfMpNoLTrP2ygYQFsxJ2kedePHh79LZS/vJv5tutsXf+dMX8QN2uVNXJkloE8tG7V3MnKiJDKJtOpVsoNjLdXmhIFac4ScaRdcOr6nxxNReALeCcpVZKP8uKBgkbLXCuffXF352X7znxGxDBTCPKr4riYRMow2GC7lERKphlIgeUKAN53bvv8dMmRuBfMcpxD9lPhxXB/Srm9PaCJX63mBCcp848UwtkfTEENhDzOjfykTGl+Hwo/NX8Bx5QRjlh4OTKu0WVcc8JtkwhK/hk/joj40vKlTVsIctlEpMNmrAOdwuWiXwmGVg6ojMq/I80ImAbUkwMTja8+6rkH9T5EFW1gq5sWTNRxlz6SreV6jqe+DYg1zq5SvLqhspDKMqIo+iBQSGhfCJ4Xf4mlyFtI72wWrRwFSzFsa5Evp0QrGhQKSbc0fGQS9KUBeMdAeTqr93nHgeaCWoGQgq+24LBTqg3TCdBjShZLmn9GilaMwuzvdAATxQ0P7q4na6P02F6nQLNsntKpbW4ZZJf5tk0eerR2DvHMIaHTzwk8WJBswuafdH8zM50fCoxTxMSsdNu8FhkbgakEvgQEWsa7BJ70/uOwHLcN4Fc/scLdpNmlwBs8HQ2yIDu5hNiDNBzzwj9F240Ww9niEzIoADWgilxtfF+YWFLfUdlPEOE+yrhU/mkmwalsGOFwms5aBmgWfDWpfI0MyZSkPvJC4nih9YNVAE+eCCrqQV5bkcfSYECnamfkOILXh3BZxJI2bB+Yg+QpIPFqyg9WuCEzV999QOeICXfK4n7pxSvLpYRuJa45oxVo/mX8Ptw8FdmED4ObMEuJnpn8Ur44NenhnEHpsWZKbfhmmysBOndWFcoV7TQ6IMOdXvMQ1Gm3G844lBLsH8GRLLXWIDfmFiX2bwhYCBpkQGF2h3LIsFQeXOozkmIxMsxcqmN8mSeTe3Cxwqco1etI9LKJvJIXd4CRIFbZPGxLMRdTMP6oXxsA38HL8Lu0JXGWWiQLXnV8KQrr8v0oW8rpMDps+NbGP4yaloL7xiLNqYVnHL4Ed4gCpoAdr9CZKn2TilejDhWgmf52ziYLFrUlCxQKPchEZuWHZNdti/nPJo1ChWcVhyfZ22DZpCk0aB/vKHM/nUMG6sahWAmVJyA7PXxJSfLltZjtIFX91BzZykMOaW6SxiJeum17zGbXrj0jsI2+KlvltaS8JNBdjXtY54b/3LvPZ3Pma4giJCU7B84v136kg/qIIUx43ySBg0NeZav8K94MyewC3y5tuPKEJSQo5S89IzOzvCK7L8KMQM5aoAjHodMIPIGAGVuEkm0YQsl8NdIbI67ClOHnMR76XS1dsPJNBygnWm8xKU21WwWvK0Er1+L6D6Sc0vs+ZNsVML14zbZ7bZX3s9+mvksfd3pQivv7sSXYdIBvPff9cUBrbgLQqltvBVRGW66cJkEWX5wbhzWd0s9QVEDYAttM97iCjt1chxhsVdI7ebUsHbyR80n7BQti/Htuns145wYfij/hlDeZ58S2M18ceqBfdD6kQPuYuU4vKk64QItPfV5tSaJer/gxqT6tlUu7OeKYIjBMJqY8sWNJkuPz28tCVbl4UbNMeBHyhbLkXhTszVpxrkrbinA5bptaY71DKoSi1c7YYqIkQFcSqo+RC+qFDOcRcUgurndW62dajXmi64o5SrA7jqkULVlJYPzObGAB+Ermg+OwGfH/mPQOcSXf3iSuRxE3fXEByF5g9dM3B+JPC93SmNiuoftJC5GpevyE1gL1Is6ksjkg0XONSeLLr8jMK/zqO4UO+O27GLYUb5LthSDDFWWs/lct00Z/XUmZ/VJtoNdyFVcXmlW0E/aulFl+Yr2AJdWCYylBwooJpwCgwCar7uv3eAkRxS2oLHNb5JW7L7kisXC7KrIwOhQX0oFi+d1pGj7XiXN/EJ3uYXAFRcAcmPuArzT86hkpZzGYWr6QIJZAzlrra5HVMXaUb6ZvbTH8VthmMstAvQ5R27f06PWzhEP1Mfybz6hBczf/W13O9nv6ecHN2+3GqJ/mqe3ptsco15fXfEKQrO5WDROrQXOU5ec+r3udWIFmx5BCJpaqoqTQ9+n4KCbm/XOn989AB7+R7hAaSP8zxkGT7ttjibMJwihK0/ynqsdlgS8JEh7HDt4djJhrbrRDIcuTFRof6ZPeZsstMdP/wQscji0ej5MGtTzX/i6WU7e8B5WPLHepQ6vrAwoxmtZ2ZEVUohqPnj/WQfJkcD1b9fvZIQwFCqtloHPY5T51H2yUYnq8ZG1mYrFg0FiXsXZZjZDIWzhGVRVzSgPxUOj9doBaCSk7X2btpB9R8Z9iW3Y1rvJfuFSnoKsjlfh6WCO7b8UOdofSKRb61LbInM9EEjkECULIg3xnrZ4unGGDZeCFKI6BCRxyqvGu+2FyzbKb2Zsz+9Kb3XC6txh1WwtPWlamhRTrJCUaONwK1Mv/2GAlk/sEAC89pk/iptgEOYeh3E8j4aJ4YCv0cEeanRiaonkhvX6XucN81WuMl3oXNeXzwwv2+Hc5z2eLPuU9wglh18ayjoBAeq3KJOwVAQMyNJl0iHfg385m6AOqDuxku0tOJMIMlle1JLGgW9KolgNA8fXBuO987fpW/FhCVX9+Naa33QakGWwWnFZfVPct8BdHxwqKD2sKcDymBG6vDtphVpF/vDa/giaq4LHI9uad5hMwUJbYknWDLXIjVCtcwAIr8b7poyH+WR11NIwcyov39lWPp2WoQggLTzXaEux/UfEWgYGAzKcWauChoe8Oma59dEQVwZhHAnm6I0/J1mv34Iasko0g5kqCQv/HA0eZcQg4+WGyM/rNLnLBIPXoIwHeExG5k5CO1vmzXyoUKGIuT3PE4M+9h4yYYPobtGMLScJiv5YDPBMtXPdJNAy+0WHQwp4wQmlAdy9fulwcTv6U1Az5+nC5nkaxZe+11H5+DSB4GKzdgqaYZWPgXIZ2NR9HbIr4H4popmC2q+tjEZIP3wdGSpuuJWQkQrvsG6mbfkUYrNmU/CxH5nCvCXHsNSGnZcFsynMIgqzSiYk/N5a0mSsLgVKLn5aBaZ4uh81/AWCvCOdCW9rlZSG5Mycz65NPADnBbn/tkkrHgXshNqUGcMekezuKjRB/ksEDAxf7dW3LbS5ATujylo8I6o2+2JPFg5nYQKsJfIJlO9yOrj6CTT1NPlxVfFiZt6DJs/xadBh1kPd64upQS6bHTR4OMbA43DFYsfTiBsbytPUj60Q4zr1LlmYlHLfhJwnOEiOm28AdcNICQICQ5wP2Up4sX3PpzEGEeArsVnFIw7KfQRfdtPFLpLIIYfISXHB9lkuIC2cyUVIA05cJacfHgca0jQyH+P7OcerAppktiOlvEqBckInWWdhgFWHtIFwadfYaVd4N91BlZqmoXQtvGUTD1GcTcaWGbmbIS8oZaPm47Kbbd+Oa6QBbxp71VXryk5o9hBzeRW2csVL5beVNvkiyKZL7a836Rd27e/LxJgf5bmSphYU10yKv+Cu1hRrgRHNv4H4vsy+cDhKTvDe23E6GJeR0fa8SCl1wEgQk1/JpHBxBLXmnTnpzjTv/ZRVjQHxIJ9X7sraZ43WCnP70dBWKnRCAUdu/RdgY9gFLr1di5c0OwIEC301z7oLG5cr5om2yuqXEarGzTa7WF5Ndpbi2lkhrAsSGjK89GgdunOnfBDRGhuIw4YkBc1PU77RmoyTtPjXeOz18C6neehngkloc1aTmfFJK3rAIOeDZeeWRjGURXRIiWipKZlU4nMIdObWj0rYK06oRM8sj6b0Oigh0+/KRZP0UqHPQvV0KV2PotzIcOu/STXoq06XK2mmaW4KVFf8HtjzF8YUuYGtpZVQooTdjg5pRQeYQhDUnk9Fo1u6D+omXKqSAJJGwmjtfB2je/7Ann2PRnm+jCg5ZQgHqj5scOkkvdg4dW7f/J8bszrJQe4im/utYpROmBZZsW7VPktvmCMXwOLJAZnQ7JU0tZLH6bvZAJaZ2XtJNg+NigiBs70CkI4oAGnqsBF+GYLzRXBO+UMQIxwv9jHJ6XVTv5asHxYnj7dZza+gQCbw6Tp+d4YTE/r6tSiEnmIfsz0PJKx/E0vmTcsLeeyKWyEQLCt4dGfjEN9U1Q8eut51GhhFAlHO8IvhzPlHwyiwfM1EnG3Vriu0s3QY71Xm5F80W3ICvEq/SXQDy4cCF0ik2rkrSISwOd2QG8tNHRviT4/zeaoUenEoA/uANqQfnHkfs9wSV+9NrmnLQdFOe61TSflBxUX3X+gwFAqgbfaZURqyU6zd9gl5Xc5+8gvqx0lImjf1/QQ9+rcbdw6EL6INKfOiAZhnB+7gYmsQ18OpT0NzsPY8odZxcF+irnZ6fvp0r/lDsD86hrHppO4w71dwwLMx8MIfWfwd3hHyT882WiaZOgXshP1DthRLQtuWcFld9DlxGacVmmVOLrS96BUdQ4BgOFJxOtzoRY2RKcAw/pNtxeULWwf9GUEdYnADGmpgZt4svIrv1WfuSK4a7dQAx9wif7niHFkbEbKIRzoO0mOayjah8AhZ5Vcv3msbXih6PULxlEQuxEPdZicdUzYF1HLWb+AjxJ/QrgLHNve252eorGbFqCYOLAhugEILq3XmlvvpnuUu86Z43tniOY4FGoHGgdCfEDU24Nxj6vxAUcscCSvPaIhJE0lVS/G+Aea1tjO/keGK0WokueQeBgOTkA6v4ZsfU8pAFDyXpUMixHPFrvYMk6NPcs73q/KYkAxWuuuI59ksQ3MC/heBIg5qmcgRdkrZN1SwCd4An4E3H9jqZtOj+X3PELzAkktyYgtEq55RIPvo0Wmbj7QnrpEddensOBRhh4Qizj5H7zwWsDaoQjzJZ2p7H30Tx52oHDNb3Q2plxljU+M2aXPAi29Qj4sQR7uAfi4ttHfv9gQNCPnwGZk45yortUw/NPrIB5n1Ev4ap7Z8e54EXLiIhnar4HIwlj0WBk2WrxGZNrMXADz6OOTSp1Yy9aM005TTtFVTG5fedUlrm3uEVL3eAGQbQk0BAHrMY6MHSeI83snfYVqavD9xMQZJLsMQoQ5vybHKZk6RdNIwp8tK63sZzKoSs55fgUvDT3NIofEFkgrzM+uORhgEStw/1WeIONBemOLnw0b6Rftn0QQAshc8XwZ3PKLKQ/1XGd+4MGFdJapsj/B4GXrVMnEg9R3ahfKFO5Z4infiZMasn0uCYlMx/QOMapucgu6v0P2Qdpc5+CjMMm6fG+PkehswMcnBRQE5ZJXVPrm6tBOrqAebDfQF44fWPeaHd2paG+YuNMZ94mlig3SXkskEVBetByouQcgccVNtQTmREa7gX3dHoJYpMuwT2rqEfgKdjlO0ezLjkNT/XbVMmEG+5ngwactcvEni+gITBHjLMgr2nbcC2EXgekXyzZaujTvIirtZ8Le/Ti6PyAevbExX7VnF4ohDxRDORMtBm9ZLIKY4tBIz8G0GqPLV54MnhgwFJDkWV+tVFugl/+Wu+/4A2Ku4n3NvLtCOjdJVyOPQ2kaKAC4PbIdeJySD0XM9bEKiwFF1Lsm6syLrg41An+M1F9Bw6EKQ3hGI5s3VRCZhgPcLyefh4FNkle/C55NSgE25Ko+u9quzCDSByoL+lgfObwj9jrm5nrmJNx+Luljcnj27CRgv42EL0sjPDXyiCn/5+JJBXEm/cE92WxkwM98SgZmUvYBZtRSH2KCt2AwHPWjZefSPDPg41FbV9CXt+NC7A9D2sw274LhBt4JJ3QPhnuxPhlx4RA66SaMCT+FrESpFbTz8i8o2ifJ0INsi7QNhXVX3SUkccivbp3T+aI8ioEnTZaCZY6OIIhbZ+Nr9PNdmu0909pArtVFmlQXWMO0tKgA3utP1n+iUbr5HbtsdZ8ev5rU0qIjjsz44CGzgI1nAq0KFS7qVF8cMPs2CoVw3NBpUho5wpIP02TMA9uwe2muQTZstX6ANLI8R9qDL7uDDQQaRajgU+EZCthN3fs7oFAOKlMulFIyJoJzjUPczAiFV7BDhbo762YEhPglFEpoeyCWlWjY8xzNI9all1QJSbZ8k8WfmPF/E9MDofclrxaQ1ZP04OOfvtlH2INt3trQ7XVRUwALdpBm9wi/9Jlb/MTgISzUKfU6IWi+LlfFsRPM0/MbdhW5ythoMwTox4HWKPDUbLT2Y1OhD83LfO1QrFT/2CxLImf16ufsdyvQPzTmHCsT+o7uX4uBAAHW2xscrNMlfCIoytfxANDi7r7PSxmqmciHdizXEYumK5UgH0/mFuhgJ6S7nKxVUhLdZHZpr8OODFp7cChbSQ8IODskJAW0EEWxQc3TKRhhHzL62eUYAbugmS+ifumYZd34qqrI+9DTmwIywfmbrjk/lETefTBGeesDX6JxXUlbeTX4KwJxqjvUughSTFxDHZLhiubVamuM++Bpy8orkhM/HWNVPhpd25FtP2rh0V1CWXUTMAegUsInz7iuVbOujCzVFbWKNDTB2VXHjAVi4jbCfNkgXtYYOC8SASmnvqi80FM9QVNQN6crn1xzuwwch1PB+KICQOxSSlLN/eGHEwxu6DxtpAPtonkqzM9o/Z5x2gWBaPwmuV4e30l4C0bKv/y84FzFj3ggv6bL4hbJNZXdnUzj2AgKFqQceNW88b6eZOKxLnA4cFQVRXsbXCpRp8Ir0hEWbyDNnO76xZPEzIJ8cKKBgitR+61kjMJ55D5AmVTaSY2Y+bQWlBTAoRpqYg8PuJINeQPVxK4UwLEBvpxpmx0XfSN577UPArGjRZY9ggX5k0slTnWUHAcWVu7G47TUmIeb3/KySImiRbMUcWHYZdXr3cVDTUcNYw4PQT2gA/ezcpTM/Mga3ULDKWsHbL8sjTqaLOzFGfqfskikiNE3/Ti+C4jM247MBe0XOExUuusJYfUDq3zYkjfCKnrTT4WfY3ctcD0Fcf8f/rEPqUIvP1sjI49wimHcMDSID19gOATF0wIC0MkbwiNvndzNTyqEqyfZgoOuPtfciZnHz9IrK5MCYh2MHApsaH65IIetF09wKOQQ3dzhoSntKd9Bg4UsVouxicVDyvE4PixO6Rq9no5eaNgK5h+HrTFEByevTI+e/iyxJHCTHFVDUMbhLWawkzsZFoxZzA7PfOltWqC1MgjWpVjaN6u/oXDirZnLaIskGiG3/VW5ZPjpsX7qAzm6t7j+nH9ySxqXuqtiuf1IORoZ92IfzH8u/NJei3vEw2TNUnFbrjkVdZgSu1Zc/C2N6xB9jWNr8OQDaX18nbX/LoPFrbGp23gBdypwi39kzPojXeRm632mZaNWLVn85Z0OPwy9PtK61VZW4C1P13YFV39iXMnHZnioXhe63vrURjWs+ZQn7n31YsXlCYq3R608kpgG24XmuusM4lUZX3ZXkZWDc9XlrmTaTdOx+nkomOW34tKH6pZCkTeTyugMCKQvLznvyn+WHZTeri1cGO2HjWDC0G9K2N0PLYaTrqmwNQvqZah2zKEhmeEMq19pRPpjtLPz1Me0DjEg9xpwLkF6S6TB+h2ws9OrnRLYxdzW/H5yXltaOYXbO0Yf9OOUoP6BOlxBPbLpNbwcCLMOcSs0cTREYc6bJr9+ZLjpEnN0pNP53M0qymIjggSQVbGhQxOfTbJAXiHiANO4lRBcr41w5HzxvVfSuTqS3OMCRXhQSsDT9UjuZv8kd/cdPWV1r69SauqhJksCxnm/qSXDxzyCAxP0F1PqOOedd9/q4cL0Ue2Kd0FYl2bdi0QCgKV3APp4Iq4M5qo6C7sEd+g+201sYdorSt5tBtDNtDFdBv7G6uZBO2YgVTNxtjvzKUZT34WkzpOEURQkE4dMMeh3lCBRKhw0kEanY0nzXWuJEjR+UMuL+cr16wEgUu5RlkoDpkWHWDDm/jO0ppLuzwm9Z5up74LBg/ggsY7uf0ryugnA4YZfTE8S4ZCJBILMTveVawZRe+J2SnFaryFvWQtDBihPJtuhR8TLY5RW52PWyvRLD/zi50hz8m/T1ZDzHofMAGtfhrvXdGio+0GMvvg3+lR8NZGLncsVjB+DzQD++9b8uG+BibEIkFmHy1U1VGOrBUT459ftNNKbqJQClY6Z5C3JCT/lywblGtnJ4lkvzjw5DFmqFsR9RbvJLyk04cqygGpPTeKIRC/X8D891oZbmshNSrKu3qgtw+BSkW3bwt0qbGmcTqosNf46yTyrnVeoiFJTkcunjl66BU1PunTJd6gGcv/v76XbmKbcgjlDCFm9Mdwxx4cIn+lxeq+92esvPt+SW4+5Drh4Eb0oQlCbbej8wU0FELQP0K1uD6PIflsQW0As7gKo8nZs6DEZn5/w/xoDXCkDqnWGNbjGILYSnU/XHegeWp5gdauYXXu7icYE2IZsP4n/t8XBFqSQO18k4/XcLLoSIRW8UJkPKvNFD2IAmB/s7lkXm5k6MjtyLV2DDBj5yQhNgFDvXE+twaM7/sKIMfHm+U8hTn1mhPsZMJjn/cg1+15CjIb5kEvorP5tOncpDpCPzyjkjVmIQsn8eD9WCz39f3+9qpmjclLwbqn3oYY1H4bgoH9t8aOObUszEJ7c6LRYeHS38H5IOVP7NcDoMHBqxVgqTAQfY+CB35K2HxgcpzwiaijdY7k2WcDIhNFxjRCESYWjp8n7F2Zw6nVOZ7SvatcbXfPuXn2OE9ziOOa01MuzRUzmd6cu6yTf0IU3xiZ5B+zMPsbLFK9BhrQ/1cX82ReJYfwX/5Scj/lr5aLqadon4Tfk391KKnjOxVSx/Pv9terZXdPsOk8LO1xLdx21wL8omQtLz6iwK6t3CHUa0KDgM5Awc7QhotNBFxnuwUhqD7IL9yYZvSQ1KgXUvaFy+v7D9ffZ5381vi7pFFLvgr90WvExiLvxAFm9nZeUw41GCd+mkm/nVYR+K3djEquXEPbIkwAEicUiv7bmpevjnUEsdqmLL82XnhyTZZe9LX6AHjfQxm053GS0A5Uax+qh7YaxA6xtmnKYXmgH1GS+ugI7KHftt+UPc5CZ0dCcGu6jf17wXGtjpr0v4i2TZ55g2EoS4xDiMUNvYTqtzfh8M69oSFIcczZ/h/ycMuk8JfIVbiC4xsWUMs5K7rj/IQAMjpq664xR0eEmfC3wHEyw8QVfyse+hz0/2lOd7vQMSSIBkT6Y6DU+Cn3UXi2/G+8/gTPM1Q4DoJ3fVdHorOhfR20GKVotz01WHEjP+uSxO5yPfLRWyF0mrtpegJ0WzStiYlzPNKBFrkAAANU/yaKbrbWnK7H3rSi+Qro+6yoecgaTTHXdgQl4JxQJzREumb7CK+VMwT3bHMQJ7P6pCKS8OIEh0cTgzh3LRU4aGLB2fRYg00pEaK4J0Xh7jLEoCbAB4kSk8t5e+Fp16cQZwpi/If8EdA18IB8g5pD5KyQZjo/Uu1yagQePPFr+dN4YlL5f4rDG0//huxKkGybcRMAsBigaXfm7oHHgjiM/Eg5iyCYoQH84k0o/Chng+Qhq+8tgQwKuIIAnw+6nFUX4N2J0e0QMn/RSCPSiU4J/bh/bcfEDVYX7cFdLVNWdSxMPEmzSwH7aD/xTKIAomBwBz3DBxfAQX7m9QaJ7dJ9uCpQFUCpJhn7Y/Mw1eS+JWodUOHhuCtl+mzX5S5tUvwTce7Hdw7c+yvb7ygQKuDSkpSEGlIgwHPnZcaGTeOTszqrsKDXJQDSpwBlM1cdtQOcOzeDTBPyEL8om/A3k85x+HCAwqbLt5VNQBwBHf5dDe5Kg7Poeg1P1zIGpfQyKxkvAR3nFlV9V0sEgD9JNKKHCQzRMt2CKGiBkDDZhEXQ/1gFF+BWYfDfPcVjvIsF4HLhEKIg4aZ80DYSInaU21H++LwIpXJ5pjmQsxb7FiYVqAakGIsf0Fg1/2jmHgIPArPm4tdtYdGW8XXMszcH+wsx5EBz9b7NMZq1IZ1A13dcGBkkSI0RzrXfBz6y9+pVf1QEphZd/QmVSCFRbkYdbEiwTEsE/t0z8X1lLiGlt+yNVLoYu/Il8A1hzybBqU08cZPQKdWIsKPGFFiKFhnfxo84gAxhw99qyDSLzXtoFCbqA0ZqVQ0t+NzgDfRcZ9Rh0XxtQaHnNrGcM0KRPT0pTipdrqFuVH744xlvJ8i4RKVKCPuXTiJyXuf7ITk9jeRM9V1xtdmjIVm9ET2cRSrv3sVfHyOQuAQBGsSwu5N+XOwFK0YjG3xv2XnZx6HE9hZ99nhZMoVcqiUu+B7xNWfiSGpP8u6Jz4R/97moHIW8RMG0FpweHPOsPKdAQrmtxQZe9SQhQm18ok9/Zp3a4c52k0/kpFenYbFGM1YOwwxCWtHZOBINCes1HQJSb62ELAIxoNck4grAEUpei2Fyj948mx8MmPkrTGAXPgk7dxLsUxXTGo74a4Am+/WEhMqlRkAjtzW8YkDBLHNc0LOJDFM69fMXNLskOmqLXZIe0cHc1h+RrBgkp5mwmmZbxKANZi+/Rr98j4jogl43in4z70d1vcWsGj4Iuxbn9bOi9JACaFe2PVPGMKd5VDk3B2+OmfA6uSKzQSaNNelqhtxZPoU/sqdzUIONgEotGv6sHSZPk1YOg4GifvH1OUifBjph0VeNFvvywxscsqzaPPpNvNKXpZI6TdIzI5yLsffLeOWO76S4VdL2zk0TaEHQiwnA2Wl39Qayp6p58cOBRXtlODUvs2ee6oRMiUICbalBVGYFDVAjmkAWaGaJJfFPNvV5bVBm4rJOSKcknomKiRG/QcFh48nfXmdBuq7ifFuahSBwdp/D6J4JNREr8Q/k9dHc/mnJd3JJnkRcwpP827elnwAWb7aCLJpS4mHUT6qVfc6eSvcjzYhsy11FsKTDxyLXxjgpP5tDCV4T7iebJlxoAC0Kr6oEbSQoMaIjXnagAtX78T4GZ9o9rD2kT70HW2DoBwqjkVBeimqFoup8wcQLHIdqZaErGrPXu7RRTy3A+0jdxUulxy/7o9PvCQjdap//CwB5zLsz7AfY804Kv2b8BMFRPzpaajupg0pA7D3X09D0BXaWh9i1qorumJ8IdGphYyqUZDhk/9tM6BUFufCMkW2IECn81Sd1Ai23/AktHg+BPxbSv7rGeNmBpCy7stk17T/ezsouet3KoINOZfYc364QpxZY51pXQhv1Yorcdhkj4RjkBGRXj5VnvoeOUho7ZX5Mu3fOWLP07JW2R3ioke2tGgIp7388miz8YEvzbfK9neSxBCm8flb6LWV/klISkU1BGYtF32CyUaR1z8B4AvfKcMBPniEAIJhIK8TpcgOHQOGl9N+2HkiOdkcWGM/+wv6y1zcKZSxSEhr44KgAUYkZWqhomPHJxySPhLPrajvWg5itKsqXfRbp1KHGLOui9xJThClI3c5q6HIwHHY0piGQtdbZ2hvQkllNaFq6lwM4ulG7zhTp4hm64gUZoWkiZdAU8mBhQrPxOcAVRgILHoPOCJfOrJ1YC5vkNVWlJ9AwqQTVO3yFsguUKpczm8NdhApeanWqoS7cdfspe+sUh+/dEl9PZlUkraw/SI0Aq4Iy9VBd7UppX376w46wpjIlNw2y3t6VMTuNgTL6rV0kxuoHaVEVaQP3QWW16TQidgt8oRkhodNR7z6337HOrNfVnZM41UCLFDSRH5k61Xt9snfq32SRcmM5++vvX3AfFr2hll7PuDZDMPHZ5sqjHdiF4MtZblluwQQlJ0kQ2PIcWzyKbFGjsIoJ+95HhJP9nIthztflFdm9b3Kw6qxowhfxQsow92D2ZJdgrHYvmaFKFnFJmW0MA3oZZMWn1SkwUGXHI8nprdCSjZprXgIou41krFX89PYTKhicGtCyRPbmgugArfYxp2N4YV/fa97QHC7QrarSnlOIUHPhQofhEQSPwUeO6i5WWo895dQqKxL/T+PmDQ13Rxjzkp8uXH5VUCuH6NaKQ7615qiHPqIR7qLoHNlMa4P3ZZTY3eocwEAEk3I4VLsObdP+drampomvU7N+HatQ/3JIIsxUNV+vDHOiiOdk7TPHQL9gbij+m5M/giIWvgEJYxdKBnG/JBUD//DTWBHSY01vJIznfrydxtVQ+jRgvPhjOQwVLtmsdw+FeUREiWZ6IdwT5Pp/6ps1kf3KT8QSf54RaM9bHDQ4eFcdnKEHYj9hpyb96CfHGZ7fpF29PJeiht+eWeXHCFzXtCt799v3kCfGrfbk7RkAkfDp2yvd9ZvNepnbqAvX+Ciw1EM8s/bow/EjsBPeZCLH6ZPcI3eevKO6sQYVMsbHVxLKG36ZzoWEN01ggh1LkbPu1p443oHWKWjiGgf1Hk4AdIYwiNnbecilxvuIN2A7cJfpa0gMCMLEOPGZFrBL6ihGDnEjZ1mw9XnQJ8QsgB7Tht87oMdh8C12Q0SJG4J9fuzZVqdUBjxFs5DjmyhE7lM6TUsxWXisAbS1jQkB2mc7SUw1jIyeuhUOsL/nNK4ui570qAibnRoVDS8DhrkfkHWg7wFITVbg/O2f4Z7+WJPaBz5VWdABEaGd4B49SvmjslVwicD4jVbJA7spHxlXT/eiQqTJ1ZPStumOsAD2TMbj18ugw1puevdgGaaEeZP2lTtMhWpC4ABkPyLu7HsSL7MKywEustYC/P9RqjjC/LBj/mrJpoYBD0fSKGGBOty7DqQ77Ub3X5AuGaiJF3DFs5OMPqfET20FYT8+MCiV+7ZzHUArxrRwOp3JmIao6ERQDMaWYE6KPCgB/97E5p/PVDl+AKke3KDkbHoxD+cTaXp0Z5Ux8LQr9gBLXlzXxwpXdJfo9zyYqEykWfqaQ4v+891a/lGGYirRtuNLtLlKyeqzcOKX2PnBF4eyegfxroCGycV4HGJGjjlhXD0QP+aR0KY/PSbe/1yMkrjtbGS76juUowmdYKgIsVaWYXn3Vc4cpnFgpV+GuD+vcdsGtUBhD9pX/3AXe1PwX6PzElLUUvpsrFTVruhbGPCZb7wAVqcLJ09KO8jt2vAEQilCivgFIaDUvCoQKmngIglviCX46mboBAQi+dfcYciZ+lSnWhbKNRSSwXVS4kH6gPSxR/XLStyE2/2JL6H018LPjEAjLumT9QiZ4jh0YQaTrFa3FlBYW9XEQ+h2NZrw5iORnhODeK7FZ0jH5DWgHvIx72Ps5I5e1XEGUoaI2zKIX0Ti1tfBd9xbk7LQBQlvFo43h/kiY67l3HhSCyZ9WDTWFYZnU0lk38gQDDb36hAYQ8+sxMlIOKZ8DdXLDUOpbW9buUSA4WNlQP0Bx7+BtfRCh+77f7w66sDzjWA1JucIVDWTYBh/8Z+INbp8FALxYqvkN1Kf8ert4WN6oaoz47Xhx+HTja46wgkEWqlFjP1JEky3TbXCtkR+igYMEfUTv57RypKij89xfJpYnhPofCAldnUQ3/FPp34ADtL2JZWwGXABA4z7Pv5P2edHIvbzUuNGoCXap26vVdt4YreTCiZBM2qZhzeYfiqk+prTK9I16cRieHh8KAKUKzmQIeOWayF/S/kAsyUkGDTlkOvmxYGjXrXEQ/zLnk1+2hQEScRv2uTqBl2MG3tcYaImu5s2nLWKitgykljbSWuz53gVtuTTzHLPxve/tbENeynSBA1Y7pRIYnzXtqtqXA2QvyYbh6PsOfyYn3pQ4wulpGkdS8c+r/MiM6UZpFX2qODX1T/NwpkuQfsbBcpgjTfq8SEq8HcVHOxDlMiEL5kM18JI+mol8UDl+4VsH0TMxQQ0sqXZxPHmB9FXsVkU0V38JwkbbzGA6ts3WRsbfEiUGYpwmnLkczkr+ukFDkch4S32dV+7hrx7XEW7u3PMvrl1d+bsTd6aNFp9ARYMrpnqVU3/P59dBrdQwX7TEG2CwS+cUTOXmggAD/deRWc704Z0ftzlc2L5HzFKLhTVf9WdgVe+cbW9gWwDJIWNj598tGz87If4HEIL8eqygi8ajRdsgh5OeGJesnrF2OfvLxjs7Ikm2hrtBesO8FOx2/hPA5+ZSa0fTdfq9hGIUyB4SFUWfOyqBCes8E8ZDlrvBnY4n+rW7klR+6L8OuvWEn5zFWitW++r9gWZcQpR1WztpI2ecZuiKGBl084wt5AXG+gevLtst4s84TMd/38hDeh35/HKA6nGrga77hT6yr3f2qvaXtZUFpwJHuJe9D8inrrxZNbgaNAS/+NiSIpnSjdZ6kZEyWmqmxY/+QYPlJ3ROi49yBcV10vjOpW78DIUYd7EiaVALIsZjmm2djS8VBUYJPfqvP0AFwZIOP7M0kdHiHZKlYfzQ6eqPax1y6yGZEKkPixw+eWqpGIfUWsC3yXZgCitBQlTWk6RM9oWP8e6D47vbjE9qRmgo802QrbVz64R2+7a8YeH/YSVrBIBHWnDmKpIZKaSgwx5VB+WCjYj/HN7eNzzs8NbsRKACHLX9nBamSHWGTGbCwkAEVXLMDTqOtE3GDR2qMkZGKY3cSO615MGGDXDwohS/r/yjwhkc463N0HSSSYw9Otu3LpzMeT7bt58KRV1FD7qWaETdv+3VOoIr7kGFhHC8dgduLFQYvinSwycIReE/BBiBltmf2e5n16H4S+qmKoj61ej7/ugyEb+o2/I/r/69n3TvV1hGn3jT5TCT77UEE9pnhdx0hmIrgY+5JtyBUOKyN5eVt73hZQTZbummSBj3n7F1Mcygja99nPXBrfcErR1fPjpZUV7G/4WKUsdGMJdffmezcHQAPR2eb9qCVz3zgDMJ6ChbILkjOLiMm6wr4tj5wflwzseKLj3PiY568bwmYoYua9/dDdDtTNCY1GAIJ1IKuLO628u/7KFE4l+pQUlN0USod3OzFXWNaItvtHEN+PRrIJ5ViaCWV1JKZ0lKkzOpDzSK70pugjy8e7V76IUSj+65516NZA3AARDSeuQlnUs/F/5MWklL/WNYOS0MmEKfabv0PFBGZTSFMB7JcJbyre638fwF1Ord15Me9KH6Db2WS7IHq210+0k7ROKhAEjAqqr94a60WRAUGtuYZtaUoBapFd7YD8CLdDiVBRYKx4jruYLAc8t9rEKXmxyxowLn4UbhPItWIZ/UAZptUXr5QHgOkHtRmh9YvTJsX3znN/givh9JzySpmQ+xp8RgA2KGFiiBWotzr8ovSZxro97jYxQ6MKaK5crEG7w9K7wVLnB/TwDNUOUzFtD6YJKCG3aY0hm72DTVz3enxiYoM+1Af0/ukiAu6CBfFCk+eT0DhJSN5eoHeTZxXpFrakdqlNgjNY0UzIeQpKcpfsK9Lapf11y9Dq7gP/tSK/3o2xtnCP/SPI6mbiYPCj/qmbGpVzYb8IQwFnlXz9RdBzpstzHSnC+POJT6pwVqHclIK5ECNrHzbOQZIRfQupIEbK08+6XEg8NYcVNG8q9hT6S15ZTK7zxaT1aQxNNxl4Gep+ius0lhxZ1xFFi1oteFQH/MzbI65lwZlRYztPpXjLlhKb29IjROfNvjfvi7OzGoB8IK1X5tgvK/mON9wnch4dYc7pe6TOk5z9v7lw2JgQj4wkHSudrFjHrpy5cTb6Bq3jrHlfv3l07Cqc6pYpW9CV7mjMPTgZbede5kDyLq9j3ePrYhXzBFpI8P5D2m9gqVrbTX1GzPLu3YYYj2AWwivdjcP9xOPcUvKhwn23zB2IoSSqeqjdQbwpY+7sBsykAZWXIuAJV+dYjbHKdgzIJxLTpm1RLyuHt67MHqG6V39I7PYzMkUO37BcsKlWX0zZPuE0aIw5hOMDWIXBHOVByvjgtHxFU+VSUf9RfPFGkVAyhGAf8y72uZDmcGf4OSfrXyictC1hAxjbPwNBfJoE+cLRUQtQwAzZC3c7DeLhkp4vW5Zy8MAxITUm8BkcqZvvdeL6tTOAN9n0skoCgX3iUtJoOE4XaRdf1wSQShukE6BzddxW017pHOYH8tYC6PqqEY0B2UJamOimHxio/IE26zshGNXAqo62D9l+/14hVd/oFDOlBrekDpOBMS+Wzu9Erpljbkc5jmoZrRZKNrh73FgVpGEKsZXG8q/tykT0NlBqyIUhrr3/myIHbbEkfMU2mowOIsbRKbfni6KGh/h5xX67vreulNK+e/II7QJsgUxvsSjszSVn4evqkkwoCh7ssopA7tMmeFUJsFhi861CgEDKZsRsr5TBiwaT9xewz8API0o6MnNcuezQdZmMSmb8SAW6eewiaLmYVhdtb8JkC+o0j9BwbeXS6PrBTkMWPY5D2VUJGBX7ovwPmnZ5odBe3SodIepTZK2PRVvzfhWziYWay6dt2AS9TVFJFBnG9ogPA8rqdEMwkOzUbgpFc33s1IBGkROivOJuWUyzAvvlvhxqM25s6SDZNH7vp8LlnrcapnJ4rPWwRJlusCiQzE65heRbmvJDCvQh/MjcIEVjdz7rRGnVuCP6LzkQ6wPUHSALb/0pNQdFEmGUI406LD4rGZfrLSMN5r+1idfr6Csj4qOdgFCaC0c3QN0ZtXTXFwtQubTMYdRUs6el/LiuEps7vchdtr0gubqsmAhu/tVGq1zo+QqyJTsNK1eY2LvdWZArMH+8pHuLKtaDW2pQ9bdzBQ6/Pb2/CljXO+PMqoCKjG/l5Ld4PrZ4RuD++zz/kAMjVC8rvfwrf4mjVCThpk1bX2FrMAv7fFLwswpUh7HuhZfF0plwbltL9B6UphsQAatNRSRlN1W//1xtczhmx9r36hHURKnGtpgOIdtKD/b4TJosNm7cjL4C5oa0lU0XvPymQoUnJTHai/U3lMqlJcFA+qqq+1xHTneRO3PLJCMR4oz6OvAUiCAR8TdrWK9+WKpzo1BdGCUJQjUlkRaXCG6NC02GgOCZCW+7e91MH7gqQRZ6WeQOnHPUNhugGLTiVh949c0o7rNwKQN/f35cXPkfHYmKH3IoI8qWwYQ9rh6ovwFtEjsnQnajPH7p6DM37JkAfpog4n7zAbi2rp9nSXmikBz9BGRwb8r4TIdFz8zy6tlQDoD2yo//79bAyr3uOeDgLmQ7+MuP3Z4/6/5YZNDr0r4vB9XEpOYdpczpra6QntceNg9D0oqcK1GyZ1leYz0xtOhLDoxOKRD439CWe8uSOIqt38wQnLw+RZwW5ynLnDxVD8UGOuFnQndtGvPey8HXY/t8zbhzFYSu4DOCOOROx9C0Ql4PnE10zAoSDmDv9Kv4Eh1xTpfD4SKqO1ImH45LXm2qSaYIx11NNce4wsHln96mYDomzydsgB1i5jWYN6/z7nXj2Q37CxJ/J4S+N9+5dfIRaZs8pT92oMPJyTrSnNUytoVqKvImwopSbqkF0UuzKZzZpQQ9WQf7Hd694OiiRzvyBVxf6riRIXrXjl/1RvGb1JNm5ZrIXzMFdV0uS4OK7o7Bcce79Bt9HPPxe6UsBjoRNeioPrhYjl+gjJYokbFkEMjMOi7zVnZCGRJKAbE14xvASf/HsNRQmITYRw+YMB3OzqHLdaMp+DHHEHk3PF33JfgZJR3DIQTK6yFEUkJ7MaOEQ+Q+faVLuBS3iAa12MS2M9i3v3ENqXfRJpW0DdzrW+afcyeUpBM33iaQCc+ZqaBMoYoPAazNtVlfwFHCNMxKUQXxQVLgwTeDw/2nt2HwGfR6ZlWzeu7fBLLkduqdWXO3w1ZwWzlX9Sy8sJHMcJwGNAgWkygXtX6+n9VwBqlRgwmzjTwyvSR8PEpioMkFWTSRyfWaR+S/ZpHVIINTfq2GJmEO04WmaQhXp21hHuOtABnymfQU1rPBmR3+a27yiC12bVDD+JaPEFqXN1Fxbr1AF7RcXA2FHxSmcch8BdxW6B0jE9D9LxY6wKFXYmmkEQWSkEBJsHHtjn0uaexySRh7FNHRnR3Ev+BLc4471lR0oGjH/79sufsU4j/clpo32aMxXpeycPbKOLU/9KnOea6KD0HslUfik/iyRgC7Oq+Qf0H35rKcebFhTwc2Byk2RXEewsb+GAmvbEbVXgrqUX1rx2YPTpcH7dsmoNOf64PlJ3yT+RgtYQjIZj/dO6IsmQ32oIxlmg+eNo6rE/seXSNEKutXN35CAaqKEwdDWiKL0rhUPSCutaAOotWEoDVwnbsrQU6cM7DMnb1xNUO0BEC5vtFkUUEOD1/sdNHXS7/B1M3BJ7PHSyOZnWW2YxgJmlcjf3oYHiU2Lo7kz9xQTsBQJfq8Pdkk5YIuHh2W/pdKZ2NsQ2STBQw10VuX8GjySvZtVfNgQ7h6lIoozMX0Gy9VM7oqkqqJQ86oL07/qTGn5g5zdlKjromv1MCcMJ3cO0HtlRXto8rqCuuXt3K9qY0TkRu9bXCQm26D7CMjC0XVzY8wKVCtfF1kARHiraO4e5KtT/e4IyZ5XGFM7ltRXwveUPBsgZWhYjGx2uHmajPQ3JUhtDH+DlixvYng54wpPCXYPGJ8m1cR5hBkYOLvLRQwVhEq4yQNncBy3ot6c2OOQmxvK8hwkuctwrGQGgOnzuGTAmeWEIP/nNs6qnjHEx3MLOJ3yDhFmHnX8jrjuTWb6Yk1tyOjh66vvASEemSehfg9LTULLKoIbPJjpiCydcGXaR2+3DyGLIoRxQeiA2Tg4ekDcddagaIAG7M51E4wkUYqPk/N8N14uHkfMDhA2CVWPPUXWaebNorci9af5Gkhmz+gHVtNsYMQHrYK0bFhac13dEiW7f7Leir8w6ay06bmAyFXdtttKbqcXMZsQ4za1u2kZ18Hq+YOXJ9Me/Wgf0PustpXfHlq6Y1dotShJAWlqgABqhSPdazzlbLn9bFJKYopfSbuK5C1kRuC/9gt1otTCoNOg6eSCjlOTVpVcEI82qLW4KwEGdLFFzUs849Yd3hMXkEWkeEB3wG+puKl/i+04yzLMzZZp4vQjh/eQQX55S2K5NCuEZkjyA4julHGA15mBsD1CRs6U+eG4fSshI3IzJIrSi10WDVuIXeUdw/MKcglWoxNIedkUC4fig7C+j0SJvblOeWQG25dGeV6kIepxo42RFm4envcaeA+GUuFMhjv7wuDxDANoscXjWryl6DItssRT4nia3YlxGVv2t2K9BB+zqvEqBA7p3r7TRjkqU7hLmfiKfwcR9A4E/mQDDlzTvwQ2isycjo2zZoKwzH0ZGoUE53EJdIBjy1LKOPkxI1WkIBfp61A9c/EegqexPG9SIlN7iOokHeJrP8dOvgS8jlaQDf4NATqhllohwGe/OHL58xzyOALkdq+umdR5Svq4yeGnQdy5lPkiuo1OMGtiQZxJa5mEYACwAYNO8+2ccrYFsti6j4/ANJ/bYvwBUHx6uEfiwsz0AuYMBmODKGnPhdQdpKsoiNTxMfm3hBBDHwdEt2pZFZCwJukwH7/ZJsre/JgvsKmrjE1m+gDXKahZJUczG5tdW7vcay2HoeAW9nbYlRJXfTTFlvRWo5afKy6J14LfgmubhxYg0gQg5H/C+bAGAK+D09PaupFER9lPRrCwP326DqL2o1gnSTdlrqPNrUTZ77MDp6h2LMv0gcVBnEkauBMU2hCypFklUiEZ8lUmGytwyAV2YZnjIC1WzPLan+a0EpnGsQadRW+vx7ltrotoq3kCfjr1ASLxXrfheL83OGzt/OgNHIJAaKB1R8gANN4X/O1huYr7g6rBHlKcRkLPjniqYHRuQFuIyTYrRvhwflFoW9JitqFUhQBLUGrhD308BBXCVOS9UzDY1nDsjxQ0hdc6kkWQr58PJYlWHZQ6MhDYtKqFS9anuYrTJ1FCVgDzCYqLjK1AnKThR2H44yD+067BI1zQ2sG4SpE+GruCc/+iJTMw01OiuUCQu3hX+MskS8D8RdP83wfKgChYFk3irHdWEIL4q1qQnwQjrqfMj+5wOv743jOP2nrVhQwPdxlit45vw5BDOCq+Jvzi/L6PBAFKKGABHTfJbVCmj+Ak48B7h/jWkLYw4k86ay8Un9lwN9A0deG+bx0msXlo26oO2Hqq7P61cG+l/WPZGeb+lyMsnK1Hk8cz4Coa7KitZFGOwZaDphmZiSHwrrTJvnbu8wnAZWnf1XABFjI8ffQIva1IH9p+gNxEpqDTBdRqPodWCacHKJ77v4H+PFKaX2LaEf/43v/97RFEVmum1dSFPdohhrneyQ/e21XJicyU9dcIFlSLqaKJVkS+GRXDMEhZaeFzOANWdKF+1uV6DXD47HYfmST9XXzcAj6uYYnRQl9jiHFMIA8m1ZmQ9hEh8tlm2mRXkOMr/Ksq/hDw0USYIY+dvI6gRMBcl2blmbAU3yisRJ/ESE1r8feMFW0b/OCs00Kwu6oNCm9ZtR3OMT/EIg4Vh9HDWOqzcIbn6ZgdVmWBAag6iOgteGAp/puGUW59930ECmL1qnL7WQy4xoALEThyMmDf+epqns2G8AxOy2Hb3VbN0OFo+kfWsAiZ+HKgK61EAcyV3lC9HnPtaojw0yVBEvkNSdkEIG6o1GjVNcsFObmjYufJ7vwdr/COMVEgJWQVVl/PviKY4rI+KZBr/1g0WS0xPJ8EYIEzAydRh9dW5FBPC2XmgqczHCMKbseCT8TzA7gkc/m6Tq/fEz7nBxGR5s0wU7IYyaOpwhVOGhU8pPPWh6H15yhE187UOsLw4e/pL6PaXrJEktNzE9+c9Yz0Hsj465JmsLcKS/WMZh4zBCk52oR17/GBGXdpG5J2/n84D8uch9OhovY377zvvms1YrBeGBAs+iQqfOvEbhjjs7gw+NpHq6T9kIoI22rb+gThhXFwJNy7zwrJfHVePY3HRdF0Rnv3uqnwBovyHSEiCX0GOlLnGDI9RQ4+R6EF/qO0mToPVkRBvXp1k0S3u+FkFS+y2Ld0H7Y4MdgRxWEshTqTOMVceNnkOzVoweDRVcKaeke94ES05mbaSICcu3c+JRjUq0IamUHE1fATlYHNlHyhDlCGXnovsheBRWPsXDF5XWqeJ5bU9+Liblur9+D83LQmRP1wut10RAl3FcP+R6MfCQQDh0g9hSbgJ5akeGmd5LzKZPmZ52/jkMzeT9MnMEwESuseqCUYjOtUya0r4TBLQhd2Hxpqeyyj03/TcIFWqKMHEoj8R/VLW1ClhIAiO6QG995+UI4Mx8xFvD4WEg7JR95YloYB7dhRwOxF5flUFVMY9+n0wsIGzMykCmKzIy/ShXbOWMeS/PqkzxcPVv+B0qJzs5jZLowi8xbwCoF7xRCO0lpLx7/TtLEcYIgF73knI6dlOvoZVDI7B76sJsPF4HtSFpzGHJKFIOfCCryeeeq5gjz5oDAS5005kCym2zBRS6PsCGcACEuJs0YfFrCX6UaZmBG6UYgQEBLAOkX4DgxeMEhqpRyJ+u5qQxfvHoHm6eo+xshfNx4vlMi3Om5buojwkEV+8DY3MOIPQKxMtfqCynxNtYKKtfb8MRHYtMUJPcQHEW1STNyQppteGGmG5xCu2XhceC4RtPFyxvO28h4GB537kHiucovKt169yNW2YDbZw2ekuxPTd4Zn9oFGqb517xnG/AVo56c217Pd0ll2/O2EdG6/AcVPR7rC+einmpNVw09dY0OUlM0JRnZ7Q69DbyFT08HlGCXNnOa7FZUQ+ufrUS+bosfXbAkTApqc+5pY7kAO+tIbOeVyLsx4eiGeHxvlcxI47jmaudwJdmG0vgM6Qz6Vd14obR2V7S5jSXN8JPEiZ/6T4BYAxAlGfO6xfBLw4SDj9k0lZjjFCvfd/sl7XfGJyo3n6XbkvMizQixN7qYHWs2LitPCNY57/5wFcwFNiYJuxOxw6sOnpbNJmFj2obUFgSI1SBWzrdsHUlInSPxjk3ydL+DOioqemXc3bY8aloOgY7LmS9oTEcXDhNMnG9MvLhRbepazBOW0482E6esJKMfoROfZ1vkXsGRLTaEd+hiFecdkmnXOVmByUBrahvoapB+e72es3ruAkxAQCJ6CJrtEezwXbgvkSYZMiHfPWQLwXwTLhwC8WzZS0rSZuI6Jrmb0Y9C9J0JgtDxKPSgOUQpQsnhaORWxBCoeeON3ZrxFtPd1Z9YGnjhxDsqma+LMup7awHuJoW90mvYManStyS4ZqB4hSVaQ+/t7fhtp+TmzcXYR/EbWJSXfyyfyypSRm2W6eN2tGopfya+U/OlPQFsIsCFW1UBbVevm88JN36OwWnHmfenhzfbk5A4VA0GQYxLhgmsj/41HGIRPANu6TPUDY0Kbn047YD/920DfIUBENXuf+W+nvrcSE7fvBKuTHoIfxHyww32msvN5mLttDkOWKwQwaVSFsNBh+lasCvgxZKfDdFqq7f3GS8ejapDEKjxF+AxCrpQYrzi9JsSFgfDmnfzkjQtKcNLlY5UvRtsPADn3PeBuokrb2qh9Kd+1gbF5w2X4bliqYiS0lq947RntSoQGNawZLTc7MeQz3Qnp0F3N3hQ4NtnLl3/drWXxDFlc1AmlCnfHQFEai5dUZPuwKKco2ohXjnEtOnbNdp6sVfXaO/J1zp7NRCH3POLhqxY9gaN5cjVgATJd4T30vih/QIveaTg3dMfmPD5Nxnj8oZJa7zDQeyWlsHcIqihnF2ouM5YWJJfl82BQUv9N2eRf9hCF3swvwxkSRvqbVRQ8rxSVMXDmzPDM5myUrFfvaQsrRIafm+LiAEPC8nev9TfTRkXmsh1cWCTEzm7EOzlkndK/lpev9p8CjGeHoLYebovhsTgqOCycrZwyTo7zpSW7DEvxsTneE1RIbgcbRR/WlcbQ/qeZ0wgQxSqxP7icEtG5nPBPA3sHUQ1T4dPe0KpIziIDW1JcaI/Q9XEKkyH5CM4NyU/Tn+8Y3GkCChJ8+YtxGrCU0l1ZhQtule/Ow3ZoGx4nnTFIMtv/cTfyVMiMW8B2q+T1pYVQFB9D+aBgOMKdOZDlcF7oENpFSucRtLVZZJgfIbHP1SwFin/xkbeGFogTLHkYbWCMYAlpWO2RkGjrc3rE0mpg8UE4IDb0cqARqDZaNSkVpd9gH6TdoDGIihEtJ1Mf9xNQ0QriI/4lId5Ybra9sYw+BFQ5g7tOE6bVcaYdt5xAaeBZvISknFH/WTvQBBlJXdWxzevyD0zWFmhQpZ+x+r7ww75oAIFiEzB3fiBq1F2G3gyTYl9Rb8f+MmtKY7OChm/p2ZK+Hx2TabRxza8qgfSWbp+idPzZm3YMivXyujEUzpoDlX8VSMdX0g9Penb7LCPiF3tHhg13Pqt8ev546xRP+BbAneUfndKE3ak+n9c2liXGnmzIvuaVKslIAjMTR3mO60l2XQ8TiMHtdsF63kjbvpPgzgjI/WPyrrRLL1MiWhpzyYqfbMBW7J2vZfVmGsHoBNrMu+U2wXalvy6GIy2Szid/vZT8La8ZufXuWai4Vcj24r1jV/b6/zI71Yj2VVfXKJ7pxQYkYrFG8pow4MWMnq3FZSRdv3MmhxaY3K6uon6yFE1sw+qem3sVnkKa1n5Ftxt4y+Dq/F6FQESVSizjrOEigo+TRunrgbMZdV+mtzAy2RLd+yUCmJ+IDe4ARO3jYmo4uZ6tK+9qW4GRA8gnCfN0ZqrppFhUyDRfIHPgh3iTWGNChtm/qG2B3HtE4VGv25sxWR9I+asZ/fSH2rIaIA0uxWbwKTQfYdPE5ofL2I9GNwq1arVn/KQtRr25AH/Fbhiyamt6X1buLlmU9KqBhV353koD74wM4AzV2VE8mLqHf0E7cI1Bz2bJQiALKdri8xMwH8ALufBSDn0tq7txf7I5InvIOBFzIMl8N6WGUMt88gJa9tPejyzBhFVbVk4RwjLpMgQ44Wai1O9tS4KLSmKmsarY4oHpmrDAEI75xrA45pjYnPKz0Qoy7A1qFOMeCUF2g4gkUraCGiJRxabZfVGcmIocUt54GVn6QDkNVEl386wBabXWqRTcAKFAVSygBCRiBzskMnj+pz/5EyDmY+JgzZ/uLaO27e+IGSXXVEO7YJH7KcH2WpujKaOBznVtlTcVqtXn/DsHFGXUkc8dkw5yZzowl1KxtzJCLf2rYovlmRfGzLc0QIWP0s9VsJTsz+oLmw7ODIdvGHcV6x+GxrVC/IYTE9FtxWdvP5qnHGVq+8WGhCwXPXemvSURZObsF1g0n9rVrtCbVdLGXcX3sCZXGBvW1T8rXb2PA4qw5je7+EH8tFxwlK5jEAasD9kWWqKoJKl0PfUhP65DWIpgSTWSQjfMGWHTaK8iKq5B45/XLSofUqio/n9fpOXuMA+1Bv8h68cNeHJPHCjda3odSW5Cm8ZLLg0X85KwlRRGgM0KnffYdO2x1RYmc+vR6jk+LTng0/+xLndvPVoBEWxI+mC/UAreBuoWrdZU42GLktGye1oUDEZguyqV9dUcyBWzfzvjt7A9jWgsOFi3D24NjILD2MA7Hd4sVaWQ1JBSo+ukfNRBKvwS9+L5ttoKRlvl2zLUDBD2p9zAI6QGDxGYjS30E1Ozggw2XuDgDRBqUy0l5TWIUz8CqFk1DDgo2d+rHz4F6kiZd2huoaRrx80FLdLrAO/+RVteuF+g+tV4/OCDOWEQ18L4K4e9Z8zQhqIfl2hQbf3V47wEpd4JYPszrWjDw8aaD6bQbSm3C7vsl7p0WlNUc3sGHp4uREcrsQdK2LHvUmM6jb4cBToJH31hoacSLOvHCoPAVHXfL2iMsscrfLI7iXw+6G3+U17nJWJ2vAGE8kCFvB96qlPymCIFV1GOXF4jguzkLl6QHhMQSXYBLGZ7Nz/la74F6UL8PaycDMHWWDevU9WalsVyXrD1Lw0nk0Cmu5fLGIdqrfLycHq7eXoviD4VgZDErTl8Pmd2FQMPOf341Tg+jV2AswJJK9bz2rRRAtL8zabrkgmGoigE5+xZvSWG7Pia27lMTEE2LqAeLzhOAPnEAm27JJsah2nQY60DAG6w7YNvndd0zKYZakUgcDDa3recHJg1bbrkK2oFRShOodve588BPS2TEeJcSPUSradWHxVdiB+WNxhPLM1vVshfuW306s+Ddn+J74GfOH5JmfqfTBzKolLP/s3iwYATxkSW1rF3kWe+uD3tLBViPH2Kx10F6c307slczdpso/atwnB6ludY/emVK3kUTpzZBiQr5/NSSv603iJeCD/o8ye/U9h4k3I17lexEfyBFVBHoBtU0cp8wQ1NfDRVI9IuKaLt80rKxlsH80ve/2Puaq8wGZnHVhhDS5syRSvH/7WRe9Zh46+huRk4BEzdt3s0eiVTnFCAW0yoB5+wj9jxGMq3WVshjCJrW3o3jArX4ucowB+6r8ImXyvFjQin//APlG3Jj2a8SKbQK0/Lq9x0JFYB9/s9mMjP+NkZ8Pi83R6iroo8LOM9no+YJOhJS9MVs2RZGe7Y8Gr8+g2oje0rBHWsMr9msNVPZtjKcaHrIrRnK9bihStmg7asw5SUW+X6gV8yiiigyQhso5n+KRchk2AXQ0ifo0VzgYajmewNaNz8T8hYqRb4I0kDNlTre9O+efZ2O+O5PiSEf+VVB4RmTUUPlIZwPTWyIskixo9jXeKhHg9bIjATtjd0Tl5RehxTxT05654km0kzC+5jCeyz7yDcY3wTuldCIdkrEt3c19kCLmYU72D/yPiO9MAARB23Lw+GmtJsEQ1tYAUUClHLy5aXCMME92O2wdzWC9hwDvuEFmeYogn1eVLgylkfPE9e8ZWWWl3CKoq/hMnhqJJCla84eDBGUUvS+yEya/mSj5c4OBudyXKhQydGB+uUUDoY5LB7HrzmVkiYMLOvt8SXiN5XS3EZY+/k15IkXid1OZ3QieOjdasNCehZtQwcyWNqnpUcAtIDSCBi+4CYOroTlrmm8OlqYw+rBRha8W0Neok8zxzbgG2NdlIkR3GvhmuZSt+PrMXp9SZsPlrPxRRfwUT/DQ8prN+KfmxNreoxyF0ANjiS6AcOAhwrCLsrbUF5RJYKBQSMkL2JS109uX7tlOeX+MNvPNPOTLsO6HPXie3pSNRrMhMDedZcitYn7Gzr74hgZ1CfZVrED4BtrFPKT0bbY4r5hJIFyguDWkBA5ho9SYvYbiU+j7r/h6p8DK5JlLJIfTGilzjXdc0IzTnqe8MsnDJ67zsUs9ldnOohWSrWpELMcQ0PLwjAscUp6dfL+qcIv3y2nLHGHV6/PA02JZygX2yykkDTuF3SC/Hp0ohCQiGsrCWWo5JefRi7w/TwBI8yBtbnGBROaFQQYMd198XfXxOQE2+QKr0/p8m4g87C2kiabQtkQiVXrwBQVSWHa5TqvowseD/JgiblaMzsbTDSHqw6GR9LEwxGzudaBaIpxIvDOPXzAkog4aURrN3a0rMz9+da19u09opbeZGyBySLocM6H+agQ7t/J5kfl1hpaUpoSXgO8o6caW7PDC3OL6qm0bz3Lp31SSlSyFFyRnvHD1s8lwmjWlQBiCupEwr3LB52TZqoheqcRAVHMIqoVpDRVjGlrTw/PvJUF743NnH8CqURW+voh6BozggCLq/0Ufkyx8emjVWNfKTq0tWr/HzvEf2ljrLU45KIwJzPumFPstE1VVpLoAOl4eVdNgK7jIsJxZjXfo2vEtklmCh6XS/5w4aHSU+qxvcAfeKTaJnZlzQP58EGx8coIavHNTe37sL+uqqq/1+8yllPiLpCoNnOrpsXUG19AWhypRCjzW13OWXyFkVX3zcbqgxSbUcqwksME7sgHjYAY6F6k32njJSsP1jFIqbwk+P7uZZL1uZbohqnombFwp7eepHuRWRm/sVrzRYsJRIcTaInF14IcmLtKA5q075PIzF2qznsKwP5Tbdim09OQFFHPVUdutfLN/zg7iYHzrDy8wNMeITTQa6QXb5W93XIw4ph5F97R3FPl9dzzP6GoV4B6gOKlpjr8s7xyEQa8WK6rubf0Xf0iEJ1JN8t8xoLf3OXvHubrBymnfG2h4BxOrEOYaTNY95oauVm68ee7nA5OIMeJK+h0aVUFpPCh6pW8FV1v52n8HVIho26TipH+/WteZNWreOdgqQVeEZXBbURYGgqBhQB0CvjXYlM9ixmkA5S197CN+NuJk2nNpX0CWB7HzqiP8jDPzfVq+Abwbo6pSCZJncKw4u9LwT8TGKY7m0sqvfKVd1qOW9AR21dNB8nY9Soq5cKTgk5m6wUuohEDWav7mdzLbHwt7PZ/j2KCiD8lDfdcuLqSYhxKTnrcYDB0vSv1RKXYqHmbRUoIudjaTC+1JhWXQ7wUyA6c2lj45uJHlDaSfOc0dumz4npbZdO6fdNBoz5eUGxF7YTsYCc9U9Jvl6SWlypiaAxFpX1la7GtAtpsS+0RRZHuvZ9o5oABuB3D7FiWNWH8dzFuD/by0QJE2ATNKAvzsONGKmdj49Jzglv0vGZQ06jEnVw2OMXwJ8WlTafMS458Izj3v1NHLFzUstdNfPxPP3F7USqDmpfuwnWjz4IHxDm2H8JVsBHmiHxA93zMu6wIr1RPa9kNYzaKs8uzRWAYuTDULjOppvYk0kNUXwh4Q9eHDy3/6kkyHYclyRfVT5BwzlDFiEi0RxCXqOam8hDOd/So/I9gXsyrvnXYIk/IwA92h5DZTrqkDbcp4B6bucLGxj+SJFrXmQ0AypIWlQLIolXLprL8Uhk+sWr9LndUh+B1qbKtfr4e0sFA4FHfGnhOjUomjSEPVj8zFH0TnzTiEtg3MCtDv4u5oXyGiTPj+N0z/eNvO+c+fJBKuTIMCC90/XiCucbBu5KxI2Of4lQvNjjurLVhQgBvpPdhosJ+LvEfzbc25WZiE7hLkIoJziAu3pf5KOqoxfdORe+oG/vq2Fij0NdiY4By1DgFd7naLYxP8Y6ZUyApshZ9HYhKB8SobEwfR+UoDoQhA8GEeWtB1zDStpD46ctzv8Ypqt9nyoCdaWWzZo6daC/wkI8n9lAvXzsPnIXnsbzO/iCcHyUlL2xFk1ay05mC/vdr1k6vj6OApX0mWOE2Fx/rU3zBq/1HDB1l8A+sK5Jss0Mg1CpQliKpvGYQNL2GUUzUPlQnCrM9hunWXHkVxenTaEZ+2b1+GWDk+m+hpyZOvJ2ET1yTjxOakIuvUiPYDI7y4eBz9iEi7ngNkrIX2dEi3uZMdFUxPHf6w0HsHc26vA1Rh1uNktqtVcQyJI0csRQVl2xb4Yw4YKedH3/BqewvZ8VIZqJdIlaORIoGQloEeWKmoiMV2EApZRsxT8zkFgp5uMpGTfG36q0ctAA7WrVLIl9DkeMbObY1kc680yURrY/8zG3AfX8wfS4HG85mnLzeOnzEjofZtMnRSPkymUALQNaPrUx/7YjlbK2vELVFJB1w5S6jqSWfOXG0+cozOOPH4xhENK7Oz6yQM+dokSxmQmNSI1G71B/2R9d/o7o06s27XRJkl/JeN+35JgZLBmJQaKULpXZJ0Jvr5Lmef26hmNJUr6Fgi5GzWWv1O80iM8qgyUrJmsqRhfLZzpiARw/i52krQF8XFpvccPC0lm3CSg8AODGLoHt3i0ZFQGi6zflo0LPaev9PsdW9pWQJJSnAH1TSqSBSvxLCK+Gv8QS/RXaUi+kzwzz4zhk6LsEzAGNEGD1T5veAt/GknSGbTC7aJtmJ99iHFUTYOIPRYWadvNc8/vtcCLXQqi8hKCE8DWA6dM0FcdfGDG3ed5pQ+nr1sRMahkcyu4WDK12YFeROnd/2zcvsBTgnbiQLoGepl20/584tayTp3Thj7tWJgiFUUFLUbBMgeB7sGv5hgXNCjcLoSgO1W0PW4MFJBwoMFcIYzDSQaucDhYgC97lXt9KVskhLmty8YAshkOgkeO6ImEX6wUc3bn51xJhQvbp9wIJ29hZy+JzdbxpZuNaG31KWg/Nop6HYDiKePOhDuaIOh6tumU1iCUJLfQLLZu2ex5Kmw7L1pOZgm6WsJ9NgYcurrvjHB0Ugkryrq/WTG8D3smIJu4rWi9hHAbOOAwWE7zQMdENxQWD7z9IGHZIlq3lCUanrCh4vjiYYSGTPSGVc6Fz4NQAIZKDzICZmHfaAu9LlWY7o3OgwDQrMeI3q+VemqEOGdxP/Gpe4PvCW0x3wIVwnF806PrQyUqfLKQIeWDEPgsqGyI6AJL+cX2iYAwS51UQpZJ5HFjcLHNqHepI+KBDNmPwZ3T+C7WphwTlsBoLkNowxaeMl6f6ziSPrC/zIuOCs/oVW0Z/2OA8d3q/35aU7osVipo1qqRli5UZ5+7gcLHM6XZGIZWJHX6q0WkO6+60oQ8ESOh58hBYZLmb+fLsilwJqAeUftjzRwJatgkKwjzS+ZRCv5iNTLtEq5aUoCdZRX0Aa7DywuHXgMGanWCgiS0jLnfyOlu1beW+hBVxjOIjRzazbpEGs37BYNYONzk4IcEIwsdFCMwoD45niVZaYW0k0gVZBhBTXNhYVt9a/XCDZSmeUxNmD0/Qhq2Ba8pa03aZlPhD4Qq3fxa7iv0KCbzO4bLlIsbmJ1scFHUz8beBxZtJ2QmfQ30GCr3+04+iC6E/Oi4Hvdyi/ZELe99pRGaf1v4+r0dU0yrrOsZ+bgQ3SghyvKmsjBxK5dN8VNtjXJnwhOvrCoQOkcGUNOr9/boqoUitJmWzyYR+c63+Qas4AmLEBqJlwFWwO9VCBV4wF0dxLoxVQYSiliDCCHTNh/eFja7kQCXG6Yw/vyAYbhHJaLQH3nXK+YbnnenM4ZP4V2Jc6kFGl6b0upssc01NDaREVbevxemfscDHyDx0XiUlhziXSvf3yWWiBmWNiIc5wunYeEXFHY/Jpd5sHEKVYpP6H2RSz/fzqi8A8IJG0buID09opwwe572d8a4ay5nZZWEv/AMBs7Hpvm7lERwY7CgiHWye8Zp7OrOJo/zj6ABw1hy9xMCxUm9QhzILXannbpHK0FX3ORKJvTrR1FXcVl45+yClhMVzHWSxu1HrTgZBEGBAIPRSIQqLxYL/IHp2o0z8Yim5fCmf/0OC+2bNkvPAjmAkhL2grbGzLbtauhYdan4Cr4g1Kurmr/VipZjHdA7vlt0QdKsvz6p6azatVaUp4xixWMTXHtBQVZy9KGZERxD6/p/cymeGtTjyb6CoIJQmpqbeZKyTQIQlMSqtG0zWis+VikFuj+vA1MMjjgslI/jjbyx0VGeo+8JYJHLLeJsCp2++32xLK3wIkcM2tXW4GaxyMKVhloCH2zTOxPyLSQ67FMf1zud4g2HK3BTsm/8B7jUgC9asiZdOq/2ASeN7Ex5idPvXPZmN/p0r1NQX1VCFlJZvvCi8ZjvTAqLL/yCyN2Uic75hK92ptLUCsQCXbVsbakZADuokQdg7RnYDWywvthTopFwPK5xCD2NWWu7zg0K58WAE5NxpDJuEsgzAe1tat3newZvl0IFYQ8Cqsp3+STqTJjco93GYDThh8/Bvi5+d7BgkYibYvMQ3S8kCY+3vp1VS/uUBJ9DUNcRaSukdMLvbZeoniX4D/b2d4cp/3HgcUeegOV9R+5RghsvSzId4Iua9D5jZDyOzjVEJpsBbPOF8Thrqcnt/v5u+VHBDLgcVoiq/xeSil6iMzNkRzTyTRNB/wUdVwYh8wg2t+NaTyV90sGZkkChzpfdnD0P3DaOIg3EJONPJP9rctY2xLSwTOnJ/oC/9ufAd2xzHHm6wdSKVRe2vBAR7uMZ5h02TDr9XCOe8x416oF6EAsdrU7KFNEkzrYh2XYBmt35omOJ+9WwsB7ZAlGKBN1DXdXOMDqbOfBaVnAdWX9zFP4VqB8Qk/kCLPAOl3vdgc1jYhN6NLKrzI+csZrrd2O4fH5RAzbOiOt1jUzlaqpUG1z9JkKknN4KOjb6kpL7H+7jhp7Wgr/NiZSTFjfJ8oMNfucaLlo3DiMKJNcuhNcSRTl2OCSqdHO1b0XWW76XB0e194wW5mdTAgcCFVXXAxP6yHSLp/vKhFpxKb8ZmCvtvbxTI2TOk6P/6+mkSy05F7dyDPTU0Ynas/NHWWJbgcVUlulQtjkEy2OfDpOnVpGzOeU+xqaHFZR3zshiGPs99Qolc/7f3htWCQ2V2k0vtq42R1S3boi4S45PCVd6AnKS/j/T6RTHrsUy2TKmbGNBUJL0jJzCamuzv9yW0X3nkixta86Ha+C2YiZUpqZxOEthGyIZWtGe8oNwgiTXbFVjSLMHNdmgO5HXNOymwoHgQckZk9mavoriAqOcA+UrAEQcZ34pk9JxIbLFTtazu1kombbCO33HH3sjW79xPb/r6dsVtwPMDs2u6giKUlqSLhd+XDOy2ZNHxQQ9NpkCjkzytT4oiTtookHVCxSkTwws6wC3pH/HWyZcIZZOG3dTDVeF27Wr0mQt5Kkcs/01FRPdKiQNZy+NjGhBsAch7Vg8pFV2wDBsVZWfpEbC8fboyP706i/XAMRgIvukjm3xaNCz0CtsAtQNCQ5Wdrajq6uvW34xNu5eb5mqZmZ2/bnTsrWhld1BLD/jdYgabPp+O1i8v1+X6FT3qIGD6WWtwYzPiVo5n9r3ltvnX4RB82AX5erRrnck99Nh6A8U2EyvJldOWnkKRqza0sWKe4UGdBmLG341nFortxekwTvI3ClBM8z2HMOzPNeR92ma3BxrSpO0heVdCNLtVIoZqmzsw1eP2DvklDXa0pXlphJCoqBCKeA4/RMiUpBiga0H4jgt6trH2B4E+DHY8SLlY+Z9Vynq7w46z5dnJABlQYvQcIb8hoRF9/Z4soxukiJkFi5T3TzJpIwTLexNfvsBBUtEb9vVE6SA1bQpowHYrp7AS42LOvIKtt+TMvu4g9rujFftfhG+I2MywJek9xb0TmiMEF/IGtQvqc7a53FY89moLFY4CT7W7HEYTVvhOjbEaKbjzNloM1gROrgbT+SYohydllqDbyZtWu2GklTodpibl//mNyTGrTMSL0cCxtxeDIOCBnWwnpbcmLMt1ctYUKx1E+PeKC8TWmgRTc6VzDCPY/yVvzqx5sWwdqKw+8cdtENAKpUZnIOOVFSdU0WJsaXJJBqK27kxPj/SDBweJ7P82RQQ4vGQT5b2Gkr3VBNDmSNBGetxHi3XwN73zsfcoiWaCCByuxvlcNNZJH5BAAjj2wxpqGaPYibUQEznP3JJobh44BFk0rsDyYrHIYk0jfOkoDjGy8IYVIc6TV6GabWYL/HPAhbpmWoQbeiIbttRp4sQLHgL3hoEPmRb4hrN0yxxaBPEtAz4g058NL6SsBNd4CCTgSr+7YF/3VHHqamO1mPWr/XZ863vCj/mZu+PbEttVj/s4BLXrK0vOXbRUL5YfQhfN8h1JiDrzJMfEEi+GwLl5vGItzl+9Fe979CAtGsbTmJOAQ8wCvp1KXI3KwaeZyGnUkWM6jztzVHCBeGLdipdkUvox5dotgkw5bzf2NB6SA1j1Vwv1rkcc/912D+eIpnCq3lgfFpueXmde8MDwsUC/cEqdmHurxmtWX8Es4uDHNlY+vwGQwb/eUIupdyQPOrsUYT5Of4JHtHSSFsjXKyUtszdT84bmsSKJCqkrq5dLhKjYwuAq7jG2jBgjxmBIeeFj7x8luA9SyMm14XP9/hPml0iMZcF/Xpb+Hm7x6qb1gO1hXopuZchaX2frjMjBMwEFBUOjKcqyX5IPCBjSL5rAfRzei/rpFwlLq0hBBlfPALCE7wW3iFJVXG37ElLnCt25IeBZ2Vlr93eIzqIz/812nlQCzkSabpclTcTjdz1OkvZsxoPwAPYfYFYktrDtUOhDH4bReen8W349m+L579kTZuck+NfMh/eORQ+HH4IAYV2m4wKgXezmQkSb2qPq8cWVzZ4XOcuauUGKhkS9yrvcs+c/cfakClMHEDd6I+sHnm+p40+UVP3Ef3z/YCnMGohFjrmXsNMVMmJOrX4nGVUkv4AUcboCLuisPioFJOjmAJQ663KAtxnGhACJyOZOwrXnen4lYdxtGxuLOCKPfD/JRDcPnhwigSU9vwenu0ouaGVAyJrv2a+L+ppSb7vSv/3vK5FkzRyYouyOnEzXSFqfm4DNEmMmE7ZzvueZpTzTSCw1pU4pkaWyq51jzxX2qmTO3ERKIi+SBz5COkgOn1zsfViBuT/r067SaWhvYRZZZcDIt3qKBZ7XvYhRdgicixQgqGXuaKSltig/SzExiLUrZ8QP9SPmJwl+WFxv1vz8Dcz1Gx6EWQS+8iieqkks5k4QmMfd3eaPzsmkCy2czDds85LvlCXQvBqcohb+AQV3+cy5I2St1SDRhwo19fu4KZnJ30aNpBrbYMiW6dwkSDnTNhz6h1thHlQFUq9JFE1DF+NqKVqvYXRwdkb1KdSYvp46+Rey75FkZ/9xMHRT+6wKcBVDsUh889IUZCCb49p6nZuJMySENkTL+gvCIcSgUD3/Q/iYclHpp6NbpnRBjNxJeyX+aaaDdk3p7Y/08q/9vCvc/ZwfChoJf12Y5PHN8fg1gt/sYQ2QSxmsT/0RRWFhzuTiUdbPfhqxyauMy9vnofu4sz8pCYy7E925BxDPgff/yx0WOVmMRUsCT2gKrq/SY06gfhB5aLQFe5F0S/YUV8oOt2w86bCUkImy5dYqZrIwLNnK8JkYQRn4BapQWFDsci1fjGOc6dGBFHRp4IdSBIpDoT9DamfccnXjoOpyCj4OZXV9x/CWN5fb2i3TXcN+AmE3kU+iYFSPc5uT9xCekSTcprPvhdNVPTgMq59TKkLwYKSDbxbum3fK5OjljFuM5vcnWUgq38mJ5/b+gqsWWJ9blFKbWnBf0wVxHlvbbcDmbGk0jpCceyfPpwtWnqTqGwrpFd21k37lWlTZsnUZcd8rENxPHflvS3UNe0uL5UXZ0/tsCPA7pBYlU1WkDofAjNTGbEWxPhPsmW7KChtsq5tChgCLKW0OrtcvzHMQQmcwMCAE2bUMQPuTJTK3usUSUdmBF4wDFoBavJ/wgFP4e67iTmarhmJ+KRJXcGapAf+9E0fkL/zSRIqQiDg7q3YpIptYvPMJoer8lFV2i7cIw/zeHkos6z/RvrWmSEIUv/feYXODfTQ3xnf/L/7FGou4hRM24eWzlI4yc+Jkmw3JkFGDYQ7KhR1DJoWbrE8zyar+yCO/tfcnPpZHJBgBzANxzlRejkhGR2FYR+umfs3CVOKwqbqYWDs1lcvYQmSmT9f1SXb/Gs2d9cQTAR3VfywVrjs4LyrecP7KY/gyJEkAoVgVsOJd2kTK4GBFRjBg193k+qPHNb8lpuLCnRT1F0be8KOGdbxGpMOUZadnT88YXBfc4iAW6J6OqYoSK5mUScdIQH3OeahK9oDglGVhPOZl8i/zHAFIvy0EDpv9q4PiTBlZQ2AJX90KLdRLw3oezOPGuUsbgh/YqhehSjfH7pXdZsOoEpJUAdrGWCTQZQrK+HEIzIoXepHN4OEhBvCgFPuwHKiblFQ1A8gCGT1bhKfOXKmei2PtCx/ETpXKqg38597IpsvhDrjlUW0OigZSDNBkjumhYALSfKJKJ4rwqNKYRZ6ub+NtXFq39E7H0RDtqi76stLaIfwBHlhZ96sSZzLsGgIbszh04SroOzKR17ZFUVgJcv55M37udA6nLyDzrFt3HOjwNzUrspj8mkEIOaB+mVEUH61ZPi6E19GXRVpQTlwQJvZ99hTCpXg5BeejCoklzD3gZjRQg8zqfon3uF0PRSOpgxzOAfOAbRjaLYWwUaRr9XAbylHOmqBHZ7UTsZgpaL89k/ZgZlejsrFzd1Vb1u+p0ou4jpzl204SHDyq5uknH/Rq6tkaCZEXECF5xDuUapGkKcnE53qenrnlkciHsOGhxCNwx4JRw1enoq3MIKU5FSQddkFxSf7F/mmji9q8taJND2Zf7ENXfAY6JLAWTkxfx51Z1sl+Qp01mbTexWBucpcE/OfQVbyMIV2P+pj6mlAZZMljlkR54m/r+1Vfz0fzX8+zp5knAYm4iI410RE7KqFvFAM5TdY6i1BP1eZCbc9maV6qLS9SIdwxMTMvNMeTWYigj7WwIzSWGEWtopuIrZSRrf342bpugyOJOJHV35Q27Y8JYSNt45ymHqybYni5/VzA+gd6sq2Iy7y8HjIpSpEIqF/QMJP8WtJcXGyrIT54c7AMxvq6YSS6ujV+05HdeTvVviXr1wP2kjYsfS+cUq2AfKj8VKIv4FssGGiC98yi61MK+USZaLBGBAyi+uTRukipGhdJmpRbm5D7qebMADnJp9sUicluk3vgLzn55tAW0Yi68khgse/V3mvSQ2YHMl0YdQA1x8dvwZJE1IAV2vXMkHa7wgD+nJOmOi0IooCKpKnU2v6QJrQY4qBf/cL6SCf5dNOUxjLTXgu983aFUfIq5B5s+3DsGXY/gop2WNZEybFqiOltSn/TgemeD0+RImssCtVSBv+wse6lBkbcYou8PbYrCjfwHJiFTmsvLkzka0PAp3eKIz+koV0drUYqaRLMSG+wC6chLOvWiUzhZVGj68JOwZatxgo9swtHXpAz1UyR7C+9EpFCaqSqyBOSwOycTv0wNdZyTTsoriXCggNnkd2fp1s65iDOjMBlySWxG5dDLYrkb/S/Saxbx5erNTbNsCyK2df0fZB1iXGvL1KgjHFbIioXJQaaKhbnsTh4J6UUu1V6h3TeH7rhzl6Mzuk3NgJTaAo6gQh/BREKdncCnxH+k4848Sn4WBIY6kh9ED9R1av/Oi+S/PnAVQ4qvkthipNpJcq3igRwwVjqZtEcrSGRzO2AJrtlCLNm8ZznyhyRxMRN69Cxs27kkJAcZJEnov4ItkFOBwCpEGEyAb3Io9+wG9yjbMkK9aa92T2u1r317JeO+z6NBu9VCsjCYbs4rf7l/vaILHlwesTa1At4jOpKOPkNySKnMicdcD/xFfeSWqe49T33g+msn8g9FLvrqaWJFCTdlHCJTwM4mifd04mNsnjbHqxOCJvxg2oTfmkXIulj4Sa+Ql5u3XqJlWvriX2AgqJAIpPHYSOnhvQIiFkh6lPWfTLPERu3lr4yiYRp3iKsDZd5oHSYBwIw4ss9ATNN49uvfT34dZt5hRJJqgTaCj4MjWOZdBjzK8LnZZ16FV3pRdljr3FBytdMbZ3j+PcBb4f9nuUgNSZrM2BgNkzwybddVIbywalUJioBQPM3+Mf1MaotxQLKQAu6LG/NFyqciEamipcLfony18yeh5eNpCOrF06iUFZC8cLAhvdExcmx1oB/K3GOzkXHmneDuZdQ+sXjCpgjyxYQvRgVP8prJ/Ddc22atpeGzI3FH8tgQZd90dbxWgyL8W17YM9pyhMJPxQrRrrGmZVCQsNO0k9o420ZB05/4WPFl+BDisWfn0RArs8eNtmvljw8TF6VucsKZirm9bEpmJ9RaLfF675hWiOuI+p6g413qGLBKCI8T4agKA4NpWjNCpKljisCItl6ZvN61twbAOZTBxVowMCoqehVNNrux7EF4jk0mZcQqxe84sp3u20m7Ut8Vo1rpz7gy+RDYkei7AdFL5rwo22hqdfkhMPeaZasgemlQ2HgS6MLXNrjdLSfsE+y2W1ZGi99R+OC0PqpEvCHqgvhHrlwDgC93v970LKWmpRNpBo1aHyKBWhH3F9uVmsvbAM3zgypQtyFlYR/Mp2daswACPdt4QYByGl6EfxDSa2UhdWP/PFld3+3Nkvjo+ORwBTv4NNpnwDkZ6utcUxtXDv7KkF5q83yXCRJ9f294El5LU2zCBQqsSSQbDVQVlP1EDzkISZQ0bxxbpMy5TX/yqWerodXOGXSue4LaiUkcfvM9fj4+RRny18sLnJeb7souRGsVY+Ix1pvv9p0OQyesP2pktdcLDnl60M2LqQ5jXDVS0ep97TmNxiIM39kAjlbtCg04ysXFqc18WpK1Y767957K7o3zfEZ9M0rKd2smt6iZck81VgPjeUAUAyoQT5JfEl0njKlCVnu5/YlCnmUOJO6TuDd3K3euza12Pg58ZkxLPpeb1CZco5XHGloL6IJyhNWkq0M74jwUpYX1X1b21tFgP3655D9BFsU23+C5bhjCq9ytkGSJYkJbic3/NyI13Q4xL/gLLeK1SFigVRm1MV6dMaKlGbe5WnMl8Fhfk32C3Qhm+E2zcEn0x+HiYO/0qzA0zh8TTt5uH6KK8w7+Eokt+tnVa4OZ01pq7rvl+Ffg6Yx036dPy2lBNK4kNGUkS2e7koB9zbv6HFqYU7vGajQgAkWo1xlwJh0HroTxgEKwxXOXGp48RZhk1JEulIF8MzxiLrgRzjB97L120Jxll/SFXWufsowbWACN+9JMj4GTuOKdTNyjzeTp4rs94uga0ha4m9RBTOs2WXbe+i+x49J0w1mZ+ABkYkRVfpBTLsxGenmB4m1b3ZIsJS+WKgql0/o8Y+GNORWYc7xtbhPfQFyYE3Tl72idz7d+qMqpz1pArMbSP2/GMMAVonjZxjwUigJrCmDCxHyl1DJs7kq5EWTY/vDb8cQaewWWQJHOSo1ajfzbr2btz+289p0ducOy1UGcoT0pe42ZOQ1uGx23/9L7E6d4hB2ycwBvscOsp94w8ehEhruEmO84K4n1b5ngjKkADjBqdLZXkNZC4BnuHxiIJ6yhyxC6q5NmpuYQ+ANb7ob8fr/tTvMT5geU0l+azYPjkffvF7Cf/hvOxgFEWVPUJK3EBGlNBKGhq7LevQapeRgTlU6v6ZpHppRHZHy5/d8SX9BWDfazw55Y0NwjFor9NleGjAKgJOsSYaiHZcqJPuSVpKp0OGh7KqeroNzHSwebJIby6Ihqnw3vQM3DLw3LSQN5vaprEp+wdwNJqqzAzYRiEiIiwXEvdPaxHf99iU9iXr1Y+LaPkg5yodE2LhQXSTCGWel115STXL2WNZzNsIGX78vwcPbw1wqHaX3zKHoiIF5TotT5LlsRhKx420IU6rfwdCWmBJpUEj2R0EN7DN1J76FDzF1gFVwV2V9DM1s0GDaeIsP5WlmY7n7sq7JbglMmoG5hhi7yksHpJLC/KhuvWpFHewPxlnRmwC7WOOZUcfJCyRC9LfK2UVGe7cJZoAT1uD9RdUE+W3UqvH9UKBiboupuaAhXKO9skkAnwm2dTtJKWQNyVv2IZEq0f1qsTNlULccAPAHAH1IHOcRodkj6XvxpCBUjCzvbUrlUZIkyTPNLBzo+ev/4L5DBRVWXedNWGydpH7LRSxigKR3xJAjRoq72B90kKx5JKvi3YT57THsq+A5Tn9XsCLfHL5GCjQgfVryU50ruxOuVo+GYFpHPkyqo+j+7Wy6HVuTshWuf3g7J7SDMfnXCEYyKgCWk1MDx+b6nL3hLFvOTd0l5oPNCYmQXH2VafoVX74/Wd1nyU2NjwGGIvlhZtp158adukY7vFs3S8IKldy8FivJXMBMgF4lLCuQJo7ktjJsfU4zVBRB2KvpmRQFdFNpkXnqnLjY8UcYXz6npV0rNSCOyOVG8e/p/tqqvFZkkddJI2NqtZGofSvQGtoKP7CyVp3mfbc138wRpwVAaK+lugWJDeo7MGOXS7Azuwgck163UlTnzGDD2aYkfdsNSWIHjEaHZUVi7MaERtmHOLJCBDV5BD2aQYhMWjKsN2hwU2Nqq+lAPnPAufAgQJ39jmPFxgFIe6dh3vON03ACmUO11W1E9WIZOn0QOCHx5ay+Trk+tYFPoWK3M5PoJcj5dxlLws5g4K84El83b4yvQtdYMauBpjX/A6l7pFafwJCIRmGBkZKRqRlB6SDmizYpXQm7FqD6HdndFOZTKP3KNlQ/2Z6cgT2Tjh/ag2EhksCM08W5pyjwix8znZEMfOJE0fJA8gcZmO+NE6mlCJHgGsr7UWdESX3ibPz4yDtEliylCr8bESPDoy+K93LlwCA1aBc/ljk7m6S5lgGHGOri5XB3VFDI1I2O1lsR/CqYDXjqdqdBjQ2XahHqlzr/xYbyVuQz6Eo8Qet9k+bvCHBPP2W/aYZLQ0RSSkL/VG9z8ko37w1NCBMwh23bOONYeZZDD8ddCZDi97kNXndItLNWqEgRT6456Z4tX8KbRPGClWeDyBodh+i7P4+OLnM3I36MEmYdEuglWoV8XlRN5sWQs/xNgP2YKBMZ31h/HQU5B5nortBZ9hfx9IVLTPA42G1BX3wNPWep65fNlk/9yDlQ0x+TIXhG92o+hMCQeSy9o6bGMf0cOQPviwjIwQqw5K7mdFIWcz7TOzyKxtEb+zW51HP0KAt4Afr4Ub4GbiMT3eGyxoJ/XmtO2Iqw+6cLS0gPIAk1lzXCOu8x9ak+pizVFe9aP/CiMsH0l/hYU2XY9NrZe+pBKVP+sMHRgEJZxSwi6XI6XIJOHuHxN0pGyhLj7fO+BzY2I+5gCzcNo/AJqOnM2h8WDfskwLWslMIkBcSH8MYCwBLfs4edqz1CcO9SbGEX+zYZPAt0yVovhCes8v4fJb1bRLBX38ntUCvIZXCSTx46JDNwC405NgCygr94zSiUfNTH1ZPPyh+tTv6ApN300XEpJ6aGbcL1fHRoPk1MkfIEoQNmeTXTNj4lRR05urVJUscyt3K9XVPUZoxHPnP00E745N2QNevq2/F9APp52q/me284S1zZ355Xqhd6x7aFBYf7ojRZy0ftANtK/wfc+4g47d4yDJTIg0AZRarVc9e45EOq/R/u5HuB0MsJ1GkXp/LXVb5Z5By5BeZxU1GgDpCkg0BDwFKW8EKDuSXMr7VFkHebGDlS+Z9E+loNOd7CbBeyG7JwNP3tYlJO8j4yJR90y16ZUwCVpkCryFUVykFvkUpt0yo7OHrFMYMHhrJ5k2kFjg7DGVYuyOlwxDUEaGc8J67rj6/Io4bgI8a6UbrvzWl05rE1lL+IChzkiRadjaBifSv2gWr9B0WsIC5V/S9opq75KhMUbtzVN1OshEFaPRk1oj7uSeYpXdBanVhJDNZAGN4ltWdHzGCDFXVsqzAxk++yDmdbahE4sWI1h553GIxZI2s09++hQTqFEq6bBwkxtW+0mqEp1jNNhj8P/7ohB2YwQ1OWQGJi08992B2whCW544442eBd2PhDtpwzFt5SZHLutbTWqCy1WF5DKsDA70dXE/pO33pHilNUhuOnfZYJT8Q9h34xehsul9ZnlBCyi1Qu8l7dAvRNrAoUXtvz/s7/Fc0zjNgggTg74jxaSBYfZLcrfLm6dQ1BEWfT0AnlUrUPc3LcVmGkqQXkC5tD/MWvpLDz0K8+y3unQCPuSjg6RB8wxJqo5i5bJcyhGlpsGKZd0TiHgd93Do0knQy6ZzvNUVfINY72y4s7WD8Wwa0FJMJe1ZcFe+R/LMcsx4vj+dg3iiCNt3eb7qk3boUdbTEpEOxuYTwoQy6zJ/nrxIq2DmKmsx1spI1maLtdpi3h1uE9TaN+CkB5Mvlsg//szbvIfu5TOK48zrWca2MGwZQdR8d3d0Eu6AiUlILQXQH5KRzIO0gsfhnuZzW6gK6pb5jr4nzaHKEASlvLevC+fbeUq4F31akcERjmJ5lpvp8DK3so240hMamGOk5SQOB3DF1bIqI09j+mmaps7tNj1vwN+PtWPULsRak77Cqi2uF2iVo6r0/wTvIe0TLk7qEH5S8eANUjg1HYeOFJpCSilenqd667jjyz45uIeqjoT05oqU4PQdO3RK2bFkQPAENU1898aIFsXX5M93QYAIG37rpD8n06d49XaFC+FVk9swLOyxIBaLWInqOjE/bpIUszM2F2pr5cTyPLcp87RcpotCMmDE6UNcSLSGCuPSDxF2cGcIsJ5QHsSw9Ma3vkl3iQPdbkZAxU2avY1hdxPdN2e8gwRv/AngcCsXNdgRvCkECy+Crwr8wH3zvTKE44DclS/jvsFy7f3DT4J7NuiRdAI2OX4zflcfcbxfGEcMsS4UxzSIX+8XcUSn8c+a9iBBBMaXvHZxsfe9iO+D/Dj8BCyfPF1BmdZODPN7fber3JGJEKpey8xm0Eeph8NTP4L3GyPrz9dXXKmxw0hcFROwuUTKpVif42JlDV35TWk9X+rZeYrMMhPDYkkvtcszoRNR13z7zVRdH3ElpQq9GafBFiGgWKtOUMum0Jx3ZbjDhrtnnqs6F31DHJliEq3gP7Yg/gomCLV8RbXXc+rOAibcFWTudaTLS2X846obnewi9sMTvcHx/Gz39HWGmMsBmqUXaFJ4BN0WiamgYHivvklJ/9je6O7exC5WL2l7cj0jm+7ONdcmAh1wSOPoCwCFhvCS3Hp9IKXm7CRYrU/PMhxADXxm1U+8Nhropg9lOoxWWsTfERfeO873/eAHjiyPD2ww3Gc4bEstizjRtRd2f4wrPFIs+anJJWqQMCqVcqUeS4mBsoJrPuqWfox7y0epSZ6lqJ9uH04qjswtvIBHws3BvREMzNScahDGbHmyiOC0VKp/rmFH9QHxhezz8dZy6G+9odDrklXYdQTxIetgsm6991iKG8l7fd/oC1NSJgxX0tM9W2q/obYIaOMdHvUNPHmXp2Aya754aG8d1DJSwBjDIsX6O5FnjkmJh1fQKz7WjS8mAAG3sOG9bDe/Fvt+qCAPX7H5zNXeVKsLJKh6SokUO/uzcLDNlbLeHXgVUW5e2qerW08cnxGfRal2m5wyamXNMJeJaYOhSDiO1B8Sjc6Vgg71A3cl+MFeR9lA2ywHbrA0k4ghYbcSFneSGH8gQ049YjQDPIV79+arkX4x0t8CafRaQQer+g10wJ4enjmbMbQxlxLovbhTwuq6pSwURtOhnHEMnELXNFzVawfd2KgUkZnFZBKeGXvzqleKg6ezsT4mjqT8zEkgGh2Mpu4nJebARhffgjCHQsq6yCZPu1EgSPxdn2V5XOU3TDd+EYKO7r4/JYZM3fnSqtsuUO83Yg4630MsBp+/XUHWOHjCcvqYUrk/h8OVEIkS/Ljxf4oUhedCQL/6R7f71pEVdk61lAZyF/eHF+T6J0nTvaGrWsntkdnU+rloB8xvQPRoO1GI6dArHfEHE2eT0sHbRBsqPdTgL7Plj/ajE+Cky+i0KAF1OA7OvtPUFLel7DA+zK259W7LOjn296zAR58fqjj1iqO1FxdbP8X6hMZlOW4sud3vToZWR4bpu9ng1Npe4+iL/kJXTPVbwsPABX8beI1WW1WC5o14Jh7uSnC+NJSk9FjePYrf9VsDPImqBdH07HggdsitNHdtQ3Hc879mYQDL4ylhD3YqTQFIwzOhURj7d8g0BhAXBI+PhUmCGHwtuL2pyNELpELBNqe7RzDQ6r7Ev+9uaKFlINqCWxoS9kapzwOcQ06DlDmeNdgpLZhtthCSpaxbJD4JIsjwmvgSpoXFmM9y3amssgPXVFRLpr8g+ldUHY0mJYUzYh1s8TqkglLEtYBbu/E5G8x/LasO24+4msEzSuyLtlBu1b9aw7v5kZwlpvdLiwF+tO+cBYgdR8Hp102mzutVN0Y+dbY07XbTdY2qpxU/9QH2vzfzNp5V2E964cdLmQoMlFDfQVpX9K48NtZgq6me40cg+RZ5mP8NjpoGmHlT5jTS1uAm/A8Qzc6k/MUhIaW1+s6xSjnCd0SuzgF7dV1G5S82s8b91nBp5z9hAn0Jp6+nBjxghHAWrt+rp/av0Lm0hqgIevIvU2LGl+Hi3j7E3jSq08Ts21zp985HRjeZHTsAGVJeY7U+5lj7NNzrb2xxHPEmRqNJaqMlz9ULKAQSwsSj3IY2pbFR4sXUCF90BsgNzGDnYExR3j5eJNpPMvDaWWaQAPl2nQHR93p6hDsvYziRDcB/48mZTvR6Vk1XHB53Q9qAMUojQ1C4oxkcnIm3QPFF2m5gNAfmlh0cZoMno3lIcpCpje3cnMxDDkBgVkR3Slaguvx5MFnOSFOdT0kvBRZ8pljzHWL0ZYnkapan4yujKdpL+CFDUAoL42Pjwwv8yHrjbLlAkSmMF2wZIuRHO4zoppfll0sBq2rbRq45D60I9zNPGtIS0QOkDsT5V8MXHm5O9tYrP9lm1EgS5eiL+ZG5zZPbm7qt+6lNgDV24OPZhq/PbH3YplY90Ojz3p6XRPM6gaGt7oeswz2PQZkpWblzgy/qk9B3EPpkVXIezj3ZwvPEQcBBCNg/LkRx19xPAwFLcp/pIt7Hii2kX1twB2YCCAL9ENDhEs+7O6wZwBnpteOMhCDzJW+vV2oRf0YOl1vopiVl2hY+MAsX4tW0bhTtw1GGyH7F3qJlZ+F8VekAXeWJskMfYn7ULdbd+naqc5ZyCNtJyMeIQp3++wXZbxMC3DxGGwFJTEui7jDMAmNRl9FmW6uIIveuFXcS/v2eNXetAcnNd+6D79exHelPZYg1VhzsorG7pV/okaPGX9OTBxsmI8gc2CS//nkhU1+q1+Ko6jkIRciauqyDsIlQsVPD+AxYzjrqhpA7mT6mpHsvjnIUV9rlpABaJUSuy/3qARrFsQspH0NGt6KIicteYP2V6vl8gAK2rXu3Tmj9bAsXFaXgCyDpEE/mENtWL3uavdPGoSAj3VwSWR8XnoNJWL18nuzBGyMHwTR9n3V9MVqJwBuy5JHbhGtsoLRKYkmg/n98PJmaEdaB3eUMGv3O2t06DnpxJR9y9qLM8vX0MnwengtS0Cb0Tga5rWj3wsWLKfrUrsuzjsaQZ6w3ERZu5mjzo/XVlFUl6nZ2GF9sk/XMyXIXbIiReO6CG8cTYvYDVY+zhCWsa/5UkcAwVgDnAGMwxtDjBjHbOqHlWFAL0eRJ59YUAajwJzGUN/9xvTOgQHJDKq4lmeJUYs1IhO2CytDFy+SGKTce+bNprr73weNA5XKLW5syq7P8lWHcMIRzBKDLcZQTGtZXHB/fTXTUlXIYuLePPFvIKxGbj6/joEuJVnTr2Ejq8jApx3ZpoHJz+9acZsiuII3AdD/Pxum4Qe55VAlGhYTNhKSQaoW2AUku/ptAsqS4EVUzQ0YEbvsTHNo08lj8YH29SH1l5LmxZV9jqFl5DURiYJyyuJ6XjimxPXKDNRe763H05o30+Z80BJd34+gPEcWIgg4vZrRWOT19bwCELuYYEjD8+xU+L504HJSdfwuCVSiN670jUZ7vvIcpFVLCqyw8w9in+8crZLHTymmf7Pka3N1lkefh9H4UgViazk2gKr97a/mRKhGgRd52Mv78h0gpWKy8hz86IgkLyeZgWkCkQT8Kk2jioh4q6eJbfKN4FIvTb650tTGGEvzlPjn+/wxLT1y3guxb9WAgxxAFpbJEWiVgu0pr2OIXCBmdzHjke5Nwjj5oR1czh3v7cFu+TJcs/jswQ/Kg+gmUmiSCNgflhX67eBmCLwB6kHE82JdEc8GFgdnLGA3L8XSQ5E++hKGAHl3P/xHRl1Evo5c8YSH7EMpV9Ay2lDjdNUWzcude4bUltfBARlSmCw9Pwu0HvzrJLIKlSW96H90p6zsAmlopU7lPIX/zpkXLFnuHzqZdLktm7E7JxYAnxgHPY3x7l51hmkPQ2BmeTBjT/H18dAbRTTKKbaI/xp4j++YGI9nv23OV9qMcFGc4H58SAhHUHVM4c0+y4sdNzao7JlAN3CzBRZVMHc+PcZkOYs2Ku6b279KeUpjE0hB20Nz6zuatHEwC5byrxtIxFVOPscsN7gb3keRDrs2yEOW5EQqUUC+C9RSqHYy2QmBykMXPo7hZkok0anhcLOp1pQwvGEC5L2aqhoGwPMaVlNdYXTz7VniEhk2ibhzztBugPJICzw3B8s186czoUSLVMsrAvbjEFx1Yeja7NcSlaBmeNG7K6EdDBz/uDzqGaHXoPr0Kfqdz/wSjmL4IczmcNuxlAE4GDmjG8ncjUKY4vzEf000+tnsY0GKxNc6ybgYuuybRy6e6z+WLcL0TEvxm6RjYbyz8B4bKuXcrI9ikH/bKmCm7WF8eQGr08H1SPDsQwcOOOCK3Zijn5h4zzxkrKS+aJ2sgeXncK5RnYvhzObx4mrO/hccwrTRx2zfNBxPgwmlJjb60puZ5lUe0j2IBHIJSIM4xsamgKDFOCJ1AIJ0XgaVw951W2ZRHJgY0lLdttNMAj/ReTNDr3JuoaiV0mPRoS5orF2vAShKO/AzxWaTr/rwhzKTCxeA/qoqmFBVMXZoofbEF9LaSCdv2HwpodpRHJ+ZHBRqFasViSbeGw3ZYPy/84t0/0KNSNR3DdARsG0avLZmejXQc4KSmhsirG+HsdX5ChY9qbjRGztA9MapHLIzhSsmL79NRpC16lOOp5TZxhqVTy/ydOiXedhjNQba2+1f4HsTvkmurImoQbL20E2bL5X+cfEDe72u73UZXjEgwh/SB7bZrkaKegTl55IyfdThmYOc5fA/r/jwWbfTvczupQWXu+I8n+yq7l5XHbWu6Oocl/CddN4W88UXeQ1L3J9suIcqH5JVZy+w3ckHp9WCMYAcDYZISn8EZM+6ycrAziISyzcpBdqcMK3q4yM1iZRfofFLBQBY9AnDF9sVhDQHMu1lS84TtHrDobC0p8Ayub90dg9UnqFFQhcmQf1tHDG8JGwa/iUOYOp4iQsReMWUrVhOaIIi+VR9en6+xPUd9PuJ8+cKTabe1If9uhzD/9ikPfkqGs0XDNM/5UNHIl8pmtKepsCV3Cvgp2bTjeZpnFZGUTfcb9qyPXdaXkSZ0X7/kAQerHZBq/2m89KJsxOsQxX4hIfW+kgPdr+t/LEgfD1pguokAXRWkgAOfJLXlOlzbppVGKkw8aja9pStxWtYOLzqJ8YrsZa7TuvUoUgqaS2QLvjBzS8M2+cwfDtQAe64B4TEC928VWb694lIOJBBxSUHjhuudzjnsE935mHFRyMU9f1f2wUoc0wxKvmWB+20toFqKFvqhM2NpYtNCKRtNEn9noQq0KYl0iYVnbX86C0/PpCWfctLuxFxiLp3SqNdwaybKoPgfS9PqdY5uvO/akQxb2Vjab5E1pJs/cNZSsm8DN82ywjmyuhMCBdtjQo2eW7lFplO8holVLPsO0IeBHNw5ukAB9cNiJsm00RAHro6YGO6g2X5d6+20gTib7COjUzjHeHZr3V8/SiFGeeE5DXPRCjvzS4UY8nseqHdZfWUhN2H6fWOLcahvqy8brO+Vw4PAMknxiH1NOJFemFUc0FldS3Il7q/8rx9Yd0eydAgkdxSvZQJCHpw04HGdp3kfOoTbtFs8hzeiT5zpPwoIX1smozV7ICdOnj/u04aagniKiqzrF4tpqDLfvOghRtUc4yhZS1943DpVo2fLeVmafewH/6dp1DfuesWXv/A3XjaCINXtZqwQbF7/xfRGPA1fDNs+qqTlRvCJus6pEjbX3oCY3T0/nZjg/aLLRG/MxpNlSX35SY6pvuEjwDghGENNWGYb/YGL0ZKenfWtTDRXfitm3Z/u2AmXyPUWlvekD+2mqcKRWDZS58+TCYK474A3YnShCJQ6vNhTttcxOequFUOJJNpUx1u3JquS2JLqrR97HOVbKLSqpHZX4ih8ScXo0q08HapsyB+HwNMK5VBsSSbSRNtO1LBldy6KD4zvNnI0ENhHlprWkgD6MROYaJJAlsNDDkW50E5P4DplrS0NED7a17sjabdA6jvOdoH/nke4M/LI8FDX61Chow3tAtvHXqcWL6g77qg8aYRTgdpMv5+2/ve6oosXTO39X73d5iSvki8koAJMufCZjCu6+2SLSoSu3PRm8XTfoxQYnpezRCIAsIOGoo01x+zVyFJU2QkoVSUcZof7GZWcv9o9mc7MVY0sapp0Fp4YGBudrSpOC5nTagvHwWVJ2DlTPXqBirmG0/OEUl+H7zlVLF5g5w9/ISxx0mJftM1MR5RDnJXSH0+oT0cU0Gf8Zo5gjidntYO4dE4ttJDMPqWA0BuMeGRqBl7hwPx21HWkHM90lNKXOk8otN9d5pmvICwNmUsmwDWYU2sT/+5aLMYwwiC3FJI6IVjWJ6ddMrkX2Uw/EceYICVCe44hsuvGDWIGTqX0vKMTxyI+796BO2Gle+ozQD2T62/7Cy3kuZ15rILClaummKSzpnuZi7R7HSBlrfukRXmrdLBx0SZTugjJeXxHLrKXD6T4a3CMD6j+Sa4Av6V1j2PyaZQGEj7EcHabpZVFPLlLznKlYO912lKNonrbagXHKkGhtieJk6gYjHtxeAc7pAz8aprgEvsNSScv7z0GZTD6HRegIGy3NNkuHalzbXHMcpN9ffJ3Mye9v5gsreUwCaTrx+KALXV3BtlPl+redRolISxfFKbqQqRboQzFUgYyX1KP+33ewgt+gsvo+TspUaCdQgzS+nbrx1MMusQiatBHNuLgofwRyBQ5U60ODyTIvdtyxsoz8vFoLM+Cc+mVqdvRohAdlxHA3hsmVmjr1lU4Z6L+l83ObvrKYlvfm3Wj0oRXhSultK8GYBBlfQCuy5FmjOZM8+mjnOTCu/ud7Lx79Sg0rNThwPbO35FFU1nlJZcFACOSMZrfyh6CwAUllP6DgtOzUaJTpc5kqwOTJfoQ9gDNG83OOx7Z3Uo/KVvQyYJupCvIs1pi+5vz7hf/9T1k+OUBg37ZzbZRfDPjmhXgKs7YSTmn3MG304EU+l+69L1fljidNcDBaYRNFJPbSZDs3gbhh9n73qxSgPvbijLGutHnpnxjKBxopCi/GwzNR7uegVQfLcX61GlPrefZ963Tkov48lsjBwl3BvK70xjL+jzUIWWAgPg11T7FRnbx//AOK9lubnZp5c61rzmPiFsdS0S9UmxmAQ8xW9fQsMGJI9Wwce5sqIIcc52WG04Cd/I6lRpixtDQaGZu0ll8fUvvf6DcBoM8Osjla49LjpYyOm9TvR/d57eOczV3dXATrf4TwcPqz9b9FnWpZ3moyGnCHShjayRQ185mi8DRMgcoD9njvOD0aFdOmn9IXeF4hfzSdrCgOnRbzxsra8QArnuBnZtdwLckrfNwP/f3aW0QvqwCtLr7cfhaK/dRTV592q0kRsuMoXKM1a/IW7DBLs73+CQRv2lf0rf2oDAW6LfadQV5Jw5m3ST4H6zqmQaUWkH8sCsr9U+nBsdLlTqtIEwAzU/CQflga/wctNOUvh3rYeB6ZBPXwiDbkyUJqo5p9hqHyoq5XDWP1Nm3XgUEhua98kbFlJONwqUBHofCFgj901y0IeMHogx4MZkDp+ZcnomAiFco2gEa4ud/ABF4U54fmUoDt6kxE2Ozpt3XJw5kDWfiTPiBZINEKIh5eXtMd75m5zOIoOkLM3TPca5jL6Wo3zL7gQyVeZ+b/eliAh/+8Tzhm6q6bOgvhZHrEyyaXqzIsDYgkhWOUVcyVhv+oOXZBuQFjT5NSMBblZUoluYltZfEyk4Zlw1GPPENj+DGcIT3hKLDs9eQHZHCQ8x0hh3DfPanTdiwnGSgBEBZL5kX6OdrL6zBEtuPCfeKq7DE9b9yF725o57c0DRLhC9O0pF1byV69HYSRk83mudijalqtlRL5qoPQV3ZX8fLsn3VCs1KR8dG/pHRpAuUz+NOdbXa+YEcDBEzpfPlzdMO4tm0L/Q2e2bJ/ISWK4Dld/eRRZHjPrD38m0m01zlr3MV6ddAD/qXml1zB/XfTDQAszJxK+IqWPr7gBjKxaikhln1i9x2+WFTtR5xTZSZt9BU7hJ0J2aIxaoEhk3eGjPKdQIyZ80gQd+dBjybe5btGNhd6Uy0jvIwyR66b7Q4bedn1Dtm1TBQQIStUzd6rov2Y3Dr7LY9Mg1eYw2baj+HkgRbNiD0SIbXat70HTe/xkM64WBCtOh0dEzgxL7csPXYAlUYK9P2t5w3bU2+8c/gl1GjGRZPg7wcRvpC3T3JMuRcf0hEzcznRUDw42O3R9ielrT0JAcYNeP40DvxuUpkt5XV+DJ0CN1YOaDK8j0kG2Kl9JqCQ2h/uL/YH+uO0SgUeb0YrrDraf8gPryfCInrXTD+U6JMTs90v+lMHcpCdJNrob3h2b9P/Ejd5/I7YTvFFKGK+FV0A6AAH/cHRzYEQBH6bh+4zcYvKALfVi/MIEGDqRR6j5fjRVl8A9BXlcAIWCobB/1tqZkpJVHBBfQKcKWwpwYR4JqG+cVMfDfkvEV095lZl3ZZG/mWxlxbDfuqHzKw83/n1lnapcphAW0QXwE7MZne6BMTNO+ZTVMYrFMBSfLfxSZK/UAJLBiTjQP2E0/aEpE+iSFUeHE1No4XpmD7eF7tUxF2St3QlJ3XKMBhZFUn1mgNAoZkHhRK6PFU7NWXAm0AqAGc5k8vXeb+2OW+zsY0jOIgDz1JFfDeAppB/5MafZINHK+JEp/NYmmn2lSsyCuKJdi3UQ2epnMPAKK0mROdHHp8KZmV2mRo6uCE2ZVI/Q5sTxNk+4JL6cDDsuG7J9RmJLXvzRoeCUwGQKXI07R2nxm7u0M9IC8zL4UnrzwbqutFQXg/60OX0N5Nk5nu1okf03BUdfZ40YKGkJbITKIqUUgAkplfElWBGrI68jsfZdkyh2hgSQ6HwbYZyLPW1RzDLkXcwZaaotMCG7b+g+sb4nxycvHIDDTAVihMKak4P5TLdGSSdJCxA12LZwaiwrJ8oQz7oMF41kQz4swJw4VJj1q6HGZRYtvY+8SXwGOt2XwKurioSm0SuUIJbO5P0flqJDwSujNtn/X/cAkkWuMsG1g1JMQOVdY+3hGvQi5IydE2fieuzH0wbvNmoX4o9M5asJ8g3abvsVkKm/HeFjRrv0Lbut0YZiSoX2iKSu4MCf2czHZt0Cga1+c6MKGT9aHJO4Jl5aGcr4B60lxnUfAymyXD5o3+CJv6YvCjtkFEr62gKxd7yWECOLzQvHB03G8dbWt2HwPPGe5uDEqsZfyu09H1bZMdLLYVCbZQLrpSJXWYVQc28i7zPGMm0/qtMhb69YNABlHVH5tNuVjGeqCnwpagDGbb1PDN/JPy/ho3qVt/w8KdlARI8rsJMU35fatEUwPaS/ah6LH6yIT6oDzfxaPxgTB4kH5kO1LhegKG1LS++ZHZ03FYego17GS3WqR0aqldZXRHquVNRWqB+cEVIz4xQZskniISRjAVYjg/73i9sf68KSM/Agf8pFMz/OPP7Dox5lJbAaKnB0UbshMpaRBp2BkEoGUEnhO/qBbThDc1TLN2GzOJmO5XDAYbcjNtEoQUkQvgNDoWHlMUYV8MnjsWRmxiJuy0cCShY7YNUFt6w3FGMj5hDg08FYAFdbKJLvDSI62lqJSJ6jY17zoFZ+Ql6WwSgFAMxMTsIlGMDqoAa+0zojcVsebhb6DJbD5K9GYx7FufQTK+w5Y2DSEa7qYz2YaYcbgvrgG9SIwI04y8qU9B+Xj4QyMk1u4UnheYZcg3Bm8AUok6RZUIIQA0EQQvXfwYA15QnqaqSHYBrTY4hKQQAShYMx/g3JImbAgcTUos+LMxKhCXOgcAYOIvMFTJZ5FJSF/pUmVvDROavzU8pnk/R8RxLfkwn3WpyBqe7AsaXpbIpPJHVzrTXobRmD6RwqSZKMH9NzWwn51PiFhgFlp3QCvsr+M2+DSZ79TdzYAjjvywg1loPV3PcZQkdDgIQfJOwNMShJOzfL5h4bC3xWhkGNkdIhR+SSo4gxkuh9CVbk/S8PCZH/sn4l5SrbmTcuw0YfpbHD14aEBV9cKptlhOsd0rto2w7ITaxXLbuR+UY2xfVQ4xeAYglqrLX4UgD1D6vQqXIAzw/MbySgvvjGiksjJolZJaRwP792ALZNUVIcG8234+ScHpCAEFYauWNhIKVbpaIPED/RK1jcBr9NuX6ktHU6DaxmYYXAG+MLPdeK2AXffCWXyJJYr5xQtdkz0XsqKCN8w/TmnvZnatgPR7iVwfKiZj6tDD7iBzU7t9JdYTWWn07re4jJ0xW/HOywK7f5B3mszJyLY8EZTcamXa8Jd5c8pv8mmgwC0TFUnZ/Q4KTYV07B7pdn3jzGNBj72MPS27fMW4XhcMPcBvg6u3nHCVHuzX9ggeevQWEYDAYzC1+4ZXzFMutGHDTwi3/9zwAXmp29Vkt+igKMN2/P/E+ogGaSw8BZCVBPiKO+NkUT+v1/dTGzOqhE7qLGAJx/EQ26sFiphRVvfiZOZoedaBzT2toZcBZ1RanAYn3xHrxHH4NnBPrixAmaXZGSVN/7FO4axgpas/SvzU35klfZoQfrApPlewCRn9kEZOYR+kudnGJlP7y/V6lqcpAB/hyKwCjLTfTcKESbhEzdktmE0fJBClAR7MxnVsH/wkqpz+reMjP5ZnaN8ch21mxt0pdVbkLWARwr/rCubGe2mCcsrUlXANK0ct5GXwFWDDoAMRK6IwhRhzwSel/scgorVcivIQGOSqJpjk6WDiraOIyrFf1izWJd3DU024JR8RKVOVuOa/bnhebkwB05VgBVgnpUu9YDi5ZtqK9dturOVEcA0IE6/bTT732pzDa9KtSi5SnLThpDxUWfYokhNs+9/o10b/odUaZjh3Q3NO5ziWFP6h+5mJsmuCcBJdZ8QdGuTGzo9+46W9KNGOTgJC91dgImLpShSnMJ+otto9iYgoqJHBapVQDEVxySAsp7DdgiAe89NzcYicDc2/xPt4QFTxgD4xMEhBKepfsr0K01/NsYFOjE0jUaJvtUT0+z4ZXOsOEPuMh0Z1Gz9Sl3cXeV+15H/vTwrSelwRrrYdyBWU/Y8yUin8Jey1i+s+2plr6UQ+r0/4aQu5zYFpF8lgkHdsvld41dxYUjLw1Hm29rKVkJ+1EUgIETo6k4PpJb+Fo1wEroEDKHpyTad59zXrW2PZOBxvi9hwMwAmuoZjCNhBuBz5FZAUDKuegsJd+i1O0JpYLdEbwjXJLXBWKglhu63v617GzYoA1TtaZPdPmh0v/iJK/TONKItKpp7hUHZ02n2GjkfYlgrLNStctvh61/VVR+tjqlzO9N9hOxIMWlhFJJeG5ZsSuR99WI4IBh/faR15+sxaiLC05SZVKq2qwVX+S4O9FZthtzeZu+BuZTZ6OmGS/feDz9cFJE6hijSJ/qgz+jnidR98lDibLbioBtWUv2RgWpAdgyxXsCjpqcu9WEYFENNbd+8ACwK8wSGJR3BpPXqHViqyO+1y9/SmFayWqWUzC5S1IbxVlLvTBpiAgAbooldHz/ciuDm+PQksFeDZ7yeOR410FwuELrl3QMfZy78lLQYb9c+tbbPtAh3P1WaqO4/4eQh18gt6bdj+m1Xld6jlXMIUyBJ7Bql9tzBi++Ddm4ZbETWkwvvE8nj6wzgslA1RxX+O/Gd7yyYAMNXBJ34+EN4cJy4CrQrYXCxcWao5KktwCfvJGDA2j6bgzttWnc0b6a5N9czSh+nxwTOeR5Pq0wkWg2jceHT03vapli1GHADJSRc8jmYNsUJ17cyL6OQ4Ap4vSU5PoJSJs55HO5dFltqGryzcm7+ZGj7mFFUD+OO1dd9llmZxOAhUXwtHJc25mu6K04KNt87I2eKJMqkFA59YHSC7y0TUbbWymJCPk9PpZgxzrroJbO+j9Ms1mRXX0F/cLGgO+YsfkqLIBeimhPfnL30d+2rN5HGymEG73f02ewRxz0jURrZCBL2g/HvDgFHZGSiHMkeyDSbLpfnPMKpvnltdtbhjpqaIYwdmdf5cSdaC18Xxfp61AtmYeGsL0G8d4X3o23/WD7Q9pRJeEntdh/7Cuk6Qof2tYOSvuebz5i1hue3qArTarbpmi9tS+5UDiPnF6Msh2gm7Mt0aR1bHA8/bNG/wYB9zfH1WRlB3VSNVw3uLzBwsQsRTOH/OReMFcGfuSQIvnLS17yi+A8PxfjF8TjvlP/l/ZYD9UrmOMEroP8c5ddtriqjtG0s0bLdb6RLHf+5ia23C9o1U0fdwp7uRNxw3b7N6g9JYOFEdPBZaYnLb4FjMxVuf6vPcOEugTxuM3/SsNN5/vEROeUcWuHtb52fII1fPD7o0jObNp8QdIksD3mjP2bZPM8kRgVvD7nPTajfITlBftuhGZxHFHUu7grSgT3D8ycTeHEFN7gfX1YRGDs6Qgc8vKqVpOk1KcSIQdRXT9YTKBuSZrWbogduIVEI0TRTxHPCbud6eHbiNISzOKvKmQpk1QVLpXJ7vlAauN07wMN10ptHkFZZUQhseIbG56Bw313RZShkCcY7Gh2UivKNhysV7e4NNEIJ8D3fblE0rcu1H1O6/rUji0cxtoDoTi5MT/dvB9l1XbHR/YWG+9YlLojTZpyhWWCyg2Zeip/OgJhfOGqxJc40pbKd8i5jyGV6DUW4yTk9Awn0GiuKV4eleQtgTgSZEn5PdbgTowWc44WMZ2yDhLIf/H140DKl7713nanKo/XVyNps4wCYtgejKI+WizCksYc4EHg+uBdLCNDFJz16X9w0mDs7zAbfi0gyvo8Zf4bqFp+9h7EQJfzJpatOEfFovDCvsgUW2spK64i2dTaBXAhz3ogpZhcOqaM2E5fKuU6n8nXt0yTC77GphPsqz+0ufnzmoVWFWYH1cqEer6EPp4bwWp8NEfBNr/LgBKRtkxHq/1AWW+3cGEX4EvbYOIM0TUs+/cxNpK/NQ4GqWYw+5uoZVBFDc+t6N9Emv/sLfv9EovVnPSSh7C1hsnz4y4EFT0wQVz9MrKvXOTGmgVvrk8FtXLRzcvqEA2dbmaqDR3DfMZ0wEpqtoXyGaEXhzzHHa582kR7LTap1qQlWDyeUur69mgbbbjHwsO37GRYVJS1VHlKICH/If+zk8Unr0lMJUH0PlufTNhkAcvH66R51ipui0GpYAGFgSiSE7oRm7fKRA1oMRGA6fhF/I9zDJ7efxPvQ+qnn2jvShypf+GII4EhLH4MdlC3z6EwoLOFnZzjl8UQeZhqtu0H962u+XbFYxF8cRxK9DHLlQy6lCidvSECj4Dge255J3aYgHm+/VsK0OGWkzgvtI0ECi2EM/UxneafLAOCugFMvtQMiRU2Hs0o6KBUi90F5pLPapeM6BN+FhonITFfOpfe5UnzvYCx3ZCR9gZtxTGSHR0rwevR4wz43vPztgKyfxbZZZEyqiyfAWBgwNBj/BH8Tdhv3SP2wxXNvQT+sWpza42PHrMK2rDIPlHJcyIanXsyzQZQVFwh+F2wijQBO8u3bHG8JH08/rudYRqBqUmSlfC1ByIGsk0H5IF+nMu2ceRP9SYCEu2fQCsQT+BgngIKXTo4uk64PtRPJWQAbLwM4oXq1+lypcvsTpMjqJbVUEukIh/NweJRTpm09aXoX6y/elCJnlU3AemxFh9smQo9BKg9jH7qcDjKQKkz7Rl5UgJBPVW61V74+XaeNHSSe5TGEZm+Dg9sJZTHzF9mWqTGhFMA+iLRQkEYwWAEsj3Z7NqHJIIhLOl3WUo5PgKUvHRXWfrN8UqanmU54//gVhsNRWK5OW5f5lWu7XMtw9o7a05xFYV34hUYs71QLQ+zSJd+oEk05LAwPEitpv0JOM0/yicr5jjGT1Dsjv0bD1tx7s/Ags1ZElCxFlFp7xCM9jwvKYUEhA7A+OraEDGiWp3Q5ZhnmB34Hf08rsMmEoFcw4vkLxrNronBTc1UQdTqp+uXFATxQ9nPCbOWJ0OV0o6MScPwF7V1CqRNHM9O/b8ZLjhYH9gJ8KXrFj1dZqOxf/pFtLTMytfTnrv0hXb5qAKkSUI/UfmmpX/+5cpSro4myKhZJDtGPrCMRYYr5+xqo+wb6x6B5lzknkAyUu9OQGYSalNAjZNVE1lLCsCj7JfZzZKSRCCPEdQSNI1JHD9EfkJj1T92bLwQPBizaSiXpzqWHUblcz/imVUcBWsUpFhblskq9mZe9XAYExFVJTRb6K3DGlX7BbZjWoJqUF91vVRgEVfHs5whszz3tMCz7dQdYqd2tV/DMMMZutBWOAqf72+ESF24Kg0g1/X6gliMAcQ2HFJaS6hUKLtU1CR3MBTHdHezArNiLEJaEouVSYJt65n2A3ipIVWGUuv6v8SvL7FtFrzLAAygK4CH0ncFUPHR6ImkZdKuRdQrQOHo0iDcN04ZFr1arOXqExr8iGnCyexc21bB8uAb5kbyVXWgNfk84oSPhltgpojDOH88HiDgeVEA3srI4n6Jr3NPtEMz2PqSlbrFArrTm11Z4kzsUDy6sweJzRN9nP5jHZUI8z+khZ3mbJb5SFfyV6ugjk3Cv47dJwAYe1gc8632zrlYcaxsezdmFhpS3a1yLBKKEgfemyytB/FH8mITVRjz3e1S/Xys1/o1OZfGvBHv3lAJFQe0ZHUKNLvk84ivWxwfOeIbE4Nzz6dWL+csyE7eLFfMo/cgBXr3Lzfg2k1A3zLZgN8VoVciZnSpkx5yEVDgc4Psb4VnAsiTbJMJdr7UuOWG0x7kNsYcx5+8/+ZcoM5wneRcMQFhRNUDNLVr07xEHbYya0OR21HhpS2Jz2xeWsCxtxueCy0KQfYl6X0gqb4vWUkiuEmJgK5s7KMrSLl0WTExtOdZEPj+ggNV1tXRqfpMwHYO8x0yDfY79mI2o9c00BGcwWi66b0zKkeJUjYU+W6XXA6E4U1lkrl3dnyIrt8xW19NN6ADz/5hydXCJFNKPnE4oO2T7nD/evUMBEXvLitlGRsulpSg+vMeLLffTt1/xfv8ep5+SuNLbi0KBc8gED8PXhI5IH51A+GH2Nh6My1COe0e4xGQl4M4uq37SnjVaN+OkGfZuImLWvu+JD9ok1SimAarxFe170d0Eu1mmKthn+kNOkDqHla1xeovFI8fXzZeoVlGgHvK3m9qurLjGVSto6A0DF/SvaH9TO4l4sDl5I7YTdnS/mmw/iZYS97FhQsAMngofO1Ksw8L2FpJcRlephQuVgHDNAXmyjuXcmFuVqK7J/e+a30ZeO3RsXMX5sesh+C9ypr01hBXuDtYa9tzLVwU0dYN7ZowZqxNT+jF6Xlwtd0Nls1bD3noUVI4Ehnx1QW25GblZJxZIfJ8fa3hPL7LnxAIw82NznVT65dDLyVUtd83Sma8a4XdL0iWz04mUBOkWaLJ20YvC9ZOrQ5k25XXEGAQP/2OOvzxmhgtUhXFRx8XXk7BAnKu8Ldx97WzoqaOYpWd796vxHrC5eFmqsQ/sNZWfpmhnK8V9dzrMFOlGyNXScpd8QkzYcBaim2k7DJuyl078OjCijMc5WhDACq0ltHYgjQvngyDRPRsMtnZXQaKx65Ad8SKwzagwLrMeacgK3RBdbj8XHF8wH+cTlrwd4a74LHOL0Fn68eaS1IklCoenBCEThNTkMjUcZgqFbD4bVWo9zLHS1iGVLxgAVVoLeGZbVBnsDHv6QVww7sMhIlqSqL7nqdBVY16wIcrCKHzzeP/L67z6C1HJJjtPGu3Q7SVci84P76/b96AswfPI6v198mYuFQZ9yUUXbRfPJYdu7/F2yW0R3HvhIt/GvwfDvz5prfJuY5iAOR37ftFJ4VLrYflzqPiUJliq3A4K82krvPHQGABWrWKnGKEOmu3vPFqYw4GD1ZpiJzbukl4ABqGqSNbB7qr5QuWWjPuQggz9HUrxaz04S2TEP8+Z8Xu8Prd86h9HoB+ANkCKulqzFkHHhti6WjcUV/C7dX5sp2qzQ4h0ycmbcpaZskn+0iqBWyqsglx3juA1MEuDXn2O9Fr50sDwih3J854+NuaqiTmM/WDsVYhGjRaKWfP3a6Uk0xjvaEqD4lcv5+BkE1Dtx/GpZY6wN8Nxnka5hDQZji9kg31wnDhQUk9viulb53+u+8+w+i1AJC+Ph3qiIPjJ2Ek56j2/LIGM6suYlEqqAOxQNeDDADZH8ZHfMQpKTEVEIVYNRjhat7Mfkqc1cssSTQ2WXlZ0D6mCpkkPUWXK4utoXzCLZGNg6O3jZFcXKthLD4zUewHxND8DDkSmR2e6F0HRPxsg3RYQaz1ifwCCaDTsRuP1QHtkZuFX3R/LYTFPneNgwvexEoOdwcnmkFJPWYxIbOna5A+VnVRwwy4MNshK2QIZkjuTz1AstkbXyxW5xlYWk4Uj7X70X/eg2bqRYlSQZJ/ltluMqYCvPnlM5H06uNhLDbmWlI1iDC/7rN6+/QKmNMWyqu+UcXblT2awsZN+TaK+fJaK34M+tgYTwmaTIFMh+RRdsNY4TZfgCC9gwdbhw/Op9ZVsc3ijvvMuFpcNdS/4IkbxBBPPra7IROTLjB7P37hRYDhyT2Vuz6jHVEnxfpo8RkoeEuT6Fj4ifvhHokdvKdhtNdPQXI0GnruPBxBJh0P/950CWy0K4WGrdWEjZ6ftRmiBdyIp0pHWNG1NWgxRcpL63s5pi0sUijiT+H5e73RWFhCKViOpusVGhAq5TMxKbwOFL+FOCYjckJeQPTT811sWNjKFpMzNy6SDHzq2vj2k4CJmsDS5yjCXOzTkPch43vRbjXTYvj60d/SCFePVAO7FsAp4/u+eZn8HskGT6nnHmrR1Xsa9Tcrkiw4nTtm2Fdp5o4c5bcCn0GO2adNa1s2po/jNNyy4Zw/YUwg9RREHG8b4AOdy16PyduPVwLM+5+HMto20/DoZAs4aqzqER1P7U0b2G1mei0wXWvv3qcgW1InkTiFweGd5EbdBeD63dclmhwJl5L63JOPTrIKr3N8gGHgQZS+7YVFraLT+6NvsXMm+uML9mGK6zin/sFihlgFmdz0tMbpsfUHMBwRRBV9pcy6rkeBChvNYlk/PIrdwE23yscrgHNDWIAlO+zjHWXrToxf0xDX6gFpqLmmJuhzBp1sEF1PvSe5nyq2uLf6YPZqtY5o1ae6LmDZm0ekqUn4y7/UtbIuxZQUdlbYpxEPmr/wTaVemeSMBrXo6X9Q8MOx9qTy5gU9043Q3PKE8yjZKoIS7PipOd77csXQlyqgwdJ88rueiQbLDC+Nsdwrp/m5HfN8bXlgzkFCUPbZCS0ew0qmlzdwxL9tUNCY3aRe5lchOqB/6ThbpS6Ln99lJbPm+AlrRVtyVEail3wuGsfbBDOYkMMceXnahIKlqkWsVI0qBJNu8UZEnqJtcMF/ahp6akYdqVVKAKG5VSBGzuoskcWTkC9gj+fAoOulpVq3m/KzZlDQbsjYYEm+nh1HyzD7eKT70kdU14ufHgg7liMKGSjlpflCFuFKD/Sf5N2G+/aAaYvzpqIhZstKqbOXddQMuONEU900cboy24KMdOKtwKTwYP3vmNqDFDtxnXY7mmd0C5e8N8PDAPSHiq2mawqIGHp0wzZGnoA6UWKM4WU++v1j38TbEGUUZwTKKbkCfrNWpCWA5lVrpGZ9OfKCO1xAFiVT+FK/YRRTkggbSUTq+1LHqV0WBrnoHFTcPa7bekc/25lbNd1LjqTzyNu7eF6lK2iB9GJLa3UKDqkM0ZrsGSw5WTX6rA9gWLRlEKgHmZ7gyMkhqcTtWGCJA2D5kNl73WOjgTLl62s/JV4ldDcMRxJmJKVVAmugOy0AHoZHElyoVIM2FHqe26lcMh3QA/W2HL8/QXS6aFMo/eg3cdwrki+gg3rtmfjVvds9HPc1djyvWc0uMIlqaeWWlZrLyLpT51VkLlWOv35mFT48uL6gB5M9doTilObx869px3v75/rwl6khvyeZKU7y0CdEVVGv5Gnz7RwnIekNg/3f5YXyifnTvM4/vsaW3fPPQBOSTU/M4R55dpXDqGw75BHvN24s52YetXU+e0TwR++Tuf0zGRcWI+E9iaGj7Qo+wBRs3Ye4MvhubJDSipZ1pqsjg6xSG5ZKuGJYIRULAA470VwCDuha4DBZpPFVhGickZIAoSeXt2EvdVXvrcKBylvYLBNlslMEX9vStKCLePGXf3SHnEr5mp3oW8tWduhOgY9Fj5Zk3aj2Y3jq6t+E+e2AtOGg14f7abnU0h41TQCbDzUT5YKjumTX2WG0N0epruBecLoILXaFZ9fYUtdY863BqQlKTWq0HKS/Ui5eBY411QZ4M6iQ7Q38+4i1jfQfncYzO++tkwyfScxc4K9OVfaI57VfVX4ozHjF4G78TBQFziaPuohmRjy0jXCkaFczIXO5zHsC76I5q8syLv+15zT5rC7lu3zS0et/gAvsJMGxQxwtHTFteMjf5/QSW4+dKEiynx/5VIHLnkek7j2Eas9essWQCpcM2QFRG7LiPgeRl6zPBTUczaOHPCpnuGmTfJyipUg0wobbB/hoLA8KQDHXuXjZKNkCzwTH8qZRQwJ7OX8jCY2YBpVprqnAXGadX0erHULVhe/E+jQBhyzl/qItW5Kr5XcBiZgmgPqox7Um1Ui/qKngqlxqX9LRfx5PkhKIMvvram8EFRh9HeOJwWB6OHoH2vAGG+z0DJM8nd0bnZG8hYiEViyeI+o7I9E7j5/Xm2GtMrsaHbKh/MV0kY4GEbiuaUpplZ2FKMOVcc/M+zKq5ktaCwuYW8EOkRd1h4d7HL7+Wyc7oN4h4Fc/qpqcXHtoFWI5GOVX9qK2V9Xw6wGzISFLS2U/i7cF7JxaWlc7KM8TeWR+kPNZdGTs3WpjV9lJcj4wQ82STbAFmmo9mY8/PXdA3DXmyjnFUL8x8E8dZbWq0IcUkYN+kGtXPrsmhbaH9c/t96e+BP8V+4H0m3eBJQjvq/8BxoXUhVIF+54mL7dcHiYvKLc1fKOgMyW4LdKcKhfZCiiep4TOxQ6o2nzKBg4NmlhP6a9/jZ/18a2zpLN4HErTlKUzJS9W4JwBEbJ38t+iNI3par8qs4xErX5cN8shWbLATXZlrOcZrv0Bb3DicqOUmpIqk9XRQqSPAWGEydRiIiJSl/656tzWhA7DUxA23eZkK1R8MRDfx7msrZUhRvsSdUQp2AugpXOurXfkQ/ixJbJIRsDVkefsWYZbRwSeDmA04NyBilkHCRG05FkQ98DfDrHOUiE4r7vOfgOBqGek4/bqTClk8Qn7KW+DcT1YGuLbphnY3M0sKy8AcCa7zaLeNidFazJvUdPPV6VcfAalgBudc1YzlBXofdBrjRvAwFPE0NmYrKJKfbhiErlvKlqGFT8pKc5VRWyzw1mWgR2KYEyu66bZqWY+TCjVEFdqSLv5d2NxN3nlhdlrItYhgjDS+Lp0bgilV4kqQlVCuV6XIjJMRxlR+KKxnPW+SLUb6Q5WVj7AdCSKkUJYwhSqifPsAdLKXeyvpCRX/BK7VdN4V7Jn5jwbUrCqvnOCj0jtGhqi0xRwO7SDhkJIpMnl9QfXliSkPs47J6x8C30eMfuI41hW9RuAz2T7nZyqZJILl+JhYIMH6mfMYDRvKTen4PCod/6um+XLgEelBVVAhbLyCoNePC/6TKzA4sc5S97zRTLKHRaI2hrNJQAyYsnFTkMWCN4Jen4b1zjVwMOU4m3PMuSbgq4Lq9soGsoZGpXZdqEGuoKPGQlDBNTcjFO6KKMhOv7lbxT0xRVOZAfAQhaS+2eWLnR8KFXM1/XHnE1Tiz3akUHSFoX0xzbwtzUMNZnsr5mdOGsLLkFDRtkhSrK2Ns/0CJS5U8OUGgwI1aqFVx6DRH0JFxY29HXIUIjAFME+5ZL57tMjHUKeGb90mFlUbqoO5a3ZHPR04JnPz+Klo6ZCz99jpeLqsOusgVIw9ZGKVxXnJS8xKfXsNa/7BNKVbAj7q0hrEPZvkjyDEtBdbR0HBXbecGMEHpSuCWp784VIQkHBUn71gGj30J9Xi2CO5xUnEiw/XOBTZWX5j/3b++Se+OwVzRMp44+S8Ttg86nESY56PWE+W0/4RX4F5sJjop3w5j7Tj0uZ0XdmOS5jPSgeBYVqCUAIb0tbcXZ6+FE1JooCR7OJx6V42KMPLAIi+2qsafIkDiXi1rkNcPkIofAWpbWnjSWnc7dmSXZLm0JpkFBpjQQA65fjkpI+ToxRuvJa25jHkhTCGTEKqGMODMm2OCzOEaksku8TgbBRU9oxo1stgKAkGlEqBjZqNIxcAJ5TIZywBmiV2u6O5t5L1u+mdOQWuBxxIdgRSJd4UPV7lUHhBSHX9LOVh5c9Wxc3Pta6G/e3kOjjX55806AIjMcKLDx/YJqoT7xhC3ZNhcvMunLGhEuYF9+cN1mMqj1bsqLlkloHBLqlb+It/eU+t82G2Ly3YW3DZ2uHMXRht5RqL9AfLyGl34iozb+nQJ86U3lSIOQo7+cn6klPl8KIi5UebONZMUKbI7LZOXp8BRsGUsmsZe9QCyA5YnJyGhRgPuTADLkWFBYWXo08siW71PKA+eCC5OVG2bCk7muRxwVjcnmIHIxdSiykbhUVFJxhLu+qOKoHw4Jb4DOx+Y3Q0MZ6kpSldSIBu3Krk6vyq76sLrZQ8U9cpxM2zmHCtT4HGoK4Vmz1PNLrhM3DDOqGh1IqdtYXnzv9G0L58j5cc4lazh0UEMSeaCRBQnJmHGA3C+I4m9Zch46rp4W9eA0YRQhXMEW1aQwL9U9oPlee1ciPr5pFuS1IuJbU1RU8Beck5kXdJEWvEsOHaVO76nHkH9rEbNiA3GkkJe0eibgn6FFeS7AXt6CQOVQ2YNYvbbZ7Lod3rCnjnoCl7urLTfcdIWcEWAwqV25uWY1vFx4xr5cvnoFjMcP/tKq1QWhQ9DvX1sBOrjaIL+Ovm6HXk/tIldFJ4pUEri2uNq7qRcydtYulxcrD6hBgEpLwQ8L4W6ust02SMPyeZVbIcwmd0vPJaSKU/5FbUxIwc8+g88g17of6a7rbTcwexxlqvkglqyeqPygJhvJwNF7GwM4QGxjvWZE0UopQXfOfXH8UVmgL7PQUyQI65nXa83ziQ8sbg1IHk4ECjyE17HZ0LVpyyd1KEdqZmTl8AuLtnzOf/ftoUGExaLdvt8q6zx4YfEqYJT/NPCzpsIKd9SBWQrT/s2A/YWVZEmfMjQL7a4Qen0hUI632T2UXA8vNOafdxM4qhJ7mql3Wgm/PXqu/bZrBwZGenG1MFEkejir3UYe53u4ukdv1Zlr8JYSmT5gIXEnsxCkDGgy70/asUBJ/vGg+l9QIBbZ88UijDuy/kz1L0U4PLsTv6zzy937k6lIKywKywCRE/1gRxUTRT9swd8jV86q6GqxtAMyy48wlE+Ey5EMc0ogkFyOluw+ah3juvhgdqN78glPrPcQtG1LGr7NHS1OpFNNj5TO0zWqbdVBFYUyXMSYt/NO7pwB08owXCqhkVvPe31VaQ841DswnVRwVngp1BoyTq7iOUQTJkNJ8SRKlIpAUEMyPjzlu8DSP3SW2CcpxjFCfE5I168z+da0PHtmzUSw8gtpvVcYGGrXlJN02zqYTegO+rjvW+d3fGqYsI8Wcy+0XhaD24uEVbP5ZedJskYvxexCg/aOnw7gJfWwRtqVQZSgEg7vESe2AWyYM3wBWiR8wfuCvmK2CSEuNwnNlx+kjzoDnboPs0vGwnWOnuxrkJKjhUvBya1+Sj5Cf/OaRXwd/I025toqmDz6GvDHqRqdB2syt9fGMn/zAyLxZi93sSMeJ3gidcH+V31itSpBJL/Q8u3Xa8fE8u3oONXSeCkf1dIR1vd3gx521MjxvD58wVdT6N/RwbFpktxP9Oj0UhBzVZ0xxdEDzXMi17qHFy5tDuNHC/VhOk7DhrWdGJLjDrOSqs1Ysb/vqg2LoeWev6YpilMEpCvo5oDf9TWeo22+9YLPpf1BoLpJUYU9dvk6kGLqS0H/p59BMRfq+RLPdbVoNWO2ObDzn6e219dIPNxieQh1YZOopGxe5FldO7Qxx3Nlm5+lgJDo0vWP6HmWuHwsoh9xrxhU6wmyQg9NWP0oBfZGb0ZUmxgZNRh2R8xbidfqDWknkwLfHW83p9Ek2ouPbbCPJFDoTlN/HQLRfFa8nKQprMMX0bOVUMh/zaouNk/Y09ddD8E7IbGAP/uTtXntirylTUhgt+0LA+Ll+HSL5PeFNacxOat5bum3AfUwTWtlYbQX08IFfthiUTn9svAUd9yIIn2K0GwIRjNh64kJ2WYH4E/s+fH7ByvhzaSm43f67fnriePHpDTEG8TsiAm2w9/VuQX+7DRlpuwfonUEs+IHT1fAc0EgSRnH2R7DoV+ircNK1lMsvIV2PjoaCqiHQjsJ4ClevRWZa8M5a5LEwESEHxc8KN2m8Qi4InlDOT+b77Rr/IxxEWvo93S8YmAxZZn/6U8j0X2D2ZXHk5VpjWOYCtLUH9rztT/U/RwkrOqMM2u0TDL9BS8ObwvlvM6bqRYe/LmXplSBNBOLoYOjliDSG+8UDV9BaZeb1wQsHkEOF6xuKekYkv5ug1fp1HFIc1fjYwXZIIr+GxmEFSld9FzGu61sZpm4jt51tOQet/YzhsTmSDWS/7hdidBjI2yFxrxSunmObTd+3kBWexaG9V0EFDlanKhOlzYAfUey7gNgKX3nm+dgG/iO9+O41cb91yVKn61qq05pewrDKj4J1nNK+uWu8mkODPNj1IwbxfwqBJO4lfrjjsX3Pvikj588AApT6ulPfiVbWRBpR974w8mTy/0AyU4+p0vUt6aVSJkO4Pffwjq7HAMvHn/FggQrQqPOEO4yLRA7fYdFCZVwuRmxoAKjwDTktXrYBO3vJpb9dhb9I1Sd+J9yskO6hJtsWfDfM+F/3jFYGZBVZFFlcLY4M28h10tsVB32YlTwwAMDSIxsT05R8wRiRVx9Y8L2AvNpkPiwdVg5nWwczjGWMFq8xWdUbW8WoHFLUXVsHne0NBnFHvjXfYV2zyi0ztetf4vGgYjM3ndZ0xiVtUpNRGtjaEuEGphER3FSk6hbYRVAx1UKemSEfFc5MqUOVAOK+tcfQGSiVFZ0RXaoXi0YxcVze0lOui+FKrlmRdHgs6p7ZFFREICdquEd/BSH7xeNN/GRB3bRccpaa/5lfncAx1c3R82UrcqLwRHo0K2CHQaEpg9gNDxr2QEeqvU4fUySeIlQGqNhkuYU2yYAR4GLFhqlb/AR5sbTaAjmMXRwlvnT0JK2u1+BWlDgT0rsXd91LCva064MNr00TVHVhRB8nPaFJhbLc5KwU693NisLq3s04uKUR/MD+uQ/nFIa++rzSONjFi923KzF2WUOLZixNy/VAt1NmX+TuozVDliFNXyr4vH+vss7aFoCWoOGgC9gT36wd9b/a0xcKbmBKspuilyB+fzqB8EtZ/RAAJDnH9vfpr6ZiqwYYcCKzQmEMUqnYZx7m6G4CtAWvJfQGYtVoaUyTY3bZ0iXVuJKPIYCsq0xbR7lcz0LkC4WGoqOo/6JygkfhBYf12SwPIOo21co5WktAf6KNY8VEc1AMW7ncXt7+xtxRP0bE0xRKqH2pZ8DeKJmvHEOAc8LJcDBdA5wDnu3rS6PbgyvUv6NOXsCeIuanEKc+3TGQanBOLx+zq0+Y+noOnDMvL4dYFUe1dGF+JTG90FyAQySBNydZSnQ1RTWw3/grJzKpBqiOvrfjDlrz2Ee6k7XswQvtVzCfNj6QjjftXCo3/pRqUDuhENaqWLtwIWKNlIzFGoCqU+geXZzHSfvt+u+ujgm8lOXG6eFXwB6opQFHXrPZ7oC+NyJ7A97A4mmuf3CGuNxhJJ70QIgbRiIyqDD6cV9QC5unPZWDhW95t+ZIKGP/b1dpZkhduo3Z3mEuTUa3HbtgPIrUJEU7LIwL/eEkvWL2fRTaoYYoXbNqtnaTrkpHar4cfHB7xXoYDFAEliTFjy+/+EveauBGJaHjJtlFM79FV26pCTbDaEUb9tbf/zbEmc6Xq/+Is+jsNH/Pnhvaj1V3ioiiegzxD1ayzWvpoa5FB/NaQXr2TbiP5aMuAr9OGuUav5+n3h+DxqtkfXiYKGb9FGSUC1BmCEKEM13jG4QaV7XK/0g7t0DOB5C4Q7AAzlz36HVWRY7+bYw8aoDL6/+S5xiBzkNIBvDmW3vWdG0T99cv86/bjsOasuQuJNs2MMpvJBUFIaQLS/JQZrbh9benOvrqKQP7FaGAOBxBNqPcM7ruNgDCNBUrEv0m3eqwEiE5f4Hc5yXuv3HcbbclHtNpEQdmC+32zOfdVlH+qyeKz8tKwCO5/Yoa9DQLzq86RokFxN8ddt6T+E1a1MG7bncCCPxZ5yyjIDLKjyJha4QZYBYYZtdq6T0GrCyEu4PV45/YW3WQaDAKUafE1GFjJSUtnTR9pn/UXtmBQ2mc0Z+oFaJyvV7SnJ4fFGxm6RfBZTx1nWCm7hP61oTG5Own1c0S3XR6PY8hVl67z6EMtUUF4QkITt/kB5WPyAEu81hzhXurZnljc32H/bdG94OT/mk57CTGag8gtypGjdvk2N1rX2CEQWouX2oE67nmuj4wDJdEJaYvMRJMYcNEL2EXditT/FtKzAPP0jUsYgsoy7k1KOrdZfZvkZXA7SH84mhsJx7zq3NFs+FMnZrGiN4ZV3fDfkelnG1PeCdq/VP0PirNsTYQ9o/V2FtJ37x+48hzjzyv/NdLJIaTqHMAz33mHxLf4zt7q5OtyKzkeAN0jmNrvntizBao57qRMbNFFXB76m8zzIUrgapBBc9a4MAVrLJak8uY1sJZnxei5t+F+sAxG8GCgejQDidVfKuHR2vkMyDt2k7DYN84zBCBYBiEX6udNgOD9u1nSWBHkF+ggraqYzoO2aLWYfTbN/zABaoqwsUH9Bm4J230YqWUOYu8t8D+iVW2jTWXvrfW3Rhnogz1uimrSJBBsqi9SdOKQwoEV2b994sytrse/3/CEUbDtP5lf/40Kn1Ql1ipJlF0jZzyzzvK5CPMfsKHh7rHOaY2L0K8CJ4zjz+VrA208iHHora/K4RANHqoVErSGDoLDYvBz7Kryrts8W1lOdiC5nv383MVJ36dSRuYgTQxstfVW3j5JNDNTUPG6KCtGNitlBrlXR7JWKWjBoODbd5LodYH9FhXmU8b6RvuWyIvE+xByHktWbhZKVYOJfsQ1+MM7UxHa2CpQ5dRi1MomvdVRbQlidkfcHia+Em6RiAmvtzXGFcAagBCBt95FCgvTB18osd77E4QUJ8RAlLB+1B68Ep3Ik7cMBuxKikPZ9rIcVYl0qW+Esx94sKhEd/wSQ/1Yp7gaDh7sYI5sI5lKK+WPm/+GR1m38bri/0XCvcVsu4Kr/LdCGvkTh3PiDq6A5dPsMPMXrqLPC803XN5/3ILRFZV3dJBWaIqhkXbCY3Dp+W7/HccXTkGJ1G9PE9omiD0JZs2ofJ96PYHVMjc3rQ+UIR2cINAKXVq9DLhA+w0Vu7s4HD1/Q56n2UGUzShC+d6UiPG87cM2kYsh4ncDqhgf/DltvcG1U65Gf20YvOGdW2NND3bZGQhMHV2G1nMLXKzjqSTwaFCu417kzc5Zg6+DnYsGRnoDerIF29epjEcrwoqX4FlDbYwhi+/dUKWcovQB8atttQ4MM1inWsF+OabaftOBArS4Y33fj0XmzMjsZsmka/veQ1jrRW1giICvTZoDPH2gfO7GvgFTVine4sNlx7rNNV3fyPNcFaqTCq07HJa0GemquoOhk4mJJJSTenvfZHqiPTG1Ky+YpBld2Sx/JqT5iB1UVOKPS9DgxMkAkZMCGXg3sxwfXLYCEAzUozvzflbcrYhuR2syASIdGfKtTxAGCCWe6v2npllpU7Z02hyNlf20cCpGcKBmnQuqBWuo2qZfeTUJSLtWxUHDWF6h6AH8qGYp0zOIuBcxWgeIqNtBqh34Iil9I+s89JVuU/6JO35TNOylFXorecx6RjArD7YHuK/2tniPltM/GpiLOA6D7IDNaGAQqMArs5RIachGqGxIYp5L5pGeCQJ3yGFK/caYtkRdMWIUSjcfAWMa1DryDzKV2ELlPtgQ2AeF1JdU0s5pnQIi3m4QYbTDVZN1hXm/2jgfuB0dp80+/3SC+bTmjGLb7wAemRyVIvQNU+xsIih4hDGygEXD1W/iJGy7ySC8QF51PH2HEnI86thlpalTK1w58qVdRgdsvMFSWNLp01+0l6ezFclkGBoR+h/NkGb/fSjaXTBOwaIX8+rXAZFYgyCHpihYeFKRufEmiHE7TarcJ/ZQ2+Iy/ufS0Yj5Hz/eBG9V2FSmP0HSFHrwrp1resC0O3AFahtaP2vXN2XvffdOwhv/cwcTd0+Ob/NJtSl0EnaNZoWX5IELqADuBFudh4uoSoEsTDLUQnSzqS9lKial9zlmE1y2TmR89dzqSsILMOSpdFGeQu0CHY3bUJKfUBke2BNrYCyAKzv9h82PZqFnFsmq5YFGMovypmmOg5RGgkVUgwML1GE265y4fPB0UE+8Nw8AFCKNhJDlckndKhtq9/DRJVVydDErjQm81ig3gVewPI1MBqo3dHfsyzDTtnl/BwzTW33ottmx5Sqpr+VdK6L1ux4P15G1JUHDRsY94N1f2a5e+Fdb9jnranz3rmflgAR4b8E95UwVaCWTuHTWGbi0qdBeLTGbNVbj0JSlTrDRetjk4l/xqPIA0wsfntWtc/ReTI7ZHk1n0PkVYGlNcdkvGVrEDPOvPBK2REtvd0+4VvFGb7zhQolw9UsUgjdWkK1sxrWrGhU5+v5NaQM0G+1YpcV9iapseUExnTSXnQezVJthsp1K+cfTd6tgd5g12hGaR5xqrzlWZxpRugeSAbX8QNE7O5rj42vziqaKKM4k4UmLTb14XqAXyDxaMQlR8Wgo6edf86Fpk6mcqfeMShA3ORdDgzlaPUqztqcMTDmTsg7G+N8pT+4NVcQ9AwvPoRpksn3ZzFXUImHPcqsjZfLJn3bdtmYthcTIpGXsSlwpVzT1zt59FNKhFXqcII8pbLwuwIZaPcXjlYp6943tZGbw7amMkfFDKX2VcdSUZdmCtKNEUunEsDl/2EWaWPtnQPUd6xEBe5IJkUfoCaSb5lPbammljXX0c1hXAtMQQiTAZdjLVubeDw+APjsqOrkbWP6VOC2vsy+LzxVDGozdWDGCupWdSylZQe306XmuVlJho6qobj8XUToz33XJNsZVvvzMdZgq+OA3MlLTl0taQcsy6zWF2nRC21AuWpN+lNm6qqpTiDkMq11wuMLf2JdV6oYkGEEMbuDYUygnrVvA1JUvUYEDYcZFa3ZymIbSUpLfH4X4D955nBpx+OBc4XtxGun0Px2XTBZ8UBnWXX6CoYys6UvoA5/IaSEDRMFoNwbABfUoICTrX/obNiEBlD+GlhEZ0QPLu2U6vWEeAmfHrG6uEjhUsERASdGg3jmLcW+quHTXqTXwlDZXFTmyoGrCW7+NrAfBBbQfBZ1Ds8RONSXbRltudbMNY8sf50gVZdc1zF6BC32qM53C/qc4A1KYQrrqU4UlWUDoqCTj69VWurkF/D/cXLxCDJU2s91HjtJRVeY4fiXVfxruTdWFcmHR2pLHI/SxPF+pCnA1Tx3XI5BlswE+4GHkFmvAfhUBjjwH/FUuGwbGKOSmJK0yqiSc3dZePbJXVpeVHaiIYIO80WfXafig/xsJNUxPBkh01eZkz7F1cK0Y3LQJUiXOIYdm8bzaI70zyEZIBRXh3s5YSiqPFxvOmpjJloiHkvCAcQ/5PeANJv2RlSd28dwcFHRWVXmzci65zZdlvzklPOxDNm1+IEl7sbDL8HTFLAdXrRroU8fCfIzW1VnLNYEJtxOyCQ1/+xPp2ltOWIScKBbKVlHizeGnrmBtZjUM/hlg3sEPFg64E4jBgt3MPH24Up5ouHMWujTuQOu4yc0JKPwOgulJkIwf85/smyz7t+guVOxrknjIt6vnsfzKB8TE9IYL2EVcWj2iEBfErTy0oq135UuDDvqvyk4CtWz4Py+TlAkpvBBx7JZmn9YtZBUNDqAOgufhVFQj1OWDbMRvTEod0JnhMbzyqwZsocg9pZurb7UB+2UTWboF/HvoXJiNnqsQsz9h4ERHyYJ++F2G9Aq0v5vDchSctuxu+hndly0XNZ31ZeWViHirK+3vKYCuxALNmtTjxAD2N8go3DVqgOagHrYkhU8WZfNFPr1CG3tjr2W3JAUi0FqAOO6qREXNxikn7MQuGD+mZqQq92rBH4BQ5XRdNR32+z2kxL4KoZRo/vupu4+7J+SPx2PLrL8oumGPdmCEl0q+8oiyRTWh3s58Cd6IODkOSaxVXJT+EPB4AgKtwC1b0XoLCNDmvL595yqVZb33Ngezt9YjtgqZoQtdW2AQs6vZ+wHJEjEMEJk0oRLxfpZGxrcvGYO32S5GYYFNlQHsjFr3XzyeyXHsjcrMLDWVlA5yrIuSfgT+jPEB5wUDv2YN/7w9xbqsI3sEcWee8HuJbBljF8q6FFCeDOwReKIBmAgHmZC0klROGdMhr8RLy4C3WnM+ct2kOMT2HMhEt4G2joVW0FufibS3t4wterXhGbD+Zcebmvjr7y6FU7WWrPAjEhxwOFYvcbdNFlcME01Rw29PnyWRO1YBpHCo9CCzUyLPizuTVNB8cKETa+yqt8Xbspf60j5ALK+2hd9/KZo/NgZt2xYMBWg0fkWKI8SDY1cNRo7yH1V43T5f0FzCvHzh+Faf3Us5YUqS7lawUJM8wY/fyMjSPFipYbtTteMAYk9eYI7rpBf/Q7DOKL7eAch44mshZcqI9M21OhkSR8U4GjEZYu4YFE643aVeOhCGryrX/o5U78+9+A9JVKkvkZymwFxPUrdnKXtBZfxgAyhBIpXY/o66UWHtAjige5Gvf+PE7RdxaO2OhNed91RplIqd+PvCP4zFF5DCcY6HSsuiTLFr4LJeg1FEfKA7QeNWaqgHOP1txf3Bjoav1ru1Lb9zfaL5YiBDQ9HuYHnfPdCCqVw73Ulz04eT/EjRt1ozLW3fIcTh8qS5HpX7XYYkCJLIhcX39ts0vTvU2MAxzYXFLASqIpsydwrDaDgfS2VxwRaSiM2ySs9gc0fpP2BuJSLZRhJDL4zeGgpe4jgzKWH5lENeQ0Z+vZJkOuxeJFZd8FRoDqsgKfX7oRzA44YTgj6k4J+xNRIZiSlhTpyYYLcDvmtzZncN6ZFVdty7y2ZTP6RLBYvvGxKgGQrbPXSI6yHOkzV8BZEYXexuLsyEpFtAIzLswG72bCjj2BcipWlDYIE1ImUsZVu0wodqscr6tHxqOFdGC6OCuJ8zV+FVMweGRphP6EuLXA/aQu4w12Bfu1yutHvou5WlhFzsxPryPQ0OLXbsR0BSywUNmv9/gd9r3CxiYXDEwsx5rnVSxCB6dywBXRZsD0LOnAz+3iYdyeYqg1czF+AspeFxOV600S0CB0fB5A6c9PsW7t8KCuXPJQq6SqTK3kgp10bf0txGThE9ZYZE0sTNHKqPHSqFWnw2bHEK84W4Ty2XQRW62Uy7z2UmQ4eIhnfAJTbstG6votPiO7CXaWz1xQtwEfS4c8lIqYFofVY/W2rh8nRt1SDI1unaIA1vzklKZ0hgilc1TJwtr3GJuVhVkZ14woVYfjyzFQbFpFFp4XJ6JjAzjF3Q7iof2h7iDei/6jpfd1zdxnukxAOTPuWRr0W2vbjmLIGDEVso0NkhEhI2krg+oqgM3+7ziOLbU5hN8h9Oa9kTx9BITmJnDAHTtbXMRUfLLdZdWaVFWyVJafwwe9owV0OO2ZxLpcADW2D8A3PKXOMtVBxclj51alXcwZNQ5YVnHDZuU9IzFzh2sDFNikao8QDSvIeX7Vg+N1aH0Hh8HSDSHQy8z9s2GukJx0ci9pZSQ4JVW5kG3buTLEgCSC6FZ6DBA5VcvONsRv2SBk/GWyNt0ewFnyQrQPRK9zQwJUftO9/M59S5fsBYwFDniHDlDsJPH0cudBU2veI5i6l/VIoLiyqOVGuAMqtq+KciuP0jkxlMRZJ4m9kwaPOQysx3cEn0x9QaIPROZNPjgMY2nBBfJby/Z3T6zCdYXUPT70elDRLWtVjRxqY5fvBZlNuVqcetYhzDW3IdivwDCo3swx+rNR6rBF/r8nMi0Zud37L5xBZ3ldGyQw5qIEmXWdia3bz/D7RZ6zwfurhYx81fXvAXCoyGSU8tztcYlfUFcVcO0qgv/2JDvqjGzPKS5Tjt4obgoO+chh1Ipm/srel6tnYIGXBL970Ws68IOCLFI1AoihdOy4tZvhHRTe5bJiCRLq8fpBnrNN5ZtQFL3XcXvKqB4r0fH88rXfoJYIVsYKskeKa74GuvAC8aQT0g8jzsk/+XAqacTqrRg4fQSb2LD3e16Qf9Gq2mGzUn3I9k7MFba8zsKTVW/q+lm3nSnJ0IfgsdeVXJQqUkG/Dz7XHjhvQGX2oJdKLroehkdeyGB++VdJZlz2laVw9qD03S6S3uWwvefTc8L4DLw8at+w/zX0RuvWBg63+0fW4WYcQeNAqSJIVqcpztVznOLB38346etAWK0mzTaXqEl+C2VPmUVhLcYg/Jhj+HncY0OuDcZ9Tx4Z5mfBixQS2RCECZx7Pxw7leBWvaFnsTz7DyYjxOzakwQEFOCK5wr+UqMu0NT/y2tbjhcTRRPdIymQwgeNy+LaENnl280UarA9z+IFRCyIsWtgunzkTmo637QIycggkJyC1Gre0vxKRVnaqH4IZForfjPv0eSbsECi7wicVO1I4qXrNmTUVbKU1NyONBvdaOYtQmEwCfY3xeV7HXYm51PIEEYEPhpxIUA70kB6CQuAuLgtbRAjUXOWPSZ2hCCT7WiFoJ1wtA4fvm/vYxAQ3UnX4SNmDz9QQ1kp7FLSVgITaEutSbercXCvko9nFKzC8P+h0udNsOPdveREParZc/Nqps2VS4z2ihcUcDOPjKlfZ3NCNMyMmd4VMU29+fHF9w963fV3/wYDCyq+8LerwdFSECrIDggVICMFn6jgl0X7pPBsh3o5U2jorFXCOTlOqP1aT/veggYnKQBzjd0U4gQXBL5kxtJWPEZxhtVljM7SCIMFoh/VGo1RWLYPv+iz1B2Ah0CDzWI9XYiha/biIDeu51CABvLyPWOKqL4l0k8x8IHOEBEyo3GIiq4P83zv5Z7ZfddWW0VStBiZ/Sn0IfZ+EJnJOoX8sK7Nk8Uspws133mv1wo1x763lQtdfxc5ixxfim/TlAMrErsn5F7fO9pEgMlH+XCQatCfb70Kz0ufr0CZ+rflmj/fBoTzv8jayTijQOpIfHN6d6Wqc1XERENp7k0Y/zKm7ic2aLIDxEqcuxD6mEYQDdp+x5gBJVp5nltboI1h6WeVCRol4jsFZU+p0xCrAtN0lmh/FNw4OurJ9F9dirROeEmJw1g/MOaU+IRbvtrK2v4tAJ+0/HqjHQnYFplyBuONLcPG+uexS0HpA7JzcIHymIhpn3Zkyl8aqEouwYNYVf2OoGa3maPQ3s5dxY48UvDrxAdElvM2sAbesFrJsNfPM9qn9VHOJSNrFotbKrXeo2QMGdc0ax52oyyzEHGH9meHcZzpT3tMl3jlNFyfKGsNHHMJx6B11bcF+0m1o2jhba4s/6aqklXiqiL6vDRumngMd2Z4Eoy4Vuu88urXQ8ei7RxtRWEnP4EhIOlkxPkyDyUrX0Ir7xrad5+4FztGKrfFrK0M/wjNQBdDvjb/AC3CxqFvfcdq3ClNB+VcQGRAcD9VHUrNnbhngnn2HvC1V0ZX1jY5LMHOVg3f0tK/17gAn1nenrsd5zeYJ5NrtZd2eHm+4x9qs0rHypWikmg7O3bjFHWlEDLcPA5KvhN1rf4E7jujHM800TyTFbtbnC02frS9hWrwN2oZSykhY+DzTyybtCEe+7Ntq0NPYLNMFIcjrp2P7TLX4mEeuruN4et0Q54Zy3YLH0cpXVILDccEPRelT9afEnRf7+WbRHP0iVf+c74Y2HNzdWZCSGS37RNUkIFdTmBwOUPtFsBJtRjS0g1FPzSpISR8/Vf5/d6vckp34UDrLFENwOvxy1DBshR+TWXTKwFGZH/5exLH7Wezb/RgAZ3OjjAlplafuWxEzoSOnj9FYPlL3oiQyzNSXPC0wA2tQEBRKMcnmGtvltlXp7v67iwaNlZdTvL+jhgI3mRIwHxWA+ZHFdsjc6PgReRl5EbUVwV+ll6Pbs190moqAVaq8DhAdrI6hxUbMwUCJ/mjXeCxMr2OmG9INvpcfjF6FMi2X+mmEOmpA2rdhR/ktIr7VNDnI5xbHc2aNp/DJL0ZGcKHFyy3lTt+pNDOYp4cJChJg2Yrbm2VUFdVNfXcWw5chvlmSqbtyqF5gp80CEPJylo7cS5y1EqFFgR753WFXaCJ/fWewSxTQOeVZT6qN4HlgtioBHtdwlKEI6fVFAUg+41rpetYb74M6J+OHSsTAhUuVtexx3cYL7TT1jSPXdyx+YzmEaEYrjZscaDO5STeN/DDc/WR8z4uo7qe+9vHVX+9Hs+Emb52z9OsKLRHuhdPTu//cnuxKuBe4RPkJR5d4DmSCTA5xLIHLoYy9g4M5Y0PvG1xMSXqpVEmmeYHPMk9uf6QxgWKlPDTr1T4zZg8+yigvikUY98OfvCvEwnLAFIN3NxdIsY7v0aaaZFW69722ZcC3qVqPxFMdIS/YeW1y/CVW2hXKwk1FoBTR/pctXxhmHl6AfLCOHsoukuH8Aox58xdW47S0yKZUU7M2Mlz2C4FB+mTJtP91KWl5UNXLZfC43aFYfo/nFnccCNiktpz5hOAPZvoo+zgamqxOgz6iNmzhmHLrODb8ziAShGvg6+TrfJgk58HvDjykIdmTCsRMu+6XUnJ6sNFOqv9g+tHTq4e7KV6mMBkJ9chMcKtiKvG0mOYCAiGKeqfx31CrFM1P6H9vpNnw5MRG0/qga7Aezt2YM4ZJx/pj+byguzt/ryfOvWtO504P+AZhiibbazFcLKtkhiLn/zH1CC7wEEUXxnXJuJBaXjBlA9LL5fr3Dc4upBTckBtl98EjAn6k7+50IgYNs8BhyIViMY38PAR/f/Ux6M6OYdOdzMhs9GnQUiuZb7/+XKYN9weh7YKpSt8XDD+OkzvdPHquk62JL79ENJCDeHn5LP5N4ZG19JCHI/qFJX5xs65y9FrlpV7jUTQfvIiQ3KATSixv9gv2cflWWBD1D+4bID4dfNJlJdMZhbr2jXacqQwgRVaM1KoR7dOYJHyBljWdGWd5CxRCja13UjEs0YP+RVXtbYYr3MRbcW0ihLpPoXcN9uL4VycFGTk5b9vmqos/r5FWx3f1e87qfBpRA/Uz9LKlFoJvPPLAGeC8Oe811HRPMqfi+CHZfsgbFvJldvW7hOjElbId+t+jMfAJmA0IAuPNR1jNAsSYKP6zPM2bxkv+h5NWXItS+ljdIxESpaIHFngQryOTJQUwmPN44oEMFf8Ou0yU17qRNO9IjPwk5L3xuvaBeIqYLKSWBbwVnojVvzrs1iC8s7bF/R3wbJxRYBGWAeGd20ufdn32+KgnSNYCOSHNxFOv8MHGRdKaMwSteRg3X1Drl2khg7pUCGcYHZVQMOPhu5leaDC94j6XQ/qGb2It4TAVyLYYyWjcykniOCdM6i/zne67nKoJkMxLe6KKM8UD/21Y22ewqBuxAFcoWwfouPsyfmGhuumMCX4KPAcQx+aYk8MG9tsrSRgM9Sw1GNWmwUN03XSIRnLU+yRPccZk0GdnJof7nlZU71wCy13Z11IL3wuIVcHTIb0FMBQOpVvrve5S/a8bp5lkSYP/gvA2sp5NWbMQBTNsquUuEmoxckT2/Aw41uuj+f2DXOxaCWjN3TCozPq5HAFuhIrSgofiN8T47xRge6Il//GwXIWT73jSN9CnoCuj0sS6v7bpuv1pBEcPYwghf6HqurKAB2quEqOBBqOVSUH6eIq4IfmfjiHWQykKZhnFfQv8dQJZJ3GHwAcn8YF3nbW0nY5/VuDbqRnzNaBkerpojBk3nuF+pJjwXXXwAiK1dcjLMwg1aO4eLuNXMXTGWGzPhhngin1uyC+6D9BqNwB8ZqcrOxoN3i5nDJpwR9eNTaWspIU/c2OiLKXRfqrpvFan9FHizw9tLeXpmo4ZqEmmLeM0wAzXbrJRLf6u/IgwChvNZvU9LgB6lU9+YCZk3MHKjksHBJrjssJ45Jk0vzJhOtcwz73GVmSt9NDJHQ52NYxMh1InO3ZoagJBAtQZlFycf19z0fqgBdokp9eGgSfBZr+JcdPynfkmAsYJs4h0KtfaIyQINztXedOuy7cpQrUHabCAnqSgq2voqPQOVUDbWby8OxydQkyTFoDFkglKAgImCoIkBsetcVxVyUFUYyOh/mBpFgHiyFFaDy+LSG1sJqw00pgN6LIkWb0T14D5UP9vXD7KvcRP3sD2g0xJuO+uVf7ABrPza45t7RjohZMxcM8nxUhAI5fjmjhQQ9AOyYYwMDHG2YnTF29gbbRyG3gtriQv++PM88GD7AavCNcWKg8O+MCWxAuiE5sro67Ym7vnnH1SXRayiBuz5nElGto/8fmLS5jNh/PX0jODcoJ9IGzbAhi+wy+BMlzimUmBxgzsYJwfokd7YRnmSNY+8xo6bana9+YzvQk8AAGIsOQPc2AvCNLyERWgW7WcS+eUgwgrJivPyTJKQ+zmWcuRoUy2mNF0SCTfd4Cfl15iP02M7vgz2b0a8i47hxQaOLpT5uBTJOSK36F4TZEky4OuiKP7K2XxVzpctTtC3PNpbC+zeNm7RVg2UrPk3IdH7Q3Fp5QytMp7XMgdx6xbnFRC5w37i3ejz0TWyS3pOZePD/oDcSLqxsczP5qJN8u94dB0HTX1hd5Hg/G0TYZKcstflpGqV2HsIuEIrMqkxnX6LnWaDjYdJofZSN2JL5Otm7b7gRhdNOGKzbFzkA5Nx7b0XR2fSTHdToF20CSO1vSBT8RoOrTSIlkWNuucsYOWTiDKJddaWu0wbQ3HV41RE6swYYD9GBWKGmKe4+jprxT5Ea19I9sX+7t/Pc2I+1/xSu4BOt4W0WrQhkgZyG7ZQLIvur8WbEIX1IMq9TGO2cil+QuZPRncTUupWGANJbNEeO3aVO0/DrRII+TWSIMeYFZByORAagc4XbuHRwxQXLBTsHItA+28Kb/8ZvSYMnsAsZAOOCZYJkvtqZLLjT6Xb2I+KYwcWwOrZve322BrXrk4wdo2o/EH13EqQab+KjT6jz0fJw5J+pyXKG1jNgdTL37wDBBWNNhhJYrJL0UPcb3kBwYGOdwgF6/x6ec75wlxSi0zEWBaxoDXmjF0+UermmAcXN6J5navheV2twef9DgCg4yPjg3SuMR/Vt6cKgRRXTYKYisS84GFIoLGDpAC4GFxKW0lF7Di0RxIMRuyvql2nnL+PfEJnPtdzIdNLFVEz1U/lbWj7xzMG8VJmC3mw/WZw9nfoTufWn1+qxICQDLX3lGGobMpxJjMKLlg7T+w4+rifWUkGnXupaWuwr1bWKolsbU7gPqRwUG9cmkIE84rPxU1v2yPw3mS9VkFKOxnFfDX8WSyw78M2nikg5b3S8kb2wytuY5LanuOyz2x1lTMBizjf+uJnd6kpqmfe5k4t/6eePjQ0QdIbVfxu02iLyDtUJK4YC4ROCw8Mlb74kBpBgQPapDM7QihW++9IwKrgguUQvpmCGMQO9C6HiWpvtIlergczra2T382P5g0z8zwpq0vNyoK0CWnrTQc6/YUFNQfIwhfqOaAM3nRwQD5a0Hjtm2UbO134jwo4Oe8f+3khRUtFDILLsucgDdPE7bJlDvSm2ZnXWcdoMmruewYt1zx8sy4pgzQXUL+QjhT38RMjK4fw7qlGn0ReLeckzZauOOlB7YRpji49jm2Ii/nrMZ78eeRRG98w+CA5YFykLapoUtV5egr+e2n4yi/YrN8eml3+ZDAbrSHLNZ218idU9Plfcy/eE7K8xA2TjHa+DuqMIOPoxhff2B48xQdArbW6OxX4xLhR6oGdNbRWpIp2qlOwDiXv158zE2F7vXUx8zZEBLStGjE5wy2h1nMOgGYokkFNQ+8NSciLCCe39KcLDnEqfw/01WajncmSFf5dLV4cIqHFSg+x5wFedFHg5C25x9ztDxfk/90KMXDV9u/daUMAHGKfWSW2vJgfsCYXq+JXp8c/29qApT4a+I/wiQRkTkZU3h6gTH2LMAygJ91M16Cyhb97thb+gP3HwCcQ+omJjEN3Uw//o/soOYeECWqq8T6BInRs/QvJ+mcsns0LxSZ1s5pgS6n0mQ3tR/4nxv70lUfvJkEEANKFRZyJKR+uwHx42XCy1qJEl9Il06BUHCsHwdFA5buTMUsBo6tyLRoMpAU0s+Md7rL9jp+2tZcZBlt6ZTo4cTEoWQm7IsYqjhX8xW/QOqbU1U/XBays8iOUUAwe9i9T8yOUbiQhi9QHREv4qRLUMZGEDkczzSqNkRfmi5T57Q8yg1yTznAFzfkLb9Rr7jdqVabchntH1LRNvBrs5n459aMygCyhgDIUx2K8a9bCv8IgSzOEOVgEDLl0LWZ0Lru4SBGBB3uCSROr8QgkZaij7WvXcXxwwhtDrmRJ585Ui6ByW7X/Py0Kmlt5yy06YI44pXCt+CDz/XsXVAskt7h7sl3KqtmEpON8dOhMW1mZ4Wob80yBH64Xanl1b0X3KKINcRaExZnVii9TMmR736mybBirpkznIxcYsOZORUM77kFY7QR5v58PbGyy1Ww0AgXNUmSmdWYBAULimhmKuFiocwqNVWUQHoCdTUTb3XOm3usVP6yUsmnc21bLmropafBF6/2959Z3daOEplfTJThRv+9z6KG8sS2KOMKo91R9W4f57Li2PMH+qJboWwg3HPY8N+wpevdCWzdAfvTV/OLh7N8nUPthw5APPQ47V+Uh7b2ZI0K4u+SbxwjauyQklrH+g5rKnY4djGCu4EqMX0TT4JhqYnvZ6+Y7darueS+t0MVz4ej2YLnRx6Kw3efm53Xe8RcR49PPHhTdq0NZAI5cXRyq10K87/Skc0D5DMGyNdXEB7fvhnIeHjBaqD7Ug0ENwn1RCWugzESd0BRMGaSjd11mtvQlH/UorppcmWVO9bS+zAAiHoeKBdFgNbxxA+7i11Mt/nmXf9zx44NtfqSUcQiJgiAmF+mG0qxuNREFGuzV+MnhzuwxMsi5exkQIYoXXg5FqIm77+svMbQrZlJXWdbz14KzRm+dK2dNRYX+7aGn34kDLzLm8HjQijUhV1JAXNr8jXFsZTgXI0PaNnyUIRCdQ5UyCGrjQ3Ljb2UT+mDMhyAVsc3P5ZwhXg5aSRHVXwjmK0h2JFPsxVank6WeEuF6hpM+dVIJP6hF7qzNnJBEKcsDVhz0734X+cOyrcliCx3KjK+Dx6iaXQmz8gRp+ZrzEaIpGJPjSsZYIGqS70JS/cAJqpBpLDIoj9kqMf1oaPCqqNjW2gyR3+nmd8uJyYRXZbmP+O2wgEM49G83XoTdYVy8dzjyywHBvGJh/MmuAucJPofGef1rNIsg0UvZbpOmFQ0AF1vQ0AphV4GDkhEX5h3/KxNha9D75ZHzTB+XIj2T6UPtUufqSpcy7bWS4pLPNkHZG5IbCn+uDxZVGHO0EloVmfSFdO7bL7YJP+m0YX3oxqGXLOnoamVdZh038ViJlW76KE+cYv7+uytK6vD70KQfhZ2ZEzfE/kW6fGzCqVsy0p3qKfXKeAODDF2+2oAf8NBu8a9tC2MSDF3ItvQzHzShA8RP4uNVn/EYq30MzH59RWf0NVKCaCCG7uCLb/hxlDOVJQpwG2OnrzU8Y7cLg99httoZxEbT6pzQTpEiVZieiEG+/oKOSuRk/XMOKMEDgC9Yng+NOkRclKki9cKVg3gJFzHGTCNSIuyzTxMO+pYfRPUsRtDtFriU81j3Iueb+njfYr7cDYWiBMStnTmO6Blgtgekyy+sdnkZLkfGR9pS/ModWhr9lja9149hslrbChdW4OznNvU8GjX5M4Mde6x36SsGF/xDHCjy5ZZztQV5F24bRmOhgsSRoogAx52fL3pN7YzUpcb7lIcVpYddAGgDKd3ykCGKE0bMGfWypPIbCwm+Z5UEjMSGoCuQ26JDQkEb4a2WoUXfFPjjCuBBMyiEWn18zwAnb8zDcVjYIxlPhkoS/wP8vtAThGq5Tx/HH6X1FECmuZS9pDRTgQls0NjpfvhjSF6HghGlMq35QZmOI7uuyUBz982PRa/6NrqQp4+CzpWr5BGoTTGgudyULXp7qsqk75FKw+O+ZoXlg+ZERMt9srhp4pycVyWBeMwXgx5ITRKWjLFkgAKUIKKIhCWVymUVcjYBiTz+U3dNF13S9igtjeH5ye8rKZx20jJsYOykeWhQg8ves15PIPMeMlRL+J+2Sa+XKAbxaN0uWl9EUpg/eS87lzrpVOEjRiYIO6BseiHZ8EyuQIzLpn/+IA81Vt0amduMIc1bQFgO88AXloDr24cYLUAMdYjY7sBRnpipQLejpUzBD5tAqGGzgKj66J8OWqnX11ZOMGCZAEW08Wuk4RGcpBHF+vUx5t4DaX+rd9cq6QCZQKUaV0gtT5EVUDfketgpgln3g+0yFzE63GfxFqvbqOBdsu5pNEnOtlc03RGFD/6wTMTlb60TMqjwDO3piL+fYdv0qofZcX0FUWT5rcOdiQdSMFxd8O8c7pAsDv3jyowWcvU45nZyhjubFG8eVCyew1ywLFssQpimKjKn6mXQqg/WlnBElaKS+qOPYcpztJzd8woLR/YHqCWwap/U4MZ3C8iAN69w6G0j6T7QaEkOL4EpJps8sabxLN5VqJ02QFlpIeLoiJpSJrJuIT8fwBtnfioHM0jwvHqAmL4GAX8/Ddbld0opgAwGT1mqlI40Bo9EqSdzfS4TXhKD80D7sLVf8YMidqZxDNn+9Al3Lg+q58lgN6bHJizWV/ITTaQ1Sxh5IZk8Vq4ygpw1Xxw1k71izy0O7yMF5haJuTBYI5uVEEX8HSz31NcarD7avuI1WGLz2eWCJ+NPaYD010ivN64yTVQZRRWb8MfpbnTN6yXsvWCuh/2lBua3NEON58DgpcfKW2LpaYwSIjS+1Of6ATW5F0xpCIRyCZboC/oJL55my/MBdBxcSZbf58TIk3jCDsJe5lAcEpC6ijGM1iUpAY0aZYWrXhCJFyMj7n5fqqFR0uzvEuWXGigo/enYKGfKioiTfOE+GzlNttdbp23l8+UHUrXKOjHCmHrfGPYnGt+LQbBb82ic7FGmnhpCQL7FnNeNEFwGw2qUrLnIYjqblFjOafgTu3X/PTbKCRqG1Dts3cmehQSTQ0RQl3i/mqI2xSSavFWvrMO4EI0HHYOXQrNbCjfqT+p6h7RXjaMfPB83TZPsEFUpCtnWbgw/EcRxOC0DeWkwbEoTW/ah2YBXOfSqApPXt4VbLRkVOaUsTK8p34m9A5s7a4Y8Rrgyz41b0eL+vJ597rnHcRYfAf5caWLx8MpIPZcbemhsZA04mXz8y4S/KbZOzYxInlIes2IIVY9vsxl+z0hW1B2tnPFdj9MZM8qDgBSO1TL+dHseFwQEDyR+rg7nARRwglEI8JTUuFjBeBIZY7C1RQgjXGvfBreieugmy8DE3/ap5nFDI63lTRvEMflfny6IL2LMhAh2/UkeOmLMYY5Yr7yHD/YoM7ce/Oeb646LI8Y+SFgoN05MQsfVz57nyUKzuKx2cEHTMUx4jw6FtUL5QI2FF/kjHlTJDWIe5lTTBd4HPUndm3EoC+NRz1GzPqadIUA3fbbpTQzrk/7DrKOnsF/G3K/AsAIKnLPaGtlpgvJ7udx2e8Mn1Op9Zz6Ced+TJvRgPsRaazMbYiQgl0pWdqXyRNRoHqeH4XKPmsh9FkPe41KLUeDwx6TcCGIEN/SaEvMUASdCehwdqAki6F4pxIrlmUZdn6v1skv85BL6zGcpMfGmISH1p+2kuGUkwCGb/qzCVzE+0kjtokVCk14MiDLyVgBe/dWiW/aoZv1OOqkTanWXvw3R0fmgJGJOXSq7ps2Xrf+ktyTFqcj9rt+AX7TfGgdi9W/e/axWFVMYXwXGCXXnxphtqWkUTvFIRJPhIle9h5c5+U+R5z3ld5cCnyw/oM6K+lDF3mxTNDtuSLe4KIhnFHjMR3wDDh1DtBk2bClNMXt/ROqHJiajcXtKmPsUq4tYKdkqnU3V2GugfzooEhgKNomgBy/0+JS8B9xbvdh5+yHH7O1YlswZK8cQfVgCXEuS6pWxU7HWKCFUSZkcSIWRGy358BBw/gxu6wq88NVnBzlhHOAcac/B+G3tEDZl7q/swS4iFnNvfY7tQ1SbS1lwBlkt/+luEjim/sWS5at0GLt5etrjMsJk/Ix2U3VgeaytQdsX1poVIfDNbHm/i0a/oPIJ3asV92ZqK3Bl6apWoZ5gkrsVZXd/Pnh3sbn1XREVGwHsuY/VI+XZW6Z7jAh8MPq8aQTFHVbOOp+JrNGXdwn2Z8relVBRSYD/Ivxrf0Aw0qt7v9R9TkQe6z/Sr0cUoqlfDLVV/rQUunjvOSzfUv/l3rwyVgSFzpJoDC5fa5O5pE5jW3Wg+RDJWawDf/A/M9D67E+Fr+BDSTdGoFEVm1SLL+f6VBDy6CmiCzKoHyDzPYnuaIy593xBLtC1MfvQ897bgtDTDhNSqvb5d4QUoIT10rpeG7Dd2Kb+Wps4pb9j40Npm52fcZVC7jkp5RUpqgG8YtN80W0WNYELUpP86FI77EqraGjxFAjyW8/9vxJ7n70CQhd4eOwzLSp12kjfpY+AMC3lp5+TqaP0MdTVn4NbRWkQzlDs/Pn7tYVuds2AireQqBs2qaNWtVYyWNvlXKfDwxCYsH7qR10YLGiosBe49h66gnqXRzyDTQlwsEAJClMAAjm8qoDNY2TmeKxwUgimcy0GmOXp+LLey18A9Tai3eC45Lq7hF6hW/MaHUXBXZpMrsqXxDzNp+heBYPhBbDugPNrzZ2qK2z4w8kq/UUt95fr+0i29/IkUMSbV5UH8mmsn7vhyCWEIBuyPZMotPE5fIh5n9kEa+Ctsn9jISugB0BkDwylsRERguuKzIOtQ8fAajEUcPINA5lM8cOfPV/rac/h+eB2xQHEgw9sq0F7phSqH2MpIRSlO51qX/mnhVNS2zVX1eIppnlYw8eyRJfEwrl+Tf2hWwiGuH9jr4T73x4+95kKZ3h8nog6kep/nNTVwTgPAbk6LEbEXuCrkcmYVREf9FT1JevSUwhxLo6gaozdzQQVO1W3CHQ3ivVqi3PGsJeg/pJFqpq65BYPFmfNjUaqWGaMkSRIFubDxK783tWP8i2xw6fRwSjT4eEQYhOqt/0CzR8TxOGygOC295229Jxdq9hdBwusL1eaPWC243+jUTCCuWGm3yIfejfV/Hr2U50XVzHQucSBKyO0LwgSELyBP6Ul3cJWihBeIkti7TlMlBm8zaHXS/67/K6etn/SBZIBKkgkpriF9EQdNObBfPlwHsEaA9glXftdFollKKAQrYPIjK+xiCGtxGpWNJXCh9+R/1e+0gGhM8Noz4uRNtIwfeaBH5ZyWgkl8hDsRddqrTf57d9N3s0bqP5IKyjDJDa0F4vqxvHwx2gMujSbqSYFqodBlO7RQM5vo25O4dIozZOSFB16clhvpU0YFCtLJABDB/NUi8EUcOjSmYrwqyTRDEd/hoFpBxVAqA8yTq3+F9Syo3x0bcJnvN/dviBVCWUEnqKQAa6ZAzFkOFco9vaA+q5NsTXPM7G672sMIAj4NEb/JziXTNOIXjXkpqNlu2hB0MGgzpCB5p3DNSjyrehwEmuJhdWRGTVZ18FDW26LLUylTNWYWgGbdNfUJISqhiNnxKBq7dbBLV5WlGmn1cxhOLc6Zzsbh5n4P/TqmM8tTOj+uXunW4bqtbLqeCgXDCAzhCPeJrDKKLpPyaCiYmdQDTGMjECu4851/5U/ktnXxx7F2qfqZVmx6gulxMpGAXnIa4p2qE0wZ32HsluTJZXKEP6QGvYIpLyl6s2DNPXooeSMOcB+ngiW727VLZ+zJa+z3LNDHwI+rsvCqDe9d13FryWW4eP7kydARdWAazHBHxsDoE82Ew93cJuPuSI5hTM7UHCLU49Tb/8HKjiEv8PlRzqSdCrmxKZ/vID8L92P8+/7Lof/hDx3nrkgg+05bU+sp2GbHveaZGv7B/6Q56OCuXb6YKBCp2GFd2GtZy5bB3HkgnLbYku8F6dzl6tCV5XxKgsJxBMNXEOWQooxXw/kYCVXvvKcN18PlEUX2qvkqVCS46bNEdhFqeJ/+xqSarg4j48VARuBxhWLI4K4h6LkhXJMGNx2kasVhYz0pllVHT1mKuPaD1qQGYTa0cK4s8PRPh2DHvuI5O0QIYS13nIfA75E51QfXYRl3a5/RRz369o8f6JvEdUOrVb1yVz+XOMfiIkuK87bgzKLluw29h7xwsmPWXYSq9yPeZMPYKQ+TimXlF6HsbbFFvpxNt0dgIY+s0ok9OqbeSKZ6U329BTPvutapGONzdPAgMbz/7yeaAlJ8fjevJPtMjNOFxUQNbfNOPNCa5iO4Izp22aSR5Wdq94RXvpBHzXgkH8gKPAFWx+j7n6Zc5bmQf24dWvfCIdXuqkBDfe1rDLLau7xmTrn6Y1auM4VrOfy76+xu2eMnMQmrV8mKPyzOfG6LwEe10sw7c/6LbTpvxfW6jACMezXZOhUqLL0fxvR+sn6Df7/OVLjY8Xzwhwoo57x2WeWGAvWjd+gRZD3Rfq1OJnlHZoksvFxJXOTk85fd6E3O0kwc2XoS/EOXe98QDkSFx+bGm32odU0GJrCR160mc6bebTDr5NoJl+ARgx6OIyEkHZ9NMx8BIT+BczrgDDDhlBjcvDbvaVwo2Y0JxAddpRy38uI55Hfdp9miwNwF4K8YgZu/jpZ/01qkftsb6KxiLV96CjYwCoo8MaOHUh6sZzgcpmcwbJM7Qi3G5Jsa3p/QIPXS05rBEAoOY/Zh2Ta3XJDqhRhcVYU5KT/dGv6oD5E53jd6kqKBTjwT1wRiXyeKKQolxF3pK+BEKQ1eKA8GJTKRjLj/c8Ao+RZ2MkepE5l1k+rsmjGlIuDVoqGwAL1ErS/Z1L6KbbTEtZ+iEVDIeKp4VksCsVBqpKjzksc06Y/uHl7cWnvK3BZIfZqykToTXWSFhc6HYUh67tmZQ6EGShenR8GuKWzO+WEwDKHXP/KWz4DA3yYTR4UYIGqEfUch7mTCCXZxLfumL4QeEFpTJOYiCq7txCooGgUloSaWfFqJeAc0e6/p11uRg+x3xx6BID8SsubyunPeeu9qI5kC3ff1eEvHGAqcyo6+XAJf22sBVOO6IcZXa23cl7gaZno5q+fzPIgFd2T9zNffE1Ha0EjQmc+uWthheoKU0S5dOzBFfqzhh9P/WsoXh4Viq3Bxwk+dLcPpCzv2yVufHro1w5SPUF8mxL/CZJHI6fVcYvzld4iSIkumeJ7XUd82fi9HhcMgX5DQAqlkeNnYR1huHai74ESbB+zXj9AJp4v7a8LiKfPjHwGckO6qASAObaBtjZAte95yssoew0ZoAakOb4VpCf4M6oowfrQ81njLzzQlkRCkPnUB9snBqBo9+TL+OSWBLVISDQWaE8wiU47vKiAWLh2BTlDjQ6RObN7bjXzpQFDuo1BoQnwV5RnfIIu3596rHu2hdIQF18X8CcYdnachVsdIzH1CARQdfVRN/4Q5CzTMh2OnhL5kAm2JPYa+omGwhwzZXSINDz90ylm1UsRIj1tM6BlYc663Q3RtuE4eYCilk4DTOhErekAdFdbKJ2lz0Mh46xFLn9gJ0ZqDPXSllhc9iDKu/qFIx332WZdfcJPMhuMlJCIoFACz7YGCAOKBbQriQPHReHbVbjVCUU5PmZaRxdhhgfEL6EugphQu8juKm7Yz4CcHOs4InMw9EOFX2MC6HnaDu9vT5vZK0jlh35G/DGc/XvR658Zh7xEdQcJxfG8mq641V2i8t1Xmdy3fO29/i9i0WaPSBBYu22U1yLCKTKybA8IA4dBPDlpM0v97Zz3BY2n2QUeAsmYP0piMY4sDa+8cAJ+cEt1zA0xqlTcOU+UqaFm6jzp08VEZgsAa8VW8QJIKGML/gAmYPYsIP2nMXfomyD7midBbHN2k70daR/nNrSj1yPR54U7FIhVdELUhvPkxc4e2tdw1BoFZKIR7efLE9eIEcjjlee6ZsQZiiBwS01C8UVWr6khmmlMXTZYM65A7Sspip013qce6TTI93GP22RziCkVKg3YWduDM6GxMYztIX0DS2DxJ3N5q1u5yV7GziJZ2voerDXPNOf5kbB01APRvIym4aS+1N3ZHjw99ixFIQuikijr6Uzkt84Opl8M6cmku9Jkk/rRaV/NL4EBvALwDHE60JxqjG0HDQsWeGfinz6rFToc4p4VQeARLpv1aG/wAAzH/2N2ez0C8Mc7pnHhn6nh47nBUyZWEh4zyqhBHsAi/bLycp0yenKEmUXCF3I9GHhyLdXozIvfZSmDys4Pxar1EROj1cWEW9fDci/xMkt2GFF3JeFkNRbDuSfU4Pc4YqSfGFAdB5pswCkGBdKzYg4KmHBhNgYEuOkBvwwc51erV8iMRPOzOZESQJfobZ5UmkoDxOWhAvG9NsijvEptP4Mk1r5Mnec+kKVfpkAKGlCobqNgwM0GEqGn8zpcfgN5BP3ylg/R093zd7E1/4Q3cZOqSq7fXE4FuZhaov0Avs8Vnmccpnuv2wmvnWBsvqkHCdYeULhf07LGzO6QaLJaG6q/9ddsiff8oiagRDdUVq3hnim8tkaFN+mzg1AVlvUCkaKjDH8xT7gJsuHW1pVR865W6rP+L5NYES02YVkFBE4nfj/FezR2Un/+ZBjrZFvxiPrR9UBiovpUNpV0MxOMPfscioiqm26XW0gcJT8rzGDWprUVaqniZ2d/50cDkHDrRvBBvpVrbW0SQLGHDe8yA9PCtlXawx7aNrkxpl2D1DGZY+PY98xYsHHeF66taO1OXumfpFT/lW2X0mSi7qJgxhfF7YHGCFaaw958kI5ODvrlYNiErnqkWVe+HAEQUxA//f4gS2HJEtfjUWD/JDboIl+UA1QHsYMSDVH7LOhL/2yLzImiD5+euJiK3taiJaNAQmdhe4GcKnkMdlpUEG8YnDee6mKHcBINPhpOn6PgEU2yAhZftUcDlARiRT40/5yTecSyLknLDsGZO1mBWFLUaD5dMcfD4FbqI3tfZG/xs3IO5B+mrZ4p/z5dAf/gLDZJ16wVH5i0/Ee/D2DRoBFwvWf5q/SZpdn3lITjx1JfggnAtm6OGlPvQB3dN/9/a08/DNGPm0GisDYuwEZlvmW+3VphdbC0u36wSdlGMKG8Uu4Lsct5BNPuxgB1aIT2wqzX8FAe5GbdPKCKilzpqd5RsKvhBstl0nTIPN2fLVvBtEe0QQs63ppks+/TIWNipwO59h5ZbpXDP1WKva7I+ZJs4aS1Mx/lh+L77v55rDwZB82I4GjmCAX+3ckrQnVfwBMXIXIRTWp1naT0S3P8RKfqoo3M6o2lmEtNNFJ0Mew4RlLdJIJhcW6gmAijTy/flRVHsGl0eAfmIdm3uCm4c3SIHUZK2hKBiyzeLkT5F6GoOtrI9TGyuGwzuR19Ur/EZ6yyD5QC6C4shyTH+wIL6r8Tyl25Bvk/5mkP2EumBsiIxm+zUqU0WH1mFAE04m6phuAUjoiSTAlRXXCzINzBcSRvPLtrBdBBiNT/hqIQ0hXRQ+f/iB2nwezETcnwiuvvs0oOiBJ+4n2y23I9obF93vtWsBrn5j0AKkBmeaN9Muu6M9n4MWiyYBV+UmyTW8qVQTiZJSvTJSYLhrYKFi2NJ3eTaCpF0APLyS/BCxkN0hcsThgxq/McvnGPAUY+TEOm8G5pD4HoKbyhmk8GPf2F0cxnuNq2EUtMz2gUU9WVNuL5tjoxfnldLRQCFWGLlj+85DGCc74xr8Kpd1U8HphCyYO96w1ClQtEqeQN/feEFymZVjkoI3pHCkfWWh8dEbbM32I6Es7OgAu0MPl15MEtd58PNbtHdqOYhx0JTZ20QYdfxCYX3OYrWgMPWBPOZ54A+jqHdQseSQrwccif1mbCcJso7bjZAlW4VPNpmhe+p9KqBwre/WVva39b+SfmbYIQrd0kqk6kEXhDHcmoWJQ4wUGBoeTDATLrql1V2wWiZLMji5sc2tdxgcDcdj6SpjlF7Y/eufbSzBfiokbk42FaFbNuVfPWW9qIknPhVryNvRc0MsDUY/SdeUfNdLkKjVADQPYwGGwNgFqoylMb0slVRR/WTVPvSs0AO3c1GuKJDlb0iq7hmuQ2NvZ2/advwHQg164ZGUGfHOtJfjSHmf1YRcMvLEa4FBDODPHH9+BKPSAH79+gV4l2YxrGlU42X9J7EIsT98pgQZFUPn1rx9Yk5085ZYP6g6s+CwX/IbUWxUKAhJtSSSiQ0p8cXCbCoPyTlKxIBWFqXUdjzD/IfsYZxBagXy/nj6TiMwjTtE0O+Dn4rIyX9I/PnJCJ3uoXhXn7OF6OQnIXCyJym5exO9VmkAkkHia68lV3aw4rm7C/uJjWdbj6aq3fNug4aTqZITfmUjJwANtMRfOTZYw9bnRIeCkN1C6qC/9NXE38FhhV3jTo4rBNdprIcErY8fojqHjJtgFHO3yGTDPluRLJGq0IsDpEMXF3HJdPg0uOWlAzvCCZawvA6jZp3q5opHKwyZy29+GueID0S25/9088XvcQHKQRAD4ZB3ZVhSUMcK45emPsn9BFtPJkvXEQ3huOO9UKWnHM5sks1wiUt+aE34nA4HWEuilsmirQ2cBbZMZvMahwTuTxogU4aUD1khTIhCddXTAfK5YCca0Gvw674qeMlWxfhg7BbwNPPceOEJQfVJXT2Q0pF2BiH6TshBZGp0qI6ouChL0YKipT/zTex0Pgw18eoRyworPvFbgybXI8EH/QgsxAvdU43hlglqwIHoQbBh3SF+dbM4g8fuZWtIa0EDVwj5WGmBBZJDUHi4WU2VO+3vXl35nAq7J4/GnVt2zFRKOmckK5HVKm45ae8/UbkbFHU1i24eMRhxxocZ+fUoidrjAaFjCI5cVi7anjioGkk+LSEfEQYMV1n/VBirM5MJWxnxZrmmPKYcJvShMOxm26hrj75DstdHSsAVTxoSpKWDpxmtyIf8ARudqoEvXhUIRkC6PP81ekH0RAquqIiEo72VAarRCj8nH9cnTi7MqXdY7NJMe3slZ6/diLzpejhUwuolL0R0VEiGqxSeHAl0oWokHhIVbs5xXSUKHEAOGkbsLaDm8PfLIVSbn8VOZe8u1KrC4ZOd05pq6y6tYr4vI/jQWBgdcfFu1801rMao4xgw3h7th+F+gxlQvS3OwxEPbBa2ZqHO0qJ67pA4oazq8dZmM7N+bEZRUz9cmvP7LXpWXGuqXkLoVRzLNOFtwdisck1lhLHvoG7mTkLWfhzPImgxMcJmkPPyXTnUMyhKiHTlMoZFg68ZEkxmQw2xpRTt252k1dgPaOcV7m8icpa3l2P8WMdvbdV6MLUFu5FVYXliYsGK8+SWXWeVzK7aB+cjkUfljqs4NrRzy0AyKnkUv3UPZg4gA54vrZlyhM+JY5DTh+2MIFyxAQFRReLLPV5gz67rVOhUMmfAumH5hGncyrfGcV9TxhssvaQsgldItYXEGXk/RvAcRdKuY0YaUGb1Bce+fuFdxIdueaJdsHi/BtOKHpKSgR9owpCmrOZrddsyzmnwPUpoL1unFhJ+SKRfpH7wb9H4tQFBuFUKEOLrOlmvgf6Rv83P94t1+MTDDDkQoN+3+8MMy/5/nkhesVjmPa6G7L3xgwmYAKwecELGLlQIkqzmPchKbqNHTlUz9U0WHqcDCSgNxtLA3YbBZxzC5w33DKEEkhs1muPBBbVqbt92nBvCR4/Ylsr1yxNHKfK7fMlIGNSx4bnqiUe9xl2Nxoq4wnLtPVwbTCI0SEGDG+S54DZzQHbR10aGcSiEuex0Zzg2ySH0zsc1vPMhZlEynqyK/8pXXC8wSKrrDtlD+Vez7doUxZtGqCuIy10Yurd5eQtMNJCAF7dRLAkqCj9sVLK2JoZ97II5bVHOH1J2qrteAZfEHxFRuGyKhiDWliqM3WWZvOiSH43o89XXLVVQEegkwFVG8+OdxNeW+2XTIbypywLLIeITBEVhyVwWGBpjmb5dn56fMQmNpi9KRM9eFYJvddtTNty7fH63/Mmwyt7PM1lNqVNFahMuB0C49JJl+nZJ7dr9ZIOEuApv/sk7/QFiKPPDM9M3zSpn/wJFVTDtqRh5+MJAVvwq2fCeUlHG7RuXvljWUHmF0yEZjsQoWHIwfeGu4Mky+VOrVQZTxN0j8QQoQk3BrUlo8aJ+BhI0stY88BM/PduulGcOEM66rDqQeWm6QCRoetqyKrNpeE7anxz53OEGSwlCqeqB2R3Dsnvl4jPsudWUlXJmjYREPK1j/hQdaxlFmDC/O3buLUteY1ZoJkWp7B57s7ivfARD5wbsoLTqu+gN6ZHnArRsNzI/8sYx+o/oFfK7OBT7TVMKUp0X8Bs6QddwZUk1iDJ0gYtNcZn3cuZW2PPiuVd1GDvPnEu4l7t+qtjFCJ6sAl3QeBf09zGA5Oh5ScrT6dsBFIORluYfpmIpt11HGtvv8ZzrJpRKpBeZLmCHF0D1UUUU02aw72UCoxIxUJ+l4pHtqhkzp5yqdThWyDUNU75VSgJZzG3cjZvY7dPdrpk11oEGT/0M3KlopOTgr+QBirVSbf3rmmz1iGdFjKx1eZcaUftWA9yD+Yz2FtwDzKPwzO+nSqabF72r2pJ1WqdtwHjooA41BtxX49TXo32RclAUF2HL4AFXH3UMC2+xfMqtwASgT+eBnBqWke9a755O44IPFBlZMizZzkjbzl1ZhDH+MltK6yofU9DcMo3zMeTSmaKq1VCxtmuv0w8EyhDnA24obF1niYcwO+l9jov5sXb+AeyRH9xGzni+hqmiYLYPOKJPB+a2/dii2gXx49gBHvkDQKqyKFhrqJ6fgTQurWIUBIF68fx1QsfpCw1tQ5+Fu8V5wCQ7JgZ37ioOUnvVmiOur1HCTjyUTcXI8urdghEu55xekQkejsfrHf3Lmbh2bEvmG46ID/YcX8sJTG/N4uUa/W6kjBndKVCFsH0lTCJ/uSh/K74UrO8Asr21yXlN+h18ERDMVlj3KuueuJHgLDWxBAgNY/BGi6enmyvA9C50LpGtpiBicuMtkGBaNBlxDbJnWyOchZgqXPvNuENdgqfSE2ALI+t5ni89yQ/c5cIfvRT2mLQyba6Y/hJr7L8XAqo5AK0MQpXxDqQvfKP/tQis1Yd0dTqsZKZEOAba2mQ1Ax812OqL2raDmOXnlkhBwFluDrbUNYAzmtIMOx7Yw6NE+MiWFKISL+sBtqbdPioeWTORcBOcD8GvBCBDjOjH08I+6kSP+WVurWGylN+fL56V48u6oMOaZq4VfiQv24Jme7svIWc5+39rzpuYELuoy5NcF4syDpnGvB/htuT+T/KNAjZxLZENOSdGv/odGaaUUMQmzjVrxvCTB2gtjEZDvwugZQc+GhLlAJa7GuqENPphCZ7rIAl2grEYVsR3E+788ee3M335EbWg++xeVA5Da4zX6alro5XJSKDj4WFRpPolwuo4VtS3hg47CX02aoDD+T2AmUSAY3sIIu0SfI22IiLNGrCpJ9+tvUK9lZf0q8jJUojfejF9BcJkmJjaqG2tuUE/RSAj4Yuob84WSeHrYD+ec+WTFrM/cB6quklV+UPpDkvcnoJwUyWQvKb/V3ROMEJd/t58SRcBibIj68xokMYOWZ/uk7tGj1T6HmI9hPcT83xh7gN3DIPhQTpiTXluIuZdAZCvGEhBi48k4GnE63TJRMeswGcWmHcS3XO/Lg/LXbnFxD4/zY5+NhpLV9GqD/V9FJIT3SbKcvwMqjuQU48HJHxKR4/0oYidBWvunWhjL6A+jd7/npmIDkfO5gsQP1x8LWzXjuhJvQ9FEXyM8Miy0CtLoo4XbOCGxNax1bOcK5aCMNVB1ndwrnzQiEWMsIhPWjqTp1LSPpcK+xb0eUd65LaHPdxHXUQ0lCvuizAVzhBoZ8l7cxmwTumsbTc0hUbOlFr5JSXAS0ahnvzkLK1uzzKXboJTe9TH4lfBSVwPqluDqe12RABx5bNg8PHGz0MN/uJqJrzmB3KgOvpQr/jGCN2cu9E+yfuzy0QwJmTE27/3D5iRXskLIpAb2Z81smyu34bgkE68gkpxfxNcQYdmraNeiW808+q1cthmncp+qhvuot5Hd9Ntop+U3fEZZ1AF0AZ5VwNiruVw9M8uKwQNIqnrofmkQ+nkbmk0fqUqJw3vHSGYFVWl393t5dQvwf1rNYcdMeCiLaAXl81Rocy5PqqlsAhOvcANAEQfbF4whOcZEWbnGrD0St0VLIrAPla4/e85KWEanOQX1T2kFjjaKf2xd1HucGaL1eTGBH8XCPnTXqReTAqv4uMMDMx1Cscm3AccbZ2LK2EEfMLVy1hRJ72aXGNTt6vOqwu52AW37DSgkZKBlK8rG4vy/n2xXPvPkYrcixuIyQC1CaHOURU9eIKJv0I/JRkFyeowsjUj/RKBoP+1V2i3i0W1B/qylPRkjHFXEqt3z3sTXXlMamNGhNvSmYxYmhx9RoL8iNmK7cyRSIxVn6Uhipigp5tH6of/aKncKizVayGxlf1x4a6hN2Xj32FVluCN4BFNw/IfJqD1yK+97CNaBQK7xpSK9zZuhoMLlodW2TpUZoyvNrfikWTFepkEv6kQcDfuc0qMgmPn4xVGcGCe3XEBTuqxmBVbYxhV0IZUB8laniYBFA75K16CRa3SJLMRO2v9F9eFTB3xLWsVAlJO9yRM52vE3lc7tsn+KfdJfNsVBrmphByqtCTgN4pAZJ70o5KviDC4BPyIpoC49pdcwpOrhEN6NQfhTmjzTh12pFBusJOjWWpXyrzNAJvpFLeW73TsRnaydrXDBaJPr79G22cPcSeyHhOcDhC1AbRddR8DKDAgGKmpMMC+IPQSColtdydTRGe2X+GyJUu5LQScRDfvXd9bjjMoL4Ef2vCWvrEdnhcaWQ89k5frLYMmPEC+cFL0E3plbENrA5otArsRt+PKn/tqix50c9sYJw52OnAr+pFyxw88D+/lixUJBcCHlAqnOmmOPryDIZ78O72/53roGYbBm1QndX0U1LBS/6+ZHh46aXzVZ0QA7GnmbbaB4wog28tu5dDO7dNtkB71SF1wq3kwX1f5tPU+UBdm4DeJgq85udMsDlKb97FxrKshFraBF7c4c59ROkxSyO1wBjH69u/yWunu2GyHQdfK9VyHCpPN1kG2i+cnrmkk7QkDco9tAh9tovSVPRGMF6zzHTv/iuaCrR3EgKAL1E3LauenwCFlT8R8/C6h9tLea9BqETlJ7qZIA+XWe6bMoOAthhYRaTaOLEUCP7wNmb4wl96A0UKs2OpFmBBW3wz/RyzEnauFXDDBP2u/V+1s2XaDMyVtOU5RzkFD1v6/0WXEBrdrGo6rcM5NWFWyJtFCxZaOhJDjFe98hUhe7DJYh5aiLQYOe4zZpVfiQwRTnXBFlh8kepSFiiH6Hh6sQYmmYnSYS0LtgeuDKXeKZZ1BJ0/Fjw7CbnLch1Xrqrh+1ZkrDKciuH3KmvBER9BpVuiO9OM8Sd0LS+bRsp++ULrtTn/b87ku02U9unQW4RXtQ6YhZHDmYQpGRucxiBQI8N8peO3/VhPNn/bzAijnJu2iLF5eJBbcreg3+C9wyy6W3WeUyHKG/Vd6bBVgDWrmjDKRkTnWPLiBvAMxuZSxQNt5woDcu5y73b3fYxFegB62LLzrS4fQVqZcOdSvX23jBet2AM3la7rIlZClBjm6LTA5kq5DM2rC7b+eh8a5hDLWH7uzNWfCEvzgDhlCuPvrU27tn869TBpZAar1VyIu+6+9J27h67qa/8mfQHe6yWlxk+ezwRb/8Ud1FPm5+4Qw/l0eLtCUf05PbjmHJsOjpbJIqqxR5wfL0D8jEHcr/hpWasrziWeHj9uJP0bfW0XqR7SzVq2yrVv7GPbjTfz5lXFl+LbWoce0flMvp0mpYCnD1j4oPr7Lq87M9OIlN0EEQT4uK6GfLObwHsv9IAv5GYAz9OiLIyqpoxSaEkrxXsDWdWiOjilnUWYjrxWHwzWv+4blRqZKsgVxXoh4Z9KS2GSxF+ph0QXv0e+Ddo+nBcICNzXWktAXx4NjxCJwgmfDiMMj5d4t5fuSQsdczKPNkKKDx40u9pHM8sqHmjzlYJQ6Wj30y/hZ6isRSbCBAyrOuxDdrXApcO+9lxuAiRA0yYXR9gFvuM5OyW9BGcy7RIi7mieGjvfLDfGLmiXixdeOu858AsIcZt2E+kTynp49gVPAMcbYipCb4ZZb9LRa6gfNo33RjILKTRXZ1yDmxC/69swEtzI+gpUZTOZCsEFD3Iuc9OEEEc74yrIrDswDjDzC9UM8IBVD5Ejv6JIUGJxmYSYBqvOlVhf4fAVoPU/xY0j6RMSnjBWCMLyAPwwJBJkT5hLbu4PCXZzonRDj3qyInEG7yq8ZbRaTDK86OdJr+4St3qCjlub+lWu321xxwd2jBRZOrzv0xUuylUxMUYmfp8uZBR9Vmm1U0hMP5TddKj2LjlJlzN3zyn8OxxF+2pmNKjySUMxyuM0nSYGsW2JVWvtTNCP7i/Y3FV3AvN5ehaYlxzkm26/AfPuq+T6j4fJZdc7cU7+LP2I5sq+y5DgqokxxbW2oeU7pCqBO3n6fbNl4c3zO+RAZvGPwNWTIWFzHv3HXuqIhUT6fKnlUJUMVcFEns6Y5JnvxcvFG9Wp6CKnupdHKm4RW7tGsjCJZkxj4niw9LBOErCz5H3pGPiC3/KBuD0AflPRmYc5YaWVQagjIqUToEK+ww3s12ebRC0KNviW5CTE4U7dQYWLNOj3bH5UAZeSnYbzWYh7gavmvd6tmn77SHxtTK5f6H92n38y9tDQ0VDcrxQdXI8OCPIBtx2ORDWKn94IcFRjWxPkXsj8T8Kwjs21BA/f5X8L8m2cRA08lvGKEmbbt2Vtr/N8I++Yo1oMx00ZcYJUR362URktgndULbN3bs/Ax8Kbyi4iP+V7ZlLwDfLrVWQgG3T5VBZi6+Xqh3ByhqNJwh7KN9TNagTNf3CFWahb6Yk1XRMxms8xqyVYsw5pZqG/o3SqJ9qFR0FoLBVcGRxhxNqVsjhrs3OV+XwBrAtQavJj7IURF7gq4tBr4yEiZ2IlFazrDXMAv4WDGSFFolpsGiV8mateiPdAd+Wlx3DRiZpeYse6Hz8O2s8rheKvDnpusiu+X7D691DFNu/gjkmcCBwIdwx0gYWOdRzb+pEe/PEJ8FgVVPpi+u5KZwHd2S4HKPnDV9S62+C+FQ80GaSVP41Co+VX4orkJ7mxdnP59PV5p0NlePjrcnC9zUbN8PLAf2G/1B5dEFJgWDpLbviT0zksSQaLUFvrCwziDawq0RET1/K2cGVQQhkKpYmRC8TE7Ui+HgZYveaoDs5nWapEKJoFU8HlMzVuI3RecXPubUb+V/cfbI1lfBj+QiNLxW/MN93x6sM2AYK45K68Rp4UNcYl7mILGMpuSC064yrNJgk5Re8jYHOArdKrE0JpF3cNS7rsszH+VSdmlAgBrGRjYzXuVvSnXA4z7psbsv4Pvpzg4XipTS/bajzuq6nfMFBMZqdzGXpk0BVdZOBGfFTWP6NfvI71xIIP3ijDcsK+KOodwGY6iy4Wuz2lU8/BDLGiSUAYE3a28+AdPAyEpILvYqXl4pCasX+csGk86dbMivYSBgzLbqVRrPhCs0ySD6+2XFFPcWww4OMJ4irwY/U4jdCWS+UsLNzceY+ia/6GXxms4fz0OEHjhZDiPy0INAuXU+uNH4lkkJxEUp0Hd1XVFn+yIcjP3lmTlSScWmDSMT8MMmd36nRWCkGMAJVW6jP0cRdtRXdigulyAefcDRlJQ8TFHEicGTGQr4Krx9FoPdjvr+fACcCInmi/W/9jR2mnLW/Xq0u8QFiteTPCHHoQvy5Ja3pPl6TUqDesXBFAy/e45tkLDee/0L+jJRLiWCEFpPyn9XQLvrAF0+i/Ia+us/ldw2eLEUVCDXZdvq/TalDtauzM+A8JdbbRgYkrQXMH11tOcIaRZdQ1da+qlF9GDXdw9WfeWJ59+kvhDh/tNVpCgJfoA7KGDUz5yI6tZAunSHCO5TwTPG0UUPy/HpXs8QNH0euebMa0aTh0MfG8IFV8nceNHxhDSA0UxzAMvE9d18ML2sWif5x0NNSLMwqlJ/nitQR9UqZd3geFVhLgnboPoWCr6NirIASKd4mRLXz1Y+W3FKm+I8u5UrfrK8cQF6VKzANAXdW9OEmHkUYqWqA+eBrwyq3xRzPCPz6XszcDJvBeArL6H2peOO2Dw1saCwouusl176swReBjrvt+m90lqEviMQE1CSSSZyG/VG2W4D79OqWwXzG8LuEgBd72jlQLFbIowMLXYowmGbUGlB4uWETSEhNCE1VLGkDgVKuXXPsdiRB2sY/X1+UHsAkbBP9tqxcUOTnxfRxtPWig0+kkNTH1TKfQ2U7iaMLd0v3la5haJ6dlYgrIDGafStqpLUoeFfl8NhEbzeVM0zcsMDhl9vJYEI57PBTum2MY/fMma5YOHEU3SyYHBDqa0jHpeyYCkOdPQAFoyThiaeGOrxSxfYMo5Zpmii2F41rZxGO3maQq8+L7Mu98qVAfEcuau6CjwERkapA7nqk9+BrSuYdGtxIGia8u/NsW+gcxj5zxjjmFStoJP8FjhcUpKgYTtwXuleLw2OllyzRDKXtXSIRZlbLJAOy+WBUKFibRgotARxGoj5jTT/2F9CL9Q+PuXsY4WQEahQg6q4Tl9hbUhYnGOIONa2ssLAJL/AiXefJz8a4Icju93CFgm9k6iN/YDc/yLY5nWU7U4ppfoF/KN1wJF01E4ukuY/cALHGOFLmZGRzvo+pr45R3Gqa3zQhMCJcBrVlSkb35d36rpRkg4Yok9DKx03DRJlq6vRzNg366qGyi2E9xur1zS9eqGM6cHlVqzX7/dUvSXeVD6YYTQnrxXHapdDVYb2K4yabwJudAqC/Ih5/owBiXRsqqTSz4swZtpOlckqWMrkPMhUjmGe37pHu7BD7fcINvcfWKEO48dUcsu0nT7xEOMkiLlr2yqH5vtoeg/9oevPxPkKvcga3cQ1ydlK5BMikDhtNlroz9Koqt/Ibv1rlBE6ezwaWFIL2IcoHxDVlKNZ0p1vhSd9RnjKW+c+P9u+JYWgim06oY5/wW4sxK49o0p9aAvq/pz2GDz7j32KG4/7rGfHFuy/lqkbYolMFziG3WXUMp3uzvVPhPamVghM3/x1SpA2ikzx3vRNABXrv+hUqwEt2LzJTbSzz4Wj2Mnd2mjIlRebzpbt67WfeSeYKx/DzRjBuO9D5xzQepOKYtwAmAq++alFfiNINy/4wvkM2zAxRSgmIwViX4tO4olmsCZEPKTIT4Ym6l1uoKkvh/uvl1IrOLQiFDZDGfFrh2H/gTPaOcD9PXxZ8Ra9doO2XLSqG9MtHWpNjgNMi8q5ZC9EXz1+6Ee5IjStE3hs0bruZlRyU/0NGVBAqW+/caPZGJHYBeUGrICjdWsmVM6NnjcjQ2ynP79nYr51n9TY8c75oL8J2v94hhcxvWTxDwNAr94kQX5UGQTyFWu26S0eAQypgXa2erJ/wLTwIhS4cAOJ6D/FWSIMsTDG4lYT0vxxUDhJlSe3FHxGfgSaxi1XTfCV52EbQ+HVQumF1+1qoztHywmCffXHfnLanMqYTAK0fXyzUFujAkvoMuWBAXCh/VKvTr+Im1OD7IdXnDWx+P5OjE9ko+UkOA0I68YavL0CT1XT+JwqSWgDfWH392d+pf6jv0zStzYSst4NLKJmSBfRQpTidmMpeRQwg10MR9CKQTYSstAamFhqOxHYEaWuHnA/wwPyRVhhgeGotPgacT6x2MP2uvpC05bJFJB4y+z66EBkL58rUNTPnZMIbmoGG4bJn82mEEotr152Cx7kFys7gxi8ShErHB15RCmMzf7q70v7Xw/oE+xfNZxnBqTjHu7I3aVgpNKhMDgLKSbUZPZ/RyLySDpUXhAvfzUCvdXJ+hZwPp0F4P6oxMA8CsVhKu+fpMHAkvlcPmzs3y4OXShKUKozdDgOfPWXGgajgkKE6FrVU3SHGFubg6/RtpuNG6EjfxRLyC65TuOK8ZQtF8qeG687GUAxYTAnoZ1sJGXcUX/HVIZo40aL4yqsPBm1QTbAgrmV+xltzH7mlzsutKrbKA7w60sho2zSZ7nMbiwvpNRRKyxdfXFJ9dr1l3a1JONvHQUXKeRwF9bYh9LaOeM6XQvAJMo857dSE+0/9kd2++7GI33qWkFzMXdSOuJ16HYfwHZl5W9GbseyxNvaRyKe30CqSnMEmsjcBs+7dCuT9myz74j6Gp3e3AePsJECw6usT1xzyJkURC1u5yGRBLYySj6EcVgCepn1KyyWWYTXAhrbpjvYzJMLKrqKFdKlBtrbk2fAPNJvVLtkKsJH/1hL/TgRbsvylI3uo/GbgI2FurJ6a3zV3Px4YmGT6uxAdOn+8O28A9eK4nlSfl8+u67LWyKR/CK6QaOxxTadvxqHLH3rGJoLAc1yPEDvz98RW2LpQkBI/1HlLOMVj8nFH+BOSdgznHblfJ3BORs7yHihIjKLcdQw7L8AnizRRi7TWCQPjIeLIjYGG8gYKnFYeKfC2UsSbCx/wrbPfTokKdVWQHRzqdz5BZv/On/Kz26OQ4L/2Zo3IiEgYyvOLJ2kgGUdFWmNVwes7hLdKyOJSo1wObvv+zBLbY/QuCrzJy4rlvOePvJ++F9gTge/lv/fkrGS8dRox400QtQZFSxZWTSCFLnNcujtBXk3TOJcpXUMvDtmkDP2VQVyYMJouERhP7m5bu6RhZEMdApJSWxQOzWpd5zjcGgcG2R18w370K4lfUjJtfbyBYoNwvWUoZm63GbWwYYLZgNnGxsSx1GaGPBbd/sqtywS9IU7jOA3Jz2tYBTXMIbWOAdGwsDdvjYq6HFUqjIzHClH7CyINQD35wJarZpWOWuOb2jkg94MPO6H7eyczkhlK6GF9Dn74ljGqSfONQW0yht7pABEtzRVcrMz2WagZH3mWNa/koA1Q7Y3QDdJGUiinEUGbwA/K6fML9YLNvE31i10hs53/yWadzytPlyt+Kj0ExOJg6uNoML15Nn3rDEjOgVY1UwMiQpQAdY+/zhpLHNnKNTpLVXJGv1eFmU65SLxQwF4jcVa8Y65gmvLafVG44Lp/1Ha/a/CqMAuwGKjAo5t2nQCj0jJZyFry3042NBNWOwrdteAYj9mORayAWZZXkYbKj9J0GQvfu3cnY/0b9c/D5CQPUDkW7NcJuEu72mfyoGCpppPpZ4E/XtruTXCTmmXgkPztAU1Cm5tN4eJNsm5u3GsDZ0faxvXWK/4mfvT7Rq1mTLXqoILLOWSZoiojoR8WZMSldATlnGGi5Z0ZJXOKZGu6YaK6d1ouziOuRMw0cNWG1wAwsAdYZqJiN+hDAQxZShD2aQNkHKE3pTy0PtD8+FUOliER3W3F0EeGGFw+pVUgn72d+pSmxzpZ9cBR0u6JdG5JEFarkc6aj+y5QvPNvF4peaZkwqlZOiVITuON3LpnQ8lIVlX37ZheuiAWFXsFTY15RxNsjmFxochzI76P8njHvHYIK1MQpv60LRz6f3lZbeey61mbRDKFMGi1CyL0SVmZfjqDb9l02HkYswaVgZCZwIdQLiMLyuwfyRiGWH2v1Rk6V6bl55AEXEkuQbaNwQVCpmAes9pDwLacvjCirzK7HqdQ92RJuuBAKP6gg8+h1NUcttjMWVUWW+VUSqGRI6bIKnpTlwYUXCPJN0oq/0OyR8lUXUOi8b4+wRYj2AyJ0D82uu4uTjpDMUmqe2EdEO+E4Jhe/b0Va96VefrzIoXirBEjcMyLVbKncdDR5Zh/y2TroaPTSRBv7Nk+nZM+bNOztkRxB68M1K/qsLVDus1irVB0YgAnlyF1IYyQppCtAFbGpdJF3F8u10F+38xorLIhp9lx3mvuhxPyuFXJJiNUJRWH5SSXvdgtb7LD/BQqOZSH5x+rj9ykoUjmO66hSPBZCDUfpAolNGFyWbjne5Xc29AHYZ6RAjmmM46kipvKlGjINVMQxGQEBPIWDcLJqem/BP9To1VZKgm7+HcbC+/bp3aUzvTBj4fXVVkI8IgSj/ya48FI7zQkeABzcy4/TaiC96iKOZrvkO1O8jOIEm9c3rkMaMYgepO9A56iqkhjZKPvr8AwVXx2HD3wFK55R9nNBT95PYQTkUrJqS/0hLxF+4bZWwPAx9fV6s7gRojuvkL7Hiji8PVmaHsbzeUX2OzQSwczjqN4LSNlC/P5yB/+usK+ZetUoqgf/oqPYDcLZlBnef1/pKuJFT29L1uw+ZuvULo4P80lmWmPR0VGtFwg0srfCLPBwNbIEiD6qUsPLmsQArdxSgKjT+n33OMMXdtxkiTWEjIQ0QtryRxwTeGJoxp6cXg1cpeD/nlubLhvbc4jP2l6ZokQdEX/+59p+Scsq2Jcl68Xju8mxmdZv94GONfFd6SHnxdLGzD02dxu30rjH0qZ9Ebai6ok9gKfDu9T1upnszYjoDesmVZ+DBGWNvshWY7cJliHZKyb11lK1t7OozrYrz2sPWaKY8GZxsJq5o4BaLjVZCtNCz30d8Egn45aQIYJBD7+23gyZtvyHMYC/om96l52HdJeYWLqhVi4UlBRR13EtymkirDLlnv3HRVTjJO8jrWd154IdDRjSAnLmqJUYmRTcXPAmjDQCsCYBLjJVYWcrwLSm0A7A4hcEJONjgO2/R7JAAOjghApuaJbZcVaamdWiruDoF218fDyiNKgHnaGMGImp2FrOs9+l8v4GAn2viIy0PNNo9Op67gPqGavSmUYsMQRjGKRS7xJGjE7TCX8uVLgUnrdsyQuN9e/eTYDdylHW9oQb3Yo/S2M9s961ffSTAZ5ALVQzLtA+Ny/xlaCu42lUgFXWFXL3vKxxFeXyJ7/xYj58vfg8sOdyS8tRDdZYybxQ+ONqlvk8KsJNvOdm17zTIxS27A0jCsON+4YQqUDvn/eoanEGb+ZUEBUu+17o2osZswV04xvhiv7J/71ZDUHa0cCc1bk6bjU75YEAAY9Oq+8lu3NDVCsu3kc2F0hai6xNoay4g/Kn1apFGlAro/3hvHQchA+YUQfIky4k1Vg5t+lWeIFCD3PDPgpm342XMobXDtYj4ErDA/G/WPH0E3z86D+c9JjS5Xgo89XSp9MmWsL1ZYg/PTMr6wHDZ728+ar8RoyhFoNVmqlWz8XDDOVdwi8VR24u8xUBdyumgo7wZoAZFz2Hu1o54+U5LOrgGdCegELT3RPPP29Y9R7FZQ4j4s73Rrj2aBQM0TDoRDn8u9uOlMOyCza6RAVRvjKT3RXxA3cIb2T8fd6h3FsLLJhoQtEgwQ420CR5B6po0mjoZpSBAKMpwMeEUdTEkMMUv2xCgGQzohxGa9cSyT2Gr+sJ4Nlw+39FC22KKx695JDrvUeg1FKFE/LDDtMr6Lamgyi0AQAax1W8XR93pHbrVS8oOzFIbhAXC89UTBaKZ96UpczeOCNuptQxgUGfJZp0vl70GxBQkkRC8oEMoZFQ/S23kDCfg6wSNYiaZT3J+lNll23WYOwmhWlBdGTLSrWuMQSm/JX6y+gv36IV7GwdLiNs94pgcH5xWKWfa4QGxOnyTXHq0JJqKV45M3MyAk/CPMhfBgIKZN0E0Ke7b7KM0bJWd/k6EqlSvKawzuLOmosQIAvWHgUJKIqJEyt9ABVKv26XIkACtnuB/AHlvjY6gYRK/kQPngO7oaStzTjT9mRFul+yJgmMp93mOVPRsTVSGMYxxOtjZJKKXqQ+RaIdWB6Z+w/NAe0jpcQ/3yYft9dSJVaiA/SaXa1UOrp7JmyJlqvakxaMbGLQpB+BMENX5XOOPZml+6YscDi+S+fJnlNK04MHwpptYM2FgAOmuqIg+S8a4BQYDYKMM7WSdXWwvEo9qtjU15UyeZmJDWKY3CtIcO0XUlNoXY2vrqQDO92siRJ5jCEU6Rt2q+qRboDEqdS5xqC8taWORMhl2tIkRORRkTCNX2Vh01HrFqkKEUL6up+SrY2RNsomYS7gK43Mgr1tws3E1jGABR3U0BQoB5zt6h8Gkb+v32CVsQVtHUuDiydc4PD8kNZJJXf8GjXXG6VF0ODo3i82PoWgZJQ1xUy4qBXRu7jeDYwLTwRjE0UAIplAPpgyWKfSdQoS2SZAU69P5Vr1NrTek6MqJSqfEYfThEgbUQja7zvACn0J7X9iUjFLxPoi+5N8ezc8AzhX6odx7pNc8HzKsogUrysc5Y/r7WhGv15/LuzWe2m7PcnfQqzHnQPato9HmUIp0Z/rSw9KCRqpWr1UzaK3u/OYdv0pm59mh2xHAxTpOk58XiPE9jIj1JaU6/vXUA6nlyqE1fzxji3FcVLdli8orDaCZP2S4pJzjcj8nHWhEy81Elff2zt+kNKeiq6DxoDqiSX+HC6BczHM8wHv7jBWNPg8LBIn0CV8/V6FR60Yp0LqKhLjob8fLpDCy//TRGu/Q6pOFgvI2CXc3tnIp6NGcCrnR+2IvoFhARM6Qejw70qvIRJFLVdufXLdtcgogZ+mpUoP9Pdpq4R7SNcMnONB9qRIH601tz/+eP1F2/Haac0MAgkTKgdsFMhkLqxyn4MULRBABczu5aqGYOtrmtNQ+L+z5c/qLpdp80ukQvbxxadgCQniRPK2mO0ThlxkPuVMqqiPQZ4XoPXBNBpEbAVHbpdnN6EYwjPk8gDBYsqHwIeP8nStgKH30/HRdGX4b0RvwuichPJn303n44XFIJsOsa0CNFQRcSHnIC3ip20PSzfLx/rQYdhDpkxHmtrvQO3PItAfnbGrQJhfZYKDezM3ryiBbMw3DXgIjZSsSDLA9o04bPXxgxd+sg3HdPm+JheINBnpB9pi4pyii+P5ejQmJoReIMicIC82gbbkwTWKzu4CMMEKrMHqyPvyt705v4eNgAMjdpvtS8ELBBLCGqyFItfreApK85ZZLudoJfQE+vmHQlFGnDG0qQg/6lEa3Zn4YrMkTPg67yAuNewHbR83CWZVu4Hdw+MjerQwg0TivKsywHreKtKrXc8oFfBxmrBEY3HWn3GALWfS7iElZVaWx22ta0NCt0awvpnPN2LSt/fUn2k6hH1LHtgwg/9Ib3YXTY9PE4HtP1efkMecBHnqV4NDo0oWtdA+sGd18KnnYj9K1Pq0RnKgjNttOuPgAsXrg6TsoAEzvQOn9t7PSvJIMOQdl0966XVU9in1IICw368GjemNxrrQqE/rKYQ46P1XazlRIbMLeZ3Wlk/E4uxWvfn1k+DeKfAXwlyWG/fBUHdavjnxq/Jq76dPRgNnL864UgsBuMtEr4XrG4DMwAL8E3VNXQftfKbuChIUU95y/oF5sa1BE+v/5evXufJN5/oVS1HzAmXQIzpx25gcnq+/rKTjVi9pMp8u55AJzTLiuRbBlb09HknyTmea/9E6KQru6OxsVOycUMNQR65Od6uxlqwT0Gz3IXFod9Jw/kxqJWCLGrnZMuiDHVA1wUqTiCbEFTQZhGcBmoYppIOAWg2tRWOlqDQVwsQhUtdFbVVeyo0dHTd72jXt7QPyEajSQoDEeIZeBt3Vc/1miCiqTy5fBskxB9CZxyQTGBoT5Vs0JVBE/hAr2FchatF9zMr32m8cStyvm9ivhMUeFZEwsaloYU7u76+cBPqOiicEt2NzG12F1x1v/RBnUQ0RoDqZvSuZO6kEjDofSpJTDXzdH64eVFV8yrXIjv4lzi5oKI8meIcToDGKrkeMjpUUjsKlywgBcbf6RSSd5m5ja6fDIpwpN5gLjexPfTScQsquvP4aag+oh2V7KOlBKZV7dTvY4Y3/8Q6g6rH0vKRi4dLdTRNTVBP5qdf3Zm26+6b9LKF4MpUp2ukzOPQHRL98XVSLfTPj4TZGpYQkwT2C0hWzYg2wM7gC0+2nEsLeixWMhGayuIZLi1e/Q6C5q7fu6Oq9Mv4lMUOaFhCaCc2XQsYeGHUhKmdNRIi5eMLxhmusURT20pvOs9MmgjHIDFqHL1YaKOtRRjjmbLbqUELhiydERTYGQjZVY2+CBVS/P6q2uaJ5GwTqGSt1zFaxTiVB31hiT/j0oBk32TlAvNUEQ4XsaChdh8es2ffhXfOW4lyjL7X1mW6D1++lBwkDqAmgdrf0R5vkOhU/KPlgHwOt85T5clTWNMCi0hhv++4W3FWvz9je9+R7d7SZvo23p6ZrJ8L+lGKRh2ZR1ZqFFq3Tj7cjvFcq4+Rd+kPh88JrdEqAU4fkJRq565AZFJgJEtkherXp9Ejgoh90jGZAFWJ4gc7HvFRpzDwbJyxySgb8pid54/VBljJEWDyc9cNU/QIrLVrruA34HCuya+03gwFCD+qlU/pEa/7XL2dNLkRRshO4oLmrmchvyVEbj6/tyDJo3lfWwsiuRyT35LHomEdSjnrSxJP7DaQr5453aaQSeuBX6p9SnfARrMkvvOWd3PumWqWz9LqxkEhFSzMpQVHZZjIsgfQ7TRlpzzycHJHqWsnXxIDx0dnYg7/aos5fdCwR+Ucd5i5CKahIxUIczn3HhxEAXQZiThzm9C6CSp4hFFtwd3z+CvibXxiYADYuE3QniLvGku/Gq3ZpiI2FdF05wtELxYduIy9nEiFLDnJKySyJr8m1+z3eoYq8te4AoBHJgz2dRmXBKMWXGtZqd0tbz75y8FiG4BjW9JLLZ/krlh8gP5A6PBRGq71HnhtIYwO/fUknEXiUeOnwqCHNsYI0Wu57lzNYkdd4J0qfTgmqH3kq2SHStRSM1KaBxjMTUY4TT7/7pVQKnjFQfh0k3JcZ0m1gmoXbMtcmLSiq8iW2NmUlPkpgK3W/QhI5XAGCUJZSGc+qhO3pl/8MG9VjRuPZCOeBi1To+zwu4KuVFauuAMaH79rekVBSl6GB17uNch3X54c034iBLK7CVQ9/T6dsworRur171YzSH1UyiDA8m5y634mKvdEdzosds4rWt8sWXv7t85VajNyQrt5GnMBIUMvz/IJKK70pbJE8HgvQMrS9fEC9e+xxW1ZDftWLnqyKOCuhUaFuTmMNE5bQkAYJiACXyK/YTAga6A3fYEE73Ffj4CPz0WRBt/xc2XwatK7E7aWOkZnEEWD3FG9QO/Wph7oMjOnJ96sh4e6Dg7r0uHwT9XSteoBK7Xxz/JTiX7Vo4He5/5bnl9eztEe1BhYrITyyjvZusfYMrPIScNwuQRRbzesERNb6iMtONFeiJqOqaw0oQZ+hQmw+KW5AwX0F2n/9MdcsFnFESRaRhGqQWDaj2o3vkwNJV2x9YRLgoUEjU0tePIUTbaC4fFBAvo99xHSPcrsTXZAAfrf0jm3MxHcs1xv12U1ZV+m1v1OLwr0cSfWBTIrXGvKscZZcl9vYPlPInuf6Li7Hp5JbBPkVrOWvUQUGwl2ArOgUmbosx3ZX3qhzXY18T/dxahrsBaM8UmD0nDW/SD3GvvzNMuNdjKr4AzoF4L5Bm2gqB03nlY/96A/mLCVh20F08UjxgbihZ/7AxZ5o1UUzWOlmFa0+afOxLu5EvzSIm+AAP56n/7QUwotPkO/WCeZMMvlqtcXY14tiNsf5nq8DtZOY7meuWdfw/SRwB1typQVAYdVJrYWcmcToEcy/SaVbuRSYAsjQGFmbEDF+RUHrnBue00v7SnE1Qq15oNJbcxXeRmMAERO/peHcIh1P7lMvPXYn+k9WOZUEIvitTZiiL+hYD4IIh79cYmiMGVFbyZzQKuYPRJBxPok1TQ9cTWMA1k/IdXrU+G1J/NVk1JM2Z8Uctg633Dqa32EJNCBe8uc2Q/OAx+4iHtdaYseiBAeOS6FHa7oEPcUGho85Vp9GVWnL5A4hv+fI13jXjDl5+g+0X6tl4nyUEtc8DlcAQtvgsfJHRV/CGyReSMTPbeR+AliNeGAyrS6ygDZlxwOnZXbgjmM9de6I9GH04ZG+tMNp75hTxZKY1GUMm4iyROJcIofGejRprxItlxPy7qeqv78f0fdMQNcL/tXZDn86tf58E6it6HGAvA59oFKG3dqPCLVTT3Yto+m6g4AheQ+XtQQZj8kK196CKMNXR2G6t9CPTb03YsHJDEkQTr4wJpPO6Zzoc2UBoth4QDQXqtAf9bmsXUMR+8ml7aqhQJt40u7Qd53rlBWL0fmmODhZ5Qx8PTYRU4XWNiQVQW7mjaINEmIgBU922wFTEfYlEggMLRnQ1okFMaxnwKcnF9bbw4gCKvytSOzBXN3YvWA+Kzoqw+RukWEASExk/YMRLsISXduHYkOgtxbst+KGDzqpcUe4MgjLO8LN+KCPm4vdzGQ+zNKSSBj6QHolGx94sEsxPAmpj2FgwVk7MP2nxOfEA2tA58QJmY7o4JwY7NJnh9q4XGIZee47Bol3sEitne5ynQ+hY4/Ron1lzFAs7zXRuRb4q1mK5yEHVWoo4hxJf6orM8a6ELxFn7Sfc30TX9H+hNUc/+Y658D9betbhSUgJRErj5/FbGUWoKQY5kNZKp1i5+zJdkQwrOP+kbkqIPqOgyWNbF8WGvgN1W66GxeAMaSMXxskEMw3ueImJO6aalnsJah/Q9PArTdLxukfc1LqN3yLgRqqBt0PuYmhFqx4Z5gtqCjFWvQteupMIWREVRRr5Yb8lVQeLBLTQlT/V4fwthdpgDnETEsgI52GUr8dNT5l8D7Kb9laXUOjSihWJyi6KrdA2Vu6tsSIJuckFbHu/ypSWsLLWTtx0wqG+EcmbeVeyrNYQtFIMM2J2IwOMFvT2tfwYfcCl199mlcx/vIiNoDrXmRlaMOfMUM1I26Ys/b4t4/1Uvc0gH8sEJ+Q5YwAj3SLXNnocOu+jBk06t6s4n5vaPkXTS1POsu2ngmYNepd24GpPCy1knfBoYImyGT3dFsNp+HCZI6rTcAtsCHc0YNSt/BzKvN7A9qAd8U78na8BrTWWviZoVz3Ii6pRiEhIbeIa/M3B4Xjgh9VMmB8q66AZC5YwONquAmv3XLAst4dGzbIJoZEXjsZSRnY8Xg0HENqyNJQZNk4EEWfoDbVViogFsf22Ll+QPnPhAxOoBOee0slUGoy//SybzChC7CUZm4WqUaZbaJfxipkZvBViu67wvxsvFqHbbnbL7LFBImpHBOx3Bdhj4iDgk3CsT6kyh3Pvps9AAb6xE3ZU8ySr+YQAaexQZfhbkRHDoMflzS2/KSR2Jn5JvgdLL0KwZLaqKRI2vrZaB5fCtxd0NqPh7AReEsRn51OscvizgfJgG3gxP7m8Wy4rYJU4P6fTjiW0i3Vo/hiut5wQ6MVW6cxYG9WXddPuP3FXynQ2TIRs2W1IKqdC6q5KXQmCtmicIYX00VVadbtvEkXx1d6GqyyrSaxxf6UGfcXMFZQID46WcQP5TRl+cwsSOihvwsDHxBJ7p24MOYw6vu2+tqnZv/KFespSFaHMYBUj4oI2n1w3nwIvpHD3xS+zvo6hSAHmc/rCCMZWY2Vc0Ak4A1TAS0rvnJAqfkW7w1u96GUtSvZRU2m+HGDTvqZG2kXf7iRi1b1TSgvxfz7LNo6vDN2zncW4h/XIQ2SMxWXQ5/7IzG5enKAFvyknDMAJgYvJr0SvoFOhVaxOoClwe2e161lgq9j/XavF+nHEQJaZ1+lOBQIj3HIG5sZPBOAxncQ2IuY3DBERVEvkcT6XjhTc2OxtbLtYMlNMSxvQ1MeQSW4nNpnKi4/o2UtIsyP1iRh7l2z8LFteVpKg1XTlBPYy4qL70pQn4eNRbXCoHgM6Rr95EjnAs9Tjq9G2erPIRyk5hdcjE+7/C31BU8187+G/k+eT9ETtFWmQYgXn3sj4EReNfSL3YC3SbbQTVOkciOYRFmaTiss1kF4iYmRl9OfVK3sqDiqzj7iULFuCT66RqH63flH/Pxsh9AlUZ/xR/RLER7j+Zc3RmJw0nMfyhVQkHbzUKE91Gxf+cI5vt7+s6mILKIebvD15n6TSq6JSgxW8tOxNDQQc9AogEqKZfyz+qKh8G5vTObhVO/2tQaq7Gu6l3udyvhw76dJP8Pm7fEBEd6ZNC236RahcIzlZnYJXjCEYaBk7rFNUXhpVNmRnhbL8DM2R7QD6QiJTbE5ozMPDHcKGZunIhaRQ6P3gbRqdG9UK328ldW70+Hvrx+wuhbdg1ZJ4R9NhAnBJXrJHDZd0LAjjz4w0gYMIIY37t6/vEc+PII2SMtYuGTJp/inIoWPqiGiGND7EM9fABj/BxgAPMv6jakrxMffkgFoxNvl5g1R3RktFfjlr7lBgi6lYez+B4qVmGkWDooQNv0b1vDgDud9n4feDVsQm1qz4fyC5gvzMmpsBSqhzqy0w7TKAc+wFTChmN+8072HDYpHqEwHzPHHDZuLg6E4QTDUUZ88XpidVq3x8R5apnvnyY65qPLq26BGnoVKnV4jDsh8FAg0A6oSdIrtYNj8Uzg8Ql0Igh2pqbPASXlVIYwFJsVkazR87mFEeK2Vxfby+e1okdHpHbgrjJnv5pihSNoGw9hC125mSJD5vD61Ioz/OZ4HXopHTGI6FIdXYu9e4xdVepcJrFfKFXrMJGTmgqjekEgN8N2x3eqEJIbTRCvyjBVo+2Tmhj95uslx6oKIgFflJSPT7LK3G5YKOTu6U1dKfB+XciBYTdNhPvtWJrj12VzB5NR661Gp4CEJdVBRDoEAkqA/R5Zhh7CXnmWQ+6nDoZ2eu4cIKebNDSHbYABTMmy2yFbdTp3kQdcWWs1Ph9gpNUcY0hRBj+fYdDAlqEGIYYBPj3T+9WuE9sYVlqATolvcRs+f+k0ff/Nf2NMAy1mNZfk8FH7NbbqMlRbCb9YzFbmibFxKiCRyoFk5hrI6jI3w1uFM7lHXV0XwR87Qv4NFXz8Yd+2yTVuNEEsUV11T+cvrrqFPIzfS2SHdEzYKy72Xf3CuchpycwBmbaZXcF25gP6hof8PmlViPi4W/uXi1D15Q0iWJLynKI1ZOxkHlCz7vwnYnAm6Hnz3A386XFXWqGq1C3z0bfxOp/bVnXB9qjYuz/on6hiARkJfkRY1KyXdSoMoTHqyYHaDXHQg+li9hYCKejPKdVJPB4Oc0ejDg31Tud+cw8SWmXy4k5JB2419r8HarerCpimR14CucqJfuVmMAeUwB/xneiF0wAyTUJOhrdeKYi3D/kSK6prTNAOH+3xNRL0vRziF+T5YMHgZGYqV/Q6oXZCLk8C+cv+drUpQ1g+XqyE0EsW98+72LROAAmMBlj07Dg/4rTiI80jbFON2wfltqsNaNXcvNQSM8dvMc/owojGubQAKKP/Dc5vdkz9vtqdVgpfqDnYqFgn0mg+YhgQfjTtCLpLpYyygxPVTeYeLXAL5tTcyoVN16Wfusn9mD5pxoZlSHLnhMH9H5M0JCDAA87W7sG3vSxA9Jm4Qhlz2UozpDCAiGamv+CRS1A0p8MGo4GhFuSApRMsrvuT6bf/W3kTzjoqQkGwexZWJhix5ZPr3tKAuNJhLrVIxX6BDJZUu5z+NltWh5VqB/nq9dSB8wvAnbPSlnpvWBLRry0NWIYigo4DQEgA6477XiahiefRm3p4BXNd+lucDVApuUQbvT1RSTuYJnh1ZzQy1vo44LVcY41LjVSZMyFDwCLia8ToO36BOs1CytWjv45io22DweUKm/Xyvly9dvfZTcZMtT1uVTveDDuYOOSQD2URl5eOrVoGQPiMQZMEZDkDT9HVjy9nBafUEFOY7x4ZT2AvvVjjPXxJlXeaBGk+A+djlgbFKXn5mcPxpSLpHMdmQFnt2q84sL1VOxxSx+ZBzXGr5Q/AkNuJNOsaM+rEwaggQxV8+cOgi0lKwusNpHaypvOXFO+L/fXFLOO34lZwUZFGfn/eb5rJkq0Z//vEca8HS5729tY99ruiYIseuncNKSYtwpAsnKXsteVgecTVg+2dVFyZsHUvfbj5gzFJwzUiKp4QXn2Smc+bhjq0czo+WkyT+n5GuO6aCcxiCsEGAI3mfK1jx8aFTFxGFi67Zupbx9pg5oRAgxLlsy79gZ0SVXg89ClP74fZ2ta/3XooM/qI7/WWGJ9H1L2jIFtRf6GhLsw3F1Jy1CtMgvhLk14M6igeSPeh4dgCoS5JWoGY5fy+l3ZK+9fv/b09BDZ3UFOi8hTJxzzMr3D/exITnG5hreCguUlIzZLsI5SmxNRUX6Mgid0wfqWfTBQeplphS4I3xGy3hYjtw8BCDVmNsqUeNgGCxqTXH0pYQtVYuWWbiYTjVO5+nSGOzaJcJVGsVr6hxdOq0eVgd0fqgrTyV8/3GvtUrrzgb36d7ZM3nR8erBDRaTjGVVU5PKdJXY3GSUROPu68c6UHvdX6aATD33niZpMMX/P8eqDQ0ufIymR+kPnQ2PzzWaN4NmbrWG8AkeUkhVUiGOP1BnWIWKtGRcYD8rBFNquLMOu4YhC57jgOj1iiYI0SeJdR0ymJRQccTXE/qC2yhf0+s0eTgWy1hkcl9dndlsUFFxYYts/AcZG6P7wkB+tKnNRxAgY2wRr1jZ2xfaH9JQ+BTQs/CsOXwfOcd1HiA3vUQYZULlJf8YcdFD9B8uJ2QSUAgkz9HynmZ5Rb+tnaHLyXG/mJXpodQzRj8x5QwMrs5kZSiscriCfLko+SKaYADMvxDXKcgc1WWFJVCr0mfgoRgoG9MAyFB7a6dqc014kJceU/G72tZDhgDx0E/ds6myEmw9rwMl+pOhvv8v+DfueSJBVsk9ADCoxFou6gzzYC0cVBauwcP1W7WGOxMvibgptllUa3iDdXtFjBzMVn41WHp/tbPO0LGRHZZnekfavrjY+5FWYg58sHcV8JDJdSb9kS1CvvdIaflg6KawFer2efENyIoErYpTO7aWtXOnd1VV1xEAWo33kG5yGSJRDG9KCtMji8huisK+ZW6L4aFASulL0607Nm3U84DPPvbjUn37LQ7Wjp2++CNcbNvW07wAlK2bbnb0kXHl9nsqfJBqGmT4U3gZML+zlZkJcFau38kF1qLf6CrScshPFoQQlsmtrR29+gscxXjElsJ0IjTeDq3dzN5mcKTpnF9nGsHqbopjiSRIQc2jwDPF2sukwQTkcvLvSY+bPNYdyEcE6h4otL3hRSP4qR04kkHq4yBogOGknWJx5HZNeOPrpmfyFrzAcJLv/OPmMn2nlMJlNZvN3qe1w64aLh01s8MRBf/apZtNiRHAfJFbAxS4fBH6eqBZltDgTtDlMAMj1kOxBQvJI7nhp224ELf/ewR1zU7zD49k0kkZu749cZiNssR8hV6Du2RCM+1PFFblEpLwB726nIDV+1yfMhftcOdkphn3x5QS7n5jk4j6kQ6E0lAa6haXdw3eB79J9to+kPHk+iCKvNhKnQPYu5wTuAIMeSb09aMaBJB1QMqjp0VxtkOwclsUPzkhyQyWb/QEb7xVSh6DNiES7m7GixDwMzuszzlXUjgCFSAaDnGr9BP3cAcYDzw1GjKtjThE4uMGq6c5sE5V2PTNaBiOeRQfJuuvDnIRYa47aDIo6DXUxggSQPItgpF3JzWQpvFYPXNwR+pZ+eZfE/83Lb1pu6wZlV+K82RdUOSwYyA6Rng/4joP+w6e9K778V19gjlCFrkjH53N1cHi02CcNA1YI2FvMcytvNpu3IxPRo368TpVYCoEb874uH0tNQCKXOHIBuhSMUeVk2lBUi+xDji+2V2Ev5Sfn2OxRl26H/CyVD4m0kU3MFNo0HPdWE6z51B2jZrzHHQEzOE+OYpyAOBG4EgNslI1/h2LuYYGL65TTDTmDJnEtussIvRKOlzn3Sa2WvOGDlps8PE5KIdcwn9nNCCXqhwTzUa+C0IdsWMHND87zxqxJfk1WIoD+aHWKZUFgoULeRvzcL8tiYHjLW/xELXLgxkodccVOWj2jPFiZJGdFgIP5e10q+6mFvLpADIe1GgqXhKq6uabce5ogVjJdYoGuBpYyV8ve1Ma1HD7CKKopbELJqqyZpNhYvXD+BycBEGKlg+ZegCcdqmyTmqko35TIIjEdPEaTM2B/caiuvC4xkqhLhAC9xlj6K91SwX8GW14f09uCtUvxxedC8g9sK7kPqLuPPCF98hu50yomfm8oEKAObdgrgce9iEWlEQ0kEaNczSC5cjFDDnHLmQlflR6lAOpJrpHicrvIwGYfsr9xyY8buIIxy38jp89NjWbhlw2p0OIgcpiYziBi687Z4WRqbjZjjU8i6TT5TDed7qCPBmTXcC5kJISAXqM7a5nnwjKvjAcnpEkYop89wEkbyMRKwuTD8O0mou//xuTc820DpRo1d+n7ir2l41UA+q4hffiIp92IF7HeXjik9HdmUEFqi7GQoCIdUVoE40YRnboPok4eHPoPCZSo/NkeVxFUVQoaGf6skNhPJXk3ZFWq5nN30fYxP0aDJIfhMY4UdE7FnPoikyMwnnHkRUa+KSiQuttUXDmS5XDZo6iUkYR/E4b+0Kk3LzRuREJh1jL24IOKn68aoCTMkZF0FQmIHi6giaQzU06xzAfpnI+JetKN8PCt5wLVKaO2M7u5QkcommCKvWYyZlZhGwwJLfhC9tpT5o3vJROfGZ9q+optoKNj2gMd135C47obuJKpPU6zhP8lz2Ea1x9J2t//Y8Hht0m4YJ6N1GsGo1uJiT9UkdZT16oWZddte4JqLkeMTLvXlzMBuXzVckf21Ul6t6eXPqGXuw2aBLGvBKSjrIL29rzgPwFiWV7G8rcEjb8ls2uGKPIVRGfGNKu9vxSrjjZppr1EXLbOA5/FAkAFBiZ+mdErKyaqBb5+OET4uuhH9B3KZ9JFzbOEHpxf8W6/MDD3f2aazh7XLhscT6b0dDnE4pfVhB7VH+Yx5mgGsTPLI4t+8Q/C7JLeFUg0FkTWyDhv88ndkWC0tUNiodCQp8envCKX34/Y9bOgw+nLndo7NLtGLwpWF0stRgi+nIgjC8GTzolx4hg4fZT2UMWmiecqsjyG+tRQ8wMDMopESnGEJtflRLHIRblOkuwlBLnswVhdvHHUOKsBvHQ0D70uKCwZ1f1LvA4izQrp/Q69443LWTjGVeuVbuUtsStZmOlTuTAn3MxYXedd9ZWCvPNKtKFgxzfrmmM5pedZPqwds+MAzGF8QBL24n1BGfrQfI+KTSZHe/IqRhmLvxZfAyuAAGp+30DZ8i/P6Ynb4SxNO+hK50F4kuooFlquMHf2jSEkT4NCeIUH6H7NYClFuGO2ATQ1K31EzzDYhgjTsWedar9ESwVKoFlseO5l8IwmeTXW9W3UUQxi/aX1+zKx75jyo2K9gpi+U1mA4eYsSJyGmjjWRrq2eyc9Km3TGq0+/wklvR3nU2Tu4U1+okYQct9XPgZukqMov81PasCOkbNzaJnb8q1xOAnBBJtmwL6SGSpiIvDX4xddaCpPzX+zoaKuBFmg8qzK9ZkJuOyJlVFoDj4SP5VB4/a5fk+B9jRTdF3CH8P27JYec5MJ1ZMp5ZosnlYSJHV9XKcQLhKOLVa6aspYRM4ND7inLmduqq6Vz1RTzkSlIi1GmukOz4dSJ53LR/J9QydLt6InxgjaI35LI5npvLWO+iLw3DfjTeaa7qE3KxPL7GKtQu0B/snfWc6Dy9QFspj1uD11mW59+oNzpeS6WX09KvsQThggyNxhH7J+XRscrCZF5XNVNWOvZS2KnFGyDZhU3ZGr1GhaA/vkXoiI5usApDrS7SCNUGyjh1KuZ/aeLuEJSakn36Hqvd8H2HIf5qQQm7ivYbq3leHBHh/cgQtClKBHrmvR8swY4lFEzgYhvKfPl8h7nBSDhCYwsjih3PKOfebl/Uqt5CSukbcPIs9TIMEZFbDEoovFIcpa6aprh38Aa5z1YH1JsrIrdRaMuLSgymkzsM6hvvpknAFik8fGSlRwfmwMxzeYM9zJNuoMvT3sQ4SCAoWQlICKsfMLzT3djv9hDF3GhG+6clB9ZM642mcxpmeWXNr+xobUu7M8gd+rnkGTwggmLnwvr5rqpeNg6AsGFpMvtgAnJ7WIAsqimC9hhHmCYRJ8V6u2bsXAP9O/lF7X8tiCcYzlOf0KrVh3sU1JFipubJBjNI1POc16DEcoMEgWEwSBv0squD4uXodHOnlzZldgeAs9G8YuOmKqjVThuBVHWVUqHxQEuDJJ/fUi4yeZuzzxkl0Ex/OdH5tcav5ZydgU1jEuXapbclMYACx/QwSkyM9WrBWIk+c+4UZjWh1+HlC/JuzzXmNEfBHSRJfGC/sjn0or/WOyyIgTktKcZyVl8HbSUa0yOeQYkvilnjQifYU4D/mtsMiDHjytYIVQICvpw4mvw6RLv/X1Yx5G7p3axzlh56vNyKbG3r+gB3h4R8HkrLuJUy7zhOKpG4uLMBDtnveNcd7DLZYt6Anyd8DwBgvEYlpusTjOyPITSbOtGLUr5kSdHFlXLFeOSw4mUQf7Ll3REsXZkZXtSqkzNRST9S0Ez39FqaPmifnXhuHlS0ZvpxNNCra8MzlgQ5enbKC8/lVko5x1hdZDNaGxzWF2Yk2yoONqUuYjwLHI2Mfb8iJ8/Xh1mjvw/5lHIjZieiGevNUsShXzBD9W2mHqu4Tw+6LqEIa6mKnP8MeKjCGk1nQdXV42uEIYRhvlKNXG8ESpZQH8GsNu6sRghPgQvRmnoiw2AqEG3NB9SNyKjBU6YR+7Mos8q+wY/hsN4NhRtEmX2gFZvepMmtv+2ST6s7G/5a6dtMXJKyGKV+qOY9N9Sf+MVR4z+2aYkrfHirxvCGiYjkwM+fiWg9kX2+E1zCXxVISsfk49I75pi4bXOYtEK1ViGJum1v2pgqBjcQJNdDB7+T3y8jEkq/9jhtpnqV8NVQqF9v+BR9vhmY/NiilMuHkW32AH16YyjSzkz1719wtfkZDRNx92JMITt/MMRDWwANBLQZvXy+Nw0o9xdzJNbKjCJ2b85RdIDSIhMUNYpeLZrkOjqBVk0ebZKdbgL0aEZNB++pCWVmcPP24rVBK5goNwBzx4NSPXPJKhW5jRBov4y8sYaL/23VK/qNv0+P7yTkB85KNTs6xx0AX3CwF3JN02D1mD0s1GTwZgPjVpIbZ2sQWTj3a//x1hh8W2yyxwzePKJOJn0WMjVgTHvbmcazGxyvS7QE9QHWoalOR+9r28/O+YJ+7/IkVK+C4n3fd9ElAyZ8v4ksQ/V5b2Hkt7u9z7NWbx75EwJY4wBYNXrfsZrw52SGaMbAKOwjdrTg8//jctoZWiCsM5leK+0rOEOVO2Hs7fPK59JnqSPt6DAOd3whbG0nE/O7G0zXhSjfsnFaJ7XJTbVDrijc6yJLyk3wOzgfn/8oV+7oH8cIRMFA1xKzDYlBledtl6LYpFsp4CHh6EE6NcnHGArfIEWefYzzB9T73qePauTEFnvj3fPt8do20qGdo5I9DEWd7mDhJQ4ll7wuRAR3gTh7uNVFTcXoK9RyAieLzihtgtstvKGXTXF0w6rnxs6IpkgYAz27Mkn0U8TNXhbaflU3e5yvx1OcDQMmD1x01sjvXlwsb4lzU1/PtManXMFMXvOa7iqcRv+rfmzIiEOEzGALONfZ/Jli4lxZ2AykmKhDoQtlI7pYT1zaG3FJVqHl6IjFccqE2L7F7d9b8IcubDzZYhWV3MF+7Eq89NXEhwe4ATKoKanwl2j3jmOK7fAx3urwe6jDezKAdfRG2xDdx7CoVHdqkNhtUcfQsSqh1zXHEOb6cPrS57LT7zsdWD+r7Wu9rmwLqp0LPA+78n8r1wu7l8L0vMs8fgAm1kV+t/4ZtXK0pTCQDShi9pupMlTngHo1bS6Frbe2YbnvvmWWdT7JniERMaNnKN5bcPH67K8QAb/9EcCuM+8a1BuSthO6qAAkgAuUTs8ewNeVfhtb6q7N0c5ARW6pR0DpcUuffC+QRC8CCNSXNRYBZ74zCylkYf5FAvbAKLasD/nQ7jVjFDJZK1x6y0LFMbQWYOPug61RK9HK2Tx83IvTEdSpp9V5cGj0x8z6+I2+YNcdZA6PlsP0b1rt6X+M0lKY08nlnnTeQN3QMrS6LcchzADKOAaTY5RVTu+VPFd+PFY5Pe5Z1jmLwPQsfWeEyhrbb3vLdCry5k1iwEuUSWe1yMcCSsHND5wHEormEd8IfjcedkBxE4CnBDMUik5dbOXLUiM+XCpbf0a8Pw2XDNdfcl4LfYaH83SOQ2oeFD4ll5HihkBu8H5vcn8fOSGRuzxYswUx2l5/00IXAxAAoCpU09SE9ePjWFEUDE257PJsb8qSqn8lgiD8eFncqpSXeUnILsW1TLJeoNuC750Dcqf4fD+jXDYljfiOoiewCMs3e/ftrQpnkmDv15Rn3CrzY66wNWhWcZbEqYaIRj8U2yv7ZoOv2JKroYXM4O2oBx7rawD/QY+cxTopIyivRXCQyx0K3G/bwvUgjYL/9zh4TBey8VvGXe/YIrkw2rXJs61m19oQsiEh1liVTcT+7+NzBMvccBQP3b6e8vWab5xM4vWJDR6dlm0+259ETH+Q2XBPrVgIalWfSEaNRGZI9Cuh1bg4qIn5WAQ9O/gqGQJ2QKB7/Ik/mVvH/7o2HsX1u4pXBjevWdKUsVTsFWChTOeSAskNad7LI5jpVUma2Mi981x6xR3wycnLBdpIIih0qael7h+k/OwgGjgcK02NVXWSwOnbevaFXGXvZ2Gd8tjej6+K8VTvyEhm34EHxPRVJErEiFS7EUgqFRZEBdxMnSl1mdhYrlO8/RWPzDcraQ4PS7eSQ4HKYpQskSdr6X8CqqmReKuVfJfQ2G9c1uUMKHLlS4bjMD5A5ZwCf01nZc2jb8Htno2UjHU9uI5dwaE22p1wwWSsOgcVFYFZwA4kxzZYbBg8geSfc76DMbDSqCUIjxJaetHq5A1iHXoWWUCJ7Lp5wE05QR1X1KH9YVnkcR6mL/gjzuHEc1PHkeTnWnUe7DwipQb8aRW14zi8H1PmE5nWkNg4qAGE7kQggzla7zY2ga5uytgLIy8zg716Czf5kg0oDRTcns8yaTcE7s3jezdbdQzGkT7KEU/1hjgvyOVjVD2aynTPWFG1BEjERTstrPXv6U7/hdIHy4fl23sSExN22+MTZmOyvYrHg3kD01OwE6WYyLVi76N4veCw594QYM8WTHeOzxc71xjtcWqp+f2cv8ZGHmVQenCL74wXVCZw//qDxD9g57toxyc1EqquLdpvs1S3i1S8nwNZhthQnAHZk4GxCawltcp1yYgAw7CWxRpAvKUWGhAiz+9Va8wUJTBOt8SsJM6utoEiSl6CgTa07QbHy5DLn4DAALbnMf038GrwSLVpfnprM2Pz77ZXp6WDAnCp4t5C1wzpRlRXJGcRcuTyrSwedD+qvL6xlzle/BeBsoo7PiRX/kGeOs428eSgqsBv3OLvtb+p3zkipdbPMVwj9QB1FV/fiyclCHTbpeHarcmCpntmDSrlCrCskm/qTFoJJxLzm7BP+p+rUJQ32Gxl9WG41cemA4tAeiQqLpn9sbYxAK52KByJVH4BEAMK1YigAvfyw7heJVhgNFcm/mHEOa1sCs3cpa8UUXngv+d5ctr6/FqCen3NpVGaVr1i5EsK9dY+oHkEgrZsPCXHUek5TyvjgzXw3/EdEaORIAHYi2zCWdKGXSZnfdxPSiIqyeoAmS+3q2d/irXy2QQ5ba6XYr/Ex51TiJT+a5Eagmp/MlSCAth8TXJhwhF1OFjDoEpiIWgNoOlWFpZ4EnHsaGt13MK66NhonshGzGL1FDGNjMqRAPvk//+iXNmlyOJHtrQ5Fl0mf86v9MsPhexeY/u5W6iaEYsXTJ5C2Ms1xOapXv81c9J707YE9rF3VdjActZRck8tecQ0VU29E6P8tArXRX57c7+DIH+2fRQEVK0hYceGYiNyuSHcy2e4qbywGH4f3v9h68wtOCSF5zd1GdGlI2ZevOEOTfGKGt0umcfgg/tTYOIZ8KXEwsZsWILlW8K0esR4gmSgckeEBzsaUFR6nb27TWXZ7G29RYYdeaYAxIbQgRzDWbsK7il0Mx7YEwbUCQjVO9NJDMIYMjj/ls3AP0P3ZTDwzClMcyF6daKsckGp1A/Hu9vyR5egAhoVGwGINkyEIZoQKjpUBJ1tbFtYIu14+mqfX8pPvUw1ZIwKAbkdLTWv7zaQLxiXTHUhsFZnw3AUfLAexeRDtWyaLLe+kX9syNx7loFSWj8KC2CUN5vrC5XvDpsVF81IrZwJtDnfSa64D/uYml/71hEirBzy2qL9LWjKy6z1NvYpUdKwUT4hX+mTbiqCxtNKS0tH63EyUCU2mcmhErDtvq2+H6pUQztQUFnUpO/1THKnPZaMa49WPbjKGV4KZ2OaQW8URurtprYxaxwP5TZr8pqCtn02Ln8/RCbadOYWDTX8/VcKdv2eElqY08sh0bqIIjT0+PbUS1+DksVd7jgHH0Ujjs7EY1OBURjYH8ZvshXFafkdTCM+c0tVNDoQsBmvF6pS8gqIu4lvODeC4vH0JP4GgqnnNlZVAqVDNseKlq2GZiO4fuGnHSWr9xyUN6IXa6zRKD/HC0H5yeypPHmA8Aol8ndBtq7Y09EHIV+zkQJLZfPAnbum1eXJrMaNDIvecP8diCB3HIgo+OY+C5Uyyh29a3peHiAo1eKoVk/LaTMlsyPf153QOkberSPpksPUIVAB7aqqADXyf5VtOD2c4RiGBVSujS0NX1F92gMBqaLZULSJng4ZOis+HMMwHW8nU+40JRD1CjDdNtdcKUBbkXwJdb2dqmq1RKBVlKDQ4ooz3zU5Lwr3kS8jmcK+ROOqkYBxx5Y8BurvVR3zHYYgZeNGhczpEdQ5PgEyG7str5Y5t8pMJUbXB+Xm1GCyZzZYd5+RmcwRDnfpuU+gOS13QL5rd+HSRiE0IMA2XsML7hcBzGFMoEm2MiLP7LIS7Zo2FIYPsrBNJda92++oj6+Gp3QbP8tA3DyRs/bWrwgayjpsTjWqWh/aNL7aRxyt8ptCO0TgWPV7fQ7AN1xfup/+x+FClq30tvcfD5p/FALiRkg9Br6NTc/5TIFm1GrFz0VlmwC1F2XhCHc+xKiUGQOr83bKIPqaPQIRppr2ODyKbOAsutZFvTbHMo5kNTDsNs+Z40KRSlflhMu82H9DwReBVTzLxSi1JMeoXNB97UMD6rPW+kp6MDtk3vBwEkLpa6laFUzZazqgjwBF4FAm0T15SZ/vnBtJJv+b6IOeTE3Y4nCC0Cgm+PLdLGOqtsSrMeGPEECm5pKxVe0PeYH8Pe+Ph7xyYYE5MAyWsw3f0I5TjqL2dTtZrq7aTQbbkUBf6Ht0ZHTPXBeVACSeAfi439kGoZVoWXV0XDEIf0M+aTeY9oIylhftD3gTNhn7NaJ8/STz8vCLEwE3TC+GBVhJ9p/mgVWzhftzjyPEag6yjeqqEViyTEvgX1EPCsTBrpS8ejKhRp5EZaWjR7Grj7IaSAebADrmKhdNf7xRPlyCCB7uDZ0nfANIsPk2Iblz1A8jEj0VCJBeAAWSwXpk6g/seeatgx5X+AifkUvYBZx4i6EZGsKTCKFi3Eodk7QafXdHChbtoNtq9Zv2Zx/gPpTor/w/u1pq6tdrAhz5Qv6rWj9/CC0/sko61ylS0lZvsUMxO6S6t+ZwSs7h8hVwbi9ulZhJtnY2utEy6EV7uWW6jcPIHRvqZ1cRZAVlleK5QqggAcqZcYcJb/Ps5KR+biNUZhKS8MbEc+e3k5gBmR7GzBhf1FIym/kMES7oc7cH4sLTkBn4ShPkiokNUOfWdALiiqe67GHqD/CqD5IED04aqD5gliuQzfBrWOFG5nPw1R0ebcZ0E6c4OoGWa3fzZnXTYLKAqLObmDhGKp7ZqamCfLmFWglo4jMRwf5vm3kaYjOL/0c9VywVF07k60W+Q4/eQ7o5sOVprdGZlgEvP026ZvPd1SyNtsUSZiUVlkVtATK/uGsoKK2PTpkOp9VELgOisAAYkGt2RP/MdJPATafu1MeC79Vo8sa3yZr2IVN7wa87ENKz5TGoywYHGeROIIRAzCCXpXm0EFAVqTlQSMDhWLfJ/pJn7P+i20xWyL8wPehzZRv8Gio481Y9oWyABoLRi/5tkBoKcloG9+ST28VkNdwh9hszTVVB7ABKFpoLrNuZVzkFhF6KCzaXoeMBqzMjD8+5hb6+DnBykwgs4ka6IgrooY7D17cGIP0LP2ojlCW2ZDe1Ha+HBEzhfR0o0Y5e2zRHgNssbbB5WOCSec6gk0koFCCKtsT8zkE1VMaa995wyjpt4vSCELf3HWcqZpTG4J3xZy+QK+gmH8zGO2u7I7xwzb4Z5jB0gRr4EvqnuWlckJeImm8ZChWnKal9rcuIAbiahVbsmJI5UZMv/LTY88IXpoQd5diaGrXwjXZ79WvhqMi0OmJ7ycn5bXGhGK6a/NBK38hXSYR2M2R1eAg65H8rkqg6Omg0OggaslRoV+qPxRshWU3u8OTiaExBOn0zNunyHTcjd8rBcNN7IfSF3G29V5r91lVGV2rWW+a+hSfOJ1CfOK+oRGcw0xtTmJIQ4N2SO7/W0qWZ+INRl4P73Z9NIbjjfN558Vc2zOlC9OwyFHN+Gc8T86Y/VbBj5/dBqbV38jdMYFWLJ/bbbOaU5LFvjkuxgrK5cVSvrXrmkySFyHObmjr4d7c1MBvo5FQIu+OWJrJfWR7J+4CZhayJTs9RMMxNbKg7gs5zwtoar2ge0X+gS0H+42caJE0bCoCs69THUdQfitkqZ4j36LZVLmeToLFOWSNy/gb5D0qfQrHdVGgfU5dQWHGRA+JSKskNRIPcNsZ1ONh16aH7DHsyrrUWvylSJfHoH1NC0VLpJXJl2jgJVtsTIgOBsM53ckm5a0CcEUu5cC2rv83X1m8XY6d+6udVbTfk/7sf5wZg4VAxX/WvBttfVg0voPkFVFjz++0jbtaSvFO4t/ykGbHhMyTeScVvcoE3fNCws9zwYZOK16qp7hiZpRoNI/yMarMipDW+2bpUMP8PxoRRAyOIxDxFxnja6Rc1Z0Y2PzkRYg7gD9jy2WOSwzomF2DBN0wEGUt0AZYoRIQ4OYuG77nlfD21KVAvPg4mNGqCsVfg4NEkQsgxr0oPPN0GnEgilPXNAxWYUYKD4bfqyjgwTmIN3yOY3AceMbnp99AxHK6pU7bFOeR4boWtpuJxVNMMN7EO8LJD1qmomY9jjrCiM1mYpChHV7w4UdpEypdj7wZWGWiaNnzSq24k+wk0xb5OVkSF1vc+kDtO87u1iTZ39/qj7ZoHrmbpRIDGHoVRVf6b2v45HJBmY6FQc9+C5c2AXiiz1MsHFsRjKfeSLvte0K9gOMy4rzt5ILPX3+FNiUU6YcwDGyXX0pi3VSV/ZKV+n1Z1sTxh/497jMHR0EM+sAm3fENAYvQJPmglb6x2jD1XxgyVqQfKHU6N1j0/9rsm/JDYmWYGxXlWf0V0FdkRk1B7ABcZeLtRB4BIrmW6fpSGYhYhgnlYbS1eq7rcbZ9BXBDuuSSk/fPXROLzQFiev272M53j+uds48fdV9zbVtUDLFLOfP+To0CCEINJPFnQ56D6m7OEJLA1r53p37jKv6mKXP2TK963WXH0vU6vrmvNHTPq3ljiBscwUVyyk3/3AKFi/UmXWa7v1Oy4eHalbDBmWt1P1vKUz1Dd22JlWsrHAusMt9ikeE2529DmNiWQFswEyOcNpUSg3Ut5NSx2OKwo2P2sZOuPPq2Eg4834IMgFX3gzSXSfsY9gsi+U7E/oZsAcPNgkL0DaCg364FKefIISELibnTuBjnJrnf67BDHEfpB48wIZoFkaoa1Lfh00QTlhJNuVtKd8MOtZjbXYruXtlu+EUysIuEA8Ey66APBgzjfLMD3o46GFQagEDvltCjYceazE5qwLlSZ6RZnWeoEBfp3uVe07dBnGbOobD4ZA9uPyv2hBm4uYXRQFkQfpEDfSgc6t+TOVuTdSI7TtuawrD5l9I5mIe3R8JpToQO01XCXbcF4UrqN/LrPMbuOoo/gfKqFDfIIx9gxYcIKihggBuk96Z8yOEasDbASHomKAExMUEt6uV0g61J9VjKfPdTWzJTU11WmU+Q+hFDAJKK/M0ZPC2sY7nDaovVu4aDjgWE9d7rhSekt9Kq2aBe4pwMZfN6iIAsQdjRRVcsbyWMZ3E/modG1ZNqn0UIHrs/3zsTswxmfy/Pr0pNOGVjM0eWHYNj6iBFUp2rvtri4I94L4JnsJ0MZ7w8YS55liVetpl458cru4Oku2FPr7nWKJUf0K3BE/CeRdvq3XN1DxyujAzMaZayDDVZ/I1XsUMhPfoo/epJbxak6Ku2m8h466jJBcXHm2VL3SnHZAX8ipJ/bPMXg9XXerIArTsBQ32RjVqatdDab24iSNe32z31ubHhXIa+wHWtIGO65OGqEcKHhANNtUDA6vucPbYOD/F8dCxd5ncTnXkBMN+CumTXtTfKs3DAA53knpNqgOo5H0KhWPmaKRIvxvvTRlou8Qify/efWgxSm2I/WhkgWcIIglthTXygX3DDV3cYihGs+VuQHAaeHyuvIQoebKnbjhtmQl+aYM3OX2WFfIw+iqHx4UaexVV/cRV1i+iBwR4asCrl3m78mubadHeXNBaM5UrT9py7HUR9ns1PRI2TV2K8yEJMhLFMX3r1+RiV16jeEl+tqXMSS9Msy1T33FjUDYea8lVA7zbXt/i0/Y97VE5WAFGvqyHo6MnW7oPNFuVHgx2+ZKQdehCG8AxdFuQthAGp2HXD3Umgr+q7T3jW4qPQsf9O5ulJZfy1yTFytbGfum5mXXIcShVypFc/vjCo/X6z6do7H4AAW5ehv6T2sEKhT3MD5gLAzchlsb09tmgFCxxvcLvsXCnzgE0255fNtKLCuqKuCOGaZ2hq/HMSczBMtDTwlB67peMq1kZ7E5nbgY4je6OU7A0EaCouE6duy3fUVUBtGiyjTbiOqeQhCOCc50myzdFas1TTgq5uhDJuSFa1hVuabNaAavIXvOX4FwEFoVzn93++yWTS+WJituZP7+WiQuWiOghncEyDKjitQ1GvcFmfwa+dxGZ9E2CzhQTMBkBWxHg2rktvDMeT2d81pdO1xq70w5W3XTq/8PFxUXVSvJHu6QbyriARl+CSxAlBaA5b+r1rlA/kFuDmIeDlSQ0v5y7zy2JKTVyEbUageqsvvfu1bvGq3lH6jhuOlC7fGKRqtoZFzDoJRKYbGAzEcHa7BIQ6ZL1ugE1Y5xPBhokEGl7CCyn5v//MXDxz47uPUBXDHB2+J5+xdrEGU7ChhCxhCBBweqLEB88UkufR6bXzW+0wPHihecA+ofVCVhXhSzYGWHCq6KH0lhXKFQjHvHl8zyi6hu9Rm8RgeB3IFjXogK3hd4oF4ILSv2CimagH5JLK8XXJfWROwpt+WNsnk3jXrplqRBEYCi7B8CI6iGeOl4NYD/lCMtU6rmheqba9xKylQr7hLT5jIh7Cci8ebakgK6hDEZbHWQVPBxbkrhKtAHR92BUlVKPVseIFB1BYJ98p5o78aO8AXxeF6CCcBSOFHP9Teb/10tC9ym5SQjz+9R2E89aDB9yGt9JN6RUys8GozQC8oZi7yNUfdRzPPNbtCiEs+SEk+bk9tCOiKtR8IzrvlhdA75ZiDHQnAfi/n+v5znQqN2U5WZ9Yi1u8hHZ4GDL8otw0Z3hIlqO7Q6m2FxJC/r8oEWtZYEyaJYtxhdvZB5TOAnd7sgzRTzJuJtW+IElRtbRJHNCiBJ3pFXn1H6Ih4SsT3OkpSxaLLlood3rrBaG5EepPoP2BoyS8uIUMOjIo8ln/JYP2dSt6uRSKEVr5rmTep22og1TjgaPfkUQrXKqcx2qJ9j6V1a/48E9b5Ec+SKM+I4hMniDL8JXCW/mL5qaTArcnT6VUgKRorkJi2Iw5i6tMXVoAxjaRQZloIoIIU4dDkdry4J37xOVDKrSprjGQNyMztVrYTKhbK5k1t5D4HTAWxiumd/8bAeyns6s90e98bSdzt9NuQOy8xknn4nMbxv7xMwujZBQkXAL3UB4C2u+WrjZ19PToPnfwrjptlW3fc4QFhcl7r/avcruWYStlgq3258C2sgVe2bEhTv6SvLMQrDN6KKUULAsPCOAXinZY7c3rNNizoSCmwswKgoNz1hlRuv4yMBtB3NqS1W6/MWn4SmFQPw9GoIiIb39xuidm22Y1gcjtq+pjKPHUXVn0CUZk7I06yfERKmOuxZArGQR2r4/iUUiDWeIj2FDwXyrfbpthhAKTulFxBkkwKNCyicLCDPkDqvn7BnPtV0tJJorsPDV1WNcnKUfEQG0SZLNux391DMU7x2QkSjpGYHP4UukYJ5oMhv2EHj+tFMJIgKksJlXDPF/JgnApz3+AOi/Hloy8dnHHMt/5Vt3NZeSEurMNbFhLczLuyU+043NVDZ5kks/YaXovdnbR98vP9gRU09wpEynt3JRxG9Zmf9yUDxB06WxaW3RLIKE8sBPcHeOWyAo7ytb6h5u9G5UCfAvGOzfnr1zakQyzRsT77T1eFQWmFeyXnyS7DG9m7+4840yzWZHv8QNvtsRR962/Ofo6s5B3xnLxUJR+8Bmu+KnxkBHMvCrfRg+bgFjtkg916zHIu9fzFxiwLbm0q26qlTUvThOFraBvoxaB2jkOqJYFSqtDIdv+anZZD9JMisETIVLtJ8lcomMDwSXprXcllaWNgEa3HySArRyPQGKpxngfIpQFYvUSG48i/wuNgUslOICsNbRj/P5EPI0vEflnUgddIKy1sSerlfisemxURvgx4ZUQkJ5bj10BwS44VYtg/LqE53xh6ydAhlsjkKMoc9JyioljvNVHBEPisYr7wEnuRoonwpCD7VkKp6yjNWQd/i5vKos8OcKtmAn9GjvhBNYAAYupeR28e6e8iAVG9miw8ABkTnAbq4N7dXfswz7Mn+iBpeA9lM7lkNbrY+2iGHN/J1wOfvCzp0Mqw2BwSezMDYSa4rSfQ3i8rvJoy6bAHBfcWj5aOt/w3BeCnbQ9O3iFkpPubowKz2opHuDdXymCE3Xdr4+4vIdki/lo045o7QkUl4yzr06ii1nIx4epJi9lINvLUSy0o9GdhSdNzJI/uO66309MmruihQ6hd/KAi/Zugy7IPlCQfuXF5WZtvuhuzIQ5otSCs5fAiwg17ejj574yqWOEcZcSVfT0K5SJXv8vSbyjvonaQx613p2cX20J6Ro+DU2WITSdaFcc7wlcUhcmKDx9wDrTcUUIyiFVAUZcK4hGEmHvHMvSYHWFANIBBIL7A4Q4YShtv1NgxozjbRfbWKFn2YMROJ712l7cqJuLww3/ft1ay6/X5CD5BbUTeN6oxeKOUXIN93meM6BG7CN6iOPIf0fQNQ0oHaqpcrH2zm5IZjiP9EQM26x23ex1dhaL6HzPMFtote/FysLtdA7XOf9UD3M3nR2Zq2vTqryRrVhJv8m6VELVixcsgprII3KGbDygDgAU1TMtvi7HLFXn2l2B9COw92LF7fQJ2Au8vwcT9d1vj2nwn9JFKazzraRxpDkdInJwn2HERYOfTdfkAQEfeGnfzbpb+C2Rmlg9KLv9sbRTk0f2lQzqktWnBVHxisyb3ZkC/M4IRPlCijfrEieDtcgZ56uLlshENr+F2LPw1qYR0W0R0QkfqJa2K3XQqIDjuTj65I4EFR3Z6QlYfFeeBMgKPQWnTPB7yAT6irpYaqSrDqDgETkiExYRyTC+q6C41PfEiOeOrO6VYVjontlIjXKfmoNAKBqUF7qVJWMT3v+bfRgM1z5OUbFoM2Tl0sHZtOqIL35Px0qzcQ8cedGX2ceADwZkXp7/n8eKK4tzAiElpA6f1BUZQN4nGkwacfUtM1kfExtT0wADqMOP+eMHWgmI2lezAUYiEuCBj6PgpWf5DOzj4JNW0raJU0jZrL1tXM7KV+wCV9tpSafUVqyIqIUZNaYr9CEyRva5MZchIryAz237x+cWGWantdJFrImExBCy9uOB7q2TblgQ0f67CG50z0tuv5wfCve0HObBQ+BNOyvQNypdc+F02S7d0Q5HsgJeWJ7cWuBiuVYHEK6qq42Ipk6dT8H0w7vFTxPf5MLqiB43SGPbtTKiX5JsF3f2V2Qu7sROf6qwUCH597iaxMcurKzGP6fy4oCzfbt4GNFM+4is2MmXAlqCCcLwOQ7nKrNZaIrbJQYqPQyrRBX+CiKZNUogSM6cKdRzkKMkX9pBLZL579/sPNlRSzZenmLxl6IFFXzDaSbIS6emtHkTJGT02BAEML7CVGHBH4liqPQqvYIFAP59J6y/wLPfBmA5RWvhQZLSaEUVmw9i6YZiSV658OpzUgEEieibwGixfM9F7Ld+AVMMz5S0IczW8yECoarBq6wUWMOo+4oxa6QrB2dKuqupArExpgUbev679q6Khxe3C/v7edv5oy3oxsYHMyLgjvobH4ULd53hw27/vg/3BxI51Fy4n02GeLnxa4gqag8tHHP3tVo6IIN7ZnQBcJ3VvKwmL6OTImfwnK3HTyy31JzyyGX7W+LLSS8CG/CSUkzfwoToZH20VUElo36DBIeg+mKLBIuMZs4HBw1XWURSNiIZC/5YVIRV/ow9yn/IL2xltpexWFlzbWWc3e40StEN6o74pkGXCSNIdWWa2lCnHmOeipax7+FrRoRKtEwIXA1qtZXhY0tFmPP5tclQvrEPvP2TrTUO7uoYdOdCdGuq/GEZcEoD/a13zmDYI+MHqZCV/4rLE9Tf7RIsjPKYF7CRZMl8+aDmKP0DVoEJteTH40PBwBiVoG2ha3/zc5rQ7zd61IX2tIqkaVk83wDpQ6G8sYmXU0zvC1nnfKsNezoR6EUUTcWddOXt6hSogDioMblsl88coH8QTCKBgetSgdpbqTGAI8AliYGgkeLFLT9k7jLjCfeXvtxmk6uTBPjAGKrp+7vaXNwgh9NsIVbqTfD4tug95ExhmiLTUao8dO81Y4zRE065i2CJtMReDZgNtz1Q9Vxp4vF1BbWmBOymRmM09YnaIMs6WyzFftMf7vHtHXR4tIGAm3gpt4BhcMm2iyKmRXUyDKcT6zN4qeQwuGfIp2OAAxD0Nzwa/fyYfsAA57BBtXixMrk04VR9Z+Bfr/l7cjeACvqEu5B7JGKmtdtEp7Tio1wsBitsfoim2cbIXPsOMzLITnrBH0Woq0Hsaq2cESeEiuCgWrgLjfG+a0m+Qq7r2gv6O2OHoplvsTwdSm19J8DHarml+UKkVHTunSp1NtKCzOuNUApCnXSvBfSGtbTsdcIpNmx2gLvDx7wVso9D72qqMD/iNogdRFvUAIuY9dbnc8s/wgK5MI8LnpkdJksIQ1GJgjwI9y15FNtA1ipODc2+vD7O73xq3GblkpGvSp9dpBdSdBhuZ5qf7t9xydxLTSMeZJAfE3Slg7vD3JXElQUZ5/d+yjkI94kY8m5SoYuuZrZh6+Q7idJ1bW3yMV0rka/aMVAksm7d8bf5/M3OZwTIRPSKwebyBuwEBjPihbpBSO3+Rj/2lAbubCbchepm0BLghokyw/iz4vGBqCmWvZ3G09xv+UC06RNjkkY2Pw/piZQLRf+2kbewsSMOBOZDXyKYsWQasAVWE6sYDBQHTEmiKzCXhB4UZImX+TRVpxrotukf3ubenmn6Q8gPGJWyn47pbZk26v34yTghw2kkrV1rn3VirKUBJZQGlJajvlDtGs+YAgDj1WT2/DCi6ktQ4hs3zOSBwp7cegXJlPjqzNsYH6qvUEjS+gqeXt2umVbUyMdsx38CPF/eG0tYZOJ3I8WWYD+IqOrlShPdMg2oILUe0phcztefgYoAJ+CUEHbP6FbGl4FoqGr2Chvjwy+HxhsqS5oSCBNy+PMc54niFNTWm4PNBrgUHJoxTMmzJH3jDAgZnSKLiSne5ohb4YK0Rp7wVFahJlBQWLDU6Mgg9DWthc4syEsA2hBcyBPwfgWR/6J3vXwgjfGdeFjo16Gfxxfq7cKOygxBeL94s2hUtckv99m1STOFi9m3chVN3RbIzNC8R7Ewqr4apkuk48ds91pAx1o1Xy6bAOuNvBcoeR2nv2vH1P9dNPdXoaLbHBHl8W2UdJcES5MAS1duhsyskyREMvA+sOSyIRQZGcFu3vVstgqCQ3G+j/c26vC/ZCpMKGR0+Vm3GhW4u5eGIyKnufh0b2y3U6GV/X3BdAHeZTKQwH/HAA9rlMlII/cLlOV1gSdXJw3niTuIiB9K/SYLmlWg7x80HKM/fPAgPADqa29w0OWAH06101TKA7xw+xKgAtI2MAgqDBa9XQi+7BJzcunmmgATqeW97nEifnJsSzbP+iXYg3Yf0n/CO+VIPf1AuX0cM1fOPY6RaCcamFPickEZBfe3r9VqIn/q3Tk2+jCrBeRXbuJ04nBHvZIGuyF+h2hKQTr+wfwBsCzw1//sE5onRsEL5I0r4j1D7uYuCnobSvrm5gWD4YqwbouwfPg+YBmz+oMZr7E147mjn19pWfk3HjBqWmpv6ScJgoGk1sD2CdjXYYmA8/0dF2JPWTcKBjVuBQI3xANlSKBrBMQrYIrB5LpUcDxTP6/mrdraDkMj9tiiAyEmg8E6pmItUGlSq4Yi27FrAqpty5Kjmaqb1frqUMaPJJp1rzoZtbUI9k5L1dDi0qElaAflI/7J1994sFiFlzPQTVL285sw4OHqRK5yD65aL0Ke33oJddBh/c5rkPI9NBCpD9gKtWKWcpKua7ssOO8tI6ITFt+T63CaKjnT9fe702mquA9qtPk5UMyFUO5BYM+KOBPBIKMyjm6oC8q+0dnRIcp5D7fnb/x4SaHwOgAl05apUDHT3oV8mIz6yskP4sf76MkTODt+YzNcAQNPHo4oB7ID7eYTEd5GVDTajF9guhNGfDPwF1BZSu7qcGyZIU6pcabDWJoCFAUFwgsVKwotE5nQBCz4JCpnZnIeNWoygXRZ93qzlL4d/Sr4Sqo72l+dNVanOlY6l/nv3vSAFaF55WDvQACBN/wYFo2q5u26Eu5MdTLpARL1cYT0MqNbI+3Yx5h134puAVs6a7KO0yN3Duf0IycJufB9+YyNZMvqHwHJaURsVb1kTeFtfbS8zve0p7yjoA6+bTZNGXOjGALT6IH7hET0ZZAFs23vzG0izTi0Kriph7y6nS450Fgi5uqqHGeJEgUmNOtTJY9/TIu99IcLlXF8JB4lzKWGndlcldL4v4eVAsaT8P7xrBgLA24wrzf7+YZ8W62Dz3eARCJmiEYi7Hf/stLy/AUKd2qKhybl8eHgMYbmbZ2SOmK9X5J4N/ITVt/IKGa/nIIJJXCIt4w/faW3DQn18uR+vAkPrU1zcZNz++P85g1wLJH25Wrdf/hN5zZE096wyv3vUlI1UirBeo50U8b70Ry5xeexpMN2Zd7OnPiCKy9E/N03gjLmN8hDvffTWYOOs6ZOYizH7U/N7VzVFlIgbT43eSK3XofA6vgwhP45qVfSiaqQhFV77D0Jsl2MADjYW+pZSMfh9UDilYw+iWWvalKJcZd/tC0O75PfZAXlLacB8D3lzEJ8UNNyZZHWut3Kdkvrbd0rc2DnFUbSIwh7FHhjbk33onDVmooOM03MmHUmbaMA5L0vyQmuKoCHNxMREU64kbi2r6rLpuY28orc0XG+Fu5ALTAhbdQakj4+3lrLFEyOhO2Rl0n6oqNIxSkdcm2IH1IQlHqlm9FLZhR+H2vp0nrLAkgz1d1U08A/WeuSruvJf+1ZwDARufriZ/Dp66Ufm5aRoK1PpAVstKE27zgMVwrEh/QBIdKPsu0IKXCVinoWGkw4FqfHUuoozOS4Gxme9GzHORFqvdQi0u5NDzpyB1gwZOAdPjBsf7IQklqxvJjfPDuxDWCzQDSADthvgTg7pVxFAgbfxTj/zeAMdNEJrXbgzPZBJVzcZataxkFiWUO1ZadPCa/WPBVZVC2seYfADRglbj79AwQqMJIKU2QxD1FqISas8i/i7GrltwpNV4oZCf+9gjGQP41OmXIFi610/2x5aupu8eiScyRlLGxEt7h1344CcjZMfNk6GlhdI01OJnarPBQT+2MFEFePMb/4kVwPeic6u+5QNtt6ax3A+7v+2ci+oHLkutsnXFwb9zvBTfnDj3fxJdeevTILWP6zdOKNfk3pl5+7ibJtJPuR72KSvEsAZ2vuOi3l5kAbXuxfK3Qoy5WnJHVn4MRcHov95tZtC0sXnj242r61amnmMVjGUFK8MqxysbJ22Gomn7w8MdJQwz8aMdWBvbKLOQQ7KxxJl1vQsibg1UG4UzQ7OIQnj2wfDyDiqTkw8EQs5tkA7C7+7TOTiAwIbAV4wAC37SkPwzEvEW5oGbqHCnpr15SsOLhWdLUgCMMEeAd/0xuMzyTtqTGNw1ZMKuqFlYznJ8O+GBGhIL3Is5NFs+Ro+nPEXFxdeGbv8zKwjeos67OnRc1oewQ0uUwsz7FEB/dfj7WhkxUQRA4nNwsChXYrKYSozsN+ygBQ/lT9rVdbsVkINqA8cXvckwkAftBthb0Xxok7N/sauarn4UTYO0/amytTRbCrwFT9HkMWH3+09LOwrDGlpOSJ2xxRQXcHDXzwvVDKIHx5j5qJYcGYQ6Slwct2E0l6eXGXivEc1vOW8I173AkfRNucZQ8kjPLWuk8ImIWfLAiz5QWBXGUHnzrak1edVl+A8Zklwvd8PjwsprxESEJ6nhfqhBpyoCLttbv3UqWTplyTyx103KlgfD59+LTbb0HvoesPllNRcO8f3c0vBFWryFrL1K96n9hUJ6yQhvc2q4JQaXXbiqb1d2WfjxFL2qFFsMhmeP/lXJFotD+mqWf65UbnU8jb8/HS4hUM/ceMYoviFdkjqNY0bzJ4AbBu8g24fX1syoISnM9BhFqyP1j0fF31YLkD5GeE3uMpMLp/2RLPlcGdF/1csZM820slxbRMvomH40BMNU+VLhg/7LGOzfwR9unh/PIF4ZEaAQ/vZLTgIcu8qjEwlVfBui6C0PURQj5EFj510Qny2/vrtcWYNPRuX4YqM6rFiBl7S1Z/z4DhDHMIpC5LWcyOJVj/oANBSQl3Nnrlp48K9GyWFfUfsfnNaRnjFeUzyEpH3lDvjk/aFEHn4mYL5HEYrI5szMFpvTyVUM9wHdo3gnQCv7c7TIdO0GzFX2ff9WQoHjPImpyeTYx6/cecQzw1t879e2tHhr2lUVW38TTbrAx7N3crzE/2akp+aI5xsoNw/6pCgl289AXcSTw7ixcXwoN0PrtiqYbzdBSHLl8ER9HBbQqebRVwR88UPWohSwAUosgUOndewM8TVzoRo6HgOKEBRk3NCSxw6yRdHMKuSvWAW0uSBKFHN1KFr2TYmBrrW6HMdWm6W2KAQHMVvBQXpCwDuEmO9ZzR5L4oh9xlgQfs4E8D7FilZwZzLMxLREuxFpNxr3G6nAe2LfKRBw4BdDX/+URD+VnngsneVVxvPA1txplZ5wFEO3uGI3OmnfxpmR/F6nqJTr5lJS5rowJdbw7zi/fsgfKRFQVrwOr5F8qQxP/qS1dPvR2Gw7BpbNEwz3COMNQoJqKiMDPhxzLhOWsftUXyins2Wzdgx2Qu1YuVkN4Wyj4dhQV5A5jmEKfEBeDjxe80NmZkqiaGCyz1j+VMzGMZeORMZVujWn4dAAR5f2juh8RW5PUszWEte+AHI59vl9gBZhh7/Qy3vJGQqFpj2owWdkf+cb9Z1n6biGViTUC9WeJn7hoyDHEhfbOvP2WfrJEVwugv+7FReI+8M06dc4mdbmaLbb+FnS/uoCTCWNKFo9J5dYuKHQMeRMgqOcIjcNY3ujltC7EHS+o/mJ8pqqnUSuySqQ4DPo6HXS7NWeoCTHg5DTYJ9A4210e7cBcqlC2EHXi4YkgLWFR/RYY8/jvGhuiyoUO8nHu2rPHnfGH5+nZPvhDU9idVscQdUF/tP5jlpO2Ze0QjbQf0Z0VE5UMF+B88W2hYsVCvjOuCj+XRg7/olh/J6mfVokUMHqOh4RRtjIzng+pChMladuiU9kWQbXSAhuf18FUvajd2CsvpKc26NLhjnr6TjURAJDmbDmh74jKr4QLO/kLfrvS+7ANQhymSqjBvMKeI3Fc2LcEHdi0JZ6opNb4fFv9Tw+i3kO4pWAYIfITkQvsEAiUugoz5xBqs3EF05d0qwmX0w5JXQHOgGFNpoFciTWrDpqJul3uAuF8KFi4/g/bKHzR+J9RvYhJ3gq+KC+Oc0Q0fKcF16tbBQF1R4yQsfX0cyuETdH0Kipqx1nygGpdrU1aYwi22Xpww4PDXiNkhAzHtOaQZYy9eq/guNhpWZpRLMI89Fv4Neg4NR5nThC3O5NSJT/DY+k0YuEvGXo1gGM/ETE9TgaADTf9LyptfKdeZlDKzo+k8ZMFa2cbu77Rcv/7ssLkUksxbSp+P0wQr6jd9lEeoJxHCgskt4OygfX71OuBi5VHDA8/6zM7KJoDDnd0tymrQ/AUU5ISiS8l6Noq/zGd8Jkyatr8dAZIww7TCDksDq7C30A2wn/HDp4pMmWey18hsI1NvCStAnEftaxSsHf+KVTqofrmTsv4fo9F2jTofgHsRJojngcdhPyZPOAX4a9UyNEB+nKbSHCW1sL8x+e7zY6rQr08HyLC+iEQM5+8sZGbVuSc1NARTt0/o083Vi4csgiEeTH+Ydk+iZhR4owl5QIsjPXEUzzoQtP1gakTlXE2HTqA3Y3JFn8QR6tGlxS+P85aL/fm6EGVO9ia0VH6hcQvReUiFjbh9IY5oQP6atNt2oPyOMFBtoEQJho+7V9YEfjG/QDINQHMZmV6qpQdqinjg3GWvUaqZk+bhhlLxdvfYU5krJ/jGX9rB7lRW0bSiTIQrr+TkoK5rX49Qv4osvo1DOLF5X6B3tXkN2nXpZRUqlhTlme/170jvAOwUWne4Q9cqG9WR3q6k8OuLv9k9bL2PjqdoKZFGPbxd1dgdacPiZ0QT7InCV9w/Rw8QKo9ijZ8ZU81owhSIU64c/2w3jOeSv0y6Pmz2B0AbPVBh+hgUKHY35F59YL3rwZD+xwZNK9s4ACMpfsGJHyGyhf8oKsbgHeYCb+bkrECYedLhQZRtfDCXEaoj2y8KECO5g9h16ZidyWWnFqyNdvb7xFYyfeLhRbrLd11hOY1JaQISz6DNNwU+wANqXETPZztrV6haU7OjA4NlbU5A/lz2W9/5a8JI+5m4z4ON4X3vo8Bu79PqB/w8CW16vq7RlpBxW4MqtNpqdUHwrWIZILKNjitTVuZ0nXSlfxUoraqq1dkSn/c6cYVj2mgY076iuFAJjgnVJR+axClohZ55KEK5DWIXgXkSm1S+O52Ns7PeQ9g8GEm8lGCEvH+3iHxfCJyd+ywxBlkvqsTeHW7XBZj04mt/6JVftNUlVoF8r4Plzz4AFH+wfpZohQffvDHcTG5ygKsRQXJsWQ5PqMsHk0JZ6jWWI11DkXqRdoQd5LUE4EKIG5lNGThgk7MAk1pUdxeccMhB20oNrJk571fvlADcuhkbpwpYPMhHuzmaQ1CRtCH9yIvOh6K5aXjvwH2QWo+dCfKrRXmSDzDtKyUU4yuNDOyP8Of15g+aVIOO1Bl8feYbKSkbQoScq8//pCVNHZqVZ2TyGT31sw1uC2WVRb8M1RjFfDNXWBZWEL0IrGK0YcSNrRpoiMV6HGH6Jq7V1tKs+UWJKRfcsmaTkQX/7TrrUmXd1o9cLO56n5xl3hWgJa5qQ465TPB42DvWLWkKbysxtGRCkblr1PfLWfoteoNYcuv8dMgMQQWBPRVmEr/RZJDQ0odD/hGHDuOMVrH4V6emiz5Euzi60/gDCDjWI4GHO3qkfyPX4brnG8MHsbGORrFKLjxD8xk6gtdayJVZUQbhM0nNadnus3/MGJaaIZHuEi9KJLHI68j7Jf6RsL8EuiXCHw/cC1IWtCI57DCOiCaMqV6K5qmrP4oJIN9T+k/GnfvPZ4oz01NexE8AoPRXunMVw7WGdBejLwoWfuv1gcPztZuKQQMOxDWImO7OiSyNZTdDqxoyYL0a/wCo4nxswJN7nc9MT+8ZhNQxV0hPqvl8Zc7JJZv+bXYvmEbHCS6wqYqAtcNO1TcL4bGAvZK+Ns4BnUzhGQys+wh7rojRw1zRWyuF3j2dtrpht3em3s8P5KhIhxWGgNC/DA0UBUiu452LXkq+yfvkjzVpadiW8rsCxin8SkLrXSA52fGNHuZ2OYlqL6um6lakTV3//Svbj/5U5PW/pkzX+F6cDMdLuNLgzkRtfCWZFQK0XYOzJ8y8TS2XGJ0wz6r2IEGrcVVIAirBK8CqhR6m2xGZKS+obMMgYRDjlpa06TdZESKdqCAtBdmRdiYkrOyjm388ifggfbZWyX6Xxpwn8yIJfdDEwSGzk0jGXaNaxbsUSzybS1J6jdFYo17kxXle27t1mRkoub80yZZqT4bA047rx3c+Cr+w7UEJduxMFffWAhIhwwz3hblUMKfbjlG3t3fqk2WDONIaGzQSASTDSY7qHQ72VwliFL3hVzr3f3GsYJm2CBa7jCVzteFD2Og4//QospDl4JkioJpZLOE25oSZc04GcqRvz9exw25uyt8fXJNyTNHuwg5ycSRDsgAQAPSSVUON3nS0k2syYE7CxtshtrkNWqIRjWS//b1pqHBSFC3adHJp+LJXg01q3XSe1/i5kLxA/CBZVpRfiG7Ly8OfcrVbvDMYviHbYGkYuYsun2iIk5HxHBmIg+R/8TmWjtPVowVGJZG8GWsS+T95UfRtyl5pAjzG4iswsnTz22XZxX8E+F5i9/ElrZNC6I8aY1Yu+BpU/wBum5QXkRJItoxB1581H47YUFkf32sOXK6wsUWJbXLYesWrrZCiTZBTcfBxyRaLjlUB/eqmohkpAVlBL2dUBC3JcUqzDeJ86H/4ziKYYjs7KUOb0PgkOgbS0JBULt4aBsn96PgXfzRK6YGSuBUSLA5spjfg+FdmRg7leP69r1PKV3Tmtl/rx48VUoX3L3DI/JY5tDWbKxGXKGA6XyGIoVvDtbnJ2jirTx1GLk8dSn3Hb0/2uWiNd015DA9ehEJ1DJtABlnaPz3cTOmOutUz28WvA/6Zvwcj9JoEthZRxP4dAzX59cQcIaFpw+Q3WhyJAeV+BOnh8Fv9ShHQxrtGRPHH7nREbwZfJF6T3JsiV7V4IhKTivEzrvQCZ9vObW6VmJCG0Aib30QoBP9Qsg5tzvo48XrOsNZFJRRUm5sHPbMbEgCjj90e9kUCFC55gtevXpSJ0jHSVy4b7Q+23lYeNscWPNXxcPiFb8tpODJFUmw7OOtlHk6rrxyo/bC5jqCqyzFH8TFGobIt5jv+B0TPxqUYzcxr59+UdG0dCiB4Ps4GhVoYgeABRvG+Er8lF0hew/tq6PgeOjvtL6vw2O8AXuhEW98FITZws2DpzkvJ+uCEOQx4ERRYoXvpyPNFQ2cj+wLB22+jPMm5xzciZAYmd2WuuzD7FbQ+s/6leje0utv9V7tbDw33EYkr/K7T29b+8zQghGCCVw3peaGJ5xs0+mKZyRYbO6i6Csv233F7LNgBC7puZSGTT2yaJUiOQVJtXwN5yelpwKqDbxCpqTlSBWKUq6jgXPz6FLCjl0xdRTDYUMnrOdpX7RVBIkZyOsIrESaroDRHS8BwkfJ9IzK/dcEPxK5GJLqO3BON9ZI0ZwtMk3h3DCOueghxBY/icYgxRCCPSlzowx2q24r4B94SIr2Zv9L4Hc9XW9C7bamNLbXJBXR/6Bt4mCsCV/avp3QC/Cl8AaSzYdEVNqd8i+yWaR8J0PKHZCVoj2KG6dyGv6mQJtI6W21zOZSpEd+esJHMpWbGGliuutV1f/I/rj+j/P1JtRtmFTra0bzrg3ncjkP+cCKk5Xlvc/TxpmJX8ckHQQbHgv21oC3J+3sWpukjM1EQr4ByU6d0XujyvGUFC1z8w6q4sabCNOM1CUj2DEoZ8jWgPcoOMibTPjo+U5fhc6XBAZ7GS0QU/FteFEOk/N2r39YIi7XfrW3cV941U6iNWfk7OWLIs2MVP4Z7QDZ8fF8WX3YFyUnWmBAVwpEmzai4HOsGKqjuLeRYzj/NSNpduPRugofRLy02reZZUGj94aDKdJavGadR4rMl+6BfHn9uCMu6cUiuASV9gt9EarWhciK3hJ4XIk5hSQnd6/iRbZvzxP7BIDsVTzIX3chfrT8D8fRawhhqmeucy3DXAs71Gcd0Fn8lqNp0AIRMigQSklrZcH4n9+P7O9E+MoEFgT0Kk2yXnl7+uWJG0q6hvJnOKK76mwvUFbLyKHfbXYDSga7I2Kv92A6Uvsa77+jhaGIatOa4/26UzuTZkmgOFcnd5ImYdXsBCtSbNTWrrY/5TH8N6yBlsLhkpULqF9ch0Hb7Kk0z8Eha/ksB5FmuSWTy4qZ9rMh186eK1bL1Do83E+RYjUmFEyWenpPhONZy1A9/OyZaaz4Ng7HvR1jQb24TjRidzNXnGQfIv0NdExxRMjO2BA8elEKzsFZDAb2b5FOslfhCjZx/1khPX7P4/wdbOzx3NfaTkHyRRq4z3VZqEAwIuh43o6bbk8S/VJ+sLnXAtYEVm1lh/FX+jGPWJW/AX6ReyDNIv07bbH3D63wJen14N5kXKaudODcjUrlY6cOdxEdEyqPn74/ijeQR3IIEdjAT3GJasBKmYX6nQS42PWQe9dX02XoeLZl2FOPyQURFSZf8uk+J091NJOClT9qH2NDXeVzYYw20QmoyrUPfjtcj1bjVqm/Ggy58yiisGbLdtWZgNCjbhHrn6mz1jEs7/6NmXzNB835Gh6fRKw6QEogIKJzgg9hGI3ni7SeFzOmm5I0xQNccsZF5sJYVDmSt9YCfr5ffPszEZ5CkXRHbJsbo6442me8hy9dtTKyp2yLJwS2rS3SY91IvDb9QP16j7au9KlNiAQwpWrxLJ1TiDtqzrHppTAkVbQ1abnBwcSAMrAnAvxeAVhHYTzJNIoRPB++Wmrr3c6sq0V3mMjkZRa09SxlK44LBsDffI4gaOBBZhYOL+aFMqapQDUeilof+tl8KAdSu4NmRPjZIgC3P8jfKGNYQReFoHAtZVhisSw4zglWY3/CoV6BWMufjpxY8uCN+3GvQVTlA83cwdXvWhyUGPKTmHI650gVdHAMm5PhCL0LOn7Z2ZiIHkJvrDXf82PxKy7DHX3twK9Kbo002Zotl1kehnPAs01bEqZQx2Qm7hGvG+Am6SKQcXU/vnbaAXhW5NYdwDkSbvIpCQTpunwsPzLXRRjKWOmMqg0i86nirnI/Mc9a5W+ZKkCrsR0UfA4iPEo6GRK7iLiPz9UQp64Ifc1mpjCe6Zy+rkpF3KNOiYMk+uG/YnxA5X27J/yQqx7/jx/CGjTUoZxm5I78OB1OzQ1UIgPo694RPA4ClVe2wFiEuw3AiE5YLDceIMeZWJWgr7G9WvqfJBnfQhP5u18FTAjY2zLLzpe8NCosV3Zpnwfgjy07r+jnj/M1AEeLp703XzBZkdA1tXz7RpMKHFusDpV4zfveN+SMoEr8Xpjd39iY1tG4OtHLCEcwmw0sPiBSbalnyVuW87W8KNnAFGJfMnGXMKHykWOwpT2H7v9k1zF3cAAe4zIrUkj/kWZK2+zo24Ad120fw7Zen7658ZIUl/6C+LVZHJ5RiUTKLEukvtZvBVHOp4RLPtdEz6Aq9YHBMQlNQvnBYIrvGAgbO3gqOs4mUdXhzumKG9tIZpe4jK/Cqfu89QkQjgCX4iGY3BOihibctjC1XWp/UXmuV4g5VMpsz8p1slPBXq21+9wl5oHS9qry1Y+wdLOiIZ7TfUy9qGTX6Xh7WB72yZ8b/fFxr9SnkcFkJ8iNkSO4mUGHa5orAOWfeAlOMOW4s/2q7g/TaGi+vO9hk3NzBCFEm0etrIfNuvceC6KIK7QDiRbpbIad9WsLUw2AUaIqmO3CJM4AIqwoLRaAfZhho5CJ1b43QFt0EsTVj+x8FxrI1vgi1aMKmSsqoQbNAnDKsxcSZyUTkv6i8DyIKplo7KcOizvbQ6HGWbRUWnyYYTTHUZhax/ff3j2FIdA7Vk0k3pzKU6a0x1ybd9yuTB3XDtkCgd41sV4Kzcy1HrJ9PpjufUUt3OGWUzrTXCv1+C99nYOvi4p91w2VmygHOunWbzeyHl+qpicWH//hOTQRL4kyfewF/+VSsxhh0EDl3cmjrKSczfr6JvMY2kfd1orjdILMzlzyfgo0ugTG55rswKiDnoJoegXYezn7rx136WuA4LOE2O8iKvRTky8JtYptpRnBt4QCGzGDwnv9u2RDZjpkIEumpuZaYMsYKBApWuHMbFnVxmuSNg6P4UbVI01FPT5BieqqK/Aiu/m7TlM8K2yn86QQ+2vUMALt2k0pH4vAf5dX58hKXbde+LaNV3LQbN4keV+opR4NYkaGV2aHBXgyR8cLP0RXG8p+/SZnD7x4cf9IGP1FpR9T7QQtwQU+tccFohKedqP/fd4Oz0Bxmag4TAgvldTPCgMG0zTheLTW2Bdi76IjULs00BmUdeI59PXlhPPZZbGMFdnZN9uff95gGECLLMvN/Zc6vw7KDLB0QZJ5/S+y/StL6GeFmkF2WlA8wK+8HeLI/ala+HbxvbdUdh+cFNcRFgdOn+dLVZagWinKTjc89xNdHV1OhP07L49s6JU0sjt/tf18++59U0sTfC/WE3TrviED7NL0LeUkBgJC+ej6BDrK7+hXZVZEXQw1hUeUD4gXzSydRXhkAMfivNm0MxT2nVy1ILxk7QH3t47WhMcRrQ0+ETl3JlkAjqC5Fh9vmwsk3t/ZJEvEoiaib2+a1wYO3ngVJiCsX0R6fLalruQDOIDaLCbdCOke5KtDUC9qx3u42rQX6voBxGQ1SPKYdnO2UnKEbYyb1/eFHC9Ku2FlDI980N2DgrpcTbFnrVmaRSe5vDmuHGkAiMsqs3p6a/8o+PNcQd6tGPckCO4SHvmXjkumWG/XElP8hZx5eoQ3M6IJLccSqzlX0ZcIBASbU74nuJ+iq8J8eZj1gQy/+GQRty6yabRb4A6yHYC/KTWQVYCKReRS/HSwpOATNVXeScTXn0VjzX4/heIdvZVuXh+H1G5d1nVZGLiaHRVO0ZVcIn3zVnsmnpwWmGJMKefjEfPpx5xlhisycWAetg9MVIvw0L0/ncak4oA67/j7AMn1LqknXhJYr7bKr1Ox54h4BrxG4grbnFPTGXQGpX+qZNxUNWckUMF5qY6u0EQBspOmdgaydBIacIeVlT75tnmRb1jK6CHvgYbVEFvMiDE/b/BldjMsQ6Lu3r5UpLrJUSKre3HSp8IytacW/cq3D4CAvgqyo5YC/+KxtwQcL/Jxv4o+peN2LtOpwp2467RMxqLz8YYQXerr25Gy9uqamR1BLqrXXN8XMvbEkxlBX9nYYyBza9jfz3EIaNzbcuBxNk4S5716ik9ISAJMbDgSUYVP/QI7HQ/G0EJ9u2DrR21+xUCLqEU9QQldYhx87ZNVb8/1VHykn15rUVA79n4F87jRpOl9P0OA0p1b32KondKBoOWo1iCJe15nqPgXIme4pR1XUHxg0m/7wBrGY9kd65w53FjK5P/RadsCXwDsjeEXi8rh8zX/qw0e54fGnAi4GeJUWGUnU1PZncLly92kAWxUyYgBmMbe75PkjCeAZhRIexLtuu6r9rPtN3+HhsPzuSEeNg7yfKsbzMaAqc9vVCeOGGbKtr+cmTxAPxCXSHdpMctUjndYB8pZJ9A9IMbYHZZMZoLD66NECtCWKMnXX4JTHtalcYtoKM9Hs+8TcY9Q+rmhP3t5eS+JX3aJifq5upWxpI3ZOlWduMa3Jerhrectsaz5/L8wBvCGbDiyBtfWsAcf08DoVNwqdRDh4sf9bViD+4+fa+5HArf2595yoPccr099QygP3/tWRi2nUPhRicUNdn8xPzNKZmA7YnwqCek/sEh0wfgr/Wzl1ARvYXvB9Tb7OA5xtQHeZUslZtiWOgfe2JiboV1iXWnsN0Rga0t+Zdxn7MtYmWgfm+LFeJ+Ai0yFA2ph3P0EXfMDay1CiluqRkrrO+aDBVUyK+nu/BRExTw/lFeVAJel5viKavWr2ZAmuQGqAyuKfF8go0ib3qgdfGmqit7iPKhseyNNMdN7ybcqL4AxgY0nsfcTlbdbOzq0wd2hJ4p8yaNwq8W8Lls4NH5A04HBPga6qRIFGMiphHtXwxVErzlclhMI9Lwm0tJI2nAg1rpEeHmJenW9E01H2iLsMOLUKwJoArFrbuEppNHYJfdkopDtm4hlkzr820SSBHSD8FnqE8hmNStJi0Qa4BrmXCD6Ti4whYcZ7c8xmpzXFOEDpFKw75tngO54d3UoZB2ywbQOyr/iY3kem6rbAgIli6tO9fgpLXHSdZhvVUTVBQZF8EOo16yUBtL3EOk6B9r5FpOmrF/A8hqPvN3+e2ReK/H00gO22LSwStnSdIodkbVwECqFRWxbt3G+CBSq0ugwW5I2M0ZCneyAZ3jWOlOvIrRYITbtRvBLYNaN6szRVQN/Kur94pTefV1giVsZTz+LbaTgVjARwIFWzJIoFxTHGGAbO07b/FnbbhAmCkisHcD61Z4oSLQT7F406nRnpIZwXAlML+8ksQ8ISZfzScnnSKm3qTm9j3gxp02g2zURcv89myk4/GOIW5Qa8aIsEyZD+fC6I3/+CMkJHubkVIzeJoWkHKXC0VWj8lwwxbwCDfTBWmYFPbwmAZMwVNyQ8K4I/sSD2zVvJuEmIzb2FawruYe8jnkOzkD+nzjSDllcaV6bJd9aZaC4jTsDZoXh1LPB1d+GuEg8XRcdEIF6lDlsiBhnXPgbSItE+FiwXy1r3/tAaRUecPeLMVc3h/4yXzhig6XgtWobZTm+L+DE8jbNW9JJmgcWP6tasheXGbTaeNkbeG0X773dQkJUGhrGid3eU+bicFoy3y9dYJ+n1Mgz8L/YAaYLyEY68I7PAlHgtJ6TYFNTYi7WP0XlrwbmFrCBKI+e6T6a1v+ZTjtL9lEo+fjNgk+dkXbPWdJ8Jg/mCEbFhzNxCyAPmr9+pkVDlHT6XArdl0THsj7kGdT7L6VxkoKiL8OrfIc7GkJbysD+XI4LJVzhYXpcNRPZIj52NO8lkzAxY+ByQ7EYDDUi9O/4Ccsm3z0cXF1uBUgoBhaKxp50w62N2R1SSEfi16n06PBmtnRHfMt5no3rf7sWwjEdCmebtlq8zK7PQfypLJ/mg4zVQjX8nSahvtsH4vUhtGQAzmbdAiXSvOgFnN3cpVtzlR7C0SquwJ8tMdCedOocSxTcZvyN8R0A4cS3iKQksPnjEUo9KRjjJutVSk5pSXbqu5dTAYwYuTLtU2aLGMgfrxQzMbVioeIxzw4HzOopikwrsSq7Pre2bKGoyAXBoUoxGwle5lOea0jlBgNhB56F7cvK9YB7PCNtXySDPOm5jLesiB7R64F9orU73lRBudbqPyS86CmC62iD/GGLPsqrMwAqqQJ8msAhWL4wA4lpxzldayJTcckIjaTBue1P7gAkCQa6gHoY8G4JmycV2OQBd55vDWttpeXk9GJm0k4unQm6kqjR7ut+wu7mnz0GcwQOZb8yomOPFWAgEwUf/i/2ln55Z8ldEeBjkW891lxhCcKpfkSn4Vxw5+Nb4EonmguFUj03zYE5JcR9EvzOBSFAyBRceCCWdCUyKK03yrF8GlpsyoZSHA7lP9DULII1pEqSY/XURe+GaIz6ngkI3TcfvuP+RNNClr0BixQoV/L7FKOJ2WJT2x+Km4KsB+9ZKtGhZ5YU0NbIADYmScmzQne5JQA2SSkQUSblgdQO1p6iBrOUYlpMJqcC7lLzQFOrhwyT5AxHCRRMAqaorvGN3dkzjJ3ivBFpJBa4MxqypSDOLwYQfKGL5BPPUNU1mYSqCAxOWVq/v9HTy44JKH+zuaJRRvgq78k3HkkgD/XBfSoxlioEW6ON5pic5FABeYYunuOeSM3kl/oKxiyVkWj9PkQpzatzsfN7UDgYcwaoBg7LuAKAnY7n8dAmofNfwdl6nkkJZkHeyyfuPiAx9f+ypuIOrG5UbQcxjj40Dks5gopr4yOTJ8TZ1f4oZ6w0XZKYcv2eo2hYXB1tLt8B39f+MVAtElbGnCVaTB1Px1FjeLtWTPudXv7MvbnD38+dlkYHcADRcbHJ18dHz3oqw1S5LCfA608quZAyoDXeOB0mHe/Lq74OnwJpMlxfTNixgsi41H17OmwSuKWuUaBh81Ed8S6KOMwEXPR3kaTuMDlFQUcp6oM8NAPc0INJCxvA/KoJj+q29rg7hVV/zaNCyfa0fSknAq553xFY/e3mVIJUTTeoanBEQbfpZttCCaroZykgOxO0AJMuDZdWUImUWTcCFC3unZ7R94fbLIDMp3hyqQARsvLMgKeIi7eCbbF4zgZW32p9PnbyREgyEzG1mpP+N8ThCpVTr48N60SsIEzkEiLG/P0Ahossefthd2/PgHXhrd4LLyKV0qBimuw0GN49VpRYe1nS1LARCajSmR3ZIrV7cWGEMLSnzbfY5aC/eYIhH/k16FyCnDVoi483wkmNmjpwHCut64OIogbwE7/Chx4WAtiwjjTGflZ0LVfrm+Ul59MLUz9d8wpALJgrswys2o/+r+eYQQZr3Q3Z5z5Su3C5Bjy0+IEOWAZ325qg/pAdHwzyMYRScq1QbeT19KgrHSIXdeMtJJrWh+grTyjXWcHJISfIqiVVwXockYHNM5jfsHtGu0odEtIEjAuUZcdrIEnB7CajW3xFgpObTvDJxgdQ6Ur7PgVuQ8UlHOxvpl4s0yaXbmT84FAUke2NPgBN4osNger2fo8EtQblDUVAu5KQojqhNoD9xbA1fA/Rn5WeEeBBK+r/M43ElXvh1eWwm18ENFaWXhyCAR0Qiiy0SwOSViY5P7787mRm+WlsYlKSmrrB+DAfSwjItSo7XAgqoR2+shJc8+abF6t2FhoG9Gyh9ZVFjtjH+gd2Fsv7qPGgCRX4FoeXM3Y5VTrguIHJK5bJzSaV/ciNvckGkHSOETNGh3w5hftmInQtJ/MTstEGL6MpMMpVQ5m5NQR4ZyYI3weXLO6hHrSSg0GwEYzGmYwpL4okR1H7kuVSE9I+ZEfACLBq43NGthOoz+EpMm3Zg69yT+RyKTAOJhKjd+h81FHNHlQkATjlJjezZtAdFh8royY/V8ZTK7SpdkCaNUUod8vPhu3sZRk8h/J+k1u7YclZNKGgUdhRRgtF1xJFolsNVrJcG4mzyOxV8BSPs5YZYji5NsEt+j8hvDaO8JNwOmeqLtT3X9GguW/LpcUavEWhzBkdv8mPDrJkkVFCtlHXoy5OsVMslLE6jIw9rWqxPUI8Tr8EislTEjEoSiNBIBL3GI+rnTHyuZsgx8oaUN4EVt6WYLLMYmUOP+lXO7GXDniiM5hbYbdDfsU1dDYDp/0XSQv9iUWWtxgHe0cHgMXJswe35f9ka55yIBMbm6P4tjYLsG+B1p6HY6tPTfGYVrwhyGISKzxrNDF32FbjbHoR4lV8+R8CH7oWM4cOzA1j6aEpkdnYnBd30VFEUiyFZqdl2XGS2cry+bHpY75F/KnBvwPdvzMj9ok9WDp5gHdAPS0/VgBvT0RCNajziW21Wd8a2PtEum0dvpSMoykJu37gM8U5K+Zg5pFbmtRab+LHh0eNuxzj5O0GHDsUgSBwvgrSTsFMU1gxMZouU2DQpk6ntcuug7Uc9wB7TA5GwEAlif5dio7tDY3a01fwk27/6dBZ0yOWKsW2CGAu8cPvtN0bXVxARkp9+Fp4ikFSj+6uMFtXs0d2P/4zF6PNOVPN3ebAmVL05mgUhNQbtiMDtyd17xB/CjM9WVSuW8/WrzVhqYCZ7UF62Rki1Q/fvtxJqShDjSbnuwoPjpSHe3BZSOo9XvdtvS/OqwID/vTAnaeduw/zhG9TCs0n8SzjmI7qQ61+VJymxZqunM68WW0tqu0ffoPWEudcy1lK7A34kLjUHRSyJn1EZZRfhGqAgzMlb6lMv0Rdeuf9yAaR5n2mJkN1rFm+LV1/Iup4b18XnBicUq9sUkWU7Q7aXYCPB8H6FzUTe2CyFOQZxsODbMPVlMnxD8zohf+AKgPEgzKKawbFkF1CP5q+fQSIpnFSKRzd8ms/0DUaDqgSDTEXvV37JLEtY6zOizDFNwKZ4wg0u00U4r3idhw0UhWx2DxP3gU0b0Slxz1aKqw4rJZuFqRsHuZYs+k3FiY4s8rUE6/qR0S4OYLKzbg7VfBJvR1xMQyK8NNJrpoCaSA0M5tGIFaUIO1y41nyBfbl9ZtiTj4F6syVgZCxp/+WIlwA63iTBi6PJVhPwSsWAHEW6q7o/ggweSPEib+/J/49CiCGbPK+0s/cUo5xQicjTx0aHS5y8fqKaFz8KX9l4Np3zfQYEwFacN6RQ1J2Qcn5nOOJg+c6D+m3M0Mbc7F0iVwt7+1gD0PY0C3Ypv4fASw7ZvuH96wdkmB4zGlJNTy0v8SKpIJiQlWQHe8m5HQcPl3bX+lzqvS8iAPzoRKYj9c9v/25p/nw4ZaNGTnGIR4xbTQVNQsNnbELsdEn2XtTc+Kb59ITi+/YJxqOmNw+U/vdmvRbwzKbzOeogssTpr6UagecLxIPTEnlzvZt29vFmQP8V9cLymIkELSt0LwAQ4eaibODf4V0v4Xz9qJSfi27NuqZSoUK37wblcuTJ0089SZwjRzb+ufTAump/WKi2QAdTd7B4epHdPnJ0HN3xw3BXGotr++z4GuBFAenWXFPMeQ8bDH3lX00P5W1hBCDEx8yitKnvQYcUFJvO7AUUexudOvd3/9Z43QtbKaFDFdnIPigqAxjycwmNeau3/zjOSUiE1RvLogcVpyFH0UR/7Mjm0KOA3tb8XI6d8OnJfAi8hROlI4zgRq3e+5RBq8puYpweegnNGSuyB2KO/mhqrmvD0Oggmt1A+XOFEsAKGLFoyJrhUkbk9TqIbZffsKrrS5F2OTKCz+2wvoDGeeJBUyKBo3ra0wGT5O0qWzCWYAb2VcSA/+3tojLhBpFn7NQEDoDgE8UWdQLOQahBg8O/nwDX67H/y9tWDgl3qeqBbT//Ot+dFcIRBLT1hCP3JRy4X2PFCDCNxu/6Va2oDcZmT8kRVS4Ouv5VmGWOKosWqUBYUkXOL68dXK4qtRLdxIk9rwIQXIc6ofXgqJCxGWNL6+1UIzcz3AVkeJuLkHFwfDIVwmw4HouYYwNW7jx4hyPRbgxN7oXhGWZZnPDSfp6gYwClPoolCtdTHaG4rNTXYW36hzO+Cd3GQqF2jiM7XpbzvjYj/dWDmTQAebv2h1mW/hUWZ7LRWk9gENaD9T9YQwdTf6c0KFhdDKyqE732nTEgUdMAr7ow9fJKFCb5odg8y1leDBgR0in0Kp7iwzrwwybScu8LLIuuaJBK8zg/aDTLOofpJs33H0P1S3Ab1FYS4XvNqkPQ+u+rCWEhZBe+dBLXQZYjoMLQrJDQF/9FIdSRjXrnpZRltHKT7fGJDqLa9n2icCPqdp1imaTan8qR9FWzj6oG18SLXvLhC00GZVg4aVsRDgYCqb4RwVL65ahu+2w0rqdWFBgd1yD0J0i938XJjCiXZXG2OyJIaVXtW3l/DR+hY6yXNscGkXvM3/68PDKcJLOcv3WMdF8rlm9h+xipmgEDlOs3GI+a/WfaIoxIZdsF3Bo8rhYpizm5EyQd8ieMSdmJ7l/TLTfGhytgNG57m4s26a1RjvSquaJHVRMmg/dIV8nF+Fod4+A5JOHft4C3zcWDczdGzVw3JOP1w3u46PtWIB6kPnA+4ZgosTBqBMvpunpDKr/QagEiLnaF5/YncKLke/S4UrRrauja5Hx5z5sMh2ltzk/L6IUr6erIZeRWF87W/+hcnHWngQmNz1b9DcUU81i10v++RpseCCKf5+fQnS45pDJTppy2WpZU+JQt/LCNpiyS++oXRJQAziOx8xnR+242czzmF+LJJBPQofp+891Ub3uYR649nsgf2FdWq0pzW52XL2c8U0aufPQjn3pxupC6wIo01GoMl1kCg9Bg/SGqNc1SzNU9LT4Q/nHNOfTvbSkwUcu5oZNJ+AIfLZNOPxXvI88hJG57Ono81uUDqiu0mZns4T7oykOK0kx5nbkhrrGShrYoqwuKXVNWwPASKRu4hIc82UtjaNR3zWmFf1grA6AW4JqYVMGXtKU2omMHluuEJJha8pM0DQuSq68Si0AohVgzToJQ0LfyZJehC3xX6pMyG2Xo240FMTCdeiesdEhkNSGnnqfQwZWBnqCgHsjACWj3uwpVqcq0oCH46bikdlvq+g7ZpDQap0/X1HnQ/jk8Bg6oVpkn4ldB8wENZX50A0PNnS8jU0kb/bMSvkzqv/N5SknfVHeV6W8IDQOBLlRxRxa9dCauTTU1kcHqRyOzFdR6BqxOSltJ2k2CnOztN5tnMzUqzKMRC5mVNrQybcy8aj9ZaIKq4AHTx8hqlME2pdN7AUbI0xEPqlFidglfdWuKbKABPgqgzi2d43kgf5T6oeu3Z5Y9NnUnQXKNFdV4nGMZXUGNX4ZXKwim9OVycQc8V5QV8kEduJ2U7C0OUiKhuY13mQlPu56gshaS/dl0SK4D7eQhbBhc8+ARJyadI816R3gykZJHlA+VEjG7/7BA8dtwNxRETRoVQXhieJPs3k3H+kUh56dvpJFB6kMHEBynm6u95BMAwJ39Gd8q3JJyBgai6sHRAdhhI94GxIg2Fe8y3VmGaKJm+uF7bUWqiLaoYo8B0kMOeu5C3H5CLMa2ClqBQjeBkXKKNkF10eijR7iOP4VP8Xxp2r7Vn9gZGF0RtAFoCk5QAYjZthLjvyoU6gX5lgm82djjKo9Htd/KfEuCvjpp9Z5TQaIisxxz2PIU3Ay9asQNVHAGOF+REQN5/mzOCdoqko6e7OHMN1LjTMhn0rxQY51O2gVWTMXlKdXBFqlIX374+ITBTU+NQjWSqSq5WahDm05phTrJr/bhYhIrturICftEvUyTzVKPqE2S+lnoCwH+iTzbw0zD5fXUFROqcrsu2UGU10FtG/2KeXL6KXTaiwQqR9YPkZ1hHA/JaV1epp/i70dJUNKvTLDG311V62yM8s1b30BR0HrqeEIsmv+6S5Eek+bnUS8CGCnacxK/BmyyJwJ9ZzpmSQ7YCMj8bFQ/nUvvbDLUkr1tM/+f/79q+i7WARfEM91fHAmerMXb8IEuLOUlEiW+i5u2ZhejsB0GD7UjU0UzOVODUUBaosNOPGK1pGLtql230IH8jLhpJCcVDG06DPSSiDyhErb8JcirAvtfR5uJjMiHpf0NCs4XWepaisrIERS/5/Gx2UVdOVBbeZjfatftO/WFjafv6iH3Y1g9be/JvVhTxB0evxbX4+0EZf+/cVgqbACNG09BN6aZ7TpcrfB3JMxxDeRHPT2aS/xrmrncO4UfooYd2dXfIOHmIitlodDGzwHnirViTX6disPcvieSQh5f2F+r6cbXZk97rDeWApbpeSbN2Ghx4NuIdE1FKjAMHCF53Is4PHt9QvdiabudA39hPnjsASKs1yek0HKOuA5lHIAYI6StkDi2CbYSPk1r4GwtqqXOiv0sudNnkvEyNaX59XoWLXPQsZTQSs7yuA47mwouZ72uEi9d5EOcbzYV/alOufOctjDe+hTbFKHlIvbziiz6OGYikLX71GpOGwQRBnHBHGtG0st/Ppe3hglsh2XpLtt1ldzBQaQfRqXXcvU4SVBHh6EbgPDSSLgE9IcYkavdc/StaEaP7XBIWDe1qzhUvf0XTmAwrvTm3MZpnMAJtbHYkd3RI0jFvBu/HqyD6His5+LnaviTLsAlfQgYwvurET4EC9a6lZo6gWDBKsSwtE82OFrviW1S7pSX6g9c5im48KuRYLG2LgmHjqj+a/Z+r48NfeNAMjG4rrZ4/CpRMK97dTLA+UgBkFYqZT2QIczPP/XGNrjCVgh19Ma1vyYAOroIq4l5Q97QNQIHgFD4aqsSOojV6HflkJt2ZrsU1R6wLXM11YeV/cjeKmHjEZR6TsBk82XqGEs2Z3VnwvmKxAXTcSuQq4FWX70AdVY4SswCNVgL31gBKqtMQ+Ox8ycFCsjUd4aMlmv7dIZ/HbZrEMvSbhCkq0uZmzf6926B+gsK7R9yqrt65ghZlB8jKSW/Zr9Pq7LSK6HE5iIBSLF2EEUN6nRpscKNWv07xEcrZhzqH78dmsk49rk1WQ7+OIn67/hCS9W16M5d0jIWXoxDAxLIJN3lAxNwGNwz5wFi5Q4BxjiiNU7QcGiy5mP547wc+4isIDZOapGTfl3fDXzTYaaVwmbLq5vQM5LN01d2czDHiTw/ymB3b7rgkkAz5J57PXG9X70hHId82oEO+qqyJ2038elG+QjG4uVNOIHthAFaAOA+N4ll0l7Eq0Ol4SvimOCG8nD/1+ENRohP4at6zqta4baL73Ot8qeE0juugSQkapWVbE+QvaZiKiRvH0rm/LFjt9pslQAjKQGUZ0ODrtR0X6DkZfi9cZXS5jf0R+KP5a/OwkJyKERCvikD4cvSL9rmEzFV+Qlc/W3WIJCXEW+NlOBeEz3oqZTed2d4BZHXMPaNkeG/W0wsFDkcO5WojRGTCzaopEcBtX4YNAsiDrCuXzQzRpyy5T7o3zH3DS8kVOjsWPfOFFpFxaC2U8AU8n4/o9otOlS8dlqWRpRlTgElmjPC+JgLzc+nMYgrZdviQt5xzHQhAYdDF7zIRfX+6ylHDllxwJSeG/m5HjEW+/Kx39FpXDXFdRBQR/txkRBGicI2VHxZ69NLkcUxWKusEooLr7ZVP7+NSEcJ13x9lEM6dt4ZWnyXFRuk8k5z9RcF/NY+UgLKIlQiAa90koIOAgO8Dxg9X9CG5WK+Ka1Yrpsk+/YhhUf6kUGOinp+Wrd1KqqJj0Rvw3baXCjJNUzpaE0DSf3GiBKpvSQLz3hXaF6c/J26Aez7Iq9iv3hlrwmjVR4or5apSU/iHMc3qJCMy9qCTvr6lH3q8qsJImTTpKgkym3GRS1gNxMZpC8HsZ4CVc0oGr178hCxYGMytHnHNw2in9grBQT1vuBwLdG74giwQIxkRNGJyObD188a5IZkovmgsI42kPfs4M1XKfvjNmwH8x4JnkKw27KyuE9KGTdBk/FvsaNMDcZB9NNvnmPMtsA2UwLuSZ3bMOkWqxtHr2yQMHoQaCs6Si5wKy6qV4dYhckvuDrQp+ReqIF+d6wF2Dlhc/j5L3+bU2RtEYclA7pPS//SU2LyG/VFyfSFVpPra2mXE1qN/1njw2GrI1m3cU3IOCIxp7Wj/b9huB9MGjezhFPQsA6Di5ImBUq3f1NB0rCfv1bNX8HHVHQaldoRE47ChUTzGX/6Ev10MwKIm3MOUIT4LDiKdbIWiy6NeEXLdeSPCkdyNIZN4XR3hFmoxzkHPJy8zTLgsLlGa922tpHnFN5Ge4gw/n9BRjh3enYAuMoc095xUavWWbfNxavEtW1z3KmUZnvVc6YeG7591cnTIQtUIE7GtO45FZRK4cWyAxNIOxFIrrON/qAacBe5br6YDZzOX+e6CCysJ20crlT9VWukTwCYhD5/ERwGXc2PsU63Hj2NT1UIjmbP8XE4j3BJRbdB2f6mnSCFccm69qzDhqwbF0jKzfII8kf1yBrbRXKuSPtHD80pmhc4/bRErBpy1376eOpzgdBs7tg0z5HwvBZV7bJyrUEp4BDdpKOaWdsyGTiSS2BJoALOzjl7lulF8Zsss97oSlZAICgduZs0/zJjjHwjkgyATyaHqWQ/1DW3Hm69d4NfxIh1L7GMP/2jhnrr+n/zYwUGL9CTNsWuhDGtXl5xY0BrCYPrqBa8X9SQP3nweHvz8kLfb4bMB43R6sgUJOoHAfPxNuw8gmmUpb8T7FkvcgoJ02W0+lAhAiu7TPBQ+Wb5uWjAQZizP8DX+wQ/VahfmFQqJBWz6xzGsDZgy1ZmEQ9/XUa0l+/j2RVXZBnRoFO94U44F8lWmbLkgE+cBUceLB6DmrAphJjNimraRZn4XE5DESf4Hheov1pP0PjRT1mB5OoDaK3DAgyy796Mp4wb3AvXdF0Spa9mmXuZgpP93iIwKFB4H0GZ4G1B8M948hp/B1Ss+MvyjuTnYw+tPETbtVB4Iod6Cjul12dDPwyQTqXyo9MYr2YT6Tour6j14kqqFLcwaZ2QmpveY3K+wnpeG4LxvDTfYlelI7LcMbKvOg3hcItyXPhiS7ACaKVddS3rwnRD5+FgfzeCGSt4kbW9IemkN5XhXSpQla1HJIQv5PbVgDGnaWYLjKEzJtXbpvdV2/0i/QGJ+kDF8M6hmOm3346Fz1f2U00A2X/hSMVievUA93IDA281A2VpbLKzTvBqREGMa6NeS/+m8fS9bTBZ7tEknNAXOFl4kDlrFB+ygiToyJl1wex0yQy81sZeVUt54mYsXVoCeIgLfS3ZK0ZQKa3+PjqR2Kqp66SL0kQy"/>
  <p:tag name="MEKKOXMLTAGS" val="1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LEFT" val="True"/>
  <p:tag name="BTFPLAYOUTANCHORERIGHT" val="False"/>
  <p:tag name="BTFPLAYOUTANCHORETOP" val="True"/>
  <p:tag name="BTFPLAYOUTANCHOREBOTTOM" val="False"/>
  <p:tag name="BTFPLAYOUTENABLE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LEFT" val="True"/>
  <p:tag name="BTFPLAYOUTANCHORERIGHT" val="False"/>
  <p:tag name="BTFPLAYOUTANCHORETOP" val="True"/>
  <p:tag name="BTFPLAYOUTANCHOREBOTTOM" val="False"/>
  <p:tag name="BTFPLAYOUTENABLED" val="0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LEFT" val="True"/>
  <p:tag name="BTFPLAYOUTANCHORERIGHT" val="False"/>
  <p:tag name="BTFPLAYOUTANCHORETOP" val="True"/>
  <p:tag name="BTFPLAYOUTANCHOREBOTTOM" val="False"/>
  <p:tag name="BTFPLAYOUTENABLED" val="0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LEFT" val="True"/>
  <p:tag name="BTFPLAYOUTANCHORERIGHT" val="False"/>
  <p:tag name="BTFPLAYOUTANCHORETOP" val="True"/>
  <p:tag name="BTFPLAYOUTANCHOREBOTTOM" val="False"/>
  <p:tag name="BTFPLAYOUTENABLED" val="0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LEFT" val="True"/>
  <p:tag name="BTFPLAYOUTANCHORERIGHT" val="False"/>
  <p:tag name="BTFPLAYOUTANCHORETOP" val="True"/>
  <p:tag name="BTFPLAYOUTANCHOREBOTTOM" val="False"/>
  <p:tag name="BTFPLAYOUTENABLED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r0lg9IPP9y8umrse/9AoLT5R0GKq+XM9pr/aTyOTf0wptcuHbHxeyqBm9svU01qeeEM1v0hpSHUgirOnAK/wunjPEhjUiUXcADKRp21sDU+MnKpFfqvg431dAjfmT6tDp1wm0JEHr9+GCsgAFdCxfNSFmBmE9Pzs7RluZslftOm4g+E15z+FZzywW+cg41+xpxr5O5CwXaM5siEMz8pBgqftkvHfqd08TIFiONxr9BqkjbtA+EzPaw07T/W0FdpGtg18l/MDbJN4bFknhdXhzB8tSNUgD9r4dyEalI3zbWoOp9VPyCmGYxasxMCND7NJ2MxysFYOmRS+WtUxpXQRFut7TM6EDOWl8XkYQu8sJ5FOpcJaHzBjUX8QLVeKURDsp4IIeXnEln54osl2qpNKyUI3Ac/4GO0IWIn/yMbg+61JVefu/lXYWrQUjJO6KSQvPiZPzkPAhgPH8UF6TUNCJTxgXq96GgGWVgWhIWMqzqR8heDbZtdVMoj3A0ek0jZhqrfVw4aglmwUjYL62l0cslxIq0Jh5CQmBfc0V0xvXNPeDc4DJ1budicQtyuzWz6ac4N+9AI4JWIVNp9bsaNjtmb8FpqDSrTx8T1pgh1JKUZfT8/69UoTsRgDe+uM7gi7XTLh4vQduXm5wOgT2u7ySrTIJaW8jEgaQFKTGQp2nD2chGhl4t8BmH5hqC88hN9Y0UOpJvP9CaqV/85lhwgyWSQBSJnmidx+dviMtVZfF+WJaePQ6bouTKMLtVzvai5l7+IT5XcQfsq2KgMIRIwAslcYedSFY9Aiu+mAPnm88cCveglcJuOkkZI6gFqO5bU2DJGaK9a3+o3aMjmfiOzXf4QgAGC9jaZlu05aHGXEgIcU/xyAcbFkCvmBoWt93MHcbvgd60Gh8otf1hSgbJhlk0TA/ZeqSGAwjxmpogT970eR5FnSi/b6eIJhvF1AMfkw0Om1VEeDpHX//7iFg179WJCKtqhEnBCm3gQFuVMW30Ks3wKFPGJ4BCuhHJPCQFpLcBvfLaRZAD/7uhwfXzA53EsTWoaTUcFw+/yrxGPZHZa82sO7dUOw8n4+PTZRZfWTrSgw233eQqN/JCTl11B0M0LbwePjDisBkxq+6keTGfwY3WsvCioqvre53AyaGbOoWevIeC5ne2G6Frw4i/jMdjcwRVuqASo0qk/TfEeUTRcv8QFSEJaG5N9n7ccis1/Yn1VgBHDuWBg3+i5zEXRvW/WZL6FSjFWq0CYhRkqmsIpF5LVllW+s2/mLSlqm7ynd0JRgh89kIEHXrptqhTgJNoZ9l2EmU6HkBfVyyorzaTejZHUPdZ1eKR4u2fln6pjaI/bI8Oz53WGdvwZIk3KJiehGhOsGo0zywQzKOuRzLWEs9r80IkgjiAfBNm3xVuovmfBN8LfXSjorFSco4lDUIRw3bvrhytoW+labeOW7BHILTp/WjOo6df2uBlpEwcutOCG2N0JXFrj4vEkV44+LFJlZS6gFE8tisCCYcOZ51IcYAWwG+tLRra1qGsEoMXJz7+pENWtleACm0Np8ARBZMevqVWGi+ieaotIDAMYayUT9/2c0JY0m9f1/zAcVUDDjCC2rBYKFNv+OvtSk66LKAqupZ6DeQzmu9E8HhFXB+SH6m+KqBGwws0/TxrpIImDk4RiKKDMWGJdn13/d9XtzmwQCwTze/kEtFdyiH4vwobx6Tq/9gEYejBtyjPl9GjDuZPBIXrhFnfiKcJXtfzKWps09Iofq43BUxcbNm6dgdZzhxwagKqykYH/DidxsVKg32fTzNsJfKJaPp/cUw31V//woKyjZ5S+Qoq+D2CtXvbaFPxESDEmcXmwIGn1XKo5fFEgWTjiA5t8qBxdpN1O+pqBR4V6HzEN5vqYUpLAu066WmDx071dH0qJ1r6pEQ77pNmNm8Ixsg4DqmtpBN2yW1DtSNPIQZGjPqMt4sqKbE+fEEJ4UWpB8Flg4FCACal2GFO6tVEswvHbfw9fkAwu4PosPDgGo4XJUn+CAyaw4KYqE+RoGDW6BUPPtrMLGKsgYG5l65xpDdg+RV/VIqbT0vEvEdKUL6Y3p5kIQHKxv22L5CigrcYr3zcWRHf20C+PVP2pcBE+kemFJEv0mkJtsWHaX65R3xBYgunwymfs+pFoR2ow/x4flCoXYIq4Ki1w1ltvI6Xj79F1T4bY2L52sALFStcYl8ut+NbcVMSqKFXmVJDZF7VlOrnMC+zO41lWrq/rBa02VY4Y5+x0dsYf/ZC4Ult/mVQs4WRP1GbG0MmmHnyVC79A9BW7za4YlLwpSQZlTDcbt8jqdPJFnwarNdiQZGOjHH2zPJ6LfEAHnKMwEmQxjicyq4/LdO8gNAcfczLA81VxbVwftpKO4MivOAJI3rWinIWrnKO95f+DoUfn0q1vl6LuB34l27Id2WdbtGH7ENsxxHlCb1L1d0RNixUkdurfaQo74pkTxX5naKNpOWwYfKgjyZCOGZ+pnqkoBk5JD+PnYvfMWyP0H1izOdUk6z6BSZc3QnrBY2W2dfAvToQA1tn65gk9N0dxUva9/GFBiyDy/4DgWmJ0sUBH2olhHdSM1blz8jH9Pj/P4PUsPvfz0l9Xdg18rvOu6o6usKFaT1K5GPYCcxtuFjkswNx9/lmfVgRcyKg8QmkKtChX9l/YcOjAL6NOE9p1Rg3KaRU2S6K6I916ZYh4V9/Kqeeb2bloYGH5Myay1ZjG3leHfRKJIddOkinbx3jxtJxlWWRRoZMnOBak8yxDlumm1ziLy+xCCQASjrp4AndH0qb0pmqG8ZDiDbxaieLgJmLU5iuV8SCkTlSYoy3Ouk+zaecpPlF+WlTImEL22L0OxHkH1L9VfItcTwDUKNv8tJp0eaeZZhJkNuFhBeuta3IHCrtWH8Xlp58S2j9S9/DWMrGLW3EEsQ1bV8GJxsgbvHXJO6/D4ElT+R74UN8GY/GQvyq5zuOYd1yLBaqc1GPTXVQEsgyGoqwifpM3gWGXKoYiPSnsLFwD1cNywwYyrYBlz30WAq6wl14Qxsh5ckRSDTUvSWLKIxH5gQu0aaLh76TqcxZpJ1Oa1lRKw9M3gpSwfg7uZa1FsmZcnxL5scvieVjmw7pZhY3bzHTrbMuVqhQJLa3pKdIY2wFqnBUbElg1dnWkonQJNbZllAe/b3YwjBsxwEL0MWWVWPa1LPSUOhG8COStXC7Vl95C6tV15nFV2cOSETwCkjWo0Hh9SPHG3K5AiOFnKeCbwWkZpOEzgZGUvft5r4y34tQwBrNuKg5q2doFIJZUgMaCl8bcZdMwGdGtJQBBYSj4/cO0HFo5Gyhjut1hsAARUYxspXB9G6RHOPq27EaQ8kO1gmrAqV/0pGFly0UgQfhtxd6+to6XteJ6x1cP8FTMbiOH89R1w+BDp7TpX7Qc1V7eIvZWGxVTDETpIvT5KNn1Pq4l0LiHjcXdHsSZXx48aKytVzM3/iaZ0LAf9A0oZ+G1k5bK7idH2G8BZ79946Duuic1qLnmVyYDAH/erqTQO6A3bE6/7B+7gVz2CQzfsvZGq/f7AVBzKpW7qvxZ6dm2zNMP2m3fC1HtMFRU9WFIlhFMcTeOL4RPkC+BmiZMxBOBgbpj9Ev5IGFruTI/oE1blbSuuosGx0jScIVfyWxlFbyqDYmjctk6a97VEgnsgERGlwkmNtNc4PGEqv0gAhh3USVkQvY9u0TLYXcUWJSkO4lu5ZE5VwX6NHAzDq4iWkgcvEOX2IJQc+oirtVw0wgbmJK+/QekZSCViKCPLaDhCMzsArPx4qh0t2Ix3m79tBkgUGoUPO5GcUYphI+vxfbutbfnzgYjSjMHfbU3SHeu/dIZY7zkUcwiPBI5S9Om1WmYrbeM9oEdS9W6wPbuW4h7TYTRcilpLev7vhOX3SzoodKfJDA0jOFDYmpknBUUthflVRS/emG+wqonGzPmyhFPDm48ccD1j9TYgpCHv0Ol9sOOD1atUx+EYBwl5+bIOtLrttsYGJfarMgS5a2wWrEOxeXieHoOn+Dki12RDrnBj5Lj45x0cMC1J4AbPLVaJT88z5Qw3zIqXPGWCWYTKxy5G9MlBGOHnuRUl9oLgK8Oz1VtzFE30Ou3BWvy7fpISGKfDFI+6oMROgzrTyxzM+QveyC6a9WUNa4lcyblVrWGrzzwo6pWX6fOn0JiQ+sI+6SQBopwEdakfgWbemg5TCHHQxHsXi24y6LiTQ3RaalIpRdLYQ461xxibbxVLBgw3QXbi0/IwQRaJezQA01ivio8nhZcA0VLmo01zzNOradr7hC8zyW60WFEmWeeNlBpIBoNMyoGMCoV4PFIk1fbRdhW3WpOyBLBxVIe1VdGjYkpd5ULM4klLUgZPWwIHn9IoLbaU9wqWgn+4+wBs4eW+JqSynaKg6nrn44Z8Z6ZGhhTyrUI0f1o37SVpyQAgSAcRVYGnlk9yxA1iLqmw0zsIRbFs4VOx5p9RqdfGKOI9aa1LicbK8wynbVH3uZvUy7vKdGbnR+ilHyqBQmJhAVHsXUVrppaLgrxdjivSVF+aXNiQ07e87fv4rdK5jwXPuc1q3Rc/fo5KBjpZ1g5+fsTE2rTAXBl5yJ+X9HPYr9THNZpeqkBNfWXSud2flUqKY/CzNuZK8T+TzeqNEB29U/4jLaUKkgBmGBZ4qYmOPIgsl3Obc8QuJ8J9+WPNxqGG08HsXcZ80oBXXtohnPCWgrwkFOKEvOKR+4iEHscj4V0bm0aILpVkXrb3yPCaJs5EIjiqD04nPDl08+Rs6Q6s+dETA979cyl81Xsuy2r/32T9IWpvY3ONtH1VOJyFWd845hHmkfaVBF1bIWkDIQBPRBQokZXPWo0U5C0F0xbAdZj29G3iswJhJeR5b112XsEGjKRgFwFEhhXK971dspNfS9MOPB/riepIDx65qmw9Xtj0SJahObbHMtrqq9JnWfnTPy9wRUQYQpgbldCIHodsuwAeyAHroi5csNlhehukiX6IOtK2pBtFko8sBYXkJHvcwtxdW70ArNoIziYse4zc0i/dH0vVvDdeOwVSwb76RiDb/hD6CvQt9JyAwqcTEB9bSgwJNHhNRpGIZv7Dvz0LJfxOsVSR+gYl/JUITeJKpQTyNd8qOnHjzJdMND1XhXZrAu7Gu7yT4cQ84oeS/w2hkDf7IDKABTV2BncfH9AGwBR0NKSDp6pMnAWsYcXxpBQK6vbA0Nzx2U97Q/shUz+XM4oYHPL0AJftRSJJ5cSNOxn6hTIxXTNk0Np2yteTIGYiMQ35BgkRuZxzEUdOmblAft49XdZzBIZBzIUZMElXc2/wsteD8sBD7Z5jCl/FNy2+IhTa3jmYynrFroeWUdAsbbmJfmApvZel4DFeoKiTGhP4z/amUp4UaCpgcbT/SXRWNbiHlYFlbfmEAsJ2urlz15vPQOLWWkzV4U5SeHhJLOYHk/80ps0G6oI5U8mVmg+u+sLR83AXu605utKPwsDvhaA0FplR+qHsnrGdMfg6qVkdjV5scmhS7K5X+RSh1mf9OtQn7ndpwK8oAC/3YFA0e6im/ZuSwtchNDtmW9DXq+kXbeRibbowmxQX1SND4S9MyFoMI946FC3aRdrcMMCcA9a7VoX5z1mSiFkqlIcFj4E38xGkaET9+BfUccbU2IYN9u9LDKlUPaELEUzpfMQ/0jzFakQyB8IqfixZ/Djs+iR9ldXYEmFoUaGn3MyCTX0AUr4scRgMN4jXACAnVUE4o+Dag/anrlughuCvYXz231Wdod609bmrOzyVgr/Jcrvelybeh0nxrMzUmvwCvrTolG/UltKeOv+tS1PlXj7DPw+YjjL5g5+HDJQawI9LwKEvFDOZIM9/6jWECsjD4P5n6NYw1lsdAC2RlQGW+pqTIzEhm/VPvs3LDBcQvmI2CmFMPMDgxt0CshkwNVeGmzp81DRvu2cnli4QiG9e8sVeTkeXB5hf60d36dEvVbHXpbU+D55TL11ylEWVk4668yUSF9xl7mUh7CFirO/uB5TxgIgrPJytQuuEj1TuNRiiL/CB8Aa8lmgc+PktTMWUL62Uuwwlx+Ig/H0w9fyhrT0LoqMLFOoXOx3V3FcC7JJhF/kmmNo1FTNT1CQxOj75illOkq2H3TIs2QeVnrmOaUVSihWH3D4OfsJamw7BfQWV8nxmUoYTkkEH79f/FXhBPF4E6kPzIEKqiZJ5gwqbbMQJ8rrTfonaq6qT4M06XgqJoiQjBt9tU6GupmuiG011n0v/ZT70x2p6AXGYzcHu+aJXLaKI3/8syM53OHZ3Htv23bHaJarHmEw0PwX5NJgQ6Qe8ot3s7mwLiBE+u+9t7AR7B7ugX2ZSKsa1u0AwEQ+uomBro8j5BltBZOHRV9TYs59aG7ZCYeEetuU1tGd9HXwTPwXysVJVjDijE2FoV/iwqZ9NP+jAU+luLWBRIpmerAg1IHNevg/k18NG7TglKaxMoNbI2kLBCSNlFZaSlhI/CZd2FcR56P1HSrh4X/YIrjKjnVB99u9iRux4xfO47YmAaHmwOEagQilXf2ysUz86j3kQg5ivyC2rHyhsrMY7gwoGvrEQVKe77HKDDDK40uNCF9GmDjcZ3WQpg4pVVsBmmaLKkS7oUDCbvl6r1vCroet+Sx3f4P8Df0tCqdOAlvXe6ni12tTMS1spWXNwEPVW39apq6pl6ow2/LTOw405WC2WVnpSljvonH4tbIXsOU4wpjnxSCcuenGgjPbFG1yUoKpvuOAgBIETeRcU3qbgthEdCfToRRBm5keCE+yGSpidLeRAB1lAmMkRlpbpi9B1OHoL54tpSqQzP7RObQOn91VrDWkOjiGhEpnu2sBMBfAKTtHyOhh5J5RCr3kpRs8xi11SwUYqRkERiAmSyhkSSEeSBr8G6XAXSOrtZ6FBksHAXizLZO6p+kG7rtWOK89VFT87APwPdKMnh8kvxVbzr2LwQPQlyrIxP1K7DGJeHrUAZf1jSRs262Dq5EWpvvMi/BgZ+bBWODK6fjami6KsLcjDjdjXuGcG+wS24ywBWHr9GEh3dSp7xwNWR3uP8GoB1NlTvXQSC12lu6nY6Vell6qXrg+CJTLFUgkyraoBi8hYuPVh1YbJc03AE4bNxomsqbFcGGqt4CNzWMqOc4qO4rbPu5UxmkqGurlGNpf0PkzcO1HqH9AIL2x3WahdN6C9SjRQ64DGv8/yt5KyV2JZT4sc8xAago3lACm91LjJ5fPOj6oW1ovKHp5sBPW0ZogV50WRwwq9iSEoN3Lw/DLvfsNThHf+c8WplOjb4SrAUu+lmLslCDAO1eoDc31SA0cM1JcIiunzudQ2a0Q0gKk0GFPhooESdTQv1Kak+g8gKaCpqcg58HBsHJCSizXEescycLvePHlB2EmWOSDfh0G4vRmVbnwNtBQIIermHt0adfm4a9qjDIXCtPDmznzirP6HQBV1miR7yRNBWdutLMD6b8Xc42GNNQ35/0P3wtXmMZZnBjSK1Dg5lKfUcZT/nXfzdKTiuKVlzqmiQZ9G3qdPMhoyM0jIr13Ej+uOG/DFiR7BBXdiDXjQTpQlpbKTXJxsEHXRcJqBUMxrL5kA3mPl1BFxFqtLESCiPixU2Svd0tGGjOV2buJZrPln9CScOvCdpKVn181KeNlW5mArKU4ZBuB8QunC5ajRCRsfaoX+8xKgTiUpBDVI2303wGfYndjjMT7LctJ/wMy8BiTn5f/GAqIYcVU2McJMFo+8sMACLrksVcMsDVNkZeflZEn17+nOYtG6F2ZmWZKEyB8TSiaKU1W2unIOQMoJg7Zidy+tLK84cwwaTKvlWWAcTeDBvN5ZR+hE+xZGIXVZfGntnNGviGTPT3yKwNaJfDmGF3LntE+7qXFcsFkJe5pK+rKh6ZTv4GYj1rq5FvPC2p0X1jJ+7oTYLSLSnA0HCFh+DRIQXNd+GB+sLm+GJR2IxKkMVSGKn5H+/oLv4BaVv9kyi7IkQTESyvZJ7PhugU6S9K4+XRvx+r1xtEICKnojUJNgNPTRjreukUYvuWb8CMDWX0jarDHDKWYfXROT6FGTOB0WvBo6Tg945k936LrApPtq1K3YSStHTuE6oDEez0AYsR5imUCjA/b7nYEnGsrF6B/Mm2YGVODGvgw2SNMSD6uhU+ctDbvs158mbhrmX+iDY8d/fwVSSaBi+7MZZKXj7Qum4znKAfamGyuUXrHbkHKYuCCjTjw99VwDNz8rmk7kvpnroJdKvhJL+EWa+yK7iTjnUeuZ73VB0J9gu7EPexagga3IE8KBzs4HWWAYd16rTzfESWKj0jKR5fR3meORFIE3lSjgPy2XymOHHIhAWwC+HdNaFtd/MZW+4RWuQWWtodM2sA5NysfOhbdkRK36W1yHkUD+y5jUgC2/dza4l+xhnQOP9eWnjgIv1fG1TNeFXuGZMuYiwn4ORfDiOt4u8Fik+K1j8ELZ90nK1Xkj8EAzBNYbXeTwAQtu1ipz1a11rH2tIBRJYcRAvO9Y5z+vwp52LDhYRylAPRmgFuMYC9PnmABJ69FrcE/EnNeIVnEu9G6IR7lY99ENm/M+dEr7IgAHPFkQEdfMNa9gU8wSx7Xf58qGcjHvh1nes8z7uKh/o9y2IjvRSdPn/a9wGGDBvh9ORZHLE6E+j5OQN/TakPo/NA4oa7ykRPEZbTNLvcUNDmIPWrWI6/Et/fAaX3QqaDYHkiVw8B21orURqQleC4COdLav8FD98sQC+8xRKEwyBXg0/p48ajBOACijvc0eRm5yYIgP0g/HJZ+PjOuQKsMEMthn4neBEhNS4KVRRpnE0V5uXAbNPE/bvknLkNNtOrRmypxW2ibJpMR/gaNVWmc15rZNriYz8BSixkV6ki6jRLE5WUDYCzpfBeNyp/hkoY9oimMQXsUPAJxY6jE3jt2FOuubJ4gS2srJ6EOft1EtRDs3Sqj9uK0MPc/tnW+dJSjyADgy4Vqu7Y9jgFuNNIGF96PyxHpUhURHCetmddtHlXzvYVIh1w6AkYXY5xl8o1WS1PayF/0F7xK4RkoTKNikUPpXsYj0xcwh8DqdfiPS96IfKcxn5uYzFVH5DXqCw3XQzMWyD/wLRPRwpGCTA2dzuersCrlyyrT6QihK9EfnkA5983HXKRjNFIVobPAti+so7/Zt3BwXvo4sGiMd4TpCvWAO7NfwNeblPIkpakyZQXDNMl+RjCu5j7juO61v9b4H+JAVGDjLdJheXKQsXLtiyTP/S4+SxT+VyODvDJSsjoGwQ/dWE5kmh6HjzdKLFCJ00Vxapc5Nn5pRYLxrOZrr9BCcZfMjN8NBTQzIf/sT5YIRcss1mW4twfXBB7/ywdSYDDE1bIHecbu7lmevUmJVakzd756UYCdNzNHRGNwJLY6BAL3YfX5nV9RXRVSHHx09kcTL/7/o3MN9Bqa0fBkE7q2Zo6Rqj1vhojI2pFh2YWiDCW9GMXc8tpA7QIrUcTCNHGmY3ukNNz+6j/dVc8x+IycPELO4UsUrJ7aOX4jrXNUmuPcAWA61gOEYXHUtj7dgFYmVzn9iR6uEJrpaoDL9w7wMmWSCI2Fbo4jveVF7vM5xgDv3aaUMCG8eUpihrjXyfGAHf1ZYQu8NlwLYnVnnlapNFZtYxLMqpIEZrweyqe5JGFI+kmmiarSTGbmu3b/39bmOY1Or4DBp7syUyshXcDB5824qdxwzon7B1SOy66tqNh5x2ZiTPydd4a4BN04pYIejTwPUDFaqIxySTW0yuKH6I798QaLIt8EQNtX6MM+RNtG6EP24rDmJfeAGXqK0WAaHJMpt2j4gjMc4F9ei4M48nE/tYji6bQC110Vh0C+DnVov4vGUet5U6leAruBrzAl7yonkArUkBpOibXGmJ+vT7ddc40aRtME/XjsjO1xRjdGyCA90F8/7VtwIgkskodWI8Vf9QqqWM7QWHbnN24RL0YASfZlkvfVM8dkKT6JVgm4d/SD0YZWTr/fFlsHCWdDKSRqD4U2u8fKFYBezSX8x4f40kLl8TySbeLMWkx0D0+4GZ/wE01IK2RgPB2WXlNlKH0tVaohAEZ1WPvfMZSvELLBDc4R7u45wx+0UtIEtFAGmbJQrmXeMwwxpNw3aMQCwy6KXTR4q+XjSxoxY217ZkHSJMGgY5VZBseyOxOVw9VANDA3G2QhgmyMsFNU6NBd/RNlydbUOFxGCzTRCOjR2HtaOKD9FHxFox27oVDDaXxXSwt1Y4r8NHlG+ekwu1ZH/MM0PVkS3VARBLUH89foA4B5CRIb8wLij88F4/N8tffN/l4ZLbbGnEGIIg6YiyhYrgLWL2arFZBgALvpYKVyuG5XwiC81b3zL4gdL7xYy3CwNbpNqgxNHDqisumRrQMLPlSGNjuzN3TP5fdbpgRCKsVMmAyGEiM1TcyZjxpxuMqhtd5z5DKTUngc8pl+xMl7djjngfyNpjRQufb6GBGbc+vMZ92iIr9o2LocHRKZ/4Qc30mX2RU7A3i7p3+oM+Z23yf+dQ+Pp9pN0JBytzRYHqqphcFtBlOWqr0ekEKJ7qTlsArrEZJlxQa33cYE5EpR8/0RpEFWgKgdEn56UEwCpNc16rIgZaG9Y0PQ0V6JS988mxymGp0lUEeBv2mjOl0zIBL2HQk1dsUJoCWxyxHGEtP0ckde+3MV2gUz4/g74HHCsripc3mPC7NeUl38YeY3/5PeH4O6stESMP5ZCAtR9Js5sJGUgMj7q/Dj0VVkNweZXAMGRlZsVpu/4HaUzUE1j0UQWzx2t3FgfOtnMC5aEH/VfpbW3wnpT23LFGVxLzybP4rAK/kf2M8HIY5RuVfvHKlMaYa2/osBlJDdJJzbnFzTqibmPk6ocvsoys5laSRF4mqvXmoU/k4d1aQztR2oJekyjd4n18XtAVrX7/TT2xCEPM9v3mO4aUvV+tgEcRcqhegeyU3UW+Q8AyDtJtDHBEScTWCAZmZB+LfvXSuDi41YRRotoeDoNKL5thbZpFqOtsmys+zwSyG5mC7/5CTETu0r4hdps1u7FDPluwLpcQilvAD5ofDC++o0yw4lc+JilPv47lIq7eAUVKcAPJN/t1gCFy+pjKQFCKl/r+mvaeNb4+zipWE44y2j57rS2uGc9EgaYnw2mVi2SgdZU16a50Zu2+v0JXjbk4OUwQ/do+9oieQD/DwnuiFANs6tdbQ+u26yH6FiRpZeLNOMsnfKK4Q2fm4Wuc+ZdsfzJBr1FYdNFoE4BIFis/XmsOW+XqDWUYppyayoxAofuT1/BJy1DddcR8OBCbNasDmO41C04Y7BYGCxFrcldwwONIM/Hmgv91M1S4XPW+RwQe0l+055M84GGNN/KyuLVzqabtDHWLrvyrisOR3LOwgRQdgFIQbgMjp7B2ffvcmu83qzIYUQHl6H44wLzVVls6EmIE9IVyZH+fckyP412/J7c/D6dPenq60cpSfzCSIKlaxEVyjkum+xzIuUdgzsKNDkjQSqhIx1XJW4f5/cvex89rM2+sGWwgp0Uv8uBHSZGmUd2Ei5F50rIMGeP0wYqVzd+4EmjspgZwdHyGc7pyKipNzYFiBRyIMIHCRpTxpIQhbflt/ODhKO7B0zrUazePMTuScALP//ikOhfJxXXwTIn+uD0syRWKo0KsasuihxxOZq93CvCJyqdXusRoi2alv4jpzequcwfAUDxP9LJ57njAoFgs0gP1k0gRSCT/7K73o2umaJwzX7Qq2Sj9yj5FaO37QAAHaERRE6EXZDBHxYp6n7G9MQq6srXBA0FU0mQSiXTrAiO/5Vh/1O9oh61R5MnUjmnVTfrH6YX4mAY9oO40NFRAKE/XMDyEXnEF3GRwQjdsRfHJs8WYjgzgdhe+XU/FgEaJAudF0hyIIxNWx4wsMKsMmtzjRsgOdN6Z5mYzpqfknQnjwQ6IZjEWryhFLwuvyyT4ewncS2Y4O3SKP66shTPskuVETm5uJVAiCA8Y2guEiAtXJSQ726gL4dcqxQxX8D6gsFZlqNaG5kwMILr6ED+7ZcRssUmIgTr0C5RLX+f/Wez1/7dRI4sB4nGnXMXwzmlyH28xINTcpZhovTr4IsCgtqX+Bt+xEbAhqbkeKyA+yyzx/HXl1WIpCk/GiNbyRGVTGK2yFnQX0kfSHdlQal88J2Qg+/ODL/EbmyLJRLPz9u5BxRd7RMm81IyA0w6vSA1vWTxIBuu4tzjEZQy/gPO3osH8Od1otBw4/nosXdvIGCqWRhwbO7kbw1sakrHxJxzxSdzrBC6wGKhLtdyTZVe3IJt0Kh2jIVoeV1VJmeRUN7qJoTHw5UPz38HLU1V8SmPjTYB4cWzOZkcFCeqZSLTVo2ly2qpVXrFBkOMfLIzyyv4MnHj4ItlWsDu4ATox9oBC1idlit0NcxhvqZNVVzEWxyMAb2XW0OFr2WzZXuwfMcms5uyNWOsMJrw6Wul/nXS2BwLC5Z1gr04Xz4vU49wjUEu6yBn3E4pRQnz1kDkHV7a1OaOAPjm3LPoH2rZfwHTXuj1J+8KA/kCXo+qZrlOM3ohUh5UgkhUlOn4YKHqZFGUifKqOQRERtRSwhkwwL43/2HM0X9n40UQAJ9ulqdjkZ1Tqio/0haTHiJ3TgNR8wIkRRx2ymCXs+T7AvEWWRe+eJQ6Wgt2+oDDT3UEfD0gCJuQhp2sVOvzxpJrU4KIhGmlhhjVh6DHHgsqA9VTmwSgEmHcQf7TRcJEmidGZbK0V0goiUWSkPQcs7mOCBqsPS/2HJvfFz+FtZfUAsHFQgVxdejlmMXm+uWMOVjEZYgdjoN0bQTLC3c5BI7ZsQL/HMoED5YuYtWwGgYMQUF/h4u2wBuEaWjz4UWBmtxl8lGcLsDC7A5lTys8J7I1ZpcKV1DND3e3mrYv9/gYDR0kvq8rvfA4Dieeq9LVjbPX0HfWB1xi7t4smCNtK/kYOVkhWXF+tNgzbGJXhHlQ+GtYyh12Z/PXT6p5jhdjuCapPjSGUUOob5B9Yw1caKoJKSl7HzoQGhoaBIUvqJ5zF9LwpB0p+ygpY8Qvy2Z3XFCABwv+6unIoXU+H4iboA/5Ban2R8ly7Oe2rX7U1NJctcxEi9JNfIEOSf4eiHAhKtRhkNlWi2QCcD+99wf5Fy/0bx37Ls7MKMnKTsa3FOiKQRoQACBHusEggLJYsFZMcZdPrKeProF+sL/YEBCM+fOtTXXDyyhhrz53bwzBVn+oKMIFaGCK4i+06UsWHtWYuxtTwTcHTOt5Q4fJKuTrM3OECz42QeQUNlmWvd1Yi9qXArDHBgSGaHd1Hg7mCYSv0em6HEMnSUX9bE1H/vXt4Et71PK5YfWMv7OX0u4DH6wBHP4/A3eF74eCoivvG55tXU9OzXBkyP8QjWMIud2THn4tsN6dzKe7wMFyvbqXq467TYG4KD7RXvl60N0IUXO3GIiJjIsEYfKd74W0IqIojWWQUkO1vMQKI0FVJIoBfQRHcQ+OpIU6zelEfeFfotAO4jedpdi4ySL5+unAr9lmONnNiQHvpDbRptnpst4LkUS0J6qhfID2TMB97GnQnrbMnO4OOHWHrB8hl4hlQL1o0zb58O/rjGx7rmJx5S7v2GwCXDizJbXPsjvaapJIBbbAoc7S22Ni8HZmF8B8NuAIAjWiTY/d2PGUag/cm670blCgC9E05ESM1H1O7NckY/T+1XbqhNMxf54UbeO/b+a180e5UeDHCFREerz7ogUUgH8zeaEXzdUZowTiyTROPRrSf6MJwcFzESLwPk+HMlHDZSdBgjaTbpSATw35hxm6dAb2CMd1/pu42H7lJ4muECKpJlRwXIlilUWV6PGLD6HjUQOrWDKa7MQlQukwxpXP7PnQqYhQkqZm6I6UsYGQ8AY/HI4QChQMUDiBfJj/a+DubOPcb2qbWKBcIkpuENu/DD/1qLs0ixic8wMMQVy6dEc93H3TRRXthh32W3QKLbuMMRLiD950YCt5cQGd2acnzjlIwlE1G+uasN2u+m6t/V28nXNYD8Q9JwgsGdurxDGDOYt+x0J0YkD3lg/YnF68dHorER7AQL8XyuZiXcBxyZ1cT7+BHBPIMfCHMQL57TlqjOMB65sR5/8awCW1NI8Rm/khE0Y93b3j9T8v1UY/RqOZzUyKrDBa8PTtZuE4GmUUE0Y3+2qTumknSlOu9NWJtxCeinv/8gsZ+Of8MsyniAuoO8BcdFckLNN/UjLgc2op7VSpM3L2rvyR+dF+1evuvC+ISSeUw8yr/Zt5n5SESWSWcgI0/XPKjsdMIdiVWhatOGeR9hLC2Z9uJ8YCoQkmCR9I5VZUsCd+tFIvuoqXp75+Vc8kqmS5LibPWpsyOfISmtVRBJfuWRgLJMHV+uDDoBmHL0Rq1lLxMxNMn7Mj2aEMoIiPNmL/Rq7i5Y5zmiPpwM+XPj/U/SPZAQ2o6/6R3u/NbaCQ+7l3teYPH/uAFh6mR4qLAKRoCj3Y3sLiGBHDmUgrHGODAAC+oWDEBTtvh7hpBn4e7KZvQiOkdCd43kM2wCw4a2AcfymHABkC/m+HsXoWopuFn2kEx5F6yar6/b3DLkjgOypUdhN2DAclAVbXWdmRv4n7L9Zu8ZScRxdZa6NfI+K1XzuJ4lvjIA97YDFlLKF+nvU44z+y9NfpkEjcACPfAGTBLFcTDtzy2zfU/D+j7LnLNG1nhKYVT5AqHvXxrHl6E+u+x2m0snPYj5fDNokJ3LXJwlAwuJHyVqaW0vUathWVZzoR/ltO4wieOKeOb1VuZh6//ToBmq4zvKpodazGxv9ayCP+Z5TLq2R4bH8zF4uXchPQE18htuvWkFXs0Q4wVqDgP6DXmYepZD3Mu3nCNVulqudjE5Sg60230J3dd06M6Fx7OesAXmb9HvCa+TUlesnGkFHVnlIHcM7Kvjxafd54hKW4goKfXKMezpafLFwNL5IVvPby0nyrcK11OWEUCFUda6gSt98dXvbpvnGQ3JWbX9hlooRQpC+0p0Dl44zygaS6sm+HI0xSYio9dXeQaykCLbTdnCiG6f6F7YUrMaHjK9ysXoffUCmJLCP34POIfXvxo/rG4JdLeR5T1nI6WMMoHrga+4VeZjqSErA+kjfq/7z99z1iT7q0U0cjuTIJWBEdwhoCjJ91dkgVfrP7TiWkCRWs4KzhZZ0grzvsrUFPhyU0KJVyVn2z7lGVnphJirBzs4qjR/B69GgG0lqam17b0yeR+ZdK7RQ/ipeFkYqls+l6xBlEPPnoKZS8DIQs0inWQKLCxufC/CxBLf8vt3jL5dcprc6Q+TpU+K6tM1MvfZ+sN+pPnlkzKdzKKHZDo+gnhvR3Gu6OA/B+Jm/LunMccr6/WvZiJNenGsB3uX8hhrpVUuhwO7a9BK8r9oT+Xstj5zjimnB3IMH7ARi7lotx3IAkdQoXRPxoG8LtpUf6dQH9TcRHnHIJ8Rt60oPDgNRu3iDHt5mfaeIPAzrnpYc2pNJZL7zD5o+burT4aYSOJXTHhbyRZZEiWgkcYfPg6t+G0CBdKbO60zSEzXs9fvBW4Kpsyb0nb4hxnzJ7agYvGYJ31ggvjXMeul/yOtlc2l/efqbJ7Y0ozTwlcizLABb28QdKRZX9DRuLgDlxoPJa9uCuVN0q5UGVAaAjIGRF7fbvfgrkpxwl7T67BCebvWVQR1V55gR+w6YB1jl3aKOI7OcXxkIqDbEFO7sqVn0qPUzBS8Vsb2WKnQhxp3P1kiXLffn0S1C9slM5zIEdzvFgcAd25KuGHfbJCxKEEh34TWNF3kjmDhyguU6MkLiGx+Irke5ZQb0IOrNHYFr6WXrrD9aTbi7Rb4++WQd85OUf9r3MnjFbmbDD7iUUKAYByzCkTX8oyjwocAnlHVn3k9jmZ5sv0uqrPt3wmKK6MACSe4rwd8XqZo7vbuDW4n42vXki8tdDAG3dK/gtsu49jzX6T9c4ygTAA8/0Icp+7LBYHjdfcL7r6YLJW+ya+nvbAoYL4/y8VkO7TKR2Aspd2tI2BQRgnskEj28NfVEjT9YvgzaK3aTg9gMVUrwNrqc6ljXh4furp+zpQxRdm2dXqVq7c7/HqSv7HXjcmO6Ywe2QD0iwfnsd38CJJmy9DGgma4bcFva9abWcEvvkmHwfaCiBok5Ag7ireXR1EJHSAX9vbRtRNFotlfMASweVQ0nGucsvuXNyIe4YUcQCalsPXGsPd+jxhtSTUaJg9MpWlrhjlmgShWa5GxcVauouU1wncRcf2vDUDprLngXBU64UtWAsb+7a5gisAYpD/qUmrMSy0gDzMaKz60ZKkdESLdAX83W+ftI8K6JTGe4G6zminmmJyn1JOuXFFqLvBK0dX5i5mK5vMtDz3GSm+yiuYQ4p5y8dgLa5Eqf/rTcgeHWfTsEpGXt+E273qTirH6SK/K0zp0YzfW+e/J8PiW2pNt/TH0YsbsYUXjmYT7GFBp7Pk+0zWPGoIR/bW9b1KBKeE38JymxdlPJxF0/6vWlCMwm7AY/wtZMh89pM7ACK2ItPiaqgrhwiuMJdz0wp15/4QlBW1L0izuIprSfyXskouaj/tRSrSiZWkLKmcLZ1TET7cQEYbGfxWFXtSKP5MehGfsJgiHGeLHo0M57KWhTrePnnumqlgj53mn+J23CsYgU/tsuI6HEV1PdTt6HJJZNDPvIrSxKGRvG3ZY+j/Cv6vXFvyFpBknhtkV1W50yDwpaNJoG5N5/jRqcF03+JbIr8IOeLjHzNsi4q3pCin0SnqGUDTGPXfDJTfh6YcQDvMix7IO/+Ns4yr2bzdClPfsLnsjFmh4KNt92lDF09Ghh6nlrLmLnU+Gm77XviON6X20i5IDbwk49rvL9vZfI8sE053uxtNLk/1S8kQ466B5mJSDFjNGz6vSTrXGHG6hv+WWSs6FqVzEPIsEhxQjH/KCTtvMz1gGgUheTdJ3psVZaUg0FVGRXcOHUJhesvIK37hPxA1a5KtLsIVN1eb0oDT5B9npyeRu+6w2uTieiaVwAdb2kZBMeqJhyh+Ew7li8G9aHVQE4Wkc+16LlflPjWrdTqoOJtQAxu9KRr11jwNgpWzx2TGccml05YKsgpL52wXsaH2RLu9bynvw0VZO+aPPDbNJy8K+KJBoqkgbvvM9gsKAZ5+MrN5GfdlYk8kjcsihwQ6iZ0cr0VaV5VZGv/aI1K12BNpPd6X0oL8KYCgmiuSpHnJHLUuH3gB68p1518wge38dl2DnUNFqf9UUK2blL/vsS1/f45TNcHn2lDZn/48HVNZqnZPYKOnaj1OK33MjpzEsQMhg3efIbA3XAwmtZtSQqLO9VwYjDojsf/yNK9yk36+5eemVYQvhiEg0gY8AeLzG6BHmvTiRBq2wfWDe6V7q1KqBdb/MrjdylAzBsavPW/iwO+8a0G3LdZa6ADkJtbNLKR/GKP6tYpWQAIs2GFxogjxn7ViAl0W3GaETS3RBWUR6QXJVIztJyOuu8iESctsIFspJvPT58KjoUko0lfqqijnULk0Lov8cVnXePLAii4mOAl4YzUUliENjW3qsFfIKE+kPNv5CW4EHH1ZwVEU/IFVfzv+pMBRXDc+A/KqnlcsUnqLz3uiGwahumhS5E4GfRb+WBseNbcV1ZgqH7RAEccDNd6QFdABxFgFziLxNHJKu9hmVwSWWMCUAdFDFtVwlbP1yC+rLkXzMIonWkKRdJjXK3QnIdZHO+Wi1hKMMEhfVLWQI1k7B6v4SreGE/vYyZb0cEOsCJpM1Bdait0020y7S1qXFTwgPVUzfunwSe5563qpTsqkNvlFQ6GmG2yf3d1dWscaqHNDn0BQBwrFrT/FOxHBa3aOjc9oUnyKzR6SwUqtfoCFyN17oantxzIN4KQlfe+mYxlLNt2i1wEx8LZSFMNrZYZvW+mWn0aUQexaSju5x25PEoRZQk2+zMpmXyA6ZKo67BmHHUaqb1WYKhYntX7KGZWcp8/63uKFM8t+8+kbc5K4V262dKZ0sPCBOZ820QGZTC2Wdx7ndHcDvoxGjjl65V8KkhLGpMawz/kWrQTAX9T6o5P6ESTWFyjYmtr2Lx0haCP29u2nZ6SgU1lSDtlzFx+Xsk0dj6zMMj2hVbGnhWta4T8/n6YsadhoKC5VdjMbRuzar5gwf9iXGXCddU/it+XvhkH4Y5myZsP0l3L5ABecwMyEk2OGc9kIvfH2iL5Krfbg4MMqJqgKqCu8Oo2HR1SdLDo6GnzgX+x3Flsnjb4i2654pNpLZlVKc1Cdi2lI1dle6KHeHvtoHqc7lr8qnI7hiNIewEHaHYj78N7wUCoYJZxu9fGiBLSaXy2qoxoyO2AoePVYLGfQmggBXkZJNUJnR0eRq2o/PFZTN73ShScSOSSFA6OXy9v/HeVHYfO+u82Gfhk2gGSVcOVfvkLjwHj4m4vR80HubAmLX/k7W/L23S7Do/AprpHe88WO4xO8jpNiLamYNfdikRLotfIe7nZT6bHZZGfMDX/SedG48mAJjcIYRUmU+a+XOuyV7iTYbdPUUhnOwlCQRyV2hvFqV+GffRv2ZRw3374YNisgE/+zxBgA5Obqp0Wum4KtO9wI5Z4SaaqBTD+XjCydBBOT/WFxO3jelYDTK7SoosNdgNd6VagP59EfA9ENgmWNdv4+Wn1AWZ+4XXaPcR81/Zh8oSvw+bpZV4CS4PeAH7bfq7IDmEB7XDKG+rW2fdV8ryoD0YrDzVHnTnXFqJkIAw9XpeAVfg+Imw0TOVweQFifELzK525l5Kb6sXOVczFoaMP3cEUXKtt5t/Oi/nIXfTSPa0x1tOxOoBZYCyO1Nf2M3/Te3aG+zNfmpQrBUYyYYvQH2XFN80/kQBddmUZwXHubnRQzgdOjLjtWxmODUNIzbaPeaq3ckPuLVqf+D3cdeCk4XrVaCCsj84RVfVBOqO4pTpH++jQn+Q10F/spQNom1AZZK1efRYn2AvwscIQJChW/BvzrczwPXPY9Ll9fV7rqFHVhfCzagaCTrs3hNjnSvyUMu2lIwVVQ7mtRkCIXbrVEkc/sak/e0VWOPt5GG7/lIMqOLcK7pgJDp3hv3bhLw9WHGLXN8oMmGO1zCaNZzhXO8HRJHo0aDLaokeJpieug/aDd/e2OdKhN/4EJ34jcg5Y+pqViIhJNZul0YKMDSMgfplBBsPNmFe87SR9tUONUmJ3+aURZ/7n/jIuEY/Qgq1YyhSMX661548ZC/1oFU0C8GfwTz1yCFcjeEuwOW6I2e52Xsb1874eL+PUWYTjgjpR8N0zS1AJow3vFWyzh22yitRSwp8SfD4NEbCKQDz61ytEG01grheDJzHdNt2fYiMRTInUhCXXaL81teJLx+jgsVZsENaBElm3ED4xuHElTqn9JBPUmE4IBhp0ou4f7FPZAB+I9LMzKolvgVlAczhLf2E7u/d0h5M9nBJFVvyMcGQGU3V2O9Od00oVdhU5PKn3rTvhelulbpjkDV7nZvCOtLPjOCv7IG4lT75KjshMBDE4ebDnDhDK/tHBRRbwxvrFpfGldVeOkYneX9mrR/r2frgr1jCr//WLOxMyBWBweTMxrXvXEzxoZe2LaH78MgmIQ7dY2g9MaXs4YNYICkSUAq93f/EemZV0/fpwZgXkx/KnWnAZqby1eyD3eLxd+6fikW5AHUS5+pa6szsm3dthFCFG4gdLrfV77RmwxwK+HzT/JgqvrPnyt1rxyiPwSXQix4uIJvJfW+Id/+vUNjptmNkuiJZPtxCjTqfPf0l9vmSfXKJ6drp/rMU/X9NHPGHDggypIAbundkdG0uTXByQpc6KrGTUAggWiU7MyetqCsKwX2k1F5mO2pVpLAwyM40Sd9Oyq8Ykh1Ar7Xdwwr4cz/vL6Otodf0PVxnM/qL6MrS0Hi4Vr5ASKCY1eAi+nD/92b8VYJ9XR0y+3lomcOyxfgp5AiGLdBOcEvEOmWSpPPvsVwaPYqo0LtxXFpRVS5KoVZJood6v8BhXn373+rEASZtGIOBu98MUAZGuFhisa7gf5cUoBddrbNX2F8EUaVntfHEBmK+dI8zG4P7rhuYJF1S4lUXVevxmQRP/2xlxRtwlhelK3QFyOZIZpkOzA8ZY1TIMYu5X615fbURqicZHhqhG/YI3nb4O9MUoUj03Dt6VDMgBoompEME8T9E8CTONDr9USJ1CqNX62uB1nd8EZX3q2VmxGAqgUA6oOLxoEFuGPUTpk0XmQ7Rpsqc23E4kRIfPJPEd7xl/KbBed+e2wiaiF2xp33/fffAbYoWSFTKAuaAVvnnWzqAKKHBaaJx0YCL3psHs+vPVhLkgfdl+uwgQj5Lkuz4nXdZrGcYdiFPeNqwATwJeSh0ELNNs57xqEcEH1cf5quVG4sSGSkc1rLMPFNvMYFZdrIl+7dKI+cyHMidozYdAoAADBuLDc/bv2ivzKVz5el8IPte9XRCi99mcFyPxkXFnDwREM7Wl4ogDsspp7MzwNlkKUhtjvFn264IoA7PrVUDwRpgGYoUhfG+/StdcebA2PP4h47lhGe0LLt0klwm8WGRbqgpapVz5DpcxPDxZlaFokmXZzvWkaVfFp4lNoRnIHWrkEUFKI0ES+aq9UKEr/ANor9xsPAXalH2SCVPpPcrDj3c6RGFnAmz0tEGjuJzwbFaj0Ds/BaKtrdXLkVRSvt1v4NvXrCsJOxX/MJmpJF52QbVY4U87/6PEFai4eQ5R/7TI+Sp/XYdx833Z2FfNDZUjoGg6wuKhIIWWkDFcCM5TjlyqzKkhKdPQNJjZcDwu4jfclLsil4WS22vQWuP4ZCNbHnqkZMT4qK9x5VLbj77aLPcI0gdEvprtNlODxIMgLLve+YiGXl6n5oz1te/Ka5h4nQl8tIlIP0nae91xesGCGkigUTu0oyiASExOhzCca3BajiNBdQ/FptpYLFM3ZZgV2ijUZvTUfBgAyf0sOefdoRFiF6uqB2t/SgBQ0uMJ9K6RNZy740wh7PLk7yYwT8uD2VVJDQuFi/VU+DeMfqgtFDo1v+oQofc5iFt1KUZx9lnqQmGzlRzDlB+I2SGQ97suLOr6kH12eTWDLBI1CtDO8xQkrR2Z04/YbRld2r9N1n41rRxsNgvKIaP/9/GF0nFO/lt9XfkQbF+fEHkaXzg19l4AZUGeG2PydKlM4mMRe2LP0rdWdoVq4Gt/a6AZ2f8Cc+GUx6XiejpB3QTc+v2EkuvIP01wKeZKXk8yJf4VqhNWU8OBCiCl0dfiLRLRgag/epcdlKaToiDGrrEj3rfN7aB8Uet+GYeFA9wD5SeGnbBPykBIH2iiMAxNIq7WE/67FSBwakINaXtcrMmWCKGD/cp0xoAj0KaGwoyiXeXhpaoyskvahmlw0Ko9Ssf0tLntCpCqLGaA7wHdVTR8g+eZWLhtzY9EDx2NQ/wJhc3b0vNPHCaYca8b38i7Nm1gGSM9R3ZqYrNhSLGH+ORyCYTEoJVCdjFYH2RVnX7ryKJYqTkjhJ8kkZRDw+iJpgdzaf92IHoc5L+f5/XDsNHYnca+tlc1rkMqXOnef6SYK/mu2iksBYZP03vBI1vV3o7qRMYn/IufAMz/8eAuHf27UCb7RUOlKC0Gd5bl8IC7IuGheuePeMZyWxV8F1sGcWqP4OJhy320gQkOF0eA1S07jehgUr8/irnE67aJskV11aOy9oXJ0KBtboxbmOOzlvU8k6uiTHJqn8+GDzNWpRaTDX36nQ+KWpuH3E6UOW1Bya92OjM2PCy+auyKuR84SJGTbcCCdYjeohKxPMGTPtColyTXi0H/EBgIj4NWz9AqmpOJIXDm0Di/9mmaiHWvK1YHxS0trmMvBqEGHO5nGMTBMdjYjKtxUQ6JdY/8Hr7D+bxcqImvQlrhtuT455hwwLj3+Tcw3vq10+knvPb474U6nxrOYB3e3relOXuvSnxRLz+7CfERDWUlGoJbZlDZfqNFgESt/IteAkTKB/iYTaps0Znivxzq7ZpyXo4APANUvk10iP3ovhLBx8mf6BPNykuB+Ni5IW2BHMvYHkN1awd5czV1f4Gf2CycYHALNSq9XHhNxIPcwNYRHxB1DLa4PgekRVihnyji++7HUPaEAFVotiUmGZ1C/LSBTDaImyMNlomhsy/50BRBuGvfsTf6uEVXYyhTxpGCYn7vpmBSqBJXB4aKv+r0ZjBpMTYoOJ0i1C+qLsGKRIoKrTPnIw/RVbAR6Tzrt8wR5Rf7L82igjwF/7RuwyUOrtoey//r93UIYBhPGNw2D4rHQkYL/2rHVjV379Q9Me8Y/wbH93oBF4HqBhi6d+0uVXVLHUE+qQfuFCbTz/rL75Dbk6AEEyvl9cgs0g1v9zWbUfz8G60ewhwJanWRXOql6yO3jlf0Oy4ub4dhkFZFuu1gr20HfaamjUP/mnTVthy2/18LBKaRejEhhr8orxYceokUR2AUkFrLhZDFMhsXeuF0LknSmCSCYYJPe8lbhXfapMxN/GKO1Z96jPbIyeTYr/vxc4teIVSg9kco05kf0YY/NRef85suFHav+G1aCNfccm842hOpqy1g0elq5mGuYst7rjc6MG962hgKI1IaqffPga7ObKNB6UwHI7aMFGZBeLmngLnPav/eWaETzqVCh7Rs4R8SXK6fOTI8MLQlI86FeCHkN9+tQqJUt7D16tnfGgHmKICwHFJ1W9n+XowKYKoGpSo6LTj+8bWm4ZImWNK8R+wTzhUgonIKbJD7uFHBig6ayhGO/FxvJ9MERi6sRNKjVsL2wuh5B4uqUQpbRbGK3cxQD+vcp13OrC1YNM06DdIV0Fkcnoha7+qjFL8srawRxwXMmmMbV1gDatp8PU0OfmFMpAIDpwUA1+r52aapFjDG7/70Fh8gnbXna7uVUql6L5QX0f0XDXHIeP4Si45nFmuOGbXaYSFE5mCqRD9DgjCrDv21cwlDVdXaZi4cjwHqQq0eoANRSsEbthcn8RZbStOD5FZrwAljLnmFKtcqcKmKeeBk3GZAiaaA1pYECSfIoI56MXtpAiTq4XenlS/EzhlZ0QeX/8LQnhbt1xZPqTMH+qeiHdQ+sf0TMVGXCybo70yiWZxVABhkJOgszXLMIVFEX172fbm3qpB4HpJouLslExoswHyrIr2kwv0Be3BbBVW3/p7xYfjmk52QKqoKU2+M7ubQaeRezg96Ywi9K6YwPY+ksScszvNVuSj6SziE1tvhix1vkT96jMZDkbXU71eLKp8V0yJB94pFlifnRxGdW2Qge/Hn7ZzXLappcvCN0l1mVlpA4WSSmD2JlgIDld1oSjlDTsqmT75g+sgYGlaHxnOpGNHNafh0UdlbNHQull1WQCUOlznt6St6bLWGf8M4NRregvka39oFPUvFZcS7p1CDcIXCUUIOT63F4C6mgNMVmoqa6gb6uU9g7mBw44mHVSN36Rwbyj7EbfdNWrhjZy7vrI9kDmwH0wyFEf8jlG8q4+hYbncgtwfVF5fZXr9YiVS++sM/ZOfX6VstFI1kmV+YbOLXcmBR2iqQsLYSG1eOVfc/MVNgdLa2PqgMav+K491oQDqhTVmmfeSAwvKee3mvlU+q6isXZgXQZNbdvd+TvhUE9Gm6DSPPuKSv3x02QhAq4NqHQ4GHEtM6d7mnUntRXTJ2T9M/EibIFhuVHEqvkDCK2j+TsKrHQpE1V1s4zXo/7enJt9fDhviMa8WYaOt9G6ZK9dJmAH8RlNPrrUxO8CpUvcXdLJ/Rmlm6uk1jyCbge+xJDqqBRephx5TkdmThjKxcs+d+Em0SJJv/OwCsedjgVVQOYTDo8i0lTRNutP0IXwuOzEWbdaIo6toZDYizQ8RTbL6rNjR/XwujkuKTXWMpMEvkbWsSSLESA63INlbdHJCYmwN8uDFdWBJvTZjRurnTmUnwbf8OEjeb8uIybepJAUqD+bG0GD2kHhKWOAtUXdz3QpAC+u/2Dut96hWAVW9jNps2LxEn8irtfSqwZl4iPK9vSL+0Lyibky8rEBbiAx1CD4QGzoDtx/LwFUIz82XIosMPV/PHqLZ9ahWxgrwG42oIoLHbVUaQCn1QSb/Dwzgvz7SBFDjVYkJoqB07R2KVPz1hem6BjxwhJ9U9QdbW8DspmHxWk30BziGsjtSTzl4xEZna7nmFgl03Br1O1tidNmcVAguJ9c67IXkBnhtMlxzqcOM7O+98zbEXLYmneuoyfADLZUzVI8IKTPbYVz3ncfqcfwikSBUIPC0Jxd6pSjG3Yp5RIkGSB5gze68jKNJrju1GokkZqDb5vgKkwdUZH+qAtxz2PWZtIuu1ttml1C7okO0bjoEKim5dx5q9wQt8f1m86wP2cy5Ws4vIu4AvNJF21Q1IdHiJpjWukAoDSjh75OUgQFN2MlMZ8DNMi4SA4T2wfclG2a1Qegna9TPQMzYCEwUL64BgXjYl3eZ2KEpQZuihdPGmK4PvLOj1BbzYFZopHSzNzEgdPg4p/YlIaKJXyshT6d+nzPfPNHZektqWMC7I/hnkKbaBcHd9JTtLouQiSQCvW48E4W5gA/eOVjyIdyEM2x13gXuHj8gK/5yUesnwAUutuw/dFo8w/Nda0LkQHCLkiTJBaVgH7mVhYw3vbbNVNz+2KbcgFXF6F9agTMuFzs+yPJ2CVGwodFzde6qhWTZVJRg9KTjQTZr9W3GBBLGnYvZMgF+vXo93gA/HnJU914ItFQewSAwlVhAQLJ9r2ts8bSpIu21JjZvTEX3ki7NydC1pqumrifHx41wN9tpvckDVSE/5WndwBaQe6HveYFVZ5/1ZQhxJP1FK3SCmw6QL/ijkEgon6XxMKcKI24hUR63dLMvAtPYpA9wOLO3lbPwwrLi2pwNJFOGpep/eqzNsiGb68CeSFXElgVl2PbjPgX41qcvNkeWoxZtoLS+dkAL//tMeyxjyFHKMusNxV+F6pNJk97gcuaS2X2b61SjLnj27lkuH//DeZhp90cjlgiAJyIg5kddYQJEgEqg6PqkysnHhvgt5uT6SlivpQVwlEzl446TstS3b1CPtRKMlSdZMaIhk8FyFW6s0bhoedWtOEiJbMEjRwyJWUjp0sm3SJ8aEODDRRrPcfmNRlURag7hF8C6r+oPnsOosaUwUpD3F/dsREXxms27fS3uTbzNDV55nso/cxREAZ1ksXPDqFk3gh4cz/+RVALPKl+bdfH9nxjxEXQphZXluFI/CfFb01ijCUWkEyaDfBM87O36ySWyLYzyInZPIfhAQiBJGcAA3AGyqRWXfTjrr7m6YrGYRlrEJOnjrkL6GhAGcw5nV7eimJzlzHA4PrsfsQtKy4mV571yTyGmcL/5mr4T/v85ftDEWUvpH4KGPtp9bhaRvFIQyR5JZ+BRv1EZdyhtq2Fr/mUJg6raipoet7D5g1GeiZdy09RjeJPBI8CDSFNtf16ei8wicYMHiwiUjLpkMuRj0BveE/9TMb+/cfE9ln891YwkqMgSwbDXHsBG4oK8SHWN7GtVqVCNZLP9aY+c+qd5HgBKOGSpxLb+VG08HoxGw8ejpPv4G7q0u9XcLvfscZ0Cpex1Cjuj7u340jea4yIlMZXeYxK/ZY4naDRJwu2qVneGjSF6zGTmszhuujJB+dKip7ok28CzNfOHosru6+WBGhyiBakeCVRH0DfoI+h+4+YPdWWBhgXs5q5hj+vdPIcC2JkCdILd6DubjiwTQhwr6dvmAvBd2lhQKd93NqZXyQhJcLmB2Hkywi/pgdVVW8ZU0E6EpjjSdwNa0paT73K+AaO/6nkFONsExFlMrVwqEjzvEhKOt5mVAxo5A37nI7QJqNv+qJX9pRewQ6Dcxyk1X7NdvDAst6EcnGAEgWlbjFROpOI6dZI9OJTP9OnrCro/pyKmt2YxD/4zGQYztcqsd0KDN+4hy7DnRqGC2MSBma9gu8yrriTNmd9C3kyMeCLg4kyDtnugPeYfWIlotlcXzYujwQTpf7TJH6c4ovgiy2SgOazkevDKfsdencNeQ/2iwFyENqMfns7iqNTP6JkrvRxJaElUv7MOugIxOXaI46lbnuMq8wpOsFgiM4EaQBc9MQ3Ef37SLJbzNywTOUcVN3lqCIxwvd80hCd5DHkEWFLjno0VXEHrITTJDSRQoPK62irJmEpROX1w0C2iMBb74x609R/R3eLhuUOzuflXDGOIskmoFKbcTHjims4aKholBDLbr/vV5XeTwcGhuyPTzaokuiDUXwP9P+IINp4UCxcmePfodF1vDCExv87lD43cw73xPtvm7Mj22jW59FEzCS8YUGTn1r1aswHGmFaJfFxN3i5jOaeJg1y4jCzkUzhlZGgC9Epz9qhz2JacUjpImhcbPc6uDdG1X/l7FLacmlOtzrDlcBgq4LcluUXQP6b4fl4HE5t9b3oGV/byno3kT3KboSeWGfwuHcAvM1I3d6tptquNxxxwhPWSG827ZXXcCizElRnGP+39Ij5Rw6Btkaww3FiVcS0/3086KO2QkwMSFSljv5kGaJIlLIbs/yPjClP5vwXRVEtSGWBcmGI3BAQlHFX604IU5NqHYs1V54TbqhJdcIHZvlsEJDi43J0U1KXXEGg++f9P/bYYfBjL4A9sq9anUzqNvCwHRLAuPMZK0tnRneW59wduYfgV4g3+qFWfzVBB1I3KLApdB8CjGiLM420z9Vm6d0CJ/qX3s8vRaMLPEi6kRorM1qRJg2nEIRpqhMGpzJ1joXObKSS+k6ZSyAVFutJlPaf6Vh9DtkWNMFelnEI+q6WzY0bKQ9Z1rqXnW95p/3sdhGKPOPM3LGYiX2KyBgXaIGlRRlxBhvwmZvxD4luVPVKbJQUvxavE8Bdc5sR4fwyqBlNOaTv48sLQ315m2ED/x2zrSGzmE/DC8hA2wvIEDV+SWoTtVgPJQOLNLUb8ShrgsqcHa+2Yer9MQ3SUfBxptGBgYJiLFRXKz50PCK1kFDgE3XEIjdruIRsPxfSUWB/DWAwxjQELVAwuMmQEXWjBS58NMc/afuweJ1Hk6Kx1aP1+S3bID0VOQbFoebzfOvZn+I6E8p2jmDzc5+ZHWg5+/KEfO9vV9o/gWGf/d3siz8pligFvjQmxBrs0YyT7nqJY7F+idoVv0gb+wIBuUvDilNkPjvNToh85OIBAxY4y2BaLtPFAKiII4/u7wJTX9P5ZElJllyGFU1g+ti1yCN4+KgBg1j/QvuMv+nRkWW+mohRgAk+7Tteb7FB/krJ+AJCM/Bw0CQMkIpKuU3hgPmdFeTPwZ0ouTxswXXSDNv+3MD3bzvEv33RnY0MDJQW6vl19bgRnvK18apSnMIelBleq6DPdxoJvR74h/7RpOtMej3QfXArAGCZ+y47GoT0iKGJiZBMOnVGMkh86rA5Msck5ZquK3arQqVs1i2C+8bBPj9ZZ+Ed5jbMCnZMaNFwMFcnGqnCZJSKRHoWT2tDguZDiQyAtidQXLuUGxTCKKkq+Xxv9KNGYRUKPijuley9J0YN6fq1lKuVfOsu4jbD3O0+6Tr3Z7YYEs6dNYEadl1vO6G0o3ExGhaMWLIWfKpphvlmvfG0gWMe9YbanSfXb40U/XR8L09szolBsvQxdve2IN7/vxk3vSFuZb/cmX75RVKBpk90+nXkCINkv4dgc+KrjVzyHqn+vWXiop9ED3yT7N3TWYP6L5h/Hg5AqtE2fgHz+HaHbzwGtaPIc4UnKQHdZpG2HNt4mw8nJle1MLTDPdKyB4sIRpE2U62audqK8/pU7JBuQzDJdmgEwm2VIkWkmhh2tkqP+42l35brC3OVIpiYIloR7qWG8H5oHQRSVUYRCisU/18d6fgxkIPaQ78DUHNpE2as12q3EY6nzO+47r3PAMRpXW/nlO+K0MgqXu3tSF8iqXGZkOiS2jzLfhgYHxgn5aHHDjpMePsC+SXswTXkk5W+JONuEoCAWaedEohq2JzIe9rpFA+Zwkb3RyKPcV8CVX17uxN6rhaw96LnDfnEgnsu5T8Q0JAXwNb7vIm/N2CaTM7rWWg7BjGFvzQJD6pDhNcOIaTBrpOMry1N9dnoxPyK+zOA7d6c47JvyP73th04e2B1JRmQzyf5jcEcr7JoZvBrV1zbX8tO6L+vyr2xcuJP/StaKzOa4Nq6vbePUB6ElGri+VT1K79+a5uvfBFKkbbJj2ysK9G2GWuV7Pa2oj+Kjj796JQOWuPmVMfRK0y1e1ViSLEsJlklXcFagVVg5610f/zrWQaOgvP4xXvvKR4MeH6PFHHNCwn9wZ8WdGugDvplKFsps+j4spC/89H26EB1YkVi0KsNLrYwhWV8XSeQfWp2xyOyE9LlunytREzyZIXFSvLp9JVYqh4A54MPvdYDPfYdbXFwRXAREPtCj7S5Q6o16EVVu8F0XMHMICSeDiVTESeqStVDRgNfFJ8R7GY+RpEXkC3jEv9/s1Irkh4BCxd4s9F7bqKqOb9ethaMQtFZWLFYMmqJiBw2QDLgSzjBsUn7qrAyhaSJ+k0SXXnB9QoWmAdLP5uMh55w6AJ9UEdGG2uFLqk9sipIS/1zrbR0grBj1WOCGSPEQ1T3d1gLwfD/EsmNTEWJfk1Cu7mDclkH0Gb03n7zQYQD0qQMD1BoVho2fStmgZ4Ilvym2RWmx9B8bI2Z/UAi3kkYzUb2lF7Sy5bnFDPvGD0nMIdQ4EzlqJNZIJ6PWwJRYuEZzqr6hLdfQ1cB+qcIWz8GIuu0ot3gC9/TS7/HjnJnzqL5UcYrJACGWmPeUZV5jxgScP6qtEW8QbmOrUccGqQquiJ49Fx9sVp0xk48BS6tZ6HxFOBGkcYJNMjhhxZwIRNgocqOCTAnrU3UjXUlji9zQJDf2KAixGma7zyUsWOru16Bp8YGmVNoTDz0dh26bfmU0/XOkw66CFIUXhiTHXDe73j1k1S/JqqF1W4uLeSddCvIuA4yczr2Futif17pkdIM7Gob6umJ/XB6jh9KIhfmC/79TxNX/NoNKt8v9FndjaBLy/2Y2NQs5P9d+7B6iHlDLGAqmGYDSbdk7Aat0ytN8FIEcx045ZHd69fNG+wsaA2jciukF6WIgV08uNIwHFq2pV7LAx8jeecW5hmiX0W6s9bW4PmJ59a/zJWDvGHdNo8GnP4rgrEvb89p7cnII+5NlcifVbSHSfwnBOkKX3ci1VX0QaHkAggvuTVwSbGsM75HBVxVYUaAv9lyqWING35EOtIUyWcD6/APm1rnW4swEJFiAc5E/MSzrASQqlQN/BoYekvUoqact4Sm74yKkNHf4VJYixjC2fztueNz1v69EoimaIuDmepLG4iPppNLai5vyiyRmoN1ImbArGzSX9JfOC/EZdOALZdm9G8EvgYdR5F0BNKu9iY2CqBcDvqo7S9q1a0IggGrFJoOmu67xrVIl49KmVTxCCshNfIbotLXURYQC7Chdg50nvZR9kYIu4xMEmxNlU6AGx3o7U2YO8Kgh6Gmb9hrh3NZRu8Qw/NVVyVnvKz+4hTkV8x74OckxVp1losag29PRf1wL/OoRTYNoITDasfAZk0yNGpQOit9eeS49piA20Uqx9S4qeKFXV6VES+NxKhicyyQoTIrC1/HgIS0EUhvwVdciYxY79XVrA8/Lx+iGKsjpCNrC3GJmxMpPNNRVvVsYNT+7fswP4OveSbgM+azOhOxENged7A2yijQfBSzqZfi4v182PN5NSJIv08uyhJ1WvUvi97VaWzQjSvOGOK8ZvJn74JejDyUfbt7COr0z4xG0mrMHmrZosOEQ/8vtnXWpSCxCvEG2lFzwA9d1NOVohu/J2AcR5ZeszzePSFIup0OrtZDh43hgNzQ0AiMTSJ0zWZjQUcqteOVUBKMcMsDKALnQZLtgyJTtOpIaN+mVn8xzzEcVyANB099QtARQ9o98JPABErnWmIaDLmGChsYveXL3+CPty3SF9iZejKZaFWYSDzWJ0OEKhXT1hOvYrjhNFv8pZtgypwn85QNvJT0iH4YIiBlmPbAUCHPANug7SaI6mf/HmhYQ4DvofvkrYWbXwaBX3k2a6VxgwL1WnoYUfSnETxc5kDeIEj1XIdn/HescjrW0RsGa3z837snluD9tM9ZhfXEMZJxaPyAkOq79VV9XY+oWz/zDe76/T/WCnDx/sKhsIH/GvhNdHy2+D+63pIux4eBXeWm++faPpRTbutfwujkKRVTEtjERKeQjWCGNP4nr5vb45KV6iJqhpdcjElu3D95thpwHC4YkGZ+tLm6cN/6PBxA4M49i/tM/9DejvfvaviB5fmrvfJYm+4epv6Db6XYS2NLk1AbffiXGhiOZePV1bZ9Js8vSjt1sJVbaz+iOyHkVsqRUQ2CSi3REzDukGf/+H9VUb1tCSokjHUSesZulz65wlnfrpSvbMOaA1p4/ZW/8WBu5PJkEyzfgrVFjYNwzUAntJ7HfvNycM3K73/wHiKhsXO/6GX2OCKdI6BKBvnBMBlasqz3ko9tljUM7O304GupUyqUWAiZhvegLUEJcpfy4W2ZtAwTwyjgKp1dwDdWcI678eXT30MEozMl7DKClcSG8eioEDydzcL/Qhxvq17/DSYgT86L5TYmmdDcKTPT1l5vmMaeD7yghmPy3mwUM4M++RITm4s8E93FtNaTfbhcQX0TpidTtEdj0eBe1GLAxx4DlyEFcKJRQ1XGlZWIXvc5HaobbPJ5cT9BkcHQ3mAoMoC5mM6CiF1NN3s/nlscoUFlgVXsscQn+fCIaH18ArTY/oeF+6oT2bTk5wwxl7rsfxLzfYYl+PO4OUkP1oNHNub1NDc580iDDqa8mRizDQqPdgdCONkJgr+pCYO+xnDbEN5XDv2ll9FkLjRPFIbyWtpFwbO0ptxenWzHczsCA/ksvCIdxd6lYJe74juzg3DfbmYtcQXcsvRCiuzgaWJqOeZ227MVL21LB8j5nPKIDLiOVNwtA0BSkzc8L8MdP/mU6sFjcMu7XEAjG84Kn5OQ4vGMrmZsfIblt9kSaYx77LaV3QIMTBUjZVW14B8X/KSN7lum2rPJOp2rMz7gTzuJTaSV2FvgclHeghOYKJBrahVnXEEfnjfDtPUjOVJqodDxNP5tXcWPgstyMXpP4BNH1wLq77nLHPple5cBLwnRb0XodWDZsS6Z2GVVIvrK0Z6+LKKE2/ofmZPalxZ7mcp9TWsc2XwdSMZyy/kaYmqMIISmhdhnj30/sPUr/GiDtT8N1yxXdkyJW78hzHEN4GIK2doAo4YbfKv0TPXtwFuXSd0R18a6vWQt4AaL3gCA+dfamdXwrdAur6LSaA1h0MNEU2poaxBqsnAt3kuuCGGTnVunDqA9EqSXA86wUBI0eGmZQGw8PikUYxdFQkUL8pfLmHg9xNNYmGLk93UKAf47ztyetieoCM3xlNA1Xylc5LO8UFzTalFw1fOKse0SciH5y+YFEorbTqblWoHqXnTXeGm0kO5NnTWCxomrIZa50HuOJijxaxtbuwDbfFZ7QibC0xzwRqKR2PLeezbuaxS/cOqg4BblcjIfCUCkCa7HMZbfqigGweBOu+0An3jjFpzLgKK74u1ztVZ0k5FEu897qYaDzHbaJaR3hNWDL6B5hAy2bVp1DOR7EDrUhc0HB+3ccNSUiVZ4cVI/3GsQI9AJakt9Gd2I/NMZtmI/IzcJG+ijxF3Rl9J9n/jYvz6tN9XCk5BDnq2bvRSkIBb4phydhFm+2pT1j1T3UbdE9CVwOkGMskHW6ai0ei7TxLkvARW6poDE9YangrJ0dym6D3cUwunP7UzF+ptq3TP+GE0b+UgCrr1Rp79B/b+FbSg+nv0vDRVsxhWF1rclmA33+kHZcuOBv/PdUIKe3tk5zupXdD4sla4BBuXh2hzoG7OSi6Vf4aQs6Z8L3+3z1vvhDN25qh6fl9hNvLeaZ4/ovud0Qm2JsToYA9hLggsTQFLMwsQpPLJ/6ecoEPiq1xjzIJGEvnwiE0/AcgBRda+lltKUvI3qxgZsjD8oOESbMIT6qxJRf5ifiYlydLUBco6PBumhhi8j8zhYJ5AiFOWQiCc9pUudmYLCJRVDMrb82PKArOEdR+6+toZPXFGcYfh42KGT5woTzMh2zga043vAairZ5r1MD/JwbwnDGqf+dr52lhACQUeAM5/U/QhuR8jTi/ibYUgPi4RKYm2PC43jBaxQKqggs4B23znmj+68qckEUlDiJfjojjAqSQBMsO51yQ0bdCYCov35Lhnn04K37P9RkWKh7QJOGCI6mxA0hehg0c2DN8HyB01Ow2gxUqz44w+gw5SQ+zLfl1PSmnPsCJTcPblT8cR36esvm9G9GwMd6M5eLIznaiXou3w41eauhIjVdEUYMvbYR9YsCU8oOje1KW4I/KU+tUM31aE0egBikINRb4GRjduM60vLvJ3TlFlemtSN7MMn7oTuu6/P/oewnmmE5mIdI3C/Kz9hxEGBxAJ6cDZUxsPX8zUmx5FnrRp/GZQYA1ceNA5XVkzzASD2scWXJ2Hi5HAKmidPabT0HG04/jJRiMMpyfot99JtBGsooxa1ZKSbaVZWJ/myEMdt7pPhhORsnx+bu1dD3OIcflYfa2CsGcnS09i9qx+XLF7Uec9MHOsOGI91rVQptQSoXVaqRM6VsGUJs7kpjKXecsySttIAeEBb4lgT6fb6OsubgqPl2fevlPQINv+qkvFLYsd5tQ0Ah+1/KqF6GwZYHDvDKM05DKPZflcz2aMUEykT0AyRjxqihoxX1cB462LscL5LKwP79pi45Ay4uJ+xVTSPKnEPIOuZJpn6qeMYefYYg7vkZQnfDHFgHH1iuAP0S2GqnhwkhDIPVkgTNk73LL1G3EGq5m/IbaqLukH/h8SYGCt2Dxus22iSHWaJJO5XBd7DOL5dKQLGY4tb3YnhHZjKaWB4RdMGtaM3Mzfx5Cj8koTDFSJa1dWzg6uwDcpEXeC1iPzgh7NKi8nr6iS9LwiZZEi/RIqrg+/zffiMQdpGRcCCmlU2+QF8oQATjb0XMC5Woy+RYCsdQtX7Md/dq7Kv6q+9YX1ZAdi0ZFNEzjE813J7Qb3LV0G0yrv0pm6a5YD5TEX3/0QO7L9CxMr06yumPreYPivFisuqWfF/W5ym3IbS/x1NQIEHlZnzWDOr40FBGszYsqsgpP8XdlPvD8HaxXHPBzqHLAlm48lIrtZnvJBZGOrMcx8AqGQTpSnNR4UmKBg2ynZolyov4uCyzh61MNqyBn1u45pesOHCy7FYm6fuKRh6J+/G7qeZKX6v2t/pnD+VPONVDsY/+krs4zKikzSSykymx3R8POhcovBzJto8vsxGvgD4UOuRn3sk/xfk44gjpjeLWMHYfxooeO0aE2FJpkZYnsI5iXpoOmvW2RUGuHolv/fCnQrJbRpwmcSzpaxfrXyKMcBLoN/kJUt0NgBNIIp4Nv2yRY6cS/ykPZJ58IEXpBIKB45ACvvupOLaQi79WzckuIT6JXlbwkPQ7+R5bRCRdqtiG29fW3dNqC3jzrXHDFGdAa5nzq4IBmjBRp0sf1K6Fmv+iVMJ5iAdEnKlB9seILLxXyU8OEk2pc5u1KSqqialia7JxxhbfrnR5OqP0rsHVu1w5i7sDA71hoAG84FguBkHOb40FhRPGANAAWqO4iXk8PlsatZDimIR1VNVeSzpvph5UkgWLjGABUXzdju2e0i1Sd3PSY+jkZttT4Vjwlb9mWFCjGNx56FyC+TgCELsTDXxvnilFCU0FVxXaD7nbUFwPWBTLExgdvoqfFcVLIgmspbVuuIHy9dKWsXJFSsf0pjydscNAO/ELNDY8OYhM5w8XXfiKxNLNqNk3qvPf99lQSXCge4idiZrE6rbiFDkJxYxtaAfyCxGkyk2KpMwT1zk7xBvvdGu8sHrkFiSpDemCmBezfP6c1pZjAHDJC0pVeVptO1nN64REsO645LrqF+Xq60Xxwsp0mEnbNJTRD7ANVvYc60KCx4JY678naanQUWa03HuohemhTSETwn1NKqT2T+T9zcBEBQpFWqSOiNiyrmazI3T6mCcJPuUaJZDLEMe6PMGJk6/4ca4lYeSoxVozRri/0SgluODbdeZxFQm6L2/n8MHPiqcPG+i3dUZYXFGtiY1NfNQvECpuwGrfD2PW3GhXOTrKQLHHxr0oXRLnz1lah0L4xKQGbthqdd2xa4BN6nRa6K2up+HJUOhzS52ShEQHLBxjrPYnUPjJyW6ZnSmN+NNWUbdzylRs006inJL+CK9kSSeaOYdoSbJAIRwsEaSqhq8H5r92IahHtiGbyIxvfuzHbwtw3meoCI35r1fTvyXWRBp84BrhHH93Dc/bz8KOwm9DnnvgZFNIClbCxxdTUWqh2qcvy3yPmhx+yI0f8lli79MIQ86FC0hwaxKKXlZ5gQ/wB3OTXk5KCgErP1NkTpipR4vat5z6wYmRQZR6rnnThrf17a1r/y4cu7NyDao2jEbOkKDFttqGVj3rDSn7V1sjaXe4yjwsRskEHu2zx9dYJoGSLJucQa02CBSfNXk0PJmWcFcH0LB71AM2a+NIqHA+DXowIMeGdsoi3B4tXb8QR3J5ZneKDfSB9xgD/s6xcohSu1NT8szhAFI3/7TjHWGs2iqZoOrlAsk3ULA9xQ5/FR0yFg8MIQZYbpRMJXJ9vYfPYA8QmdyBTef05mWGlyR86Z3IxCCYxKW0v41sFYHzLxgTL8Zj76zfp8lUz48iYEifWtat9c9bG0BLePjewiCtpm5SpRzVcRf5edbTWA20U9KKJqRc/nu5wumHFSpgieJrLRDXuQwO6CcT0+dE4eUAbIg3SFw6FaelXTIGt6pbV9aT5B+zoNkzD+uUOAMYxIW62s6D4yP403jPgTVN5wkb/NwoW8fm8ha5sNTOL3NwjbDUrq9Fnn89qoBPToj5GY89jfsbdkDzCbgJmpc0/nrolVtNMveh50mtREQkTOmefjN/yFBr6HQgnwLmJDaH3ZYG8GnXpSZipK/wMLMQWi/hyUKI3j8vJBaZ7kKG3lBe3+U1XZ/BLutzcFmUfE/5t0saJoUpF1zaS9kxmsFNZoWJNRJxoHnJLuXOhg0huSz5Uocux3nGZ89DoTqQunLhAaZljBVzkH1Dwe5VQo5FUF7lurO/KoUlxujT/gWf8ButhEqoGn5x341m76BQEqusdIhxoTDdDbN0Srudb+jQ+CJYUD/8iL7GJIFc6Ua0a6erDVY3bKEFFBtdApUm3NyC6oCRbUQoO5yQFV/cK4aUpTI8tJLLgOlppK7wLb9gXDXxbAV6CZVJvUq4RQuXUjGC+dd18Grnr0KBzlMcccBJ7lvQmsbJAU93K63IpQe6yRnfn/HfDsdEnYxN41MS/hDNnD1s2dBSQvT0DbuuA05N2zu0S56rUkitay2KV6Zh5eBtJGmeQNy95paPynujsqaVdv6+zvYFZ34HQk4ggU3Zvx9a7FoRx9kB2//8YbwOXIPyU/Qk5HFPcnjxqYTMbOLCCRELvm6t2k80U1JG4utMaegCsWDLiHlFaoD28N4yRYkU/btT2pP+v+N74gFn0rFrTcbO/BeaGPVmiR8W2UOXMe07ziH7Ci04vPo6r4Wv799XENZ0GVUObmV2ifDEiHLeUxm7c5L0IBFB0Yxce/1Zj1GcAcTPRfHJ8oUWby8AzdYp1AGG+nZo1Z1MryBmg3e3kMubdjTuxb65tdQg3azkN4lXR6bZhHLwJOoQXOFcz/s5a2ZV9zKYgMIbsXUCutgKNHnWxJVh+8xtqLA//4+Ch38T2xdbvyUSlyPfZL0BoXqIgdmAYCX9blx2X6VUsYJuKrrZYyR/KHsmWugRr7ZAGO0tQwinxTzjE0Ch6OIkqSMuk3CY0+nzaQTb2K69QD/XVnYOv7GnlNI57v7vyBFxlEpSfsCb+l/x40s7AeTCGujFI9evt9AdngwZSojy66cvP5R4H3wVBSqCnC61xNz2oktf84kdVfpb2Je4xWkpiX957hGR2CpST6SqTXD7luouBkL4f0DtwkV194XMRE+TfWJT2UDILV1QFKWae0YIdfljZ3FM7HTS+qd5rWkSVkjyHQXXSljg7G7Qz4cs7rvtICJhKhpZsvxWZH+Rykzo22TGrW1JC16sxNktYpDNUrdC7poNfeHb3DvAP50RC/g/9aQHQx4Bl2lJ8IhJH75BzCEKBBNikK+PMeKioBPSaO5vBtEovGUtjsQQLFSwM3RfwEdh7LZXLSzWed2SQoUwgJYe34AFKPc5UaQO2RIqtbHvFmlw1EOQc66GHpIW8XZha/JCPI7jQf7BNnzyoRW1GDUNvMDLYjBVedYQ0Q1rjB/iH84ecxQ6Rmi0tg3XFKQETsI7yE0za6Lq3fkBURmL6WaKr9HVdUZQF5WoHGoG+I4kE7pEUdF9eeveNmspUgcSZJY7nDoIhTawSVz2oNcD76hkhnJW7YQ6VE7qeX882xmb1/lV8gI9zZcl3yb2xDAW7YkTUrGfZmKMpPJmL6d1FCnuE85XAOrLQOrTS5vbD3on84Y2RS+5EoxeGLWrZcMR1IOA38sTogClSRBK8RgEC2+ib1iISAdLPxwcWoOtwaAwsERLROp7Evu886AhPHDDt2ZPBKcO17Kgq3yb3IzaswY+AmtMlbv9E10C/sbqR19UTfxewbvjIgOAzN3CwwZwI+Z0OifbQgeH7BxdurABy3I/vxApcTFAsFCnMKoCY6DInlvksSjTJpuarM4qn5ql6wfaUPUZzg09EsRKJpE9qf0GDncWqptPL5CaeLBiKetdlIfEtb5xO4zf1q43n7tBjpga9GeUILmwXlSLHtrJGMUuZ75/Mh1/4nPQVvg1d8Zr8pp182qNENVQLQhdBUG+DMI4yCXx9N7qHCIIaPwY1kMWj42SCzicIXCSxhsKM9OiBtokb6BWlYTuZc9E0ewoGK64YIaUugJtudsFeAZnPAGx96r3FwDTdjHelZ2CNUz8ydLLKcqTaBW+mklpkMAK1BB5JOx7G3LMy6/nWuKVMiA1A3GXOQlyBalHNw7bo451bk8L8y/YvE7pCUPNmFL50KpuzZ+j2vTekeE7YRAFysST9tzxSgk4o4aW1KPaTSAJqITPI8DQSIDvXs5Ci8mD8vBncNML+NsUxPrZaESC7UaWZfFy8FtNFV/fNbOIcYza1UlltFZMYwVRDqSOOORmgMAg/pWKZyjCII7nvldfHamKfZchhwxOzqlm1av6vGfkzbppcLMpDBiR8IK3lgvFm+Fe1QtSrRlEoCbYjP4/MFMgx+NuG865YQi/OdJE929PEozL0jGfG0n5lJDbL7tBMNzGyQbScPeNmmC/G8jaYr2EAAMyelivnSYios1nDT6OIDUoHmpNdDjz1/1iRuwImxa18WOrMMRXjVS/M6Sx3LiyykqsHL48JY88ZWvLbZjE9PJSBt28KQRrnXc/ZduLstRqiNKdxAf8tQPvkbKxZwrZhzncCzVzBIilRsPILwdakw8VPzVcL1nE59FNODZpirluv0i2bGvwNGTCBvDSg/JarMAkGA6rZEVp2eY0UYmcvZCtBVb0vw9AOjjNURYgltsvjte+1l951Cz3hI6ZRTfw2JlTGeDNxnTJ3Scvq7cechLYPNKmMAPVAXib+Fjr8CXD6IcC5Od0hmQXrp3TNLgUuzmCsXJwNLpzewlIPpluaSZ2sPqcJEiy9pf9NC7JHrgZRNjRbQ3Xm0vfb5M7NyjiPK/hDS9LJkaCYfMdxAgrkMGZycO9kV5jp3DO8XLWRmgHP6gupVDIQbehj6qIOZrxh7A1KkjM1qVG7QIv6T09TTJSxPQhTFOzzppzJHxukBHZqJB8MMreNoz0EZqCXs6mxCDhaI9AxKxJ4KMI80sVdmwcEnC/YkWq2qIjFUmHhicU2diQ9IR44tjzNdKmyIZr/BqFsxunOtLt/r4i4288PsT7L6C/4Fa4n8lqd6RzMTJIYar8S4+4eMtiPXWpFCew+CcoQCI/+v6LqVqsRIZB7BRkOxZ7tu9AcIgkN5qT5pKJ+SVhkkw7CUpLH4GkvyF9HOqbosZcaC/lH0qwf91wIuJxcDfBkEXNd0wD1UdVI0WUi3uZYWGv9q2n25L1rF+lLJ7GwCZK/LfhbSE518BYvhlknt+GXUAZzKy7weOgR7WihOL3N6uV5bnKq/TN/6x2q3ChVj+nnnRup2PLr08Rtn+MN+M8zHObOtWd4lIYEyP1HmtLgwg5ZvWJPUSp+otR05biFFKPA6XfX1EZgNEq82wzbJxrskhk7zTABpeILDNNEqGwpOZYw50mKGdRXoyj8MFD/vWc0QGPgbyqbaJei2hVIgyYog4EJDxTQRK5ozLMQojrlIT5EUiQC9Luvmnl6NZKP5I70OtESm/lsTjBzr0QnhYZOu1gpThe7312b8xk5W3dS4Fr3/dBE+OXB90gUEFelWnNvW6fPJytz1RuhRM5oAfz0Z2daJT5o3awXwF/6USBBBg1nbZoKmOHlaZo+6Gi2F/ur0YFXKGe/38nMGl0RFS09hQ6lrLC+TKyIH03ynmufxrSQZRkfXgdWL8CyhRZ0FzMWmvGac0VUfNtU8dAYhghb29cxXn9n7ruQtS0hAel6XxbSWzGE6fzA4duQ/KOCGMk6pP5FQA8KNihNR6UZRiBzFhrOJV2mMyIidDhPwX5h1msuw6KadLKYmvYhszukJDUF275HfXmHXnzf/Ho//W0auyWjwmMMNTNhAFERUWLJXQvgukup5ONnWOjxEsMGtvV4KbgmZgS4CUUmx/QkWTWsfBte3AfUDzYAc+WhldWsuF9jpJ3JAuoWQns2utbHxTpwP+D20zhV5UehCUU5tNNJz5OSnBTgwa3tKp+PGyqPbPHrtK/SWyCvCB13wBmiNzCRstTOlKSvXv8D3YhQpyagxHZGoL6OF+n74qtMSFuwD0TX4/1NVJfq4FY37X1aWrotxn6VZfg2bsLcgP8oPn3FeMq8MRZM6cNc2gwo+nGSu8iTI7ko/D4gEC6WzV0nRYXTzWPceaARXz8YkzJ+7c4dC4xdW+VfgdcFNwCaiwhNGyQoX6/xQDRbjOxuc2yWwjphU7KPULETtUw5x1YNAmMIUOPX6buWgOybcu83ITpWbVatZnFKEFgpwA2EsbjZ0cB7bMNyXdhTn+g9Pzq7mYn2RsNSdoYGogjP3F4sYmCQIRMhU1oxB/XcjKcTO3KGA6kCB5iM4JCXUVWVMOwlZcWI3foKk2TLXElaGIIxSSzw3C9ddJda19Ro1n0o1uQe26ossdI9ClHPUaSPXh2Y1JQMMlVma3EChZXoSqDl9LltqZrge/uOvgSeDqtXCb/NaL2NSGncdgT/rizx1YibO4HbkpANvJc840pvVdHONcqjM/F3fQDyMP/lZIIvhx4QCRrFaGF6didc6yUfKPycmrLhJmBSDsyT2jKuMPnwyIKDVrOKhXO3H/CH9G0tGF2vM9wPrPwN7wAWTiipt31soiTljeVBk83fKpTdokca3ik9IcPiXB6aGaczx+gW4QxtqLClgFJVPwJK+09PAYTdjVklj0UIvLXVDRIDeN+2lwpopJ+t/HKP3qdRLkMcxHefvHjA00+Etu8WOm3XqezkvgU6eqz6PKX7qh4i5uSANgdM2MF3g/59rHka5PFM5omYX28NL0ruzYQvNEsoP/xW9VDPtE1NouXOFQx9YSwoYX18wlbtCa9pWKgoIxzW9Z+kJcT6GbhcleCTyGXOT17EDLvz6qmji1FBL3BSmIH9jaZTPEhlBMsxhRSqQ8WeIVZQgpFcvbMVDs7/qSoV/Rv7V/YZ1vVGzSMaNP/fvj8cJd+m8cj7n1jofmsDbItdV2rDrp2qorpaIICq9SgPwFQptpHahcyXBuzpQQoRIsf2oneGHQbg6ZNcym5PLfvfUzM8XBSIjF2DTdRrTg070Vn6zbtw/YFdVRQgtrkUquLbP2Xed64tleTvXrx62DaIeHbz1V7psvEXOegVdCgE+77/SqwD7W2BoEWCggwI+WjVMTbquS9SGRZKrDM6lU5qrA2XLnhGKNtNrB/UFHxRIBjB+ZWYjwKYxM58S2slLQoCdp/s24kRJZz9Hu9pymSqXfCppr+7T7hoOMaiVuHiY7S9aOhn4CvKCZfSlM30QvExmnejjTDpbB4QiPRKmbjwTWpduxjtAPnu37gEf083vASU4tl2lueKACA6Y/176zt1kqSQCPZJhSEEEq1YbPRUvHVFcWnOE+noXOfGcg21t5XatQuz4f0uljqW9WZlvvEilorTWziInLzQjuSzPzuzBJqq7GhAntvcay2slCpLV6P1pxh2sRS7l2cU/fDjaIssD3UJfF6Rai0CKZbCi86Q2qWk3IbsFspvpTWd/XhPm7Dqm84stZanDJydRc2rsphXGE+T3Zjywo7WQpFcE0elZtBDjfgz3zsVNRuwEQPTIVTSDtpCvzEhB6L3swn1AYZmBpxkjVHSCCK5eQI5NtvnZl4ufR59OxY1XurPjTt0ygZ2Z7a7fwAIGR+JN9676XBqZZWghAOcuViuEJCMhjXSY+fJIXlBWeOMNqxCSNiMr94Y8SomspYk+MwJIm18pv0lqDew6KbKtzuTYRpfsP7Y9jvorWhgqK4ZPDcLcYKjLt5BER7qP0z81rMgv1eQ7lTTIhVjhhGb+Fe4Plfi2Ugawt5p97Nj/Mv393sEEsl3AM9F1xkqHf6W9STBUWvJq0kLfR2WFsrVq7zR2P/r1lDQg0b9UoNAYEBrv6M3neWxqYipI40OWW15BMWmXZNVBo3TiNsEkh14wffdIjtiOZ6nkH6bXUe/0fuRKJgvm4XC+XCL5CP37eiFX4NnZXnBD4p+eyWEr5BwLUujwqfPWv3zfLYP/rO1oBGYC2Vew2XM8PcozfM2QQFK9uqIcvYEFUZc8jBbBRYARH8/IXnmstXC/3poE6bl+0c/nsNDGmgL1fd+9x9cbE8Q93RzMHixhwag2lGsG1vw7a1bowtLXV3WHVe6JK7yrk2RAHh+1BWPTdwnesCMoXC+3yWCxTZswODQCdQrpf2uW/OhA4OdZCyKCI0vA/QlOLHl/xgTnOv7MN0sMmvJ1IXPi1AAVdph3HeE6T+vujW4KG0EHbbHNyxI0e5q6XFxlxHZ2yXYsV1YpE1Lg062XO7qoGOAnIV5rnXUUN2JkjzOwiREAYT8mKNfxrw4Nb+LNLcRAwh688hgjqTi6QlQOCVdVfjHL8Crpy7af+BGOdVH7t8YlH0uzj+JwCWSb31LDCohW4i2iJhg2gH2cqyx8jGaZ2CzztFtprKf/zVfqhiJBgyWBKNdtsFm/pYcdeDid1nk5s3Sqkn5OqiHpOvKs51tb/fnUH/dGap6959Xv6rE2yHwI5b24TocAo6PZm7naHhI9kgphjU/gQOD0/NxI/gzR3LkJ4zD9s80MiW09TKc99T8LZZDbEUuW8QSE4M30E3LQLrUrOCATMWjyCjp42lfmyZPDNP5npdmOz6pHSOcp1If3SrEme/x0HHGk+dwPNBe+6pdtVQJKs0D0ipDLrcxWtYxb98TT12aSx7aHocD2rP/jCsmgr4bDVma97e3iAl/ccVJ+LlLPxWmPVouMMDafg5NhWjvZyqc1iin6s1X7pBeTyDHbYM/ov7HoXJ5j7YJ8EuLKToLd1V8BfX5HnhKxszvbSc0LDOPFD6/LHnYY8FdA2uN48anUrWrlyh3Uea9ibBnpnHnudHKXA8jiOvI42D582Rkw73wH4t/TKb7wpnd0LB2zG7j5LzvkMraVib/DVzgtRmLlAJXyC2j8R3uvsshGp+NDftdXvrhB/j3nF6MRrKNB6WXrs0gcBQbvqrSiMuo0SGU64kx3RHsBeuZIG1Q5Nq0fVt6qj/kNYzeZ7CZkRHdArQy4sHVwlxttCqgUp5qSiZ+CtjRKSyZKIhiyErLSQB7mV7slLAx2IJLKST6JaGAd0z0w29dmY90V4lotYMaqpFxhfAZslzecbgyV1roPFSXYQfL7lx5T9CGHFAcOLtkiKDXq2+7zo1pGOWWdhfd3lUX8ctB4V38Ht6lfCvW1VRDPE0YpmbbRaDu+pfXZQ/0LS+IGCg6fg3mUgDCVsBWdsny30bCA0nBTlugfoYD90DM/KgNJkzd/gs4xPkMkGtB0Gat4w1qPXASYFy+m7unre0lBijN51sywioAqDdNzOA5FTUfQHVOv8RA+enAn7zre0kdTbI3A2MUTYPaLZx2Ls36s89K0o96KNingsMSu/SwoG8RRdDU90i30zdill975seYaLBLL4FBMAyvLrqpZY8vlaaJLPrI5bI0QGW6JYite3KvRfwIa4lGPxMm+x8YFVUDBlf/vpFwPR8pN5yA/YeD7vlUIaw8R9t4kJQB9/d8b13YprDk/qbLjrzLWnoUoK7vaqgvhsuOH8Xc01WqUMCOYyK/YVqMRjTELur19TBme6zntpt2rrKiEwoAITN+lE2u1IdRMtUSydQ+XGJZNkjw/+Ey6GwLL1uk7sS07Zsmt3qUZxlcO78jmOWntckEggBc3Vb2hLE4syq0CkFAq5sbLXNTVQTqzFavYImiHg2B+DxhoEe3Kk5gA7LVUorjzXJ8kSU0Tawzgmp32F9ePFzwE8o/zCIyfhbWSmV/YQ95z+NrTtA1x/+lwAnRJBXvUIL7gh1rl5quz5xqz20xWFuLe9/ng+vdzAQEgaqZLH7AOI7J3kGigAdGXZW6uojwo2fg5TxTuKSuwLhKv6OsjRn/kFBoyKGllbR+OGMiXaLQNXF6mtiV6X9JQqbIVZj9OtYcV/clV2DOkkOvMJsrc9E9HZ5Z5vw3S4SvpdhWEh3xy4UoRhxrOpdJj+sbfrq6yDCpRL6rchpK18SagYvm1X4TIGwQy/iOQazXv1kbeIQzkwtYLaQiWEo35hhjO7ORpDwdUBmDDcMIG7h41xPK1f7x4g0mD0h6qKAMa/WH310oljJN/zS4vERt5zU3Gg2LCpey0u+ma5+0cXNsLgghpEQslPOkIRDu5jzGdfau22rL9sAMy3lb0EfAwWFQfZTg7f8nD969cOHQHNSCjVoru4triGiYzc6Rw4zCbkT+3eQ3G1GeHUvflU79YQCOwop0uHGN+NsbF2dQRd2X5jNTJkylwmCGdjqxGh3iFK9QPsoOhtssd45tDpMVduub54DA6pWeHnhzLPO7NsYJnvz0ijXe7XLKwJWdL8smS9W+ZQD/gYva7EoZdK5yHUxcF7+Ga5Q2GKDIGRqNtkLmtWh3y20xJbFz4RyES71X7Dp41LI+hIAQ+KeTYZQlQzEMCjWuaxoxLDVFMtIsW3YUJf87EGUyNyAaerSJGnAI2StPjEwz+C6htnGabphUwbBghbOxbQOCsjsXcleRXsk92NtyrTg9rP9ybLIw8g436epGu3Es3/K7JYllQfRT5XgNciPd8NqXoeuYFn0vzx1m0iuLEPN0aBgjQIMO5valnIGwYptmpV8l15JUR03t6pSt8LeBPLW1mbIAoEel55v0BRi2cRbC6gLWx2aH1xxpaKmhJQOHRn+nJX/CqNAiKtt1ycUUr43j44wJRpxJoPLoiEk61BDbS54N/ogmtGyBfD3aQtzVt+BXtSUue8vbPmsKJ+orPKSU1J3kiZ8H2jXIo68Ql58FhSVPV0D92qpRr+FeRrUGgGuW1h5u/lfAxbTXFiUhMc3U5uJPzYVVfvGPLjEu79affjzQzyzgcgl9vufMKXn/qYntGKQdP62mAh3M1gogHAb5xahgdKQiv1eTa3r5Xk446xl1cucQrWvj359OcA6MEiVAILIjlXptaLL8/fJvxDaZwgwAOzZo3IvCmaar67AqMlH4ywSvXVj14c6UhGtS1hX1x2zpzM2JS1uNBejHowHxMZmuY0HQoq91Oev+5UXtaTdxHQFxivU1sZEoqvXBVm2tiWccqDsIGekVtkUcLfjzulOIWhJw0bcRLUCPYw6Ai2jeGayidorwHOk0Lp7sDGRG/c6GZH5paZ7oSU4Amxl4mYlovAflh+z3ZdgvRGUtcLZocK/gTi7oK3+kPyoj6V/Rasf/0unBZbAdfDseymj35KeHU960ccOWHaJcwVwgyq/S0oR/KEQibZolE6rhJXBqY9s9Ubf+6zR6IjKIApMSV+5VBJraCeAwfLIk9RjMGHaRTcIz7bEgmJ+YETDP2DG6/GwFP9Qs50gyjT3abhmKSFJu578xKWZrGEu3wObOOnBa3iiWmwcH5OtWGcVnA/Sm/Y11QZkp3KB4hrLH7RtWTzlgY5wiFMV3Ua8qOyHdg1sqVpPwUVUhm4X6RV9vIMxlOZSGAtL9hse0RGx0MGlm/07cyJ4cxFyInO0X0e2fklLWvmdBg+9lf11sZXUl4PlBXUzuOGzWSb5CRuKZWpDPOh1OCzDoFHZhqeni4Rtfx6dlkx1k/Qfx1mZVNROBhmFQmD4Zx759AnJuEMRi7WCCQRJ/TxcXRzZQzGiPeJEnSGULzQ6+jPVEN9JNswIBGKp8zdvJtDVhYvUxNPFtL4Muuv2MnfR3kOEOOg3NwLzTvORVjfHwSiAAQJ3uZ6g58CpUyB92M4UZcW7SaixMN3/H7FEPHZ3JVZ3xX7D4/kSSUWBU6iY3/rhrDvD2kDtCjwN7IoCtc8HWkjxwu+smdLfmTP24hjr6d6mEhlQE9ZIUhMFsbY6gSxxB6fW9yFqdl3zVMhBkG+aIcKjk0Uyj3pIxpn7mSxwK4mOYIMvHaa76xaNW/zQFdWZzIw/0dVmg836QcB5yQuwLeEcgCEeSf7fD6LfV2azW6wTjnNXbm/eDIfT7vtzFL2KvHDVzbwFEiZ7cmhGab6yDZ1OM7GQXxGC3JrREUVtJcslSM/cWqVl7ttS/8CCch9NW8cxnzXELTzUA6sfyZLuTCBK/EjxNw+gpB3c11OpohYdDzP7BMgxbWgi7OFt+mtKqP2sBToKCwTykzHH3ZQpur3tvEb6u0ulKKMGY90pMlp3qvtOheTKUQUkEtP4wzDPEbFeoWHBkq0+ERrF95cvMrx4A4eSA1bolETWtY/tEOY9jyE4II0GyRUNkQwj+BqG71Z7eVFz6Xa5PhNmZ87EmqRouhbPkg7FPqs0n4ewq+Nx9Jg+uGV1pWkVtjS6GhC20rtkiQ/O05GAiOoJu0gsy9Lva5oxKI3mnyZ802jfKoJVpBlnHfJOVPYJZo/3XZa8C7m4+3cOunHHFrq4ng5fKhht653gm1ZT0PltM8ubjwxKbOA7+B26p4n0VLn1N6jqWxA63zw/cE2Ey/hZUgcdnn486JLvsUHZftHlaxPyRdGcZCU8+Oh+HNlb5BiWTmNjzU4IDDIXY0+RBcl6InCm6Xj0B/qh1Ls/K3Uj89OFWcXeXlVdj7W+l6+w4/eQrXcadoaT2uVK0/tjNQT12f9R6YBjfpHGGjJ1EzT5LM+0u4kqxoB9HroRTkqh7tPbgzMlbhlxWer62wB1pBS0cEpsOuSMWG4hGc62o9vgaps6pGQ1ltvFBDWjhizvHq906CY4lcmS8XCZTF/Ymvnp8VUWgz4p+o9hyjoiVxNbA3X5211k4In/w9FL7Y3z7aVgIPi0X54TEQBrOSvi9RqqCRk/+WMopaf1Bm4I2sBYS1YuXwtX8Z9Xpv9c9MaqT0GmJ7xpc7ipvi4xPv6rHRhu3945WKFDqJgMDoDDwNeY7Wpznh5Rf6GbFW7XjT3VYo3EI9vK415/Bq3yeGRj+xuypt4F/qPNgkBORBreL7BaaP1x+et6kRxgByVIoC/DDnwCEgfZ+8PNv3WJeD9rHuUqhmX42Q6XQVUowz5jv3dTQ3TY4P/aZm+ZEGu9R+r08zQFRPCMaGFTIwoyvxI01I+XxwuVj0UTeo/6KEg75YZzKdb9ZzBO8rvqKzW1zE6z/5cGUom+9lIFOkkTShBGLRnEz0ctDOtT0Tg/M3bPb/9L5mBLRMfl2ZJr1h6AZOR4hKjuhsW8anN3tZzzlBlRzkw6rWezEjRVejrjJwKP7+N1PUCdjYPZPUUMPPHj384ytexn/aZn6Acgk4zUxwvDL2F+ZmQ3EFrM4xBJuqILHWN9PoSOcJJZHySrIcHPpcQvF2/dgUMjwftEhOKfh/9D1+7ZQx8s+tgAKwuuQLWqsahKxFmhi8jTyAlVOOGRl45q9zUT8xNKXVr20IW5HRZ/MuO2VXlxRxU5loa3hF6IfurZRoOBn7dvB33cocOsTBH3nhm1W4wJcplxevxEF1Jrenhz1f1Ba8pilAOOjPo/9/Srx722CXnjrwnw9lKOjX2H6aZBFdNeW8DK1Zoe4ZNggZMi7HCKOu0y5Tpeqt3tlAY2YnCiWVjFwCP5FRSfiVwFBC/tR+EV8OjUdkYZwbDflqP1L6DW/D+WujNg4Z2jsb/Ieo84ntcn6O2tsUSN7aYvEIPs9mdkusqksIjZj2F3cVPspzicMnz7ke/uZMDKC0I19SYbSKIESNLXkunSbUZidYA2cpbMz3xzykG05Rnokx2B2/Mdi6hU/ih5HxnPBy3DJ5F0qpfe/bFSOIqlxwGqqTW1WHzseZ65jqFQvMnon6fG3Q43IuTbYLvKH+bUKzHulpCwCwfTujwiKY7E3sQgZNCDw6FMcpdIaUNJ5JHGcsyZEALyjIPvLlShVVdzb1V+Mq2JJ3shZpqKpkaMDbtxLSKPO7EAu8vHT8YX0KmICTJHmBczZxpmVCQt/awZCrpHVHEbpZlz57BsxrBHRJvScvPhq+sndfraHzVbt8dYInyCjJhvs1J9sjCO7KVtKucbXEIehFY0hG9toxA4M+ERQi71HQIffHsHV0dOfHBv3eKMC+WdVxps26Js/MDiqy/MJb8awZ1mGY6HL3N3jXO4srRhLXEWAvzOH7lfJfxbO3e3CT6UcK8U/gnH8mSokLdPsIYxR531SFRbxImMUTIyMXyGMig9OPKD3cG/Hily3iLT2tFrZoqCyxSesiI08uqm3aCrUgN4kTE+SUbmzcqaRbfytyGFKL4rJpUA9nKdXtpmRixH80OMqjs4lMUWhAKXsxtAQNq5DrfkH85PUYOKF1Iv7tv5s7IaP7aYoWUqGv3fyd+HRSix/dY2jA+QujrMQJCYTqJBBVY074B6B7zE87aBAHtd1lzP0aiWD/ZZ8LYHa8P7v3yBef8G/xKqO97L7EUrc8CYwKiefnCVRssQuIJLcJySgQLDdE/pF8ktWsLSu97mj6XaqvHZLrf+yOzRk71FZLqgkEhBKIUv1JNADa4L+wk0X6YxiCGvtxbrHEKbFOKEdzWtCKSbvKv/Jg5LhyBZdI6LpeyyUbziyY17CJAk4w1l4EdO+UTA7MSCsOl09cksHnEeCateF9cCDZu3G0XZLEBmFngEZH0WR2AyxHe4B8934bu0OhubmbcieuWIV9TXl4SezW0R+Dq4oPs62QqFiPEkhLiJBOqyr0tuTWiPgMCq20v+DMSU8FgPuwBW4a7AuiCYcOfLCh2IA9QdR1q8tO4UHKhBIzxjQA7HpXBXsfAqZZZjx+FfUu9Yv86DfPV2H2Gu/WfIdUT77BPhUZmZY8/4WcVQLYwnk26RJTaGiSL1rZMOqXtUye44q1U8N8i/k55+5I+akW5mstRWCvnxqijjdEBX0fkOZzTMlUhHFU47z/g+lDAETAkUdnU62c3kJcDlQW72uBdejYMiVFy0vR0dzJNnSUmND4Os9dpgdfo82nsbPukbMmdrHR0CIYowMjgw8gjZPnwbXE+fw+wI5KWDoOiWgCKuDUkcqNGL58AceNNvL/GtMzVXYJsgyUe7yyFkIO70NxX9EGCuhAZ7tyu0FVkvaxI3SNNPHLy4mZOPxmR38eJ6cXLNkwp9QnFY5LPFbg/COS0WAiwBmkaQgfyfFCS1ifEuSIR00o1sO6C7o1yDHR8tOn3kgnUSbyNCcN6RaaVbZMdN9snv9tlktVwJjI/Gs76C14QrmAdR8Ik/dTxpXK+RXtBEaZcMnjw1ckshOEKfv9q0VgLs3oqU7IE7Y4H1fGLGiO+p58jh6AJc1VR5bdWUeRPBIAPaEgBjpFxcO7LN3Fxv/gHfICS458YM9gClQuJal6AmQTcjgrr2x1mhNK5cO4xHlHPQDCIsAkbD6X/zJPH03Y5T324rhxZ3C55l+v+mYLEAbei0oxB7FfnT1tHGaWO3MHDRfS5VpiEqJPyDUWsegzxyXJUYhcKvz9AY8Ys1Foj6yQLlwe4LbB9Q6Zf66J6rYWx/2A8bMhKEIz9+cq1VW4WEwOsOZiorupvVjeX9fzu94RWpNLelDizJXj6uSlFfYxcNlaunGrEV8ayMi+qfoqs7QeN+g2cIej5kI1cC0KjirS29L3jdPp1kDqU2iiPjco98ewl5ep2L97J9Kz5dJenYu5julu73Gv8VgjLTqhoJiPYSEwP/mIIjhG6txpT94xKtEyXZooM7u8chcjs0uqnXX6tUYWju6sd2pE71yJsUkde+VhdYZGqtgUVtWscBEXXfzAFSc0GG3D6jycyugXiiN+MMnQxvEC6lDSPZREWG4X1PB+T8Dzt3Xso/gG3NTD6VHyAaEMnH3SxstznWjzst4gLXKSteaFfeWPnfy2YyFm/Pukrqdp8Gw4PHccI4lb2utU7/C38Wg92P7pywJqaD8eJpVq+0EOxXgaaHSwHqZH6dT60GlThsv702rzCxQeKgy2BWTeb79MpRBjyZsNvB7MmrXugyeP3q4HrFf4qpcj8kCZoDgXepA73v+pyy8z4CRNEFst+rQrSxpY1Dq2knBrtxpeAsfMpcfNnV38ZegraMPIG2EvMr+KT2BfaTN7jGA0YdwVkIX1OAZ21l2bkTh60CI64Udljoq5/8osuoWASLTnQVGlKzSbUQp1Oz7FP6u4OAKFIcSo4PurajdzutvywIWzbzJnXJ93C8sY4geIQrKaoGqrAxH56B/p+bu9GVHPVMA8gaCeyxPd3RUNP2qAfBlaqdYeWSgnb+8xxJwV3odfHMZulC/rpVFcCwvTQtj2VpqFMqmOdNMm4T2K65XsWOYhIYZ5s5i3DByjCnE2r6LuC6QuIv0K+L30Bzw+Q2o/cf3PJq29HuzmDFe++XRpHic867e1BB8Xa/AOzxGkdhl0LFDhDmtToITxQQL14yjiAbuInurim8Gyy+ad0iuiEK+9kkRqdQcZwIUSfZnLUO8hWZBIzYDp2pX2ggEcMUUohQzYxPM4QfB2nypuUWu0tWOdSgwkacUq5l2zf36rG0m2949JN2Y/6r8OKZ/y9/GyY1YuxwZyFalf8uVWe8GZwMMl+2hDnBX7PQt0vS72xdgA95owZj+zO+CLIyve/VQvgWAW/JQhLpDATOvXZzo+4MtOsw7HN8Ff+xmALhh2gK0RNJzM3e4nQIQ/sDiKgEJ1tJnDizacvVF/Flj0sX7ZZlHcDCnSt8KqcSb8xaKrz691GphZM45BlwkVSNqkggJFMd7YhkEScOm1qp8w7hVnxkyra0aOA0TT+tBPtqeoxR5GIdmtHLrjhDS2EUSdS00vOy+AVzsAr3CQFw3Ml+NXSIxa+xgEdZdx5CnZDYO7oB7D/aTQbP1GLyx4K7qfb2irV1GxT6H8/pV6y8t4yjfloA215I0utCfpASl5NzugSgK4Ebqb3fJcBwFHvv5Mt5nyjfT4aX3XM7mSwxZf1F/5nAiEEXmvKuwBKtyvNo9h4VG8DdIJM8M7F4uncPaE0R+C5n0VNzFdPxqLtL839DtKPtngc9hNB6/OYuHbrw/UK81yPjSSGsPTzVMzya5kvpDuvW72KwvIHjGxba2Ynm7fSPQ58YJUhzTRL3iGqxfgyQoWLlZBMEMiV09egrCZDzJuf2u8RgMeKxX9dg4SX4Xi1/AYbOkyEt7l13QOgNN6OrP7jmF2gIbTK9h5IhLOwrobCiUVVHFudfcnkYkWY/nFrSYhZcffKrrkOztR/zDCUuAzXGq/xxbQvLEZjCHAjA8zIAM4CYxgcZJgv+J2UNrHojpSHCrFw7kqQWisk/BNS3FIxBngMSuvFqFxxUtIXB+TX5hg/NY6c2R9ZPFPH1rTpSmc0xIC+r7KyZi+nL5vuwwLB+Q75ZCZN8kprePalkZqZtHkfWxp8je/m4gODm3Klr0r3jZ6v7f6h8lxze6LAnRgDeI+4Sx/dgGi1odxmlim3nm91ZhLNMrigEKUc8T+FoxW2zh4/nuXoa2Qxsq+5ISKF+4dW5KjTR7QE4jL5EQozYtvNxsdwIZ/q8uZNYSF0uG9ms0CD6C6rPtDBUH2NLabJQLXsvyLK47NT0V6vYe7Ux0VJ99NLJ3OMp/3C0I76TZYcplIzLl5TLtDRAHV0MVDr1myTnhMlW1/y9EJ0lvBtAAdwuVMZkB1j7jBJ2YO8Ig2/nkIl4mfMLlKyK5y4x2XDCwpouA8jjt9Xfk5zId6smLjJp0uGXnFouduQ8/AcsLe/jUDtMOSnQYEyqrP9cdkEYu26qHSnNCV9W/Sw6VcBR2/R+Tm1bg3pqTv/wpCjiczM8sUA4KDIFC9sKqXySFWhVoOfYVp3BC59kpHRZQyRCvD6ScBfhd9GidiyZtcOHo73twk3p+dyL4Gw6Ao2XdKcinK3JaucKxChO89o8yNvfK1oY1y6XCbPNXUelMXZDbFdQhCT5Xu+QFRcY7NqJyH1UqYek51n5zsoIaTa55UupxejqQB6PSTphUezMRLGN2JpeUrYNhlTGiAW2dOVkkCKm/9QJRuJhr8ANCsd3/P7PiiryZEyHEvMqacPFe6pJQBZeQm71jj1ebyUsSGnXgdoZem8VkO+pQJgjnNh7S0yJ1kyMtt2xlavnhjXCbt8Qc9IUv26l8kvQOKTNUpZMt9GpecOY29M1zyHR3J9eBMAaBueeDEG6KDGT+2kgDdK+YFMU9uhgg7YEgi9AQ4cQGV8IVuhpT5z+Y33IsJWhcqsLQ6W+1+50EkHkCcMGzveBAlPeSSRV7O+ADAUpSNkDX6qpsy6CIjuRQxvR9xLXNkV7i8hUDYCCjnyjnTva96l9Uh0sdJ9a8cH2FZfOg3QmvJWB3KS10FiIZnb7OsgcP3PF6lAgHd+Z2VaDq//HxYv9wQSHyIBpsJyrXkI0q+ThlL+dWVsLA3laFTHfgCRCabX2LmdU0q+rpMLZP1JxMXvv8Y0PzFomDAtQSoaFCM/CIyEA7h+fnpB3t/I3fOA+BfBnYJhsPY9lo5Q7uAOX3oW0Vv09E0QCgB69m5OeiG2MYK//WCv6IJSazFy51+g+bIfd8azGsHnm3+uKYOPPCQM4h/dClq3rEvRBfLeLy+aEhBlZHcd8zYzLMwIkXdMWw2sfHfT6trI2aaiJ/T8ZWdu29IQsg12bZGXLXaoA7a4HnIhdTcH0cHF6RiVIbkODbhjcBcbJeQTQdxP2uK9ygQNNeiQ/UYPA7vO7n/dwpkofoh0PoLujkEv4au+T0qhdNP9kNKO/IwuZW2Ym+0XH9Sgx3PzAAnAyg8xh2yJXfPI3GK5I6WALpBy+5Zd7GrTRKsdAHlaYuDQKsIwc1GLdO967DEZ5SVYashOE3j3TB117gqVY+lQd+JHfbb9dVeWoGfri6I+IK3O2Tf6+IGf9lLOxVH2uXeYjzYC9j5a9LHf/zfKeYNHKl6k87f0wGBjcLQO40VrmgQ4Teo1i34odES4lTMJr1/juKKBT8A7dRxY0w7TwcxCTGg14q5DVPxsH47MzjIyP+br22riTAsFuuy0WD2OwM/Mdkw9ZrXlWdouXG9IXQfMcsWF69LzHph8InzoOcNhT1MRPwRtTDUWJf2jjVQcQ/yFopcrnxvxXBgA4gMjhsL9YbiYV0hjRc/RlnL6T6T+YVF/TeWaSiWPIl9QGkbAicixeU7rF6JwOQPs6U61MeehYAZmHnCo/iCKSWhZSYYkqeLKl/aV6oheAcb2cAyEjjlyK8QDWNGzqycv9el3LjJgsYJyQxZqPcKB+EVqKYzjuM+CnqIFsF5O+OG4KWSLi/ZhcxAp9DSfW7SfJXI+pcZtgs3pLToBJJfC4QAWnb8mL1mMnAl5yxOLUyKL6t/TQ6ply2ASRe7KH6MHsqom8P3OGXrnyXVwvo5+AfBU3tWJJ5xDj11c+aZ9qOPKPHA9VSGo1HlLgDxPzgXuijYHpH/IHr0dc0zjlty9wCpWP1hniPLM3ZkOxIGYKwLX9slUCImo7pkaBMV+EhSHEGpN5UELzLUTP7veMcmvAWxYt7l06jIuefDGmMzL6amvf58W/iB68AsQJLjHCCT0nDJuTrH6Ad8OtZABmraR6Da/Ob/66drA/6F0I1ZBVCP17oQ9cUwCX7wKDWV46NEpRDKYxtk2QjkFCPojtHw0tQjhwy29VBo4AdtVT04zMlqpzyB6rUlLd2SS4MjVpy3THou5l4v958A7IbU00rbnGq9qECXBzc2JG4Nu1Jtttql9A/LMCdz8CwNcAKJUfU8Dot4D4YCgseBnHZhVonfK0XBSQyE5l7F4Q+0GLqoRH8A/EqhqdX+E0lWoodYXLJGy1tdVTBrf+iV7nO1GACeSheuZamUjJOUzeAaU/t5J1Cb9P5PI1DioymJTeEYFqe/l0xo4bIS/WkTc3itwm+cTJrN4skIA2vTDCI9YvyCVA4ztmQXEAhYkOcUys/NjIIbqoUaC163BTyouHYAscxvSJCDBMRoTKWPlwSWAzrPNmJnJEn3bPvXbXK6bpX2KrlwwjRLgvJQtHXhLVrl0I/fAdXedluxqnAw07yaDEs6j/8ny2oSkMakzxPynAMU7Vgt5zUOF86qlLvleyjm0o6OP1yQereyPeCcruxg9hNNgjnnAAiqF866E2K/TUp6XpNJfr8MQKxUGKKE4ZT/VpR1nKSLOeUVAzV5mmVdqIdyYFSJQAXv02sOH28VogQOwj8e844G9GWU4ki3zk2VVyFosChoK7DLKpTSPR7u7LM0yznrLISG4vsuMg1Fl+i9zcNDoaV7R2kh4h7AfF6F4FBc4sgWn+tqL9FOow0TC3iq1lWTe4zJ1q6vjlwdLS4RPfk7hEHR4mWSiXvKrCeuFv+v3cnaCHEhEQCnFblBGjUMVKMbx6IJ1v32T6fiOsK31h4TSdTf5pkKawcEcmc26h5DlQ0L6GVczV6ffcbWlAZ/X7iTuBEBxuOkS2niFDtjSigXGsjco6Gsld838l0a9OoHFSUJDeNNa3z4EfzFIyupNyJHPvH4eFIR6P7BX8Bl+VCrrAGbMNttiQot83GmXljDjQlyFFuqFC5RLnes4BGnwbyeP4USWKaTzcOirCSqWYO+7QS3H79tv5EKXPCn6R00qQvaCcuvp3dGdk6CBiWO2JV7r+DLxwsh+ctgbm+Y6Z1x/lW+Y3/iQey4X/PKuEaM+luXga/uqlY6u8BN7TP9EBFXhmpikxfCnnhZdDO6EEe8b3eRc1YV/FuMKcOnupXq5VL4yw12kw3QJZdrEroC+WmWDOqJ2k09Sri5jTDB/LFizlQoUikHfpgdUvhEo1hRUJPux5QPcTFalEMbS1m0f883w3CfS9Ad3QijM1XaUXCRlN+tK8baiB6rj0BuZnvLQuNL2GGle2Qp+qH8N+0W2l0YR4vaugc5CALVcnI7/3d8T6T9Da+zTrvvxKIAzYTOJwNvM/l/Xd2JxzShfFm3I4iRpU6MZvSb9W4UUioOKwpwcHDNvfkh6j++7GQWb3FvaLZAkYRwe9jNoK5at33PERVpGqujD1o7nRBKfXgUZJLCCapsPtZl6kNMJo7UpNrAz4AWtpRKEhmcHu9qfWe0dYBaNtwvfq0vp6wAyWRTQMcxK9AcfjcE7lXsJCX13w2HZjRBV7vWi8GcWRpvpu9dvVuqm9lGKR/Kx58B37SlpkfRAv9Fh2bO8cav+O9+En+xxdxlUTlspJ5BrOfc+cmd1mjye/DjOoT/r4LWGRqJxUlvyUYvHz3qOEjjl/Zb3eTYmTHqfVR2Rt8FaCOygo4KFCuCD1e1P9+QfaasOKR212pbEpUa0uVSjf3U/zTT/CnqYhl61QSNSmUcxahMaL+k9kDFR/BiN1V4dyGyyqOHeaBlGHu9g3AerQrI5C8dDuec+77H+y613x/acCJjJuS47IKeD5KL0c6LzxmmMx8UD65axJfL6WoUffRLPORlepVEF/L/R+FEnCBbE6DGzLWiVa8JepRRjYsaXOiE5pTznVsNhWp6Du1GNyHXgZ326UPA76K8g3jxMEDr9W1l7hg3UX9mnPAQAuAb166MywWWuuaJ57kBhSMjYXghkJH0RlBzdjXiZi/xPa0oe4DH39uzpb8PhypaspFk1pP2tKjHS8qCjsDBsTcr15aBYxZdV0OLWA2ZCL47QQ+mjtccHtbHQH2gj73Eoom2jd+MbmaxJeZeFg0qW1kqna7ihbAYOPRLuw+8eHhyPNKHDo+RryxHQkl6CXnEejZp8izO5W23F3XK4NKrIJU97BahTtYXV7wa5xTZDYJojQUpYo/TGgRZvz46Io5Yl5LH+zWCeZytnv9pXDAE4e4jTrvzShCyrIOmiH6X04WjpDY++CeHJ18e+MAiAiJQ3W+BU80brRHohIy/iS4g1kkirKJ32xN7/ma+58rrZSknpXIh7WXDBQkuUNdNCZq2y/eDK0NC5s5LYQWxJn5m/Vl4VA6E2gQtOlysKQoYLnRq02YBUHxLlzYl5YLoaYQaed1GSrOHU8XXSBw/X3OwBly6ymf6tfHrs7vCZR8OhtkJeoNb9G/UhQ9CsyzBOzkMD6in7kGp3pRTAGckBbrCa5fgoj6PYxMMlQVJ3YYk4567SFZXstRVVe+iIVaE/jJ84yQbd83puz/ZDvIysdePb2KGv9OumP1iIIL88+g6be0LR3iVk2iISeZAdGACoHwyZadPyTq0ZX9U5npuszftBUOj4JprlEWFKbUIKSJ2zxE/2GgGS3P3Qn/T7vrJ/FNJwctQg/AFbCU3wr0va5Q+G6s66xQlu/mljxUZV7/jlqVg92UylveIhvfjLY6CA2WHOgmNeXu+Z1gJQIHrwWmnN7/l53tjaiwMotc4xddEM2SBkWkruvJ1648elp8lRc0tLJ7eiowTYk5T0nnHyRr76QpQqH4MG8Kz2eTQ+LKf6KVMw3AZYWFlrYl4vDFFC9EIhODOLjPRZXLSnndo1yzdsl7AEGblpS66dEy9k65fkQt8lQjedKMR3qYRru4cZzj8ZHqw3uucdsFckFPIJScY+8d22gPk4D12LLPK3Ggq7ghlX2dbVCI96On9Uii87esneYCYW4xUWpIii8iduNSPp6YisQ4wHyyHCbKnHZuj64Wr9/ujlJaF8YtT8UXI6XJC2g5uNd9tYY7vgC18rc/oGplIoK4kCDyGle6uMaprJAgZ+LlXcnFwP/mZb0NPQekb4HG5EQ0cjZTlCSYKOFjTmik1jkBbg9JwF8wDSLxiVBY1HKetbBZvtvVrgl6qhWtfOwzOfjhTfBhSaELGN7UqSG/TQ71o6EodJTlTKwfyinVpK+up8HN54UqRi2x/gsezulcwtCci4sXEut86HOY6QaMVesRaHRCT7QQycS2BkE3Jni/tvBLVPyi/91MPf2hFvoFSZa8w0G81LvKFtqLPO0WotBCAnnBQ0QK/cY2TD/7xO+hsYdkaiNerHbhJLtbfNfkTpwr2Nz8bDGWo6N+t5/J3rPvG9BeFi5QrHfIfceBYHjbg1AvJTHk2pdiSYMV/8YS4aPGPtsiQZas9WyyitCn7/vaGAtpS6nqL3d9rVgcGE6F5qBr9UTuSy/o3eYDv01sWz4yZ8sjuQQpjILgmdig0O8XKf2wxNe3xwUViqnCy2SRYA6b71RSxFgTWx80GfjIITlVrzk28Wgh0rVJjjkwEEseFHzWQJUpTIaoM2oflve+ixFeiEhictFNfrgj3lEMaFKm71O5nWixQZV2CNmLkWjAJlY799hZYrWCH4i+UPC7+RKJ3WX83oTR47bOo0KL+Ts8RrEKbJrNCn12YOaYDPX0r8cNZ7HwkL8TccYHxEVDDODyoO4XBOSDwo1emXgjr5RDQ4DgX/od5gh9LhPewOHwV0DiJ4JJxkGa170IvTVlzEG6voeMjEYGF62/sJiHtK9S8kz04oQNfQ4L8/DpQcyiG9vWWJg3XDHBod9IRE6z/+jcF1iUwgDp/O8mvuM78fejyuOLAW6R392jE4fK76PTyf/XbT3dnjaHh425duaRZ+zzahuqmJMvV+wY154MuL7NS7oSSDP0FYaCnio2bUAURTHy2F4pvc/BOVATrBrnPRcoQHkChmXczj6HYs5P3tcYqeyp61jpTUzdYGSsm+AoINHKH7oZ41yRn2NHcrG33veGXRHjZnzfMHpXfr/e7TXAc/9ITKbygsiDCsL/sDTQeW6HTLIMMr5XNWfyN3bis3wtZofVFV8LCdFjpsXosyz9qLyXUOheqon2B3mrlqWb8qGlWE9jMRIqWl4glU+U468SrdvzfVdfrsqslcTeAuJHzNjITiJJnHjAlL18itMxJfApWvbl72O9lT7UhSO3Azid9bPunbO5bTmgH2NvJ3lbyXA5Dm/0cjAgT/M8twtvqNlcBJcUbAn7QBHx44n4gBZrFRL3ss4oQwjOV2PO/fjoIIXrplR4/J4OYlyhFOvzMt8ZKES/Ga9CYrdt0CZzz17HKUKg8h4veBInR+QxxxxmK1LZikaoEvlIrIHy/po58igjutR47rHNmRdz7Es60869M3CX2sL8x90FBd8GUfHJmrSP2HBtDH2mfvMZw2o3TbGOfR0VOt3012/SwsakbDzq1liXbz9aKf/wAtpncqTHV2xHveXckftIIlc9JaSzuxCqqv31FsQ5SuESpPImAyfFCJxlX/HP4A9wn9FVyixj4rc4cqDrs1mJmuAnnoFuSCJgI9Q320iQHmLHxAGg14Zks5IA48Lw97eJMUXe9TviJR82ia2hxKXACFSVeT4PvGU0F3VgZVFnCMZ2qipuGQOkLwRWEjRSTWbnmnMAoF0qaa7kPVpMlWNcLgLOoBfHMas+3F7RV/jO5XSNgmgV70nBE/oTPnVQis4bxQr7BzqpsrWdmqtFz8zdWB68HUgf7Fb/dYDkl3RJTNXTLe3J6otJdHkNQuW50hHwbX62472GuhGCb+rUk84kJBgSBqEZLcB8OIxTQpQdHNwxj3EwiQpU15Xnlb0YMcJ/sOeKZ9f4x9NwBvNTz/FGQ6wxSmiBxIuGUXHo3eW2dhH9e07Hv0cWyMUrRFmyi2K0PbQ2IjgT8axwx3Vb34o+IerC97ugwG1ygDwIzI93YGjOfU5wJffd9qeFCUN3a8E872cVmufRyhbaAgpK9lCreIbDd23Ojcr/RRTCvYZ11GdQWopFdimvgJjAXvvb/EjurA6mCvBq+XF/jsVOf8hZqu/D4gMB8KFY8d5SKzIjDWaeeGHHY7zH02RQoMNGJYq4cGG0uPdAUgB+nlS80U9zhPUjct12ByI8F3J6qnGBubnOAJU4KQyVbmp3fKH1UVeINXTIz+KTIXira5VpXR2LRmI90tI7ipzPqrBhXrryjmBH80irDxm+b6m3wLG0pmr1EYFdb/Zk6hH8AeGDWiI+L+zj3GnyLFII0ebdBeDMesGuHMeQ2E8RGWHcFBgIxYJ7r8Nhf8MpcenPbLSwpHXrP/ztdX/SCo5RAtbqQ2ZT+Z642BZAvvmmpp09TkxgdZavVhW15Al9ALKj9vXxhoAedxlrUsLmicKAJCbwgN1bECv6R9XbRKhOFMb/IepzuXEdKGkGRemAOccDlrzkGgXjXfgklDWQc7nZNfbhN8TuHBA8+/jYMYL0Uet4RamEvQPt4i9sb6Ka7y8qm3msl2O7y8AsA4GdSS8UoXz5zB8/7bx6FNXPeYO8/cf0WUtdISG/RuPSR0E32oAOWdjmZVXPmMkfpJq5JPFHO28b7kCSkf9GYmDFWf/3MjaNM4CKZ7rl1d4UHI83ATKsqU7PanUftMX8wCoedfOa+0QqXqqbxsbkWvXWEuTdhIHoZoCPI5/XzfGf66/B0PexEiKCEeZD4NfKUK6sgyBrlvCee/gZgBEeHfYOC2D1UucbQ3Lxe5fr07tvuL6AQqsb0aJ7iAwQ1quoJCAEjWFzQSupdpzHyq3fDj0zKPfmaXjZESCtT7LAJKakbEJ/s/kvxZDL8hMEhQj8t+VP7jYWQPCqdKRNE+ctOz94+O+omhMRpf0cXfp2zB3E35QzytZMXF/z3n9EtZBLMFRzC5VcHeCQ1ozplZyhNuYUYmbiQCRsQ1ZFLgX35KBBNOL/hSUV2mdbSDZvMONHnKYsSZORy+PzgbhtWaX0NrYpaOGUCQ8ZUMBbH4WHJWN55fNR6mjyBAeawrrj6FBbZfGBvFbtz+BxXqrWBCvPAs4gswy4aZkqzvCvV7nOK68jv1R+XVSWZjG3K1FgDXaUDABGSzxy+LGYi3fyIyZSvhnzlsQAATA2Xbd4NUbLS0ua2o8r3V+8nTOGFXhMEGuyx0P91EmdjHmsK+j/TbQM2Tx50AWiY3dWYnbSUA9QmtTelPaQ9gkHgMOfPVB64dsBAmZMCJ9WQTssSO/iHTp7oicoyhYAtgmrf4QjgFdxEjCtO1IKLq8mljckUJT4BzL3nl16sN/8uwgbj8uUzNRxx1sJugRlAkXs2XL4jrD8h2KBSjS9sf897fDDuEGO9ANwjXJH0pP2AqUQ3pQLXG8GLtUwtSeNgDOXgMdsTQJBZYqfsg6oeUkz/8E8ddWFgUM/4FSA+b5aABKKYgljNecSQ3UVHmWqi8WZAENdbSCJs90A5TNhefzTC6Ka8R9GDeNFJZ9b3fMnEqBo8ODPSFR8Pb/I9Fmwik79/dyAsdGURIkNzcFYj9QwyCKGm17lDByPeKV+IZIR2sTE7Kl1H0JyNuYi+iEMQWnuUG7iyxPm8nv57W9WAiwzPWpsGmeJyL+vZCvPz95/N1Bis3ZlTIn7qAhhTFceq/dU2nwFsK71rT/3EG+7KH4KkN2AbDmcdghkt0wmgZoOySGRmZoS7ICnz0xRZNetBWWZpPALUrYJVRG2x9y1/SQ1jC3RK1x6XQm18Lq9GGIFs0GWQwrCEQWtNflq8jiP/osDMa8HTFpV3apUgYz7KWyX7dfNtpjzfBLzIEzzAfNrCgfTXXaSaXNdhEWqDaRd9nA+yvOOrkweU34vF7OMfAKARtqeKOp8G4KFjUwwbMTrvZhVlLsaTzEg1o7c7AJM9ESTsFsEK4n+z6AoNcfAIsyMr9YL8MLONygepRk9yThfCkJ0+PeYkFWGubX6vNFdYYcCtIK/ZONzF1q/k5gGgywODPcUvvcBKDLZD89kJfoC13Qx2m9UKTnsh9o6KYHuWiLcCMhQZWZaVWv+8RrLkkZ0T7wGKSA7DPX6Ie5aNhcupzbclGtoDvCqtpg2i/IL2smQttD/9mDzB3psN7EUSgqbkPq180ZvP5NDkKg6wuoQp/OuYP3t/6tN8z84AWVMbOz9+FMd3gEDaZcyIVmAOvlEYm6PE7RtjgcgNE/1Ws2sNH/oVagxK9u7DK7OM/1oOVjp4o3v/v05/6eARdBnC9nSQXt31YUPnqVXpssfxCE9/sVO1KjuLgUhGHQnB0WV5QOU1krdhz3DI1Us2WOJI0yNc8njWbGXljdyuVOnd7nH6xpvc/mg6lx8yKHiDIqvcPQ+yR2KyXNoIgkJ593KpkhVMnZcwTCRq9DF/CceNrdVk+IxwN0RMDSfINDw4eZ05JArmJ1TqhWGpyhYpX9GSw06/QWC9dUy337rOUxKXzkimeCcICZ025+xAvB+W475EHn4ACul2zUHeK7f93BQrlaxxBkPGg3fwtPozLMXsxok705k1dQBILmmvYLNqdI9s9EjHGmwFfCElCyenngC7U/nq+SD8LzCa9PE3IYdDeBxpbrG+/TMYply9qjsONJHDhW3jwrT58oOsNgvDh4v2UWmehWgOpXgw4reLtGNBS+8YqSF3t5R7Zc3Gmod+BEXVH59MsXHiRglwW4+ND0dYU+oIfz/yL24V5uCZSuuiuqwuB/q2XZVercdgjRmiN0BPzxqyg5qLMHiybu900H/xRfrhPibLhtVMyngfRRdMuOH+bSjUngNdBXDvDZpsnQhwEzgOW0KaUiAB/Pyt6WthmB8YilK6fG/9EVlxR/7DLiJRqemHNeoXsI50t4wIe2g6CMaXacaJaTLA8rcTD614eOia/S7I50GjmoLBCdUfyHh1SZrvG47j6f2AhaeexAi5/wSruKh7ZnTxfq7vhRjpGyT2xAmmSAmTevZtxk50USpdVHuv35OezqEZn0EzergM2cMG+mlOAc+BOXLnPgueeAg3fGxZCxcRiHTVfbWaW04YuDB+6lKP/LWkMPl31Yfba4NlOxod0SBZiNBa+tG/zFCkDXBpbW9/yHMecg/yUrVD3LPnHo95aiT8xOL/v8HSwWEY2fc9U7aNboo5CIh1oSKIrJ7KC9YWu0QLum+tHnvbQDRreWbnlmwew+s/vZc43znkuOyu+jlOfmR2C2NSS+ZPuenxYnvowLxGFBa/ZOKCogQQ0EHjakXLF62OB3q7BN7sW8kpH+y0fUS93L/FPFrF9VwacUlUUR/EnzJ8h9DKDHJZfadFaJM+E9xIEFBBl4i3ZP8gcLfznu7Vscc8v91Tli/aZoEVceK63jH4I1bkGlJfUMwMk18eACaqjlRNLLjU4PrF5mVDzH3Me7PQ3GlY1LJOor5qWKPIA0Blce9CeqBgPwm+6d53AWSxUYPh6+/umIIWcHO3hUfHiKw08ZJIkL4tqX5nId4TQrhGOVcx3n7Mfyz4gpF0HCk3MMgtf2JV/6sQWKDLRYyV0NeGHoZnMEPTjkJzaenvVW4f/s4Bo2ahNb7b9Tr2LE0cOnFJAjDbBXiC3FXHQ+OxoDQWt6rxVao23abWO0MSepZ6++dpkrQL/Y6+0oONH4IH86Y9fiEn6tKxYBTOx6i6KIflx9oCMXcr4lOz74ld9XRkqt0jzI5REWDZh3DJjIfWg6R6oyhBYTWjIcqcjMfODN27+n7J1RxGQrcnbl/E1kyAGqDMP6aYDAqQltzBiU4p+Rz6cfHpvOuWV+DcYGh6WQMMRCLvn+CSk7QzBcQKNbVflikaWzxlid831xBsLZqsL8UZgiZmrqApPBaDtJqa4RVFtlzCIoa4kN0qEQjocBXlycTtCxQJ+SkOq7ZGvXur+RM3vcyZWD/zdUvoVdoAjdJs08uDH/4kBZaJWEYvpcrBp+lKWbxOdjQqae/jgxy/RH+vx9cRZObbKIhmK81z8riUX2/I/nPIyJeyUKpE9Ibo4iXVrf5SsrAYDvfWS8vPCBuFN3DKcU1wnmj7sqOJNvdTbq6dFFNd9EkahV0BGKyTNkZ32mdoJzjTWw5Ex58p9Y2HpGoPF8QgKABZ1OYWq730wOwCM/Hxu8wrQoJT46UjJJRUnoqZ+qP5qGjWI4KkdA65h9qLNYtCA0ySNsLQN36mMkH3po+n7EOAOp/j+GgWtcAFmUOxos5IIrh+huBy1TsFCb2NAx3mPCmslczm5nPURiE4MBbM1udaNBeHZxv4gSRHiXhEQkwSIyyotVuXq1zZ4+dS1ZgzfKKJAMvWRyjJ9EDwRq2RVU5VmUq1aJejXsXOCipCfRJw7CtgiSMe07Zgw3+LCnm8EYgfLiLrbpayQ4D7P+MKBk8KnidH1jhlOXRucm2w6rHk2L3JaY+reieW8BKcjnDmse9882T9XUI+C+fsRzskz45D7fWJtKgkFf2q0MxKwLHDcIPr0aq/hZW8Zqfyx54RCYks74WOVa+FBO94EHrfPbQ1Iwobi9Uy0omrS1BMi3ECpZmatuMo959eJo7Nv6l6z869iCptmmd0fPEsxioYJ1vam8e3/8R2GDGXZ7/pQ+fCUlHeR54UZRSUKP+1854OseAFOvAXOVYilny7gdAJ/VobWRUbKwPVHqn2Lk2RmoaCpKpSUEawC1hn/67Z8u7nKybV0vWhM0z/03h3zqPTxwLnE/XAVRt/rZXdu0TfZTmFh3zNaCedA0DIGkgtGtRXNGF9e2Djz5GW6M60WQesgMzFw3gmmKG8+ZDyxFbcfqMQr7X78XQlDMdYgKkAn1MLOJiLYvvAf1wQLzDAZyvpOA/OW8yy6YYRe3TdLXCckilIg+KYn7ZjGRd6R61dqgTJ8L0v0URO9cyouhIRMpBPeh25Kvfxyj7gHqB5+W7FwoqWr12WOity1im5LPNhmlrp9E1qOWSy0Btyq9NE0X8afIdqxoUYTUT5/kWY1fG923ScekRzbtOMMCfeKWSYrnxWBPbtAI1TxoC/GJ9rKkOgflCACaPcIKXIOlNZjJOxeI0Gho0SLser+wRszIrk0e4xcKRR4aACfbadso9d28AvhiTrG6d5cdaWE4VwrP4Fnm+77a/pR/WsZT+G+RVm1LLPlAWWxcP/02Q9eFIT+34WKGm4d/QgqYtTLpAAknsLxuSi8oGRUZz96vH7cE/G8UJcCwgY5J82FzhWwAXbu81rfcNyuYibI/KuM1oMBxpvEzjT9bpekn4cHFEuF/zH/uUdP8TjgNnGzHbjRjNX6+j1LlO9a0mR44jMvhyow47Bk5a2xVr/O4NVTJlBELRdk94TCIBR3+i6bBTnU3ds3qlo6tloaS3+lsxqzQRcLHCoVFChkNau8btneGvlsiwMLgg/hwRjc7+YXlH5ePXf8LbqJQSsM7HYQOuVWhL6YTOi2OXuDX1zg2omzSMTGaZwmcNspV9AsFIANfnwdNLSDI0RDGXxLOn7MuUQ4pzAPOYfO/83Uw5Vp9nyYDHqZgPnEpfuH3vRlQ/GHkEHXWSYbx5nmVRWaBxDVPtySyihZiuFw9obcnD2mPDUqEfO4FqgTULs+oPzzHeVsfK3ngoUGmYop+7XHE2Eazh7AjnemjjEWxD0Lrgj8rMT7LAJgWduRuDhYVrGO8KGeebGgRg11faXnBtmEGe4yaggIp1M9XxxwC2IQ+x0MVVD22AVuPEKKX1m0vHqz1rhgifE5j6hNLKiokz5sUm38j/nHQNI2Zq/AVt5yntpG0L1+ugnC0ucHewrc59DHUdZu4zkG9/W1nFPNjmb0GPJqxPOY9eVnZ9k83zaF9pWdu2I6K7CUAtBdVXX4hZAYK7Bl5H9k7HMNnC8isxiBCeNwweivtCJaYtgKo+tI4xQcmlg7JOsUKe/CW3kDy9jLpqc67AIP8K3NtCch1ed4kIYzTK9/jQmdaHG7vhzkRnkY6Gx06waohNVsE9qVJfvhRM33Ythp/lZegaycSkRfUILx5IytLiuenPpGQ7cPRNDzIZM5WRZEZHj4x+VaFtwtdmqKKxhY2qfdvVwL4hoFFWktR5UJ7LSHMr0vhFpdqcb/QqAwqUjRAd6UG39Ik+d8Y3wAA6hBf3tOF3uL2kV9Wqos2hsfiS17s7fqpcSMQOWXYtRZYH1J6WQxqtz9nJod2kZtv9myxUA+HMf/iiCbbDoEvW9RgJIKaVHTiQnLGh2WrpXE/rRKSfz3tms8prxZMSvbDYz0TnfPZJg+RAL+ePkblVArP5iqrP6vjJZs1GtVl63onrItKDQMphjtunfDd6VMAlhaquqU0/30k9dekfoNIPL46UiDRfMqV7nkSe595Bvv3Gtivl2oY3K/bB8ppKMRXvs87Q7oACuhVDuSDyNDmZKNIl8I0oAy3EsdKQg+46K/M4FqbzKjrwDdtSEKBdgCkw9U8afGPAbaGQKgoImWWG0vIZamk/1+TMDVgUsqTTZs6Fp5+aaaZcVwsQi9fNWdxihE8O/Xz+apug1zhgUyhxe+Pi4VTFgsKjIvZSblSQ/OfvLmO193WeXNyYwXgeHlf+KkQziWuE1Jh8Ryu3BaCIYfx9uUIL2EuisytQ+jVT7c6VnH5Fc40iDfKt+9X/HeXIyG6P29fNQLVyCxTkL10yJYDJUWsBzSQ2riJBKDG/IKa32hbGUYaIpkotEr3uAnlv+F73mALSb2SamkYevhODKsDdsAZXeottj3bu3q40gJTYCJknTvg+GxWJGArJhcB7ZfJ82eZW1S/gLShMw5IKnQu9UedIz6KSdEth8D3RkvpvoTJU8Kqa6Rzjk04p+57izGJK6qf0OUtFWqiKUfA0NUDm5AybTJD+4kk+TwAkSVo+HKVLQk4oEy2TogyuKixMMvywUwbxopTri96wS40KsB6yyYNhosY76QFEt9FVTeF6jFiDmOyfcbyi6wGqjMfWRQKFkhMOKybQLhVLR4ylEDFTlzJk1znM73AwZqe+2VjXehAi827Nkqht5Cn+aMdUXYwfAZR5zkE2pTqKIf/ua0Sr/KV2MtUk7/o3So1FsZ9vU6lqhwhodtltcPCAoOe8DpTn9s2eZOughtbBPTXVQuvlGOzKM2+Z5rjtt9oWriwqhyb9BkISJXeNUZX450TYn7sdFQ1rQGL9z3mR7YkJKDYueVhGgSBh82QqIJAIY4Auz6OMGDu6qGeaaB8zaSZO2hbdA3tD9iCQNTFyKUZ48xMoEEhvUgss2ZkIOqjbfYSPAIvl4C7QguGFXOXsSQ5TEZLU90+8kIMpnukHBicctbVNhmfamoo3V8jlIKVPj99qTPcbZxM2SzM5buAKkg2lFyFCP6JluT2pN/LX/P0tuymG6lmM3ouIw7ruuxq8TzBBvqfM6PBvZTUGn0qNAD1UUt9WzysZsBkkeOEcHEqkM+n0i975x4YIrWWueYWz8/Ldd428/EqZoxm8c3BEN7wpkFTVnm29PJ893pjh6DLvb+5JS8ShspPV167007zrEYGfb7FaLb+9ZIKL/gIVRXtuRpHfghX0ywR3Kb/OwVze4W1wjGffBt4aDyRKlXdBaD3/6bkF8Iuiy9nZ1cDBNPPnvywZ+moICM4/OAMZT3d4ictbukIvQnc0Ul5YdJZFFIItWu8FuyAWk++czsksIUOGzj5kk9uQ8/o3KCaWNu/ke17Ul1Ujeg7NjXEvucD2iurGyzRfyXfuKw3F9kdWY3ySeNPdApzpaxqrG2OuoErJ0FaochS5fqBEtWRbSiK8TocdA/WpxGeFtzOz7H4USX/OAr2UYyFJT+UOEbR5d3l/4hNi28SvSRro/rkbaGpHFHnjGjcPVi448mKfnH2730iLAO3EV/PG1RcK+tHeb4b0q5ZATvBYOe49Ha7qBB+Kk6EWYumNmpf08wS8yc1lUs3gXsZvQeByQtWYtNxz5JO/lyUlIFGORHcei2YDJ/dpIKEw+xNMuhUD0htbI7qF/WxVPN9IzzcbtJ7PF33/kU8OBDfF4wguoQgX/b+816Ck7P/f40KwHG8ypTTAu+qnQZ77h2iFQMaMEGLfItSmAaYNGfQujPSGnfk3DndrX1Xsc82PLrdYrl3El+f3RDGxIy37eeRDFWv92K01J4+2nuGiEVAfDnSXm81w8KBxxTTxW7pz/MqRWI5IOVWdXVCrb5zYIeBY59mZ1aALB+Mr4E+rW23N7s7W3zUqdJ6tpdf/ru5I8uyeLgv508tvhNs1or5XVdTSnNU52Keo0igY0IygMYemttGTMrrei1ctjjywdPyyvHbGg2rMVF/ls2LnwKvGRG6bayHM6dvv/m2NTBYB4hV9Ba/thHUEMja6+px7/5Sf2LvvpC5K1yiQ2Z/r/YSuXKnAX6ULrRQLG910qBb+K3nlCQyK6Rc03DsdJsqCyg5FBp+0oYQp28IPl4dT9YWzihkwbHBUpm5BdEwwus+iTda6dxVET1ZLk++iNNdyiukvMXDv72v+nz8ZtgGL9quGLHrb7YY6rqUFK5YcjGo3u0O/ye6yYQ4ZliBq7kUWYHhY6hd978+2lJOBeLqr1LBOoQTM4vAir9bmT6q/FDEETBsh2qBxeueSa+8uIYyOyP2aKAxLVun4XtwejiudCeaFRI1SGY3F3Y3v5FA8ABzLYmIQnBt4tLq0TnZpI5/W9/9Cdv2uK46eTZTto+gr9zRwPl8WvPU9Vk+YExf/mNaTIDB3Xnjfd2pF+cmfC41D1C8vEvhwIL5g5kJkxkoYjyGUvBOrfJInbU9StuwSpKxfPjNlDrs130ZKjsmZ1fn6ZZYeJMY40pdeloka9ntuWUmfpV8cvDP78LIyYHqTh/BP8dwnGcaPHRQtpvo6qS4dG1RIw/6QzKUt/p5qkk+kAC1gvG2B/SEhicaqOFMrYNIsRYPEpunQn6w7YZibGWpvj73wDHkc9wtERTKN/XYxR6EetH6p8PkQckU4uUUVzvdAp9bXKQHBsq9bcfKrIJNjxiGJOO88gLM2lzNq/o6HJYvtYxOUuMqn5Cf95grUs5Wg+RihI8S8btQIEIGjN7KyhtNQK7hAlcpTmkUWRxrADnCaUyHMO0mqyxg+6Y9F30vj1TRl8JYFwIkRdLbTbWrQeQRoT+V9tASAgA0d1YEwh9+No2+F9WtO/X2pzZx6Ctlnf5u4G0tMlS5AXPPypAt8eAk5OX4AutPpIgCAlOXhijCI+tLMMHoXhsLeyofJvSTYN4WiIxVFOLMGNPfz7aigweBEWrbBBVeaExA+t+dMWS4NEzVc+qaot0aHnNUVpH8fhKJ2sh2HY8pQLGLCmMYDJnXsDL9dnvGKD2xATqze1iMBhw7po0sB5+Pl8nZDCVFhwcdq3cggsNz8yhT4BzrsuFPTOISS1NzSVblkteTqm+QJseO5z58yXxiQEYtnFz59nSiKN3RFYhqyd91eccgMUho9axP098R0HBJgnrzIpMGGVG5snSoDQ7yW7j2syUatNDa/LAJ8o/zsrfq1w/JgQA5fSpQdkG3IHhFZQ3DxQT9AGBcpmamP7KS+W3QcWdSh5nz2EFCYVGEqFdxOAFFotKh34nCv82KAbxpl0TyTlCXvSVM3YiqRYXqvUlyR9j6zrKL1WOZZHcq3YmwTcIW+b3RN7FHoqgoI0eU0MLmaDl9Uxs012I2b2zvgUNeUoMyJosJB03jgZtEL1/+oYkfv9Slnia070exSF0XMNKVsGuaHPirr2VRRLgxu89dybodZjkPEwq0rH/+bkLTFgSMxh7OkrdWDr93GLKFCtR7s/G1XDTCPSpW30Pl7cMcsLH1KuvamU19vD91cYa4hKFmwBB/euUbWRf2FV/rceM/oRu/FgatPVTIQm2aN0vITLeqlxDnOJcZcdY/MMxe3LMV+U/ti22dFHXAvFqdQEAZlx0sV6sTTnUs4JQshnjnmXVv4qPt3YpBoRspsRprptE5uT2q4/VJ5LkPGVRB4TBVJwQABPoXBkItuiYZSYwu3ibkaamnIUyeglSQlCKoiMGOh1vdqeFlvwgqBQuTJcJXKcnIh97js9hrT1umHS15xtdZ1z8rPdW+ZPhruzs8OQfu4IJmlQBUGPM4CqNnv7ps2LNT6Ck52xKpggYQgxzJnGsRS8uzKxh4te/8QobJBLEw8aiRpOlF3cZgYZdsUFNcPtyaqVYyJXuxJEUk3gML6Bgk79mj/fRfcr4SFI3T4WzT1p+9oy/h+HZZRejpv5/FE12Soleyg56p3eRosnp5d80lbQDt8gfQpQ2q0i2NA7zzA47LDPgS3SjX0sUeIJRY4dTsC+Xl3zPbbWRbtrqOVZYVQ0zqFd8V7bjQFLYKXhaNYehHjectB0MHG+iRgnqwjksRvompqCKT4RfMd33d/xSsF7YYX6i5WRJsr5ZuAH0TpLd5PdONg1mV/JZXzRJXcW2KrK10WmRr+Y6CI+mVqhB2Z4xakM9XqZ285EHNOGxUIX8gZ5vBzIAjPDPWcf/Z8SUau4gujXMQt4o0vEQA2ZFr4HlSkkEhCRlIWMtzwklSIdZt/7C9kd8ILShSuUeEalnWjCepFjBH/LrUEDEscR1TlCoF558W/2WJ2gLK+eS3/05TQHrfmqh7AhaDhihKquIDmvbUAV0EqOCrkrZjbbkL7OwtqVZ9BUJXly2t8fjObso1mA8w8J15QyeaqGvHLucek6Enhqd3O5e0onJVWwVr3brz9f6tWYc2oHDdPRSsd3JyG08XilYXL32x68E+H+I8PElQWmA53P5AozJBx3LwShpW3JCoMSqzKckDcJb4/WxK9PougI+nouD00Xp76dY7iwZyOV0OWtTPkOXdIvJaGYnCcLDJeFJoCC+TeMhkibIHxgvZSf2L2QdlLIznWHgDTBWi6T1DwdP04HPp2maEKwXRWsBafalXHKIwWY7ho6iqpWtbyXrw2yJRjRcSwXCzwQ5RPbDoXnHRK7V/iss7SOUx62yrr7td2zwltLq6SbT6cyJbwFot3GQCocreMt8ltA4s/oWmzFw0/ovIIix706sEWLVsbCsWGiSi/z7uP6levLXzgRaymLGqGe7WAdM5VLtzyLQJUmwgGd/FKV/x1oEdDTdOezTaUQEa5UKMxwhiB+y5TH+V2Z8PA7EiPYcG5HwiKOe9vQQTCHTVVEuZ395dAjMovYTJhXcywDW5BnhdrK+ZeL2afDgmfisnB62qCA+dGqWBzNDQB2mNFM1MuyGklDblRf0u3KDT8X21Bh+UE6Cr85XId1cdqKZoEIZDii0O1fKHg+OGRUyDLg+Q/LPO13ivS20t75jvEkjGBFteZyEe7vMd7GYpF4H8CKq17pVjqmSUV2M8Ocm6PPBqWgU/500D51n0VkCNnWnY7DfKHeYW31DgFYgA0tSbUFetq0Q4qBqY79ZclCglQy7nRQlgfJciBc+95JuxcL423KmWvrEnmpgoqws6Lr3tlG99G9b6WiSj5tlhP4umQ+VRqoRocHvyOvhsec8N+UgqW+/58zHWVpdBvRRxwShnvmrfSuV2K6rdvFF/h9/lHCNR1v97ys51VRSQ/Fli8WvvKqgitOS6X0RQYKLDiS6yiTIgw9Oy9Hif5rqDKVJyOHO/2jMJqjOg6vKh/NH23oOohLDemKCdhFVlWPfuzN3Nwv4D9ALwJHQ5vx6g2vub62YOb/bSWFC5SnpwIQckLX42SXhJavYFPVVANNb218jp2wC12FSX7RMS3fpLGnOJTczJX1/57kQCuXcdf6pmGd9HNciaxx7Pl269MHID6RlvmV3wdX6S7sD8s+BIro8C2jfayef1yZHa6rrD50IS/Hf81/3aYVmxMjZADeTsLYkdIK43THl9vKSQMtWuEahGivPk370mGaxbW/K8+JZhpibMTtZphzLJbGwOwUvGtwUMlaWu1x77kHUlAavKZlDnmFLwu11mkG0Hc6FI+pazNHABHVEQS4/YIzkbHLBrMgMP3tXJWfss9P5Rs8NNLJi0zLsNXgc3XkKNGFRAU4VHvC/Vr+PWTdE6+qqF3x7RXHGlQpNYHFovr9a+9Se5o2YmauSnxrP6P0eXobDuw8DVyvF5+q1seVtiUokrPbFlX5uRVgVbAfBoMO4o1TknBcQdbJGiRp2+48qtib6inW7vhnwOm6oU88qL7bxbVnML3Q+9vldGmIZ23zLnFKLEQH5ZEWogUbYD07H5Kmf2TNYmkIykLcTuwJ+p1ujHFSlmp41RWkZcchrMO5zAUcHTiqvLyOBCwE6TET0Zd75ntuE5rqXAPoY+MRao+BVhw1wQt6XVEk6oyzwaySe5KaD1zem5CIg0qBnzRZ9E8a+9T+9A4ggj1Z3JGS0VsfyY6iywt0hK4E+gwoond7+4Sda3+uZMen+JfNP9lbkc8iYodQyzQ5qLa25YEzcZ2fQWaK+kUAwzr38ksEpm72LobFhaJFpUOVPDbTm7yp8mCvjEWXegDkEbIhN72bSOLw1+05IKHXWxK8Kn721NGsDFMYusdEDE7YMU87lVEU8q5syYgC2OV6GnTQViW0gSumCPFcu3i2cOYtaS1J/pvRl0wQSW4tIQmr1G4BSXb81x6EecT6/UdTp9o5QiViY+c1clkiN9aBP7c+4TAAsqmQM4Zvzgf42H6K9PTJN83z6dpb0aOd2AikWRtj65Fto42mFCVTWUpFFyIV02m/bSt01XOmIgB7EZgTB8uTtnvf30wgCvdIcAvTMDznYbaKZRlIqzUsV0HdMKCMFGpcaFnWJKgt914+DHzv0ndCn8NCefKN/HPRHoGDotq5lyz1+Q2z6Gc5qfrpfwe7WNEoP+IJxxxMacgtxoxPQ6nBM39KND1b5S0IE9m8kgBI/lOFnUhmHnnDYbcArHSOT94lPJ1zqNWLTlONKZ1K7UMTZkQ6ARES2fD2CYS1yPNqMzd1dLdeR6c/Nc8gkWZZxhaNEAWuvMeqt39fNsajfgt22zjOazzV/EEYg1krNrT0idC98eexrhWb821v9PPxlyy0Y0mDNEok7+3+REziNE6PeeipTP5MY/yF9spAI64/+k8x+4EZ3cBfRy16mgURDrTDqTlR271VJ2ldQ/c2p93WAMiy8rnzazJBlXSB7zUorbewOSWXIk2DsKFaiTy5mcNVXmKU0LBsTnKK835B50qqWl6B1Ebmh/GpXdK8oxXFsh2+wxNFrwq+yAXJN8B7jXXZ4jGwCyjrHEsnnBz5dxdGzCuwqAqWXwRAxv2K5rFQCbGlYJXNoOAprNUTqt4m4/pvMHdwCrWRVbxNJ3Fvo2YCdBzQaFFuGJoA4IsnO7+JJ/RiygC8PFfrBkqx2g/XtiapROYWV2sOVU2bT5dAAOs96NOEQXHFchxZ6zSua5LdMsuCdmBoZTmBiGYi52l2qGL6n9MCNXEUXKh6D/81+Ix4fWFqcJmrKV8/7MNrJY+nHbD4TLeNa8a/dqq+DR62uQlxbGb/85HWlsnnVfglx/wW+iURXn3ZUtexoEZPMnp/BzBGGy/sO3Efe/kjUbQDlaroeDGqSmyq3Q7DBwaPY/RTModKBduN1tkjhzM6Ou1MP1gIDUvTFDUnFnmO3ukxQoIOLncx70lGfjXq0waZU4GkuymPl0VvU54Ch0NDyOWWkGdbUq9xR/IXw5l4wBniFJkDr5ID68uxPK8e8yHkRSPzPeQm+ZJBnLyOHT04nXD0jwo5XXFSVfZqu2IMw/nksYy1ThFQa6Fe3QCSiNBBPh88EQSxd9y8eeYwzF8VPUSXaB6K9ywurMPPNt6NJYJYTq+v3QP/6EF9MIRPp9SpPdoSQsYSoZeYhd8BipbhmUstTC40wiVaHDkl6nV1CWyNH1ukfpbr1ryO0TLZWik6HdSMA8IMWE9B0yf6Q8uYUXj18XH2jtYiAjs51DAewo7J+y/ylFpc/Bz1WEHCIB4vpyU5xqrLw4LS0hdLPQYZ3glq9aTyaCywKNl+dy268lgjO2gca0HmC3Ah0aUB+jPo728ZOKQ7Zz5/lo1RxY3xJfMRU+VYPg1YxLTUCJJh9KtJTAJa97RMSIagsbii42NFJoSBk1Ujhl1IDtdg6VcQK+ip/PwlWnxllIbbh073kYrAZS7o2ZLfLPDqpfTJ8REYPG1B28MAi/KQWUBqD8KaT3fgHVCXwhEEbHt7+ugPA4VhOipB0UghFMcWit3nzNX7Py6Re+UCVB8ZeEHA1Uf/tWpZa7Zjt9e37e+Y0pR4PeDPsx4b3j3qbLcYyCF/44khRm1V477Bsn/odz7v7irYVH5BEFvQt+2muGYt7LZNVc+y22VCkRPDc+91Z5+LaCUdJa48030uMpFSGuxmVTaYjYyeQYlqRROg13NjIBONaV368cOz8rGSOnWu4Ewi+1Ds2l9E4yk9XzTKJpF/CIiiySjEfvGaKfBaStUy6zl4mdHOpkQ8u29ju4ph9/o09NjbwneKnb6U4lWPHWLEr4JTs6kEg2MqkWSorMQwppU2dEwAxKSl80x2LWVUHBjIdOIkyqHtjulRT9Hrlyz/mFiHCLeGb5IumFHW2NZjbKXdPerMyRdnBnOMn13Fsy+Ijr9hjLeBBtDsejILeQ+KHlq46I3Dl0WeFwI4qgW8r3mws05X9ufJofx27e/nmsbdFMxdgoTDMR8qICgd7mKBhPfQZvSOHXxvhVA7ZH8tArdpYF4P8efrv4WOy0s51i57vdwHDhO2ZO/GH5dZ5sqjcmtxdqZdfnqu4nS2WEWhdQjoJ0LBwBhsRRTS2bR2TppLBhsKNeJRu0cL3s4jsOTPG0JyZBmamD9EZkw6ReLw3ZAfszDCEpEY3y2L+yDpaFPqlNWqf+qWo7gK8ujoHjxZxZd4eb1ajStkPu7VOtFnbVSJjaeF94tNDuqnjENwXuAKw/nwjd5732fRMIDiNsyoa7DHH3wu8DG4hMiGT4Ctrt/JzfyinNQavinWDH6+nGttPhb/4Iwgf5G1HQrF0QUlavkYPPIIOL0lLRJzuB5B06MTgltxuio/Xt/RqowUfz/mddOyJrmdgWye7x0BFIKylaFlb4CR/FTt0YSiINt9JrssK6PYAEsLSS/All4Gkv/W4Y3kVfxRNibuTJ1cwBXoHDH+LZ9+lEJgSpej13AsiotiIHhUEVrq5PQ9R0Dl8D5QNUxckw9ayInuw57yKuC48eYUGoUZ8RtCS376p70fziO11OsZOMb6G//TikchqZ12OgJwhLNljsNdwNx+RrxOcbpOZ+GniZdTQtjtEbaxliS8BNPmPBYpdOtEPaV3Ituqx+BCvEmDRzmXvwyrvhpgVnMho1r3QiFGLp7JAsBId1pgZRRIrS4QrGo+8qBkuDl6/5Vh0cA/cmPjw66SeK+mvRmgFeWcSurkQkhp2KvnKAjs8qmcT7sLhZ/VGNuvPt+ePgsANuimmkdg9+Zxu6iz2gSHdPjxU7kCP1aoV/ygW1087XxTvlAaRvdi8hUQz4ZFpz6OCFblQZz4UBDy4hOADpcBH0+caw1CO9/aOjOIoMfyBWOFFv1ApHbdQ8tCwkpua4j11OCzb1FoYF5Lni9wqXO5qJjlY1Pj7XoyFeCiMa3CC9ijgfC2s3gl6bOS9skuzmxRswR5RoXB8cGYvNshbEltEyJb8v5fmKAvuz7NfiNOK/GYBu8Bd6enTU+fVmnT05qwnur0tSBzroC5MrQCjhQ0rM7m/UpRtNxCQWkhD9ALAu/HQ/YGDoxpJTZ/HaWPwKVWvzkyoogYGWy1Xg52BUgQbCMGQMO0W2QpX3uaSaLxmQcc3E4BNki02Ot3L980DHP0DsbIyg0FRmk/ESZA5YXIqHLYD9R5qoUfray+nxioMV4kJmkKd81rlkwJm7vm44NtpGu3/t9RM9sCbfoWP2+Dnx4LuDyppwGchpkNYtQAYsqJ82xEBglsClUzXdNdPO//kTWozoQPE2MkMrE1nTxwE0Jvybc8DXfpJS6hnHWwUX10leJFTYAkuQEkp7elzEib5Fz4g9N2zl8LX1VJmrCHDTs1W9EzktXrd9BqxU1KBRL4JmVQZBDQx9pbMk5YhExi2lFHPAwZGLJs7CIqg8hT78devH/jx/U7ZHIbZqnFHYOSQxnnGei4fPyhFNcbF1C06lBqo+s2bo+tpcGgkAi0na6+o/4R8B7p5gPZaWloDkoonbrvmD01p7YZzmixlSp3VHM89uxPkqCYkDfqcr4ZdZ+0VDVlSTdaE6khe24ltz6M/sQqQ25fFizd3ddHWY3eK+wMSovJGgRCOV7rYCo9+ohJBnzOH2F5x5VLM5WVHihSbd9p5X5CNS/q+IBcrls8kMngGFrDpHeDotZXh5bNHKQlxHT4A6WmR311ziHvpbuv9jTqPr+WhXHUMO5BUYJ3umaaNTgxsYr/8O9zP3i1VYl+6M7jjdpIbmNE7bKaAQj4Wptyx7yTeSkfL2/tU26qpt7bE9sCqzII5OH6SThAgkiwMY9Z1MpC2/9G0lHa+2XKR+Sf6Mehl4Ky9Hw3i7ccQMVpLquKb6cB4sN2tAcZURScGoBrcB/283Y3GGq1FmUEsmb9Pj1cA1JHSTQByiYeKay0p+U1YOgB1NIN9jJTAx2JIURgyESapuQgMzm30nTs9vM8y2UXVEXRacNS2GKiFmwOeYLmYKGNTwYTBSTeS27MjXWEHJIzel7o0uA8iLMgtHseDPyDEK//MGHWu9ljre0npugM+8yctwj7xKDw42M3cn+SvRTnXs77abgqiFS00BSCdktKLfA6XBqP4w8bupNu2WKi/nTkdmSyQU2mJ6jAcV31OrHYme14FsjfFHLOCiNYLgkA3YiPQYPFXH82dbQvTCHVzpS+uunj1HaRSrxI567m29l3qCKspnoAwzk8yCXdqFh5W5z9ekGnYzYjuXb4+lIDH6q/sWnmVKefH6yCrtojnMJ1fLZ2xYu1DwvwJjIdbyxXRLjNXPcYlcQksRUpAPfpZyzZ65GQTmKEwSDudk1ENyIL3kbd/5JIgef/ZWGwyGOdj0SqwdE0mG9AatEv6XHPby5IHhdTUjpAVed8+lYtab/+VbDUNvrHYO3n2JbwEtNAJMD3X7v1BnkHkP7hOyOvBTb0D/KByaD2fnVovp0EwCmiv2BEcLZCtHoDa3BOQBezx4fhbJjXkzNnp5djDv4u4dJHGo9am5d3O9sVgyK9IWeFFCwcLfdQZycjnkkn2+Uk5nP46I6BJlIT2guTP9RtNY4AGFvlEb0ZvuImXlID0Hyk5ZPV6VaOffuncFpK2Iw9PZHrTbMUEakpWK+hJv6cF9FHvAabwxWJE6J2p3cV1QMqA1yIYZpSuVa2tS5bFEagFHEjGlfXJdkGX1r2vHCRYanmL+9w58IT07EEMABNoIn7wBeX1Akp6+2iGRRnkIwRpmWaiEqYbsXQLLneKU53ZmeVGAUyi3jATj1hPm8oCo4O4DikecNJsMwGHHGVJLKmw21ytuvaOFY6XIkpW42N6yfRdl2dpAjuZVYINjoJ8sEzEAjXvriI5feV1dJ7q1TBrxettamD+CjVoDh5kCVm5Fx2oMPtpYRgZtJmsLXvZeRBxBTWDH9hxPNDbPCZACoHesgDN4kGQw2phVtKnINV8vJKA4gqoimR0JUpRpEe4VeBFgBm27v2TDW2IQE8n5ChCZut+RX/aFFkRrr6pNxJQmkul7E9iKuzkJngGXVRVedLSk74beLHnypaDEU8bENK0XTCstibBWXWxYJKZ5NORvi4dA8IovBAnncMxLEOOM69KIjlPjSovb2dFOS3uM/8n5UV+7d6Ehisx5ftddfx3EcnCW+j7pIa5GEpNtpQtT5XkzZaFrOiaSpIJxIuFKQjVZ72fZqDM4IgCN5PYFYqvWJ94jZj0Xl4Ysuo2Uj0A8IYlQGqT4PMQ0agxE7P/myjrj9JzJja3TyTqZyOiD7K2APiqLqtcPKEiSn1ERb+C53KuPDBsXgrYH7AXdTRZgP0rnCnRmZJn38raXrCWtpoaaumEO/rlnkLnbUITfkCDBTIoT0eCIvQfuYgtull+oUmXLbR1FWNMGY3EoS9PMayKStS9LFaWpCJTjDrA6ZYp+m6W+51RnIOgYDObavEDoAeAyBQPM7JvOaNNOCVjbzJs//dRHxvVxMLlnCJYW5hOC87ZvVIScKzrfUQq6/5bbDKnWKzPnjG+b+Ivf6pRKDIl6F2lyxo34Bmd9jJlvJG3EQh2XR+Hbd9C2kOXwQNWIe3X5NqGhlvYAJYwm8fYHRGiQrm71o3iOcEtetzb5B+scrV2/H7HP4b+PaiXxFVejVedKhPBX0Vo491W0WXso+IBy3dDfe4oiL95lSs44En/hKV+F/ah7Jv7k+JLQAx10BiIjIFeLf4VlN2AHFOJccDj3pZJajIuivTVJ8jd/SFtOFluC8cdl+oUDLkc8cSmyhUfHl2nf7s4DHJqsuavtarJVP1rNbhLMEKMTUp6CaTdV2S6MHFfEGLRr/VwMx+K0dtix4bqY7Wsvo+r/J/0WbEtYeguU66niLoHiuar/yDQluCFMUnXejgZQvkIRTR64+jNESEVhDVlFD4oC+WZo5j12ryFLjjwXbcKAIbcU187dIseAj/+edS2YXOcv3BNDvfUPOA1Wk4rQGYMgsjj20gb7MNTDZkAHzoRLiToj1OeF1TiUriYzHUp15kDkOhL2eo8it+aCWvgpAF2wWUbt2lNwBjq5DtLLOsKyZj5hapNd50EjCTPdHVDaSh6VIyhZ6gFLaqPNo2T5Yq96akqOho68qmwvkIDlMb/RQhcp47LOb5qclFTZ5CfCRTB727HugaJwGe6lrEO8TG/mbyhSDGfx8xJXrFDHNn0GrzWtu0eYaelD6wZmH0pLtCKT1Pd1UywEy54wiOdFCfbXmWOfw1KFYNsq1nQ7TMVeG8Cixhc1jfIQZ0Gqx4tRsPdkl6dJTC27sPOHvv/QCkG2UIg61PW1tX0++w5BjkXK0X+4jgxjeTIKzckxIpKxpuGSgbEjSASHmOVrFgb3ZEAwVty2Lw7pvM70my/wUXx1WNFxQ6F4LvJ7O7Whp5KtiBZmIDl1Mks9ERryQZXIRYPBl/27BTHUpuSVzQTNLD30v1OwhSajkA+v0R1pMWm9meZUZp7eFJoE4RJTlmgEApTP0xLHI8pkHK1Aiya7L4aQKKQu+hLEFc/eDEZy5ujNA8SoCHOWGTI+XVBBzl4fFMGpO7GYVaGXcf9mt3Qz5NEAfkH7frY5oz1nmGpBped72G9fgXjoNfg4rbwyy34K5WuEKcknWLrtxq1jZkmvpeqYYrj05MH8lWMAcOI9JWPBZHWgyD6Atu5a2Uh10vHIIWYpVd/IVdeVKYpYBPERrQQ9f+z/LfB+wSG0XF5QoDATumwresCGTEt706rufhVHGnhoG8P+nzUBap+Xsk6ZWPphDJ7q6wXohxeQsw8HjycYv8lCiL20gi0k09QOOeVh1IjIqKA/Uji9udI1JOdJ4ZCxs3H3VPiqkrck1PS384NQ4Iwyyc9AwqH3nV7kd/Dfp1Ex/G04CteHR4gIOxxLyeQ6t4RfY5Kr7LpQwatU2oDuFtmvPbSQhXpqAt/k7a7ffeYOk73nlCfUEHuKuzA2Ex/rdNavbxv14zoa8Gu6f2DsRzGVSoqNTGaAi5K6iBBg9vdSs4XzWLG+3Bbg8HG77jjnF0lkIejxRv6633QPRNMtOnXVFo49GMRrqLa4SMcLnR/jR7JF9y39dO8rEmhJm3KXcxLhWZTRAZ5xnb3kSSusjgKSxl7+J3xAGeYgpeof+uPHqvlnbC3GSLVv/dXhUcY1HsaSUUAy/xf5q0Z3OBgYZwE2q23MTwd0KP6r+ZEqOr1DvvwjJsg96gAH7lokE+pgVyzipY5eyuzHRncPLP48jjOO4xO0qBKZF4SKFUSXBXkYuen3j2KlhvESMjZb9DJ9Ir1D0SJ+APw1iSzPOhJF5VkKrTxG/ES+Fp/Iv2XdylK+QBRIUczKivxcVrqyzVRUFmt2hsBMxqsIOiDO6C6EcREWKOl6+RQREHBjT+MLJhpNyIAncgkP5PHha1UUP+i6uHb7Rk+QHtN65sk+ZleB1xxXje6DcWRk8ZzBseZmROP1BbO3KD7xGNTm8sMd+XtyUJprXOuQ5X5AWgmh0DXVACCzaive56PBqJ2eiQuBOQQWMzpaKr5PWn+5o2o6vMdQIssa+ZUOs9tj/npI7qYICAeX7yorv6qT3VG+swL+C5fscS8Np0QZeVjs54s5N3VqpcS2dj5opo30ta3EeCSr6BLF87utbqb1HuODzQV06A4hkwv2XPm5iQcMU9dotzPLaYOuAMGusUXHDgMm9B5uH3WsKmDOTxNpD39O8/OZR8B0WZ2rM9qdOu+x9m09eZjUGQwG1Jw6CRCC7BWszsVwztmgqgyZaREu5aXeYMMM0vlKahnAKAyxmEcIR1OfXXrC01S7mTIzWra7gnhUEaTAFvr9aN4fXKpfOIFpKqJiK5unQDnvpRnaUpFht1egbYJVdrCFDMIF+Ima9KBJnpcWdiWdjLKpVElW1r0PrONAe5zrnyYDs6WH94I2bq7+A+WRb6zAjBQTA/8+ALgDYSjicQLDAbZ5uA0FQojczjLOSW4DLvBv7uq4gbFmJM5ZdErjKzBUmB/KY30MvZFRPiw3NrGq908axTI03w270GO0nozcrMCOFs6IjjiOcB0F3OEE6x+q3uVzodW+h5MCm7PrHWGRffpr4q17fmonV1VDVPmKl3Q8euSN/gy5jnSRkQSKyjwoiabtUrLFYvU+88DQiF+rcLFPk9TDiZK2NBs/BQpar0NFmzIdY0GeiZwQwCd3xsGZKR8BwKg9ZnwuWT2CBm0h2ISPJlIiX3n2oJYtvnp9N/PphtWeCc4wcPfUZFm41bl9onesS6AkyOEEOeaMJ/6EiiyBw0s0X82kZlROss0WZYxYcq2Vu83Dp0c9prq4GXTCcOh+Mjx1p3QQUb2iLg/ExJcWPgfGW1w9FbWOCzCAN69VBRS+X6PK62SwAAyvlw5Nhk7Bx3vAKCOItUp4BnVvTXmrtmdGz5Wt3kAfyg5ekFtogAnl48QFdJIM6bB0DL1+4QyPYVyGvADDloevz6glsq7hugziLhooCfNppNFjXS08z0DBdI2+A13xw3XR9xPUdhYOx0OKC9Kyve2t2xffCqJB0PhPkr5l1SCLTrXanHLkrPGW/7IMYifXDhAzGUb/CGgtKwky163ja9OH7Tr4ifxUmlGaFlZ23PHiUjSdL56apvaghIVNBXTBjN1MRu5NET2uOWLdm30j8lqTWZ71orh92V11hbQTd0/LTt76rpi5YGFjRSNqSeYf8hXrORgOOsPR6VhCjKenv4SIUEbzPTYDBvWDJDZXwLoCvc8JDB6iJr397o2Bi/PYjA+EfikSEWUo6u75zi0qRu8psBOaMYNnMY+yHEWUEw6QismlhwZZJXBaxu5BTf2hot7sJIvZbKFZzVcwUFWihFozpwDgnqOoSpRt2pgbLWqMSeGIYiYRjuqgk7N3Sc6DKjjW9nUNQJYV71sj299jRhvJoDYwu8G8ANFySWP0xfu1zbNdyEWdOA0AYW4/oU4CiNDk9xHdj9SK2hVjByHcXsCG8EvaZ95s0Imb9Zrh6kXryntVuHxA7UmD//imp1IB60wKlHp2eqtsNPlTbyOeH6xJfRl5MYiZrbKz1q13ZrylbrMW3Y0+67KOOpFh4umgIqZXimiYzhtYPcNG1HG4Y992rzQ3BPeLRFMLUfJq47d0cDwXZQEUSf0WJCu9ZTdIcK+8Wse00emKIX/zxApE9yQX0voJLhQPs6dOxP4PYXBcx58CebLPiJQEWi3bhZPXK//vmobEHzNgCOjJA//KkvQ797s77Q5UeYOSY5TlA+p1NVvAnBPl/r2hEKX37rE9nCBJG3j+awvI4+ova3HsyhD8rtwzfrvIqtMYxWX8IfPAP3pw/QRIWq1+OKQft4PV+ROd/K0+kUgntTAZEcFdKnuN8pshSe3QhfQDGnSbFJp3Du/F4hbfBfykabP7ZY2XylBMyIrjeA+HiR3iWET0ep15BdwP0eg7qd11dBfjK49Je3tjdmivQH3pu8DcvwUrztWBUtxLB5Bmn5CJkyLCBXSO9Tl8gZXKA7E7EmK2NMi7HpfIQn1K63eQAh1G7x5QQK73th1Rqjqcwxqv9L5vwcaEeE+eLtjUlFcnG0BSIvoeSWOIqATE3lZXdOu4Ls9Rkqw5Fk4mWllVvniv1JzyOAyCWiHf3NetlSmi6CWrQPRWpe85VnDjlFNQwH00neegHJvJRyc/N6P10PVqSMs5m98AvvNpvrIOqFyyDaXPZIky1v5gBrbBRDKFsnv7cMeyGo7p1mzK1PBVaDSsqDQzO4iMPnEB0wO8K/KBGakkWNXyhn2Z+EDYiPPzkUraIzuTcoXVeSfmgepKjhqvGEMAj54WoEAp6dXmX4a3lIft/yncvlcqDHNPtrqe9/Flw88ejxBXasoNKrzeKucLMd29TkSpkB30fWryOXK//cPXVJ/7H7tQIioLe2+D/f/6zkzZTZMDE8R9i7bEWVx8Gzcb1lHawDcicXhg5C4DSaeF7OYSTYY8rQjyFWINdjrgK8TfuAH5mvwLSoZV/VsqZAAsN/cfc0guvRXp8ZwGlwPgMLx7HDoInzDdbsHzJWbo2STE/c0YyF+Bq9kqv34a7kzCbWyWPNy1zMqcYzIOg5W2oRr6rzN1eJj6ydadcqA6BYPVgMJlebI5pdZucJBNz/LKo0WH4syBm+A60ozbxVc/44J0PQ6rNYfpQvaN/oEuKg+p7PhcAi/JjBv5DaxA3+OdV5qjOF2dDTn69jc+zjnYpQS68qqQS4j6jrMIhWd2bAYmmq0vg15Gva7vS18N+0lGOHkKzLf0tMhg0eBjNW48FyspOgjz1ed5Pp4kmlv+J2utIvbEyLxpcRDIZmw32xxf2UMgShbiHB/s31/n/S5PIdfLjlGCvG/dqdhod8cmZTRtRtbKQMEyvroy86gFZEMXbSuKZrbuywzEcIcSjD8ElHU76s1XAoN5db8c+QWH1upmMP12j7nudp1zEiZNzifSgDVwxS/qcV00y0HKOZRVHYPFIlrbd+nahheZ5vT6xsSfs9NL/Q4cITTFcgtxJTpIY5lQebmXfrbK/J52AM3mUGliT09NZa/uE8FVWk/lFM3QaNe62PA9Hk9DHM5DL6TWusoaipxjirHruTzLwU1wP5CiX/IYk64DXqSbBm9e0+qTPzK0pN/my90+zBVYZtbSAYCvWdxIPpGHkPuus+wBvdyS27Wmvu5fk8S5Vgoxm3LmPsvytcnQmn63d4TPK1k6jTSOHgSvyQr8ONEFsg2W/Z5cIF9dV2hFLU6Ga5pwlEIf86EXXoAAfd02+DLKcdmzTB+jaP2ov3d5liVxMax8ebvAP9kVQzuAmj8ho0uSKms/vw+xx0x/pFYUrkmRis8O0hvmbhsVWn9RFiwmMGNjU6bI3lU/G/KSz82hb4vSVUzXPqyVUsUJONd9KRu6YhhPec/xO8pWwsNIU2CsnbdnD32yCLlaM6TXNIBC2nXzV9aYW0+8KpxzTSxPET2GvOQHm3JdYK9rMc88mO0kdRh018UfrPCvNGymegYEHjurpAA1Hv1pAZHqXyYrPIEAGrbEkohayEPeH0RJ8TzKN+d7tyVFMcxtQ2xzxdIwnhAV56Pgl7UNW2ATRvNCCdD/isxl3fjIDZeA3yVmSpppCu8n8fQ5QBl+hbvoIFRxjEk6ZoYxfdbGpdwnfa9P/iKkeo0QSvY6GWp0ijB3L5sswS+os9muL3+e9QGOXZBd8RkgiVfhVTWFCXeimFsxXJOFNIjTs1QOfitotjjoeTbREfZodMvX/zldYGq4TPyFftQ0cE41ByRc0vzDhsmN5rTEOXXFmysLvDVXbRisk6JS4ziTCz5m4vh71z+c4m6Y12kwcAHGG8cONyiQ6Q9A6yd380oGr+oM6nVFKqgBD7Kv7TV3q5/TEepCQ0m2bKDb2to7hZYxNC3GuHx2ZkhO1AmYfW5NgMGDRm/TH81O2POHv3Vd9p6JL/tDS+JimgqUZTxe1qyNNzkfE9OsQBt00YuLLVtWHbbIJK7aVcFy7w5j0EVKzJARmn0XMHwf+47Zyak6IVVt/p01WmAuBwT7wX4ksZ/wcy581SwPC9w1n3NQVDIzbB+maucCd4gvP4j0rXq38vj8ktRqN+xETsr0VObxE7dlvfeCaF0ZFxqbKPlQ7eeRDZlAgLpVdMEo+Rh7YSuhvHLPvqe/yS+X0IurLBo52JRpXbOt5W01OvyfbtieA7F2++H+P/g+v59lPd+PVGSKaVQ9iJbPTeM1quPNOA9ny40/A25agULcp90i9jtwZMuIPWxy1BgCMK3xQDXygRRNHZuaFdFzVIF+vWvO2YdRNN70qeIuuFsAKFgsGadygohjxCKmJUZ4CmNcvI/2sojPCIbBnIE8Rixhdz5zmJUqcs5XiPPCn1pPkb9sKuExSMrBiM8vc1U/LVnKD1UaUdVlSWJJL5qE0FVS9Ee/L6gh/sJdEkzBbGS9SdAP9BWxJCwKPM02Cn0OWdrNszB0rkbwijSlO4u58I+KeKV/S9OPV6sPr4Yu7Dc4yn6ArwSdZU8pUk3qeHc0Tr7Q0TpWiI4BmvA3MSPjY6nQi9fXD9VJ0hpKLEEckzzxvvo1dE6mkSg3vz/HZU+KpVwACQLNG8qQ9wxOxaxB+NWUY2KekoaXQLz4S4UEr4Wv7xls5SwG7Oftz6TsADWz2LltTWyLmo8/xg3eJ1c24sAyc/NdSztXo3eqEE5TATNqsSJNJTuWNOPBcw8ynajeO5ibBjfd3jli/3vQddJxO0+UvnXGoJ2GYPCkJ5BaUlgtEKa44sXVi59/iOCTPKKsNeb92QjzhBMaysmPSxjoQ41AFn/bk2GRIrOFH/8SevswMEnTCzAlj5aL0H+sQFtHpZskzYWZtC3dV1QEBFFG9RvERwZKvTqcQ+cUpJfobmV0ZD1lfnL0hrXrAJKkw6IpexAVW5znXPeeLnvOGq/sn+UExcmKM3ClEWx69vZWIDHgZyZ86IUEpbp5N22tVjgG6Mhgp130cVlUpiwx5NroithWMl3dw18YfFqC3D3CmvegID+VFpYPpVx22KtdJ0ukez5buU5yt2ca7DN4biBqsjutD/EF6w2I5aCVqay/tULlfBNuw//4vCffISyj7omqamjxBLQmi+/GTUIhUf5NTUlsWLVs28qDbW9Iqsp8tyqdfMi+/KYKD2Kc7VrzAbl71LqS3jWbtEz/tuFnPIpsueli1jyP1gzH/SVHH8dwnS58vRoc1UEKjW3tVko7VLuHWle28Q6XwagHoppFi4p+QgJU2gWcvSPd2CIGIG+tdYbtYsSG6rJEUIVggdM8b4e9S1D6vh03BRJqUnNlTTfp3IYKvW2huTseDoh2Q7Q/piHSHnpWHAZjW/QLyL6Acn1222jMIzpg0EvBVqA9fkVH45OHUuJbqUGyc6yXHqA8tQrzrC1BeOhpQUSM/ykhbAVlICSRu37lOVQQ7WNAINRh84JY8uoatAW8PMqrf0IDsTjvPbcGYKtwXpr4qN8prGr+kcN1V3Mg3nULWDuhZ3KR1ZwaHAPlRyrCPtQGb2bf/ED9GW+UeaZhM3Bq4dlMOU3OFv7r1xSbd1dTID+DCOq9OTxHZWYm6AtUBfEsGOmsGX6BL0rsQv9YCZsBMXysinNmvtb7i05KC6ODvhELcnwGmnSRzyRvBxt7EIRwffTQ78PGju5kOy+OMxuDCwYUQv0Cnat9hwjpLosFPfRKsiPl9sX2IcOhsKxoi4qGBMX41BfVBP4w3njjqc/htkGskSsXfbCkIPEQwmo2M4cwDbdTaFpTYVNEe2wL545462+Bz/t0AxBOsimvpH7jfjg8Am7EVqNzoN0Ke73bQIpswRtHZ3Rkb+68rFYkL0gWRfmTYKnmNN91sLjxKGxjxKvnpTTZRlpv/+JVqrBSo6QR68lwShHcoid1CW9nnj/xEqSrA9RWrMjcMl2k7eZNkEzkxXQz85Nk7Fw8By51wsv8xCDPwe+gXtTnq2JpCEOxT0xPXKGOitEeNuewSiVns+ZyVlQcRN3VlIocUjmPbAgNtum7JqOh8Q70TplfQBBTYxGU2jhU11ulVPZ9ALJ00N3wsOawQ6OrLhGauIhPpnVbO4pf6uHgpewb44+oN9lCPxPBu2xnTSflqzxV/HVu0DixUr+CMOYT4UwNMXr9LoEJSjZZxAbIKEjHm+JIOBbnWuwbW10pPT/E4nvnTj5eNqTaRDFSQ7T+hCmgb0vJd9/HKbFDAsc/FyVqFwcXaU+/txascg/Y0E5kN73D27/2d0z5ufQrgYhr0yBSfAVoGqyue966He7qhWbo88n+UzF5LaLio9mhxoT4XSwU1jcTEWy0dtRgp+D0doeCyV4TXqi3zBiVML7gUrSPbGCV7xo8IkLE1BmrenKfjlgP/+2m5LU/gw1RVV7tZNk5zzRvO2J92+Rl0Nhp9tagjnu3eZwUTCovH6oyTxZKj4wGV7aDPRz6MwLGi2q2j9yXUnOlFsDcQ8RD0rfQdzIYOISTqBukE9xgzKba4+4ax6BladoFXelo8lZpzOvi4MRgv/3t8q1en8p5JZBj60grcvdEQk1t6lxXTUyMTCxPhRxWtMt/ZZc5Y7VsrmOQnGid5zjnigWkJq5vV789UXH35RPK9bhnr4d1EgacO5W3f5Gq3aQvF1VIpT2jmBN62EaLTazqoafLmjkE8R+bwbhRbqxlmoA5h9e/KoDmH4b99cAMrjEy00QWvR9dRZgcMiveit9Q1fpRVA+kL15GN/71fZ4CDuHDxTciY7IJpUtDF65dLeiobuh5zaB2FuxSQWAkVzqqmDsRlSTxNsgk8fPLE78ADaKPxrkV7+vO6gYWRIe+JhM1OYuF/EQDvJDqXW2Qw86E8CwBWTN0YVGQUJxsppE578DED+gEXyHpUVOZide4UcN74/sWMiSyDBCmJVZUdi+MZMlhPg06JaJKqnXZ+MRuOShwxOyaWwQeLtKWlI+nrOqhMEQ3A/wqxozi1a2FienD3j1HdfI7Wj3aG+eF4B6Yk85nuL8m0vfsoOWsf9mEbMvhVUxekHE4WSGyKFLu/4cCaOE8ge5vik/8ssXr0ay3b2NANPIk0S7MDwGbD7UeS70d8wGBZQDjOFOKs67F4qz47/b+iI/NQkpfEGuekNeX5xMJMXzUQJLipaOmz0MAIdzvjBoQNNz8Q6X1m/C1koDKRBFFy86dgMfSHvyBLRfk1ltjLJY2ILiKUTyKTxYSSkG6NYd+j7iqX8MsoQikUI4Gjk322JaJmViVMfNY6XPf34nnXZQyF6xYRmrG3XELR1OUlZX1r8UZq7k2sUeXQxJ1YwxLsLSNh3n7yY03cFjfw10ldfqPthkUMKYWWUTmUR/kXwRspzlAA22FaE52AUVJlPLJ3blPZhGWXxVrKnBbIaK2HbXdPMTZYOHqX6yoIWP6B3tfqgpcASTmA7hT/m3p/9szxiSXEWnbUNe0+KMt0bvbU8/VMPf/4BnaZVRKnly2lobGinN67VOqAJOSf7fwqLLmIFmULxz1bxAvYydydZuLDDpn+qjXuOL8NI844/b76EvGSbYgBRUZ5Y8DQBwaXF31yORi2hFymR46Zg4vTxyTmNEIyZXFMazWU4oJizf+4ux15k/G/fSsjVlk+4QEr0HYq0r0x7phtg+L14G8sv6EzdJVOymCOXxBc+hNLCcqW3XzlR0HAT/6SaV6BDypGGMsH+22oNAenA4tHOkrUSzU4xm7GtBjNunzrR+6/yIal6/lYg2PcM5TBmu0aoKC83fSWPiAPqhP92ZIqyvixyN5OTgN6N5eh1bQoftsUwjid9rImxGgELKJr1lqd8w7FXnDSlgd3rXlYcoUYQXrKlHp1ZLoXEBL72vWlVFGRNrLNWk5SZyoX8+5V8fVdxQ+S//vyRq/MDcN2Mrwg8KfCubwYhRvHoD8meexIEcPVpqBJfeik7ZRIneLA9KdN4bn3Im/I7OXD6t7CLOy0aPFEutnonmYoZzyLHjCi1fEo7fAkssDQH8ebEKgnyv5j3g98S9DRkq7vQfI6O6SM+HO272H07hqtCIYRDwAqm+Kgecp53EJV5P8JcVYW8ohFLP8FCrwPQEeOYj7Y4JiFPLO/oph0vMBpAn03Bgoc0/1b8KwuwR7hVtlpznywM1OVZ7i+M2URP4iwgLoK3xctFOwX2BEOuU+bSpOOlwzC+Pr+UdejQotGvEdqnMjLVsoTtzlgkQbS+as94VUQHmkqXzgKAxmqLwPSlSMR6VZt1nuSe9oCnBvwd/swFAKYwNEVS4e74qWA9DrmD/LJWNusmTccGPFIvlIRO9D3WoB/yDDVXXw3roLuy/s7Z6Ad0bXTCzDlMSRXzPeSB9BNRFGsUjWXfyhWSAslHW9L90cz1ZubENcLoFOD+2gYcVR7uvJpzGCUIlY4uUImAPlUS+hCHTye3Wh1LqbGue+1cQW8+nHhNDMGXDSjbMl2Z/ls0yA81jqBGZHhSTBxAaM6KxovbIZd2oxDdPJtDrotRuebcS1UYG175pUo/CLBcLLh6oWIb4ci54I/NnEVn+MsFbH5kqq8BJmrbBJIEewvSfCU0+RLZUqavlf3U5culMj1FOx4+XFnpKZb5nEqGFvtyp0qI4fwCesl5f0R6fYfTMbMUof43V4x8HHfNSjJ3wYZTHq0Y0Qpv/uaH8ZLk+1KoZjMVAebwXQe3BU6LLUWVPVeCN5wjS8Ldn7LOL885fK+PeuM59ae90BfPbAAzfIoJS6xOyJibmQtILQ70cYED5AM3xRl3VMP6HVoSwQhGUDBOeZ6/0Jh28kweziT1hpIOOGGfM9Qs2zUg1h9NDxGZXnEXg4C4lCsDa3Koipw78N3ARkCC/Vl3Bq8rN4YJ8YmNbLGU47oJzfxoHVP3mZntXLuSEoerZWAeZKiG8aeyMvrjON/Y+i5kXtRXzJdHwRSpX5CE6FQk5IlURWq+WZCZmJbIdOp/w+/eprAZ/Gb/XQE5xgqGwFxmcf++j1DDPKSm/jk8Al7oT72C0f+fNhKM+sYv1za3FvRi1KePSwRL8fLYoCsuV/TlPJ0oM/6RNZpuQln4+0LMk9CgU/qSTrDDS4YJAOnGnpM/ix7KIpy1psgEld09yT9mEZxihhD0E6msr+ptYHzkKpc2jIFE08BnhyuuQL4vxZJmDaDIY/6j13eMu4lKr3/M6Pok52BPFls4OWICyK/dJ++pjU7KL/Y2c5oSu/R6zps8PoSMSoIX3tDYDHi2eZE43CHXLnrrybGhwvY1I1SKPToPhEeTkdlMJiGkij9VkhJELtiZk87Xm12K0llM1T4lb6K2uPmWh1VGcpS+gXtCQ9bSI4iiELqwlorqKev/n/bRNUWinVuOPt3F/rFwMtHEnbr0C6HgsFvhCLSiKDd6c4vEWXcOnlmj6nUCElrYSLFtDRubqDCYTzhFod/+JqbwbdHTJlPqkx9t9hLQ1yrKdWwaC4BCRsNTY1cmOuuPew4j1/bX0Z7dRT3pAspcLUGR8gzQjEmu1QjylJ/vbWUHkFQM/D0jbMkIk4jR+W3WpWdYQKqu1TtF+Vt9EUKUUqQVVt7PM4X0fhG7PSEhGo4pLZZE24lIPWlmU7hGp1/E2uA1Y37rnK+1TecS4jRtB6WMVmCitgpx7h74O0k5vg+0HwA9aacJcT7sLNZcrbYbPU7+sPPfFpkuQmSaJwQhyrC4WxwKNgth1P3uHPRy2O8XcRlpxgRVgqtVYMxgCU6JtmNqBZ3aD0J+SapyZlJtQUWZmo7UkfGopkgNjgEVUeTe5uqSi7wZZo7w0vkY2VA/IW/mcTn0NOC18m7TzJjB3Iupwp6lapme20RKQWZ2nWJvmT/8IFljN9Ty54v60dVU+BwGzbPHCECaEC54ADJMY4A+UZkj/qSnNVIlKrZKwg65woG882aV/YFYLItpa+hnB4oM20qelaPNqlG73qjkAH/jxaQaHjWUq5KDOo0RuRl/uP4XKMMzdlu10hX/6Wlaxl8ABMGIjXT50gSyosqaqEiqUVc2dCDf+WRqA4CpUrJrLVuMspDaB/eGRlwgPdtDSEhqtFC1w7zuOFqIqegTLoSipvJfPNxrj4iYKzUJDJhpSk1aOjmQIniP7fS1++Nj6gOVLxBaTFfq+dbONdn0yRPqMwZN2dLHvTwxVqKwXGunw7+9YWGGngplKsdXm5oh3CQ4RVpJqDA9LVamPquThYx5vLpTZYgMrIOe8YSWgD1XCfaoDZg/aTjSx1OnHyakJC4Tn3CCXYEfoCamCAbUUpcrerL4R4JuTa01ATdXpsisHwpbfajmToZIx0rfdJNDRNWCzLP+3f1QdqjVZMlfOGjY+LVGoVAM1v2W2KRkwxibebPS7PjeUAneaGa1stQAegJlacRaLvFWY9VRCIvq+cJcdtovzDcslMwtplvt+HtnyRGvjizRAtJBr5SnYQVhQejOYWENeEws4p+MbK9/G23CCvnyL2XShNAluK6vG58I83TzOr2ik1gUJoUUOJXmMj2UjCmBvjlzXnxMkywG2wkMVSnS9SuaIBEv8RsQpr+JPVMV2W1TXBfNA5RHgMDVTn/MXg/8GwdKPPW//CjsnW5D2/aO41vS14F3BtFFygLeISfjYHcBl8pND5j2APLUNPdv0Trd41RXMitSzNS1ZVlCaAtu/bSXGZpDdQS6imIyTKUtDW92smdf/VyrHtSQDYFaQHRO+9njkaAa9J0TP8qRBedreswgDX3ZCeWUdbROX3urkhl+zm2xSKWkpgRJPAMINAxJs3gzagkgJnbMeMsejdppua5ihdZeG5r45fSfwiMsLeVEb9zeIr6Jxu9Qh3KDxAyL1iFQJwJjvuBv82zyqEtFH9Zyc0QgkHPZV/RxEiB0yz+u8YI2vBArBExOX0BCPfOtA6S7d57wbb3kehMNLNy6Yno53c5sA3yIzIV8NoM0bO50+CIggp3anxE+D5NT4+ztJdBdPzW+GAxCWSaRQnasLquuW19Z8mMY0bZk6L5a/QzHZ+vPEr4XeEqBdPRnPetvNohM7wRkgc44Qu9eO6CLQaJ9yTuwjrDKW5qQ/Gahq4qcJFhwBgcTYBTW4Ju6eDqVMcKz0c3oKe9/AoK81eGhzRLoH5U0PvMjFhMJp/qbm+rS+3EjtZX4mIYbKHuWsnxRiv2RHFHW7msTKP7w0ov93oCPd5AgPHXhcGzJ0jiubJCrRT61WUQazdOB15vVqACJTjh4SROiPCUcYIuTUIg3EhHGRU5nZ8/gOmVc0iGgIEBdgGY3z560f3YtmVeJC9SSdrm0IiO/hI4tpCOqRo1TmK9iqjkkDueRBRHDZt33RoyoGsdNZXaY5bKycRwosS0mv7b7lbvj/sdROwIfOoBkT0sJTPAbRb+80cVSHLM4czuCpNwCEUY1u341G8RrSySXBzjzOHT340yQyIijvlAyCKbmifhQZstnK97lVEPPbMXB1aEb2NK4kCGfnazAK/aX7vS0F4CL6qDnhEq3SG/LVGsIzw4oEkz3/8xhblWCaoFFcpdDFS0vvTzkdTyIf07Cz2yXKxP5Rsy979mQnSSpGYF4yV07PY5lBGZOeRwBV1zpMkmV8JYxZnbadYdcxn+ITbegJhJcrbCGTk6LendPU16d2ZI86DK4xrVtmjSMe9pZBMBL10MqmtXkspIkOeJ0YUcf+HazH/RlVacjEHtwv1C8a673ECX7IMtAnNnnqXLyHYjCJ4yD8/qfH2zAtZGblDGkh1jwZ+A766TPBpJGf7e0VeLERE6lxeOBxJym4DtWkbo4ILvtph3smRiwGxNpAzYdLvJ8pLK5EgmTEsnEQsFD5jG3gmkj6UIOVnmvoCrzLiPj695nlwcNp/YsVQUA++spKd0+q+EknjDR4UCUlgRJ4ImsODyj4ckX2LDC/dS3Z4De7Ic34hgCg4czBhnL2Ao84vupQIHlVTkTllJ4oJi9anhWXjIpgxINV4m0+clBG1j3Eqdubtk0ql3IkwfgJZzn7zRQa4pcSC9jY4SCYx5qzkplw57xP1DZZapcUb46xPL+U0zbF83SHlV7xmVRlCc4hMVuij46DZDCBl1cJCLzMqteaUDpxdR3xjYZoJAPMHKIRkMtBbPbuiV61/Vlg8uDv/7LRx+Yv1a541bxq0mJAZhFpVOkxpZXBQz5wEV6T7J8ONvcUC8mWeGdCyjiUpYy3ZC3Duv7XuLg26kUtz0txM3TV+kxwFa0OpTIdBjiilwIMnmcwEjRV0EuiitOK/ZGd9qihBoOa7kwyNMwRDBOOSGicPXjIhtSvtLzFb1GzKMHiJkJFHSnOlQNxdTFSF6RkWV89FhXlQZ8aMSYtp/h4AW4olC7FuGm/CXAj4qiW3v3mMoB0n6hyYLZnCmI4gE6EKDeMJMVz1a0qNYyiYx0RYQmxjmd25u+oBWt5u6bX29W1eduNPFQOTVSFjqerdKoWE3g1n8IMSLLj9IGGOik8X6ydRDXaQ0ZnjDePEQ6zwhw5pp9G2lUeTHU3lw2RDKNXGypWySWtMBaEnOIDbLVBdaNJlCbSwOsnkHhzoHsTxUjHdVIIpDaQ/HCc7UH8DhT4XHaNezXJf9rm2IsGW8HcexcRBQOelwMpM+4Jry0r1GoMwzquhuI++hXZRuUGBVKDO4E4ALZ+FjwhnKB9LWhrYswWj7G0hMgzhGmA+0FX3MrdpZHT7yzpIt613W48irNaySXPVdeeXKdQCcN/s5QaHFDf/38HGirALZCSxQTJAGL5+kRtcbcavgAKwFSvQ0YmCNkPVwjySWfjjwclXR4MRQ1GyxPetp3JoFUMQ+sOQ++/OSXLHy4Db84XKw+kEHqQ49TuioEBv361B7ggeUsxV0jEMljeSFC4yg3u4i+LXAguaAM5omXxAaz0yOz7SgmnWfCjEDaOVF15yD4CbvGQBtdgq14Gt0XJqoIimAhPBmL1/jv4FNOW9yV4iSf84zUb4xFGA95wzQN+y+f2JXAEUuXMgqwTfVN2/anYYRfi/z8HrNoopIxolLgv1+WumPi7g5Q1n50K0Xx1GRfmC+mBPwwFnVzGiVteiGVkxsdOu/b6J/kcZGdtBg0LUlYodT6ouE0DWHF9pwIKQjxZ/he/rGcyf+zX4fUREyZFER7WeRvt4HcrWu8uYPI9cDlKZH3SXEAl4Ic0bMznhIEZvD26GQxOcwg5hLhICEysptRVH1+OnqgQOryn/FZqvTu0hY55I4nokb8d9IUwVF51qm6eygE7iDJoYf9d7wYnD9cATk5LYz9sbZqmN9G6IlnodCFqWuvnmI1fsybV9vDXlnZM8D6q9owY4PgW0fUoSVglt70+Jkf3OcQNgbPqxeMQK9blLXblcSQGMtumYXzlAPWeo9XS496L96SqDFAYCth9qhpwtKqjG6fMqkkAmd/asTjR/+AQyz11cV4a//3ll6G8lihN0dGzrvivOKmTn32PSuodv2G8/9HtaWzzc9gntNNoS0hYy7EFtojVgSA3MYEiXY7jPn2R2WBM0tYRvL052O9aEnqcRsvxAYI/nXhQx1T8CFVisz8RxJZR8HKM24IE43JNED/zQwGMEnMPoYhp8KivNwpNXuSn0BSdacg0Zvzh5kE+xcNrxBo2xyePb7vL+DHLNJxGI+BC7kEZ4vX8I/LcV3vMAYtLwEkrp6e9h3PjZ7SjNoWwUEucDYMnAMjkhDYfR/SfqUfanH70//P2qOzOpSjldZ1uJl00nLH3z3K0TJLHp0XV/whYe1LV0hSuS4tfO3RMIokrjksjqXwmZWPutxTKnIVAv4Mtc5nEuIsESUJoLCX+ZsiEtRVmTzXfG+jLp6NmC11F7mJDPdRGQlRsNUHw7KFuzXnl0fuXBkj6UjEairtoQt3Qx8oI7dnASEHWpt+ZXgzSeU97azlG5518DJJ0fiFfOHsr2dE8Q4qBExbMcpcOMZMp8oFIr28j2AjZYkCBGfEO/meU1VHbcaEKOf0r9V99fjeBAj9HGyvfI8JhZaiGfpMb2mFMb7grsfmocuE1jgWuEINErMgObFqTZnnC4/5by+D/qUW/V0UeErz/wYtScMCUUHg2vh78EoTN9oWwLSoWlAtANoJCdfjpSU+Z6XqAkruu9DiQl3QK89y/ZXKo8WU3KJ5TPHTvVZ6TWT/Y3vyzorS/J0GBh2W1IrJ6SZQ5RV1Z6A5w0yLGGib+y8VePIsnbp6QdGi7+lozaV9bviV5IV+ajtgJ+u2j3sp379V0gSp0BbHhQzF2Mg4VmY7Y5G83my2sXW7Ope5C5du87nVCfD0+UTvCs1caaI3PGOpErllS0JEyjzcicE8EYkW1YGg9SUswdO5c/5A83x/EcgQkfci/BAxk7ZiWQXizNAZWr9pX2SyafOBQ3rgIS+Mqduhdwsc9WNEA0PfKnZMd4bXRkvLIo9pHtMnXPsExM22MvuKuXBVZnSqj9PXl18riJwAyCdSN/9pZuLx1kaBGu8NXcpu0U/hQtmW0438/b/iWLJcWJZXkkP8NUquTLLf2souNrMgmuntlv/nyvW+4tw1EW6Jm9QYEOxCMmmmCNCbhEvWVCK6jqaVK0er4cMmA6OlZpUAug7M5ezLf50HnZ1I3KDa8CL37hd3eO5Ci7wlvVkoV5Cdiapp/5+ecjxVJdvY0E+so7bi99IVbO9usFe3mUqiO8k19rEYU/OCrYjOKG6xmQbqg82VwIZcIQyazFvMw3L2tJv5HCNga43xscwpOsxW+LF/TU1zD9EaekAXgOTBGc15CrlbkusOgQuusBTIEAX6SV9rRuLmYKaRwoxhICnVyla/Yy0PNdotUhnTmbW3QTacpSTp+74FENIufPhfLmnu2JWqYs0QB2VUcr8oeUog4bHH1iuHXOusnrXzrna1TB0lq/RZ6JzmZ85QxIWzidsz4Gbssai95m4OecVRG0mx/vnybmCnOwsq/4pXk0nHGSC+31th+02ytV+MFamI7goh9vT7WJ51IfS9H1eAU9fgah2kkkFXqgxflsFxn9czeauie9cTthu7Aw2ParFDlvb4klNiCkDGTwLEMxpa48aU4lbRXdI0vW7n5xEHaAJ7iONTTeEFPXE/5zP85artAQ3ZBppgBRX6uIx7eQqeKLFUAUOLBrqDZ6JxApzUdxa0wlRcFSH9UyvbVI/PIAeU149D1fmTtoCsyj74eD4DzPObWq+3REM2L2C0RJD7AMX4VX3rDRMD52nC8M9Wtq+vOY+drsJBhDxHwwg79rdJnLNB294JqPFUKCp/vrH/TLHhKGjHDnz55ppEEPLsA6d7PeyjNrtPqrQjQel2/SSiw24bhOTEP25ID0UFy4+PXBpzM7Gmx0TcHyevJ43qjydwJQxWOz4xp5umMAiPFhUp8JXH7DZ9Z5inkiUNNtnTIP+QpusvBsPs96A5wn4sLRORddYu4wx5oSBc1T0l809Jevda0AxihWLX3OgM6gi88Ojkbt7p5U95a5oUJkF1R3uqdWkrhC1b1NcLi/9KiR4p7H5WLpmkJV3WHGW1D6jF2sPAAKf0AYby9inoBkSifpb7I/XClmOWetmUFGQgRjmRN43IJMqFtBDEAJVwtfCCnjCKlpcForvpmEMO0RFqq3Y/THVDEm4yvP8DfDF5Th7nC4ppc6W01CchwTmYbta+JJ2FA1wV+HzONs/A0a+LnyJvS/AwsYs796UhCAEVT7wW4RQV51K1xTexI89aseDyGhb1Vjfg6d8apZ8QKBRi120cieMdaCCOAQavXiysKmwCZ5gB2nGvqQyTS1IbK4GITs9IPUTk/cpk6WdL5ABw2LQuprMrJy9T/zmGxdwLqcOT+2WwO4FYJZhfvWLf3lhvdWzgOPuPHRevXTPH9BF2PgfFZHyQyx3UFi4IsMpM5RTQL3qLCBWK7QneR9se24KGcIAFt4r2kKp+k5GiPO2cNwdvlm0RFTcW8XZT3dWPu9f0RxCsun2N+y4J6740YW9Yv+G5II1vwOUiJYCWsncjQ2cy89Zd6ZCqzu8Gr1uKf177hCGo+8M3Apd8R9jxGbSHvxvC3CWqTpBSuHVIO1RS0WvF+wmxed0XzvKK9D0mRriRrNV+KfHCHNyPwVfxAWw/jatlv0K2BV4kXFRbJrhld9BPRMNStViEwagEq4kVaOvyUA+sdQBqq8PaxQx47vGoNiLo7XY6OSMBPaLEnNQNChm72jdqz0q2aLXYNBcghnIy0g1WR8v/5hyFGlgIgq/szInK2mrU89qe8dciVMGugtoBgucAUFr/avAj2/gwLINk1BDEPhW/HsbWyUBfLE2BUH1cXJaBMYHuIDoEym5DoNuAkuYOTfWgass/0VemLj18RodE14NkB6DH6hucDQnvWRhdCZ8JDRXh5/EKd2WWc+ha82x9e0At6pTBpFacymPPzbKknXYXbFeSRIoxen05ALNsoZ5jP2M2t/VgrvPCdmQv2AZnCLxbWZIk+edfW1LviSNU19UicxraYb5JsQpdleiOrO4LvXw+PkeHZV0zGBLckKIKqW28m3RCwE4W4CmmnBLBE3hG0PLvrM+o7RkjtZl1lhMsmgb3ZVCTuld6WKeGCvsgHOz1BTMsgetAQOr29h52hKytAzbYMBc/2bufSwiqVTP/Isxmg/cbZp0hHT/l5Q6XRQLcOfmy9B26LYuNF5Bu9jvfgtxHlRta91qn3Kw6gc3CJ+IVJgzr1gJfenAxjgIlIkK3nFJL3S9lTsZ7hweO8h8rxDIV85GjcYtn5ySfSvo8mB/xmGYdtsmQAWX248lJYvqWjNOsbcLLUQbb9Ef+5033L3dVvteR1loe000M6lH4Coo6wWrf/wexs9vvRdhRrVyOzkDUJaODV9OzFjG+VY2ap7WsehRcXqZjYP3e6Qs0o2HWLxDkyKNCmWvBqBWgZJ+YmLqP1wRFI+w7H+lNjlou9Z79/Eg2WhD1VxQsntBIQT5GjG5eYKX7YFmSQ+w99nM95IYWP+R0kYEvtQUCyKgaoTt/7HjYOviSUorxTyGeuMC7a5je62k/xDvX5qK6fnt9SOvj+8c7L8ckFK8GJ3xUwjFWH8cm5e0uN7e4855NrowokO69j/CmwuBN/F8gbucZ3BY+LJ6iJ898KQDNVsVvayx+YWhpqH/uxJd7VTPUoP0Hn6Nr8hgYgJu3b+ktZn5hSTbwR1hzgBt7jlqh0S01EaXvxbHGZKy8AiSoiXScQM5beZpglBgsfmgXcUQ/vElEysuFHn0ePHlvCYvJG1VU1VG4UKkEPManwp3YvFa3P3t1xdeohKKko7npx97ubia8OWpOJ7/d7Jk7cM1V8SiezU/K/rXoOcxXi3cks0XXCDnrRTaW5sMD6mhRKGfP8fF7RBXhow7RPKqoQGjRHAokU7tgH+OlmAf9dEM7X4YSGIdJg2hZsakjS9ZP8/HPEop2UlpFVHzUKQ/U5RJiOf0WioyKdAbZgvbbSzH0lbZ/GtCOdaz3sOuIxt01+bgjH48m4AInKjbwEnN/Sa3yfVImN8sa5aLb0WiDgMdssblq5cLFGS43dzCvUJxf5AIg+6TCTiGXoQsq05pUMKXpuC3xIvrKxpOQn4+vBhXEkP8Pf6E9wb9Df0TRZtJhffnpi53tyFO6d2ACk2N2sl4pYC294DdiYkWWn0Eg0MyVaKPz+ZIZuszcr1ARwB6o7DTqwjgpNj0LOzaMV1eStr5k4fjdSIwksB0k2tVjeoSlA7dSoxZdHuk/30Guc/86y2mNKACZfdVNpABVpRUDjQJUU984WuXgOiJcQnxV6B98gIQ6APSN4BC5CKtSUUJHcq+JkIbK0rxE4xRY87W+maJt6F4uAPyVYkYkYfAbJuAvMgQPTUY4CIcM3hmWXhI+Ueg67ZhhwsMdzhgi0AdOU+UwWYMpK5yGXxY1p66mgRcCr+yYkFizaGcPMedgs1gtjiVSMYHZkBNGrEnpmyjT4JGus5oIO1VvPCmHIiYR0szJeVmRE4Azav1ZTuVBzX1RGyUE2SaJWbYPO0wlZhLq67z3W9QwLWUbHSrqA/FuV7MIjB0sZGymbbP5qThCiynaCMafeSdSlo+FpAAb7J0FZtpIpTNmStFbheEACOroRrxiTIyKNggVtMl1YBYUq98vriZcAa1840lY6Lb241wDiYkJNdihs8W9TcjvzTNSCdfaaYWsSeJdDy/Ov0f34GtX2tzTLrkNXJtHn9uNvlGBv0mCp4+sfgQtnIXC1z7/e115X6DGZqAb0NCg1nu62IWrBkVXsF4NeeAluUKTuRfKvDA7V/tAcByfoNGaY843Mny/y9Rqpw+8srOrgTE5kC+WL46IhXJsn9QZdLrJOxQXHzO+CJfyEeDdamvtluwLoj/4ywk8D09p+uB/yCFY3FW0VnxI6IMwYWbUjq9PSRdpN4T2ykwNxdgtzf3cfNj3lwKQvBl0aA1XKbBKPElbgo14eQOw+FIlOIxM2lUJt4yBZh6KnOlAg/+FI2qOrXGkQlGaMcoYmRRRNVYwhhi4I/DyN/hprE0i5oe8MgkGThU72ncLZOqoPopToS4pExjFggYNKNDpXJvLrxUSnymz1VfNodK2faOxIldJMM9B/Oa2421iMKgM7ypMKOa3CLhZuA2B5v0XOQh7U31QQanmTzBVQEpre8Ju/MRtXajymv4UsroLKqfKjfE0xd5jNUqw0n3UHkdIp5nqSzUe+AHu6OYJ8BROyMYt/ND/vj7Q6W4m58ASTEPAKi1iUSHwQLBtZLn1Bkn5ezRrIrCGXfq8r3gbktR5FSf8r5RvEuPk6ATmSQDHG8CEa/3N2NcIHXE+V+qegpREx7Vjvpmd7Iau8/giP80JDkYrfMEyitQ3gudBFAu4+l/yX/iyyd33BR3xdRPoXNclAJoV5TP+iZneH1JLSSZOG8plojG+upfaVnpJPpBQKB2oGUypRm84NTwzUuYvcfLw5zHuI7ulZ1kaa9xwaTtpNX7UXCXoDrIYDFePDsLlYI0qe8TiK9v+nFqkBx60GOfL35FsUP8w13me7YpDVEEEE9tC53aQwvchQHAPyiVme5VJ73syJ1alAXR1jFRRnJU6pDAvt5syaJa0p7hKKoEAbsQiAA0wUvD2ZuOH/GlEtNKTawBjUjquR/aVSx0y0yxbOY2agCeO7p8Pr+pSkyk8XmA4H1XxJTeWT8yoxXtvss6CKWcbYTFXlMc3FRleOShw/W2fgDM4POxjOyECXSbJYjpRjjnnKil6EY5vnW0nY2rhKG0I9OcuvZf/VA6BIfJVdy85CArOYvmPYg2Uu6SpGYHDx204Jup8Qoi1+imvgwftgR+o0PchatAARtmE8Kqh5z5xsRY+Z4+LNxq/dTjVt091hX67scG6QqzJh7WVfwWq074E26JJ09kd04lWyunxbrjM0qFnL0TYID9ISgEMcuq9viVxuBM8GssDGY5RIK/DSir2sqIfLp7xvbT7mwNQwL0Jk78Zn1TvpAglXTOREpb9KRnOiVWRsloO0/aWeIPyRxgoi8d+3B/MF6QebTndarTysjdcPpvbDl1CXALKLCjz6iImEvesY33wMLZroPwfG7OsX2bFkFCMT73aIaKqtsidxBjwhaSsoOsLX3SWk3xhxqnmACzTQCFrqvxPO46WJOgi6h61hNCniC+6jPJRVQGjaRkrALMsX8ruQcjc+og2v0Wp+8qfGM9fZ953xFVnNJCppRV4BJ/KnZCZuTEDO03+dZED6JllQbQASqtnHmdBXe+zTzODzfAgl/e3CargKVJvPxVZe33GIZxLLQHOgSmxIGl0F7hfdAYeg4YhMs1TK2AipxdjAsL1uHdYfwPRqEisfWg2FKiMT3bV0b7sUJb9/1CYMo0eP4PqqNpeB0PxzLMJxkkL6bndjAPVhdCU9ODfGGvqbl2piMbDhg3nOy+9wuGpMlkCHKoLn+a59Lg4XXQN9Lv6TzA96MbcLIaBfALSGc0Lyk+8TK3gBPf5FiGTC+dBvnh20SKf3EkA/wD4CyVy0sRk9XWQpL/WZJZRwDBrOfqJoUN2sB7sJ/JmJSE5/6x42sZC6nQ3YkvTloyM6UroJT9mYWmYmiKBPlEGk6TiNSds4mSaBSSMR06NOjBEbuth3LDfINb4Yvz6li/L1cY9aCqd9K1vvMufFxFkFxVLuwGjng9AwQP/K909eBUmvA1uC3c4aGQQGjhgcd48NtLy1DtUyNym/cb/7eQRQ6qtwEjvO5CEltdN7BqNwUAass66838f8nlTGkCay4Z1tSbBe5Xt4E8RQX37NgGwBCn3UfGctKmquCoBz/6lW3R4cbveKhOCnVxlL+ognoNXpU="/>
  <p:tag name="MEKKOXMLTAGS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LEFT" val="True"/>
  <p:tag name="BTFPLAYOUTANCHORERIGHT" val="False"/>
  <p:tag name="BTFPLAYOUTANCHORETOP" val="True"/>
  <p:tag name="BTFPLAYOUTANCHOREBOTTOM" val="False"/>
  <p:tag name="BTFPLAYOUTENABLED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r0lg9IPP9y8umrse/9AoLT5R0GKq+XM9pr/aTyOTf0wptcuHbHxeyqBm9svU01qeeEM1v0hpSHUgirOnAK/wukkRwkDcp+/igEYEdfT5g1hiCTa/4vblDh4TfRbgovM78rTILTQL0tFZUKffyzIT0PAvgszZF/RXENwUi3yLepH5WY0PybXn7gXKsk69/e2KUJ+hnzDSkuz3uU12pij9s7XZi6CKgcEKv3kQhtFrDVjpOhqNUlpSec3wbNVwdfiAgUzVYtXeffjxmUwZWBOMxzYjIxIQIP/RWIU+z4fdx3oOo3KBZGdlW9qXpcGkwnq4/28D0RsIZVF6+yKeIm+gBUBBQnYOGkfyL9377FL+lRWJLt/nXh5DkWgK0voAA8cYQCNzGvb8ClRkFne7ehHjsu3jhaaSlTlf5QEIB5FQotZ2njzKKSunCyCCB3E8fjJ1GrHgEE9THYyLjz0VNnDqki9f2wCNPmDJBGhzGIHhaYPiMm7F3eY7ksXYzv55ChoI6jqiQrOOPYvoDvoKLDxv2GmU4d1+fbxyOOrouLvt4OaDNOqfAKQTM++UhSLsDDinDpvAzPgFsmHShe6ZvrNzVz/ZcUMSrGFCKytqnu6M4rWb1TQk0KZR7xGMZrQghkyyrIcGUkSZzXFLvAqf4hbVOnmWCJ2U2dd+z5KckOwSOiE4BV28aErLuaJr4ctuyD8GEzDCcIyDvrZvYydGzmpXse3EZvyi79ZoeB+bzsW9OiiZ19iLCN2D4OMa7r7Qw8u7SVKzIx8S1Lsoq9jQYJ0xQljAk+7ytXUYM24xEsaJwse6tX+cSYO9LZjjK1WcrmPqppCTH+Z1AYm8GHupi1JKMlby+3roI27UZRHogoswZgky0XrKeN7QVLuuFDWFwMroFrJHISbry1N/CuVn2ccnO/v3ejYRZwzDSHfHMKQbVr6QTbFtKxUjYdKqoWi9xzcEWmLnl6EW0g/hnRfja8T1EcmoKfjleKnoHbKAzBjqK8H0h0BSQFaBAZc5aLmr45X5IXl8/MXtwUN3eo0YVPnJweX4AfJYpn1MXkGuj9T2Y0uZ2pwLHUP+6lu1pAcQoVAM1gThS9Kbxsd5ejUegr2WQC8DHDCfP4wk5bL5XKGpuQhvhGR147fJTtEQSri3Mk1NaRIIpsG2BZUPmrKiwntK6r+24qgtbzzXZ2WdfuYRgSFGXmftvonbsgxPlJ4hJF2bILDmEAnR9/dtxB0vbX/w0PX8id6PRYHykPYGcAKffml4hlphkZUp7D4FRFRA/66SAKUHi31ST1f9jaQJab78RdRjWiEM6KSaKv3OKQf3uLfcfoGbihamF985KjVzLCX6KdQSKtTpFfcH2PmpncyhZI9wSU7tInoh4p+BLshXvld79eHc9A/XhVGjFyRl7DEsAF8S/MSoEJXA+AVJ4G++e+BIcffzG8h3ucr/dYAqzF3o0CwtvIc2o9FsZ+eiQanZtA8s55daaWGEMXKNTvJXaLMlLX6kt56+pTNBAuvJX1J4KuCqcjZkW/BivUIQ7lu74nvmQd5rgdur420jm498Qpz3408rna4SJwfy/Ikbk2RwRswSKgB0FYWJhxguQb/LXhSSjguJ9ftD3J+b4fs9K60vUe3cJ+urONpasmIgv+XvnFuk+nN+SSeN7Q/Srkh+3zdeEB4SmRuA9/8bC/MeniamLV3+QPT1Thd0Gb0gW+LDQ7ZjQfaE7tk0etoaCZ70LEZjTortuXPskyEHNabF6dQYvBiyrmEYpBZz8RTF24eRkz9yo5/Hucy/oh6EWxXQCM+iyM++zP3MpSBVtYUrbtW8iZBKtouIH9nv2n0mHqyII/Nnzsvhsjh85RcbS5Urm6pxHzMRMuJ1ZJVstiBsgeAwyrMXyRxa1KW4ya39qvbbeN2imoqOWpVpSA7/s0ndSuYGgQbHk/nw7dDlXPVKHteb2Z3vxsksDbVbyv6aeFaO1pFtJW3Vp8RHz0amR5vG1d24RLya3I13OuoQjh60Cl5DyABDhQ5ujla+AkDHnxqFpTRpJ2tR/cGpIyP58nO+b0IfMIa3DPO1MxjDLVxVp3nL3u1kAwSxvE1N7MAPscaIHETrYJ+ZQrpApnkA7VkR3xLoCNccfKbEQFuPtDpLX+IGw+40ho2cbEWYvUMktZnOkiPxkjh9iw7Vrq48jKfz28lThAl17uW2rOdjcmENovDHVlic8qfV+ZQ9dAu1j0zFz8m6FjtPvnj5x+y3Ba5ek/FxT3yFvaAKBGjD8+jlxIYU7SMyA05d6VxxWtz1czANA40Wvq6tEbrV6iXAhW8vsMT8c6Osn9IqOVCXM7c4KtD98CpFKx/Eyndokw0FYxYG0eQG58r6r3sWiyiLp/M3SK+5sAxWsXQKCWQM98hmVK6LAUXl1jC3mxoKbCprahig/ni5uZxJ3qD9rdux1Xj4X6SPv7d4gVXdFs5u1KoQ4wvHQkyhjxHJhqZtI2AtY1xCb7mZMZE9M76VqzmZZdXIMRD7x+U/jRaLDvsq2kDYQgXk8Q0ZYdsoCUSli9AAJoLlxfEOZRwOxmk0wElux7p3YD+N5DuVFH783uMAmMXBJaK0rzR1DlPvYwamDsSo0JFkj2Y0+TwEFcFxt52qS8qoHW8BcJ8Tzwn/L27kpiNGIvv3t1RlU8SE8LF1yWXDzkI0AzkfOLHreU8jARBqZ0QVckiNlDoC7IHmYzbE/6rqXXmw02740EMtJleJtS57QLzGpmBGXN6L3QjUc5RW1UbuPdqjUjnxVya6ybUSy/OUB3pOnkfNk9u19uJOrwy4vy4ZeX4GwWUvr/sTQkxOaEMy9CWRwFnn+w4dd2A1nqPxaJuKghGkgLEKs3dHlMLckmKM6l9tOmeHbAJ+oyD8yEcejbNLpqvW1OduvlOCS330/mK/sbf7xLZmiLjYRdgDhmVKtLzWwvFVWQ8rZp+wEgmwE3JuPS0leqXREfuKMilRpZHu4q/YPU4qzFRbOvP1n6y9EzYCJ20fzsrHlh31C1b8ud0DiW6PCwHvO9VUK7W99I5teggVxgZ8jIMk44agQElYnYOJ+MwEmwAXz7xwyMxAlAMbKW3WpjFdQnLvavoqUOWuMrwpL4GH0kdqR31Ku5U2T1ZA0IuHmIz+bOo+JYQe7uv6n/YSbUveGJU38Q6nYvRYfRsgOttn2COmgZTVN7biFocC3f8sWRH117EvNshvSip3Xs/WHPvelA1ZK6a/MgFq+NAy4s/OlNh2sChconV9zDI+5hVgw6tUjNouxuz/pV9bz78xiWuRzFkrU8Xd3lIV5FuZaAFnIN463FGLt9YoTEZbnVdrUHg43yOgIn0jBCdv78nOlfm4xhN4b6N1zouYL6JZk8j4VVLC8FXVmp5omjAJW5rhFngblHx88RN6L9C880fv0HySGPi+acRA1pfi6w7iJ9C6LXpm8g1jM+EJ69LIlUxFYkBlIFRUY9G9GtQJiyEePz+m9H+dC1qrs7lNd/jcJzUF5fUlt869vQATsWDiXt/teCQCZvA5qjToqzKd6VqqAMV6JRRI1c8w7z8HqyLYMV+eN1xz6wbgRnDgDQnbbykecvmHDY+aqVkzOCDvu6XEaqbsDoSNeOpmA7ulVk7rMBKUJIkK++5YZJqzVgjV8ofvjs2VpTflq1sRp10jS7Ww5qXzoIifLfIBciRfJRn2PICUk1cyfWG35pXJ8TLjQ9W38WKGX9swYaokd0N/1u/6Bs4eXxJ2LFsUM13FdqZ3w+XvZtI4OWNzEEDGmrE70vA3tr2Ix+YoeS9gs5ekFvov9wGc7BZs/ZnELLvnQtSRaYEI10d0N6EsKV5s4IQs1AN/yEOiJwZ3HvZ1tGOhUJCbvcoE705r1isF+Ef2JvMZlD9RHezPDt0UTtw3K61tb9ApZvmzmig2gX9Q3wTMCU+sbUZoMLv0wlnhs1V2SflsceR7tGbpnc/jG2WVCVAeinnYqWt/KoDuOU8FNMNpeQO6Is1d8IzqAIouBo/GiitNWIb4yWrvKLyZ/QoVeDuZ9ZWCEbgCu1Ya/WFtc6SLxM+LXmzvsWib18OrT4TVKhdGPSay+wAaAZmqkE9XKYLr+XnLpxmCq6b+d2eMUqCD+98WWzzgAZ07kXPhgq8CaSm2bICHF61X2ZOJIz4fDiaepVOhAIep1hXBsBcXJurxkBd3qkS17sh1nGs4cMU+cR+dS+rEI2Dbvjb1YfDS1sVTrMpgntNdvntkfhX5j24LZjtp2o8kZCgDEmfdNRHwI9A84x02C5ikgJ5XEeqStUs3mfXOwzKtURmBCv9pMUE6sokoAXOnnEmIrYyZIhOCR+OEPBZW8OH0/iJEAHZ/cxTSNo9zTxSPO3x7CSRrszqx0wuoSUQXIdrRDA4nFKRdmGaP3mNij34aY57o8PMA5g4Vrmr/wy05BXJTdnaxRmvvMU5ENKaepspbMvdga8X9AWnb2Y8/QthhJdEV6rN9lAqGmJfdeBr5nXURryO5pz8tHayAUtfIece8qiOcDjjkKxOuXXrEIs07AtfWMWECABKZLD75fWvOhRVUwysUMEAmoZe2WZUPis8NM6lU3Xy2jMc5JQzK4x6tcC78yyOmFW8etoN1Y7iVn2QtuFRD7sIrjgtXi6Wm9RJMwD4pEvWl9Dd8e2uTzAY/Q5QNDKV+Ne6GC5ySY/D1X/2dFNgAEVDshJ3o45DxrtDZtyxL93vXjnM37DuuMsMz3pMdCaZNEyTlQmA4hTA4c8s/Eu7bQtHKBAxGID/EPCXVMe/lUhXpfNug1XdF7k193irrW8/LPEFAskibJkXDrZmE6DZCpBUu0/Lp+/IInohX4HMJf0iyi63d9KG3BXNbAYP1xrPcW1m7UINn8XnZg4ojzH240aIOdimOU0KUnx/XXkGa3Nba1njaVgjhRSvzkd+xD/tXSG5bAHKPsy8D+RczXPZagpNevtihnF81uAajTJGdPCTAmkOQefMxblGpXjmktiVrA9OKbbVvexVE7Dd66zopL/BIKy3Nb4yOQ7d3DG7XL1b/2ySFI8gtqnDz46/ckO0E0hbtWsllr+pCN2qEx4yG/zujO6R74GnUFsnazRa1eJO8ewhfns9XcvzF4tyZ/3kPMIaJh3SE8J6jTNDpTmbI04+dAk/8xaSpaTpJLMdoaEh4VRguaaoo1Q296JzrNOIRmehcubUbkOooO45I2GFrTtxZFgEHsDVc1jk5FWocezQmqhqr3NEtiNYHgJRAOXy4mjSegCrtRblMAdQrnYiEg8XVac3BmK9hI2iGZ8WwTGB5MCq5oAWivYT4bIJqXN+MN6Kk8iQ0oEXyXA4XtKKv/tnko6PkGhs0TgMFhT0CXwcYExc0DAmCaJt29Y0xXLji4J/1uJnfsopl7e3/hsAlhmBHqCYgnxxoWuKWZixflSZsuhk4LEWVG3gE44F73SZlAbBlTZc17hF0rHIWhTOsiSHG/ZMuyLABSniW6gZBmMFhHm7PGqwF/UIyo9r3V0Wa77ERAyo+05bTGAuuvxA76Te52PahRtdlGodjfVKOCYsdAJbYCkeCVpCpuZvjs+B2BAym9W1R+TPCoV2qaBhDDY4QPkyhjr4Dnxvo4x14YOli8Ax68b8U/hsHamEfI8TkfDDBQpNgCEcf7LKEj8ZvuPdKbwVoHhwLcNb4Y00G+G39V9NGp6hdFBjbSLVNzUGwxXmAqkSKWOrhPWXADsZmaHI7CLYEHZyh5gm16QlXHQRck5Jw7c2HvodwImwe3Qd3byePLQDJTxGvgvC9cCsu32qeMRt/znI7vjMqW08LBbhaZsmxIkzh4tc67bdHw5gzdi7bmqhHcu0xJPZY99kjDhBp9S8ZQgiazpLhjC1TkKH/EZ1jcz78CUNwT03EXXm8ZneYEBRrmTxrXYac/iIn/59ZKkXQ5DkqEHuIKjtJGToeaa70uwcI+lZ/Z8CXbu6TsnzFckYkUrSeYrSc92U3WjnToZsCglTAIAY6Syj5UBj+IRwjcpcLV/Y3hdZr7SuLg5a2Kw9SFEXra1+HiONg6BBrHtNVhwIpDGKI6nhenIVQmt4mM4G1SYGZWv7F+J1x7cOLoDONBxfMpeZkwZY6G2+WrIc2cMkcp6uedpTqch5TDBqRyB2CrUN2E2gybkHgGtkQK+qojiwY6GrczEqLC/Eir0GUvmFhyg8lqAYQ2dAy0QevzCEIR+GGYt7ohGysDAFFebrpVFvaJkHQ8Tm3vEQmZPQ/PFcsCl6XcQy+uBJemjLZJ7FqjFQtqOuSHH1UFPKQY9Xo/syrJE7Qvlcmblx8OtUbsSBcqIsIwy6I8ZnVa53TXtH0YGDbaiyDzofWX/HGvK71FLJhgYbG3T2OR5iEtLbXYRk6MiFNWDUjbpNju0RlB6Xvmx7Dy4IV+lmUdMU7WMZSRKNNn1GqivkMHmQ2GhsbzV5B5gT4pOvT16QXanPlbW+BAveyf354PVhH8D/7FQDVcW2qJ5E+zZISWPsEOqICdSJMmderHZxGl9eU0NyuCCGXjb4YH7icZluJEGX/T8B5cpk9/s9M5zBx+ff1SFe35jEiKr9l7hOv55sM2cfSL6p5X+1RxyS2jkPc20rpAOfI7YloZy9gjb8Y3h7VGEby7zy+6p5Fjnn2g1Bwe0GU8EV6iNoSg9tX0CqlKIkHu+Ywf4NqHqZDa0VkZjcRiUSVoE/jicNlKNOWF0Zfo4TDjzIKQ+zVclf1w8yw2AT1XD5dccXHBxRdZjeRpfvvi58jFm87hy0QXG6abODhFwaPrzwWlW9k90MXWlCMMpxlvG9m2dItA/FS12G4w9kPZDvOPWUwpD+jDmPkERftaJGp8Dz6ej3vOhAA7Y9aF9msVU4Fq2EZpUKK7hvFdKlUqhVcuZr9ux7/uSP8BAAQpViIMt/O58XLCXhsoYI9L+d0Y5IuaGWr5NEtgfUKy95fFBi6iIWVfgdgxRrjAVkgFjTeG3r4ReaouMPqhwrrd2oZbC4DtH5YWDohN0rHf0/9Km0NqE9nE62O+GSSHLGYSVzwui3kRwYSFEyBmyKg/qoem3NEbRq3VJlf1fK1zVITwgoiNfy7Vpwfdkg1+P3y/ndMqLjpaw2DDlDtQ628GzvwSG5HKbbNLRYSlNBAXLYPqCYF/eXT0c6Ga/wI1hQ8TmiLFo8NBhB7PJcCJtbLyHUza5vgxDoSFHXRenmKxT+5Gsu2iwWQtBpouOdi+lx/Z0LoFf0qRb4uYiEbO1kiI2Ek1Cj1ZjzQ4ngfOdgXL+H7oW7943seMdYVZrFoyCpxHjqIJTD/Cm9Nl0TYqDrmoXHZ5NXlnhLclSPHV/ine1mNO/oqnq7AoGOuwCFUtL7/TQxPlHrSnuKv4xDyYwoAbFXzllnIWdSI+1Tiyx82XT0SKPVsZNJzSn0igM7DHIJOqBegpZgpEd2xOlKc53UDgAc/jaNajU3DbzGQZX4JVsrVapQhqf4Uh4F+dyTfr5y5hzRY8IvKV5vCF0SAsotnQP7/hJsfXGpi35Pa9J2K+LG6c/ce2qI29Jd/FoF9kIUta9U1hwz9pvur86Ysly5csuszYLVT3Nn4HlPojOBK7Eg+gxUcfP2K0MdTQ5DJc3qBvWl/xtpLgpZhlYkN1INLCA9zFjdKaqStP9v3GYqZR6XmK0ET3T5pEa5rPK24RX0Zuwws2nJrPvVVwG0JTwz7Ahn0po3ui/utnDi9CNl6ibifSBjS+75swt269g2T9918esGxr3AWGFFkKBoN7W6Qhbm5zyiOtJiOec8+J6EoMOlING2QlwFw8105+7bMrOQOJUvmtF4N4V8GAirVAeMhzEf5Vr44jqS2kjV3OUYiJpxihY1Gv41rD0sjXCGhj3i3gMN9LICedg1Ty8N7QO3tTomnE1rwQP7LYVwLvWG+R73cyXMugPzylGZ8eODyWr2pvfmapYOCKNiT4kIiVor93Kj3GYixsEragUli9NMBuph5kY9GvLCGLtrPYuNCTPtwrtFVxTDHhuPYxzKv9xbP25iU6cvmJP4ZzILBVLVGxpL0SvoG6gtmGhq2uj+W/KnJ3zqJYEv9hOl6M748Wj33FgG2NiHoA15y6SwHuE7iSCjCXT/9Hny9IbZlXc2SZPO5EOTePuSfqnHDdRjEYwTlWf0084F106hbypz32ZQtHs6NijeD79CdB8NXh4Ubzdavqtm4ZEXkJ44vt9TPY3/kguIXQ2nShdWnOsNRVfVvuIaoLHDn2OnvXR0abmkZusxwzzz4XptcX1R2LadLAa7u+Oq9kYO5+Hh/GZsNagopf6WXsBKfyvNgPOpWLvP9hbrt2cOrsVflsqOsLickyGf5yX5ooKDfQj3ChmBJgW6bRlAdRJ5VAXpyP/ugmKHeNMbtlLQPUYOyxRRKz7AAL9fVxgWhgPL0Ca3fHViKUkjIhDIXgkbP7zjkrdub06nOOwrAisRdj4Kx7WAc3+1ZUHw3YFcFWk29LioWJU2pLn6X/o7y9xyF/BE7tFM/9PxpzT9wf7H9P76GKYhNFf7R+PwTTmx52TUd01qqP9izncFr6K35TxeIOeih6aMCyV4xTe2nnL2FDVKFLQyQ0V81bAbBXC/m8jA4Lv0ZluUdqiwLtE0z48+AP6CKj/4onaAN7J72WzUWgg62ZpamiOZmu2ZwvrkDMAHEOtAJFoIkv9do+vW6LI+aXVfQxtsqdNipgrlY/LADwCdZR55M6w/nEo9sh4zMkpPhupx+3qpP+mbibFKwJl5MSMw6510ot8xVO6jvLyrSjPLwGhlb9rFiL6ouhaBEK8MYMPmT6cwsztDC9inwtxqYlmUu1JROizReBcPx6eUBL5fbB6Jht1KqY6UcLm6RVmiUAmlYOTT5NYZfBjCSeQMDUw8U81TS0jxEV2TqMUz3HNMR9tQ+5Jeihgf9MME71GCVQD4JYHdlPNqQcuKc95WEBwUwGvCvKxCELlFP0qEym2f56g3bdPVWwaOLwujbmyzkWZt7foItk2Rgo2NhGZqrp5/QqqyboXYfeUJkSFE71EnFKm0DaM36rx3O4CPmwepoX685oicUL8L+taYcxA2/qelvTwKZDUBwQduETSmKeikyuvq29p3+Ga8ggQg4drtKzdz5hDZjvL54ELLfLThZ85TNSeG5yNjhaZAjyHIrnucDyAF0+UCmGQLv4bJ7cHr42XiK966ZK1Pz9ogMfVgt/v8lQtgt3+TWQKlmOze1Bv3IRtwzgUwSSzh1fubqHg+KvpXHkUxE4TTNX28qH79+IiLsSep2mwNBbL6fdtqE4QWfnh/QGewrpm8v+QlduQwXyfffA0la1MwN/IXHqZq5tuHP9a++8O0eEzOE3rqkLtwZ1ey+PJjCyqYRw4WGpUrcZc52PoLinxe5Y8LRN7IFBwmnyTAhvHHaN64Vx28vVRf0i87ODUu/qz0+MMo4MsppQS7sW1FOlveW/VrMkrfMStWuTKTJ5TMugA39jPF+oOmPYZyc6sWzA0eNv6UtjyvZUy3+AG/EJqt9iB/lcQ4US6tEmzyqSi0P24BjybHApBF3tc4PD0RtbaDN9KoA22S18wPlvZnpRcl1HQjGeS+HqG2RIcRVasx8ESXfufPhPmgC9jpBI8vPCf6Yf148LojVUhOdX8iguoceTe1S+fVlJ7UJ0hXwFj5YcoDIbJ9cDK6ziKK94fRbNsSrkXEIQg/AXWhsarXEDeiWSzE3KXPES8uMsEueBZlyMXN5t3Gj8zTEJ0WP5jw1jNiRjSiFeS9ZYTWlfSRS5Nlg1T4u2Qd9bSU3oF6yRXGyx5M2duZwcb0XaoU00LWaVfskg4IshLN0NqgPDbmZ9x5Tshj4nXB5Z2J1CZt8yKR+R5/WH/O/r+j/zyfhxLJpXfDS1pgPDH827eKugW9spXCoW6Zc9gny3KZONz++ZzfYpYdti+idSwLd64wS3QwgVf2ZteF2FGB+deLF5nJJKzQyAsvPqwU6ORm/GI41DLSC4efXQp1OkhzUCI5mWnGahzyfThUkf+hvPNGG1f+mzwOl7W4tMcTzMJjZ4XvBjMOKZXosB6s0eXlLSTOCbq8D94IDPjY7MAbpe5fEE36M/iMz3RpfupYXH4LynvnfCvBikw/Z7XjZo7QPmeAhaWMPxw6Paz83imOlrg1/A3dsD92k0uv21amWnSe2Td94xn4NWaDM8cel9+3K4PRZSIWKtefaCmY9oM95BxrYMGwBXP09FaAEaLuZIritZWlankoH9L0k0W+tgeDRo9WAFBl6GkaHHkChHbGv+OAH96DN1Q0AkgBIADYujCOy2IeG55GXZ37KHKxrB5EflZCGMtqBw13MfrZ1Zc41TbGKPBxQCD1TiWYMPtps66XzG5go4RBE0w6vS+HWQidWl/13czmFXZ/+c3/az5xry+t9qNcEQfq2v2LP+2paTcUyLwEe0PegG69rl4Fxsf6bCHZ6R+21F0yXSdEz07pJCJSZFKFwNayZkk8948eInXn0xArVfwPnHAnr8OCGDDJ6YikfR/PRyw3uxAka0UXeQFUKXBjK1zFCZ+JAgvwWPQH3t4vdaSDd94TStEyuU95oQECDJL0Bp+IPQyFoOODEGYT3wJvx/3LkAeme2r6sdrSwya4Cqwo1Y+o304xZIJ9ESuQweSxPqbzg8JBf+US7pmA0ogFdJ91JcZqnRNcNd8LvSne6IVycF9ay62bIYXHm/f981TiQudThHZ/rjF859S1XJGB8v3MIZP2DgwQOLxk5l9sVVC2dw3UzVNh1kSNB+DoNtPIJOQUHGBzMbn/WFiz8TNrj/+TT/7tlKk2UC4D5tbpBk9ryuo52FD5JSx2GVZ/OAN+8wpTmZEarwIf6rCIt1zJN7GHjXMyAaKaChwhjjWEVw6UTSlK/sO7gDQ25WkFJTnd6NkUZmmQ6DUnjHvmORUH7YqGpoIFXIN+pjBXZ1iLxmTserlrRaTKXMYG6AUCXk1l6JESQwzyJjlljzWnFfXdNkRA0G16I2rRMjMI0warIRBRNNriYFsrXIJFbgpnzUU/GS2BY83S8fqT8U+7YxrNaT/m0wANBtWHHR9ljHqq5CNj+ygulxo3/Vu2/yrEp72xeREzO6gjUiNyw+uqdEsD7wyyToIj8RKZtoXrX4yllhRXEekvC9VYGlT3/WFPX4FggWIjeeU1/M+LRuNPqDL+ZzN8RcvIHha6PGPPJ/jZ4YqxK6CxNF1X1+fxSRI6BzNsN1ti8Gc9hms29eO/cRiJTAgglXJaBIzwkEl6zXfFueMbMffyFSq7G+g/w8QDMoIOxmvY3AHVcNcurdLtMkxCUV+9z1qGYPunYGhqbcSxbnmrGg8Nmttd94OX1xv1el80ib1aqoyLuWBZlKv5qVeOHz1/fW5IzAlLxjgiyoPoKvyvP8TevEJQXqNn59ue7E828hO/VpZvMNeJOI8l+xftSpnbfuJ7Pk/95Vix4YXHO6hvv+HXandsQfZ+frtmv8BLLZ+a6HHwYwGELjoGaWxrU25vkBY7bk61ponOQtKRhFUfevFJa3I+v2vONYcZNa9aM6Tr9PKaz8g7pS9Y0wGLJa3bkBkn95M1/YVZ862cNM1myKWUSAXZKXp9PEUL6IR6H+yyP0GYTqE/wqAVZVOCCwHnXWki3geJ4xB/7tO6YF1ojw4fqO5ELljIIOp/9yA5pZb+MTXS2njdM0x1STItvy31prbhZnrMi4QULOWAZOu3nd4Cf5DgkoQjsYK5lmSAlfckWdEYYJuSJ4erqKRUO/XlVDsjjX9oGgE9KBRhmWk4cZIVlMo2pDkGlHertBjoMpaw7OwIkQmHaPgZtiLWb36ZCuZaq3mxRMrsdjvQMwngdrKpLUWFMJ0CqcJyls6L94LFwuG1yMVtmpJrZ4guT14A+PwURxYgl8WUQZ171ALAuLcjXoopupYMGSHpW0ckT6RJLT52KksQ94Kl7nKjpPqPeGLRpQ66/m/acvD3bwNNBjCGht9w4jIG4oY1Hnv+Tqbyh1vfyyJdZgtMwAoZYAF9OFIHgkdbdrxAAq0+QxIafGGiqrGAuAHIBhmpWbQlBfszXSlS5EkcQZSY/guyy9pSyncwvLSF2fvOFYeSs76xt86LCaAzuEBqj1FGlnDQPmdWGUj2+ghGfgvriXg+Jkwl50IzMHhDjngK4B/LsALssMz9eDzLu+jxqTyktVH+F06Eti7TQ9PgbCjZ3yflsGykqWxv7sW8Gwk0ekqX8/YcK46VFgAgwb6jsAuuJlSNnC6x7NHNOgHG+NP3MVvFNKAWxQM0ZxK3z2oNgDB6GQWvpW54aue6xxvlurARMrCMSfOjy3KRmA8Bm9DvLnknuEb6qdGrOgS1mCa0VRV2IQS7C/RQzeayxVDRKt7JUM6jF7dARmYZfu27OvfO+ChE9CvhBEHNjeRLn+YYIKLua+Dk1RSbhaszaUZhMYsZCe5WV7vPoGFIKYnnCwT+C8BKNkRSBNey7E7jkfA4z+OqIOldhB7bf0LNWYCTpcRl1AOG7A1hD7TTxF18exGulXvWMV+eQBSb/YCQT6lNCI7lHBBCjA02deY+aykXVOfnGZXN0XvOPhMcLlVfleediXvcW3NmWoE4np8R6qdP2vzuWQ4g9AXM9frgBsJd3lb3udg06Ckx49HCOnnvTnZRubh1q+qhjVV7sA1H14fYErWkPtMoR7fwAD/YVqCMXXP50B2Nfb2dJ5OsnbsIc7C5PnpBp2OiBCpsYm/t3voLNQBJWqozIS3CVunmBW3wzdw1OuOn+CsutoGioFMXzQwWaLp7tRRAzLHp1fAbV3HXWB1FWz7wSx2Uafv/mO72bOssitSZcMmCn4tXZIU+nv0XbQ2OR+I6ShvZQEozqnthMBay9p9W751wifyZfKFQ04RvB2oC6OxUVFTs0w9Z5uKJFj9LK3j0+P792olFtcOOOKTo/J3EWlER1DEd/e6UU4fsFxFbrZ45lye/lNzm4vbtv7nNsw6Ttiv2L+18lCLoPfrpGRSZkAg3Ok6QWAoZxv3RzK9D7F8TC0xeXd02veuzUoApe9mnsuc0s/ojXWGtG+k/OzKuNnTQKMDTg0KUDat2RUPAg41G0N68skgxNhNfRyMPxwyp3VPHSEmSkHNOceJs6QDy+IunjNTo+i4X6eeryGKtBDOjD/VTniZpg55BGYGj1SSrbxiNUrssqUoGKOi2gfryrcI42SCArmyEOcXn+gUfyOI18ufMYXZf1aaOKgzT8jRNYZAVqSotjJ9IOakqk9tUTIoeVWrKr3uqk5zmCqpYeHYra52bare4hkIOl0zFm922YiVKRx0CnhcgDvQgTskB/GroMVccaK4aGrkcAkdGhdw6T8ZYCs1xhi6g1dJLuROZApTdH8pHOXDuMHe4TIOia1NNF/lBdcSPgOECGvZhoYUp9CgF3TstlUcIoRcndglA+XDMz3aSJZ4ejku9eFILkApVtBi6FUgvVj3qDl7cujX7EkLcebQsdpsgsHD0R5cIp8xilCoAKaMKx+LSJAsPpKoVHPS71joarI0geyRKrv7/sM8KbWFYODMTQDdzCgpfGeZRrgxOmqVNuoSgaORL7esiKqw1lTycng13BJzijt/GHZs7Vve0ouHrjjw1Y75alYAtVREz7WxEoxRpBMfmdMYKoZeOtOvN8ERxVUamoQ+Arh6iWmSiRLhE8m+UZj2FXSlZ0BmDQo2sZ8uKB75uE+A2ze1DtA+rOtPd+dVYaTtcVYZnM7OZlHZ4vc1scgAJShRTHqfFcOzREBnwH7ge9yRDgUwaDNiIyZwYzWVSgItgBGsEL7t8ywtsjNlrelKwcDu48kywlwZxH9/kWMC/sdJi84wKJfLzmbKosjutWkdkM4J10BiUh6Y9VTxiIzX7HqSebqGoIPV1wLzlrUvVYHo+taH52RoLN4m4S5KRtjHKsHUuLv+op1dZrVKyJ0L5O0P4OkIH6AJnFvmuBkeJzduTh/lwx8DAHJw2UKZtv1lNvUt16QFAVBJv4ClEGZZSwg/oTVaX4CkycuxMD6sD7ArJKxN4TJhXGIA0Xgk+qoKsQ//HNIs4JuwuMRCb/dJkEUGivKHGCr+YTrf+EgWDeWuyrNui45GMPcPaoluyZYMXED57nc27DvOkrqXkFLsLEMnpTYxSbSZxNAJBjZJLHJUvPux5kPuytgUF4Wy8MaB5wscLeMNO+/Qn8mG3QaOGzUM091RZJDVp4PVAcqRUc+BTvihZRR7B9OqSivJEQJkDWv2EsAj00Y/ClEHmXU31jul+42G2YrbTer3TrJFoAdYjHEHqzIbBLh8oJzW7nIbbMqgKMHSQ/2h8WJZ60cCmowWnb4j/9hT5USxpPBQ2bFXS4dMkS8zJuj+wWojdVJOmyvqHkP4XCjrtxTejePV24bezwiIPGQhmE5lgM/neYwnbG2VNRmQfLM08dSFc4586lG2JZePqv9ozcc5Z7UU8UP3vtVJujx7LydycUil51qWxiRvnrV68AdRY8PI/UHtbroySYmJp/ifUZwKTc3d/bne/r2mkcXbemy0QkHPR8SQUPwDOVJ1R6jcHP6/6spyBycudqDIuKCNU4hDTYZCqCXqgKCjE3jm0jXOQWgdTdO5b/Sjiz/kHcMqSi+07Ue7UHYS+Gt8CUY4X8Pm+dftVLD+OiQWtT/20YzxRCBBnbM+67ZG5V29GG35D4MXVoqAvHFU6JY5+TUXUtXVta3FlOyLhzSrM+DBIpnWQXnCKnq7GzARahW2EhKHh2hcBO6zN3rsZwiqQXV95hYSJl5BnTQIoY7pQz7b7mWE7BtOt4ErsiQSMEoVJCCd03bTqAFAmJHu64ZOov04P0dAB7CciK6ScWFUEMWrku50MlI2ekj6x6TayQjkF2Czc+ZuNYv8RQk4P0tERY+BuyOVhJrUqJBbrocEelm6elxbjdKejgZNl+Zx1V2k2hw85L2YeUvpdBUBHXYl4sO7saVp1C7snx7rZeOO/QaP2XiftNUkYuZREzyE/3lB6vMsLta3PjG1BRLIZruOmTYP0wpo+43MTKgt+K9pUALeRshENx1ry2tu0j67AGxF7pweHah1oKLxav8dFxIfiHBT9urIILuOzDZ5GtcPjq1bjJsAVd8jKzTopQOLn/llFlIrhohU5Kl+1ZUQCsWlxs/RGlyUhyg7jOGmyOO2uVw1U07XHxFRN02NC5aDOWRmnwQ5iRcG43KvO66cgLrJZVtBsmOIIXdmQn2EGgraqq+mypC7Msturn2rDbDKkXHzDRDZtOMdzIilQUnlK105Hgkldu1KKNKYzu77n5IhR4Pb11LJhIWorFjBi2tMlFP7OzJvGqiXd6tVxTjkuxI6zOYBRGjh6mNNDgjUu9JschcRGcBBGEF4fmy0lIedEIJJOJbyxzSV8wefKZmAcHdKxDlQC5Syb6wSg5o/DNLqZzipjeIWXVTm8YZVKbHEp/7zGt2ubEu60qG7BZUw+CR0p1EyUPanU6e+e0sfxCUkSSlsDM+ooDJREiTiReS6r1fnKeinAEHt/i0WJee3s2lwH/LAwqt3Qn6IASL4tgvT8s09skEZvqtgaytCNyCkz7jYqi2ZJ9zHWMDkj68GbWFJRxaD9t3KoG4/Vuznclr3d+jnvLKRFHsqUwSc7jHjMsZbrsnofQD8t7jQChHJo2cFKRL2Z4H754nvSGufm2TKDJfFdhdUCCtDi2cYDeH45RGaTcct7UsOvXChf2YW2mSIlr/QxUxdJ/e+v1U7BO9URXOSq8QqlGSw2ApIzD+6soAouJZfIdUmOih2BTAwmFua5JO94cvJB+p/E8dXH3IVjlxqkBLtJznReJXzjHCzBNjHDr7qzvxB6swSX1suBAwUlk2QkHyqKYC2//QFRRCE56oeJPyU04xFT55TSHHPc3RYnUPbZJC39VyQ+t41ywlZFOuhlwQkRHsmarJ70qDH1zqq2txKyTO10wzpu32HMGHVATUUSR84ycwyQ1QuESBwMVA4Vh5P4sq3RXy+kJDBo4N/L0FXViR7pjXKVDeK5oNCWaU3GwXq7pIVSFEN9fuLlFQPxulOHCOan+WuKHL3FWR4/8RQWyzehR2UjMkbZ2OK3tAVcSAnbYuvAnHX2YiWRyhNJFSg+/NOgX17SbR4V6wZ1p3akzVB0mOhvEQ1q4aaKACr0TEUCXV+h973FvEWVs0hEfDJLv9W/bZ886dK9yXowtGC3N/SuLJI0Sp6M2Ab4w/vD9Guepn3dA51TZ+N5KftWkRFKli0i+ez+1GW4kVdQz9LGp2HeMihKMarnMTQ0Ngci5NPtZl5tnqX9HiiLXR9/zCDGm+IsA9dOPWlP4duUK6WXz3df5bcwdTuymK+ozmoOpXb5LfURJCWRrnH6xxHTJuomCmejkoiVdOHafpRs/rmirrIoJ5+1BvWhpR8pc5Cx/rihUtWfSm5ChWijjgmg36dORMGudAjJYST3SdB0MCn/8+rB3slm00HbnELB0LWxszeNG+di+uU3FN+YLJAJ6Y1F4Dgzm7rLUJGqAIPClbEPWRmcTxsXtBo8PIFZIEugURaZTuh1YvNztqjJFiaCsdESGSr2SmcHfNx6tFvxaw3c6jmusizLAZt8FVWhzXlXr3BA4q5PqYdXFDELTKiNqJqd+h79gGo63MUjhXuS0Q2YBUf5M9gC+Fs0WeTnKCvvmKK1XAO7Ftp+VRyqK4HNPzNhzQNrGto9vgl7nwMsRNj0XwIOPAdhgWHmbRneW5HGv6tEZH2hRlem4YLC5KTO0af5yFVcQRivLDMPxvMj45Mnno4OtVL8GLIp56OEn4p6g7dfn26dNUN+8xaqJKkPFnezmfiEOwE5Qjt0ctAlFjOoK1JLJMEb63EgHTenmC/iUZrUF/x4lzAfFvs4aO0rCNpz/U7bewAJpEAtvHMSvMq56TlZyil8j0+wvNnzTptMyaIv/w73H59ZTfv46JXmabiNhh7OS9CwqtCXt2QfbgLMBIuE6KKj+1rG+CBbMe6H6nCEZdnoMK7OR/zdV/OdOWr/qh+bcLF7MeE2SgaqFeU0usvEG1jJ09Rzffc3j59MLjRXGYLXHZhzxdU1ZMgMTNIq5Q7kT5tBmAympc0JsnvctHjYvNSiTM/2Sw6TMDX/NRn6IhtbO69AsVGd2iZ2ZzTZWRV4fmMU48rd2soutopwimKXIHZOXqTCnwFLYBKDHNWwE2wT/XOKBFeCC/IlOktLDv1gB/cpXFMmrOoOD85G9SojX0C5DqlYllw/APXAQwJYxyBDdpDz4y6me5hQlWlIpMwWZE/yxo7Fr9x9FWcHnJxWHL+2uiCQb6fJKyHBC40duWNwf6sz+8S1qd0Ip9HfPgSI6vS4YINA8/tx7DzgFt1iZdFRJBNPlFCkdT/2XSVCLylXJI/oyLOAKhhTVL0tAFMiIGeQWlOTqKVag9zEvQ6vsXeeCgyreZ2jTXSkyjYctQEhyse7789bEyc+/ppu+36XU2YgKf7i9woCVfJYoql6NWPmlaFFw62o4P+VhU2YM9Lo/0/rSdoeBFR8oCoEiWgcCaMYZpIcMZB2DmO/xiyAdJ0zyviN83afcIjYeWkgEZT74a2EFvTSvqQqTMF4LZfys2XpstL+w+zvdOtILz3Sp2v0BZ/OXVcMJi1pef5VsHzlD369yVqG24ZfWf8b7gGEIhiroACZttWeEYfNwSeuKmTQd3jmk22dx699KWw3Obfy2NCAAWTCDdnUaFDVAhvSphkyUdFqErS++d2Z89aETvQ+XrZnVqCujuzF0m0MSg4wussTCUUxHJHOFBvT9JMe9Znkm+2EWGXmzNPIKRozn8SbV0t/XnfZemEVexiNB2Zw/5xPgGmCOMbsFx6te6W1Mbl269PQ/+YNMVdzPeK1xV5gmf5MRd1VdLle90swyUysxQa07QVmOf7LMhqzK+SQMnZTYtHFzjyzVYaxqIbluWNtyVD0EXBSVC0wx4f83ouryglU5PQmGKWewMPsNY8WSckIp/7kS2cWmCTEa54X06W/bfRPHM51qh7X/U+LS8hX9Feo/GIlFoJm+42uPxG9fNGgiMjttzXYJ+50SaaWh+1p7023iZwx7M8/b9WfqEdfJuBwZnyEAKKAXO+/ev8g8jh+A0DnRYTaFbf/8KIukI2X/WiDseivxZTjKojyzm/W0EAkdfCAvOmIM6wlOHK6pPqavUzaliceuTxhNVIwN5Th+RuJRr7o1fBX8g4impxBy6S3cyy/HWHXNWC+SLMplQ+rxwtaos+3uSK7u15+8r52CsQELvBpR8/oFwJ3F/hi3fEVWNJz7wKySlZrfLOZryEYftC8fedOSVig9GnoBzi2Cdx+zdTNmCX/f0Lcmgtww5qjqvdF97ABe8uzuRwMbgW/FaLBZ4izKOSFyeVZSjz08tt6kQYKqQbrkAu07EdVWscz+C1Ls66mfmFB79Z/Rh4xwZ/vCiRIK9btD0MWZpaPrK9CyDaOinhOezwIM6iWR7kPbaz35cbvaq1vY9KmjBxCZggsXzYQz38pJ60Wtayt/wm314jTH/L+52sSyHsvtMYVt9Au3dfQvIe9ttaVZh7HWy7+YiV2gki8pgrSoCBw0Txd9xIJdeZRKWCFSMRvsXsIZfuGJX9uOnyRnz2P9ECxwwNjGua5pC3PJAK+yoiiDfn5gnPxAQAWA3LprqWqU8JzaEgaDED+xYiq2TU+oZhEevCdJK7i8vb0OV7cduPVLdzNVv0UOUpCwSP9MSs1IHVokNFabMVhDzgQXNUP4NWw4XzOWlwj8ITCiAcB9Y77qYFH2qO6fA4zH0BN/QBzzJCk/eIt42cGVvVLQ6YasSPYKnJtaoAe10HBNAUmFJumc1iGrL+JviC/mzheGm53Y/zbjVXd4rSR5l285w1mziPyS9gP3UTzhEN6Sjg/z8Vc3eSzSeg6q6P93aJM+U8LmA4OPLADa6MyqvHopbPphsQfKPIvFLSaV/rJSYX7ytNCr6ie/OeapmAcUnlrzXe5InqelqSYjdCiBh+mcbupNwizFCqymdbgf1Bvl29ckkB9R3E/FaNDnhTHi++XKT4AWcepjR9LgQZxlusyBZ0Y9zj3oqZb5RG17pv4IqfHG0XnqdLYA5vAhKFn7hSEynX+/okuc9+A5Ntl2wPE4Ks0jgW/JXrONBRXT5DAOvOflWUh5b/WbS+9jkrZOCENyPT3UpaD0z0cgemSOIxK8y/dJEK/QVlA7wwTv9gYQ0HeXH6YsSpmjFG9uiMAyNzHOWifn37j7uJK0ghrUUDmy2W3FbndyzZvEm1dyrXnf6EhL9tZLSIyrLG4ZNdp71Kx2T6cgeDt2uqo6iOXY2FZ5CuM8cVBhJMyYY4Bj/OoULpGh6pn/cHNWuEDg6Uq9aGYdFDfnYxa69FUZFIoKbaHOqSgb4o1Gng/ep+I7uMJZpSFyxGzP7ejirL28nn/5tAMTJJh0GiueRv2rnaXQDOZR/097jSn9nw6EkqPB49nvQBWhQVUqh0XelqLBv66s2cUalbrZ0TBuKMFaq8WiuZljaPw4CVaahxGWwpyXJY5R9FWF+oafskxkBMfnlguGcXENV8jI2dV4gZC1IX+AzChGwnMy3nWIb0/29PXxaeXfmQrJb0ImAoJM/E8wwRJ3Pitdq0n+qPtsBLzbmn5hvnAw0wkxuepiSMTgBn+/pejgz83n1Ghwdktfu+DYhszXMAt0HTN27HM/lW/jVxpnvEz6kRDapUaOLAs7gpgWhLN4YbUO2YfXcEGkLM188j3ei2ph6q1rhK616U3S8/bIA7ermhqxC/9h6rKFJ7ciEAoMMKszCIADTTQfqEv/mbn54lS9It/yKTsAWuOdrDoOYyWzG++vhWoID716N96dwW8f0pmOPAB1PBfWjbHUr9EA6YTLgsPksfwYYJvmkX0oLe4V9g7rNvtX5NZF+BRp16F8e1/MLmbEoZkpBLc4zUyopjMwKhgi+pHqJ0z6Dp8tHxtYazzgnpPnaKTb+Le36aDFeTrC/jDMUxY3dKfnZSRNT8FCLgAIwYYmi7DiO1d7srHUE5RMnADMfeH/T26l7PDhKsupfPnLhqI7KXSdag09bLUHIXIu2yJ+vuxD02KOzEKCwLIDaYDO0gNtSslbK66bxaEZ3Ad1Kp7CUqk/2XMlkv04yTHxSnEIN6q2uvgWwWw/VMWVoWi6D0ExFt4sxgvDGkFM38xfXAz2Bpvazs0ZIO3ZZRyjWud2MsBcR5dQf32ExXSlCcMHlgPN7UQx7P8+vJpGBaIKcSVkZwgF+ImXiOyEC2/FMgbpzsZ4D2up2lgoO9kioTzofyNl/1s8oXqx4a6Jf4dpOPpBJoizpuG4yY44dt4kyNhw+JhnLSdvgUF/80qYarol1xzgwlvjxRea/00g9P1R+mG/VeByCs3VFaUz5x4p8JIvaPYJDpqYIZg4RrCY36rH6b5qh2jW85hA58CCWMWLpMeLMzD4qNdzbN9/CjHeTxAeBOePE5GhdKz8UP4phFVXBNK3gTk2CL1q08IdNX7/gqqLvPqxCwkDmUUQPn9RndKZhFNBN/eJTSEwoZsJ8tf3XmkUql4glos8LtpimIaqSxVTdwZfKxvy062RlV2XmGnvSfNTMt9RAhAbION90Eobjkn6xMfOpz8RvxsMEZL/N7AHVgytR+aPTmgTze/amrm+TyXTmJ8cSRouYpvZfLxQ3gPj+SuiG91PWp93i3ICde8e0NEIdWdGJI8/Lkwl7lQSu0vH2S8ZsGcP52iXXCY9SEcD4ITdYn4E/4fMJdRpUcOMblkFBWWC5xS3hRvEK6XKX2kw+XQn5pcGr+5Ei+fcISmX3UIb6mluHmrpcG7f9GhleO/Euu2/vQ4AsPBdyBDlkoyNIloXsTtruNuANSvhqqqp6wTiqYdZhPJnYRAkxObkEzL2HujpOmqNR9zigl37H0FW4HVeEvwQB/fDoUTy7fPDkjPYpe3eyWOmoVXvzO3CQes87Eirqvei57TzaF00q2SQVPDqOpfc2d3kopfRfc4O82clG2BrA4UXnhlZBbhYVp6hhTKbQf/D02NC5H6rLfzJ4ecqUlNkw0c+uSv81pf+M9wkQ/d4S5UmYPyF/J+0k/vUmZD5tRzpLUrTSOhBMuttNwXCbbhlGVQR4nUXDl7s7gU8GpokQ/h1NzRy5BDikNyaaXzaEDpAf/vMJJfOt1/1NhC00H3kQis1EjYl6zMizjdQehXyrLMeZcfCcRhhUUSblRsR9uVzIkdw8Ij09g+HQh6yIsIbxDnharYt19aC9ZmdcXA1X2n2GcdK7EsHLORAG5CLPDPeGMF0zzDZcZUhcejs+WmLXy7dm+FdNRcmD2cds2P87BeHOsn2qnnNE/0VyWsuWL6y3ovwsM/JRtSGIDlT5vfjmZ4yZH+ZLDKOF6pGD61dvF07k4k0oJ/DJrntOzJj5oC/Km+FxxHm0uKi4F4H1f7yaRNtfF9KK2jJv96FnOvocFfiZ8b6VtkV/Dv5jT+owr2KwxEWBTPaI8r9xaQaeqtl0KxiwX7o1dnAixinEYpHgikQNjUhxfm4QpENCfMulczBEUlq98OEEe2Bpc4ua+gD/t5wR6Yj4sTkR2dQtd5A7k4u4JiSHISVlmXdoXQixJ/as69NKZGCQcr5e1KQNEAwpSbSdYyMxnN0drtyHJVZyNvHhcW0UjPmVjIeyMdPaT9dNfMURfE8wptqONKBsk/Tzq+DRjjvfpPGLOVL5ik7zb+VoR/2g6Zj53mkk7AySWt7AFy6z+2Y0KjgD4dAjVgJ1ibmJbBjJYbn3Bn6ko+35PW5xEFIX5GQUqJauOdEMxl2erbi29X2S7+7E23lAyFdFXE4EkEG5DC8QT8llwg5A0P4l5+bT4EB8KbtjyGd9uNNsXa2SWoiqMMmX1JAJocWjKqR1L1Va01rjjBKVyTejb77Kpp0PDtWb7gh3ThISaqN7Gqb4NWs29H2r1vdJWhrr6vgTZ+dGy7RzsqEHQXrKUAMUVIsHq4lYXxcsff4cFBAHyH1ktUDLf8MI3iWboJZ3NVpX+B1a3K7O5FGXSJRwncg6ed8wQE9zFrO+Kg116G1g8ei2T/t6WhRAuYUF7bgJq7Mtgnp39r8WDAU/z0Lj23p3TS8rzYtVWK4s63OAUvI0iguGOyjLdSQfzd/k+dPkMXDMX+WS1VxY4Bf8GkCnb+38HgkIkAK46WA5qWYr4iCmLUJR+PTO3cCFBiM5V+V82cVsKfIDtz84bfBNyu1D9OT9PaCMBLX6n5zVl4GuYlCbofI9AyJp1+v0lohruNRx2qMhRXq/7hN32Ii/068dGSJVlqduGj+ZjNZoEhHXFGuY3NglUumrhxEAJw51KokKEp5IS9018T1giNSYspGMVraMibLBK/7yfWEa4HWVE35HcdEEg/pz/49GtKyEA9r9tBXvP0JHRvLuesi4XUmfurtgpjPYBHCo41Aavtbh6pgufArXhNpnBzqA1UaHOQJE6Jdez1LL/GvhVd4XlUd0sYVuBC/JSBNqGCGpmGc4MH5TRhBxWagN8wKyhCLI/H43Gq7piV9V+XKOqnQBmiI7CgJy8qlApBhsWjfmBnOCwZzvvztp+mS57W2WlJiuxR62XQrbBFRxavpdn7qbT3Fjvsf2X2EMTpssNUsOfO5/jpDy/v92SFRltRqlab3SyiIO+OXj2JN5DFhMmiPoDfyKa0UfCGejFh5HJpq9wK0Mxc6tL/QQKZ148fttXIGc0kFgXsayvx5rWaa+8K7otNcEzvP2V2g/FY7LOHcnFoNc5f7SkE4poLx7KX0DvCKr/HaIwCco8pF/od4sieoB82aT94ql4M/4zS/f1Dx0vj9WichhhHmTQF441rRK3DoCYVil2lNLVdIoUrG8DwibY/8ytbJwvDSxT53u3zPLqrLjivml5kQ+r3QG8kdKyyrU0j3IVN2dry3QqnzqY+4JHS7VZ1BKalPU1pdADgUuHLXPgHtITJ+fEHSIN+Ve6qnhzdqAWuvHuqN83wyqXwZtGjC3kAuLHdX3cKS/tnNT3x9Ms+Aj+6TsAttOMub3lTuWUv+o2wJ94b9u0xRq+tlIy5YMy0FBvpChSJEkPnz4cflpu6WWcdElrn7JdS0gShGbyo7+IM7sOJbRvc2yrCSgXftpW/QqV3hdIhuQVqsA4opuVN4u0Q2p7AdwZjMaOu+s2Ph8Mbb0rP1EBZScFEToM/9m7ekpNKMy8arzwHrtCdOB3xpcfSwPkapAWUb/KWbYk1KJwjKEA4mfbO6HTxOIKZkDcBgaWJuPozahwmyzFNdBBW8wacCu6CAkgzSvOkaQlY1XbYvOqwBXR0yvBSzhGcmX+rjnCtzBuKa88/5j/1yPDzlSO9Ax9ofPBvzuNqrx4XKhnwfNp67tb65MEtHDAckdsJtS5dOqHxgRhXQhLlhyUwhccdpTUGK5pCsD8iST9Qg+1LCybwfstklIPSGQk451ov4wNr5cH18mEPtN96FcjFVahFg6U9cYHbSKTGaLZpu/qnb8q5exG4NEz9FtG0P65mDBgKCddsF4ScAqRHpiHah5jEmDqebBUpibatnSfXtY57FNCHPWzUk0REI7RIISQvrXvfMK+NROjLCN4LyFfPw/FaVGvM49+L2C1rLrSEhmUMgiceVNB1cex9trKr6uZlpz4kx6wTkrmU0EtqyvyXE1EphQ9AAfbX9z9ioF965ZFUOiE3O2ypZMSBoDyYEVnmIEHpIDv39cHlDG4X0wr9EuC1PMEX3NlUgXtNBXDuOifc/eeRnz1cDkLE3hBd1OaiZG3UDNXbk4C85Gf/4QhImY+vkVOXo5oPCMazLc5KH1CCKHTwgiCIONxxrSbi9Ag00j3arX55vzcghFck9GK36A9v48JnFp7cW0XrBh90apURub5y7bLhIInSnq/aayaM+RSwWGI1higfVg1KAuUE5xEx97tmN5cefCSC9626Cecy4b8BXj95gVbHBl7x8xW3xXlmNYH3hfYHCFgAGPZQDIkXpI2svA9z7MrvVho/8ADNmh1mr/o4aFzx/eYUDIj0JSfMYPZ2Etdk0SLhd/ofaVa2/L+P9OFv+TckSdmuBEcW2KsBrTb3vUiXx0eZE/3Vc7kNbyHyBQrSHIbhuGpUc5r0v2JQVCRmeYqemj+haOAfhY4SFAvjqKFvHeY4SgBWjE5oeLan3BHOnlzIUsqc3Ckku6gR8Vi9KxSNHnakz9Oyt1UMjeUzFEgHUaK2UrnWO0hoOl4BbUvMAHip07I4TL3N1cBteNpCwFVetcmIeDlbqld9zbV7Vth50BPQ+wSF1UOtuKtTILWdpKQesc1pKZjGaW8LfAyVw7HDS+70/u4nzi+IdEN3jOLHcmOIQ0WCFJPzr0NdyTRYOasVIDDKD5Gxpq4b2MDrJ59GCbUN9+OcEM5KzM3rWUyr2/2rig0/EPaKP7mZ1kSotTr8dpFTz83OhHFv+na7oHt1IfZ7J8kvbBkjieM5YFRYBn68/MS5kadhZwx8YZF7YsV+mCrGWf9Ksa6YInce4qkArWMpSeAc0XTs+ZCtznhojLMnUjlAQQ6FXN5tUDtxhwFIdy7SNZ6GTPfPWYLBPDoG3x1nuTDruSE6y3xTCif2bjI+4YDTen+YU4t2n8DhsiNikrramr+xOnKktjHajgIG6oIju3VdODjgtG1bJveRBaXrcp58nYWDbDhY4HVm+PDVhtBvlS94saSrqlRPiow54hXA8WG4lAPA1g3mM7ex5p0+wKG9vUGE+kFc3fH2pTM1cTbYX0UbbDDhyZprmQ7BlIQus2CRgkx4Hk6ffvC5QjMcJHlb6QLB4Qp6hWKhRDO2AMRtf+eUxtha2yKhJRjUBs72RhvgQ28xdoFZTZeAYbHI8hnif+tIllYPMnY2tlxa21De6zgaMbWnpT24WipZo/HWAi/yWi+E1TEEY0tu3TUanElczFyEjmh8ytEoSN3vMSBgnLVUNvjWCWVnSte2Ro3eTrpVvS+cFs87+BNtC0Zvvvvu3uxV3D15sSQ4yZ6Do/OJmy1HU5g9TjkmyTUwxHE8SRp0hAx9jlvZDuDNLKCWZ2ZznfvPQdjatHZpg6E8whAR1/uKFPvC8hSSCp/ZZdOq6PQX2mMY6uLjveZDWpi3pcdulUsfnZsiSB6pua+Fj8oB/Q9mL7bTFwcHkLQTeuSXyZTNeiFW6JtxOolk8mAaF+kFR6dTnFFbmaqCPh93bj+7EtYVHf3WSmoEd8fvKH056/UAzBJm/rGuzBBhVrP4jD/wtfMu/S8zugF65frsGkjMwQqYdEi4Pex/7NGFvotLJTokxkVUBa/7xScXNUfZb7S7AA/H91F/b3ytmKsMmpMiiQxBLzRZLfAXsDov3aPAtw8hxGFnqD6W2oXbXCOBNdznnZD3LYuWqpI0MNLDGWXilQ5yr4+DC8ub5xCXwOlVIuPcyu1VPgqdjZ8A30VPo+will/GhxF/rE56FFOqZlbAVea3PwsP5md8GPYCHhkJ49FVvfXpourim9DT5opKFqFwOWJU+v77YbKYLfkt10X7s8lJBgdqBdhIbPnqQG7rYyEgflV1uKW2EJk8lgzoyyNbPi/InklXRNqVUBYCFUMDShl6PKAQU0ZqVTLcH93FJMP6APir8+g3k/GKG0LxiwuCDWAGqLfCuDYEqqkp1SlbPbtfAevFk8jsf3P8iyeH8ZTRtsvLzCyK7CvwrROC0tGwBV2FJ8AA7TIRww+xj8K5373nbDZZi9aYFD0Nw4mUuRAYGs5IzsBoFPANxvhncAPjptoqm/8Z4wNfSEF2hJhIsW6JzkkFI4trXKXrYp44JQ8PwVHsRdpwjADKdkaWqbZedxNO72x3E+asb+/QIx9fDED/KbYoIfHMSLUPmCn/jwuCu/jCycThLw5FL5o8vskhvPWG6wT9JWd6YI3YphPZOtzWglHeN3HKO6b7Spk5WCy6ZQQg8cFjAekZUrBF4Zfb+uCVg8utVITHBp27UfKa3TWdjJ2QTARvcBv3dISB+5CZUQWMzbKOCMOKltZsk6TkwZ4WL2IxJo4Y8CGNoQe1IVdb/ruem2sR15pjoveTHTJYF/76TRGK105wPWYrrDkdgznLe3BbVYWPjVqo9hsfFJX+Yfosr0Ih8NgqYfWeYIPKmaF9xFz/WIGumij7xoTmKWkrv9/MGO2sf/uwZPsyQI/2rYWTaBL3tYv/Ala0O6fu6C8Itqb7GYEmXOm0EIKxLjnUI9JfRa2ZIGxhbIsB2vswQxCANGIVEm7Nru22HO9Is+ynK/t0CeHEIh9mLjBzpsbLLG6+Oj+agagAZbU4wcds/ZpC44mcBD3aMcAm/3yvZPe3MJfm6BGBO59HtJ/kZj+Ia+MY2pOdRfTAKLK++N87il2RCfKsmbrmUAniAc7m0mCyX4+QsPz/EeILlfjvdk3SXWODEdbYoKqIrjII6CA70yeJVmtragLz1ly+LFjx4oE0DVH0a4za77QKvF8xxYmrR/2tAkhm1Gmt+tuZ7/2QhE/LounACOJzqKoAdtDCRh7JDWkiB7urhGaiqWKSouAeQDUy85Lovm+PODq12TfQVyXtGhh3IYk3JuvR4dfM5zQeXHJg294kNJ9vAfqf5ogC4HPwtNDucKbKcUkEg58NgB2UEkQsOp18ZnkFW+E5ehoz9ZugpH6KQNNXve8AfIxyvFJ7AUmM0RorF3mqlsp3bXvmeKMHihoV7tTUj5vESMBF6LZn4LplhvWJt7C+O6JiTL1aISewAWjVEYAIG/1tyUnJmEHBPW0r+tmj9OFr7zWgkMwLUrLQen36UOlYHAjjpAPjqphl/2tZMrqjpwF+b5DjzQZqyoK1ZtAZmIR2biW9BAuHasPKpOjgqhiVnGqHgRxlUIeByWhry0jhX4ktxEIWRovrgL0N1ZlLSuYGA9y5FUv+IS89UhqUHWqyJRSsfliDff3WH0C5jkfarC1Xlq13XFGug3AGbr8o+zlLJNXQQOUhKKitF2CdX1O1FGZlty2xVrkUhgjEYayWSDSCU+YGM0vAv1yaeyyB9KwvD7guHA+S974bZEeF0orer0ATXJZFmw2A7nw8v7SVxWBJC2lzNVHrzCn1y+kaAdZ2wxvr9wMFb583DtsvmDQWt7/1pwT4+VsMcr2ah/WXWWIezlgQEfF/soJGaskiHjRatcJf5lMjD/cQo04OpbUce2ycQ5ryv1j5XwL1MuYYH3msLVoLru9Vj2okCftbsbjpXEPCbZ948bRwbjuF4Ztl24gOxQlu0ekFDwIViHJ7H4KXyT8++lt22HYnnzPAsWqjr6zgLWvLVsOpSAUjS3OVagicXXyO7+HCCyghamQLqyekXEVUfhHE/YWGAJYfuvti0bwDIq7J0YG8EyTOAkwYhqSUPTEZ1wyAlROrWremHRy0SfOUH0qgQXCOvKuGL3C9T8cYaAx3Pd2b9tfM7QnhBfj8Ce/+v5EZ44ZN6mp5soWhFpOtoZ1IWWqlCZ/dzznY39LoP555CMt+KugRaaYfmAaeXiX1C6O4m8rZ4E+QpQ/5zZ8kvteDFK0v1OQfaanhUTUg/4HJaKeghC6V6hfIFGH4fO/oQGT/XfIO8xGI1aJZGVUbhrqZhp8fd6s6eglPH7fZTAXDILXImQxvxX0fKKrzK+B/7mG/ST6y3ljQVP7EK5niRGAXUxfKmgIHaL/ojDjRPDI7QEihZvvCb03sG4gWpv6qnSVbu40wCjlvCDsyeM3uQF+RWCf/Dl0SL9/mpy9wGX9xmaMBckihK4S9puKiXR9tYhtxl/SwLqGQJs/iSvNUXy42NgO3BPxTBsdo5UqQBKL1qrdeTVxfhPwud4lnInNoNdwb2QsHGZBy6qTikOHFM8/a0DRZ6zMWE8WwAT7TeXRMWalmcy/JXylGCpMCZeAmF2PmKmDy5C+TvF/eNlXC5a0jYU+PGlV5uLVSGVxWGBlvfH+begtyx89P2FASoG/c+4HjaDOMztnjC83npDHsbLcFPvt2sGY44nKbx4C/LKWM1II39aZdnJRbCit6coGl6I0bPpUml0rVFfhtQw7SZI4lcMHpialWXnRQ0jlCite9/GK1pDH7hBf0dMAhBalpfltyBcpEpC+IzNxwATXRf4kzp6aUdLfDXd8kTOcbQhUc/37Yb+gJK8ZdCGSRqZBsCaMqIvHkSTcks1SRf6c1q3E0nsOwrYUr9FXyTfexOMsk8rmqhJD6sB8ZD/i2EexPyk9G5vFLTlY5QK/JRT75+xFQRNXYZmWSj7DXJWrLFZMARB7N7c4SFkOB0lw6MDoDR0NGIM9A3Qf80zNppWUsbGM+2be8G8ROYiF94VLdSpNGOxZjL0Sqem5LPg3pFKqmqCbEdAuFkh65fNrW/tVOB9OVoXh5LnG3ZnV+CzUljVTkIhGPmvF7zKjoUp0DVq1dJbIOEbLVOEPhtQ4i4KWeEFQTBTSubL9e8cgdLFTDQt3izkex8IEkVqKGYht4k2Hr0rQYPZVPUTjEYvImQDx+DDcgN/mYc0fIzYWirgPWzz4VDoGDweHh+edEPK4XDruBfIyNQ7qq4IcxZ/708bCH90qr2MTaglrNI0NGVyG1uLECXYoFStZ6LKfK4H2rurWP56kpGwP29Tyynbe/MEScese4XSKPRsIBdoXV2RNDAkCLTS6Yn+LT8pEYp+A+SN5Ll524koTzRlwheOszH28FBNJtBYTQaM5l0gkSIRg9i8yqpSKVCbs90n50cAc3aL7dMTQoOBNv5xq3BkyqoNCTyXwFkUvUPYOrvNk4dJpKsrDSo0tJiprp4VsQX/goEk+sRGOpCQbaSqVdd8+aldrES6CHEbOUrUuFSodtJufY6x7RUn1mrK63I3uDfpF/BUYTJ0/7s79L2xosfTwLInQW6Sn7f6PqpmuPLQ6yvnLQb5fQWvOK9nGa+pcAH2ALNnE5q8yV2BigM5yJy4Il4Gig9lPx/RSuIfGEaRSByMdSEky1jIGblr818vXH9opsveBfETnTAVcSfnmLtZkm4Cs3yMJ1bmyNCe082hN7SFsNUKOXKqltFY3hlyEGvqu2qViH+cQdzUs2lhnPuTMpG9ACrX0ZqDd1wnityHu9uwXMNNj7L3orp1RnzInrGFgfKX+63OACuT9ZgDUXR0yI7b4sxYl4YHZHK5MleQR/k/ZOJNvAp1zBB3Wvob7HNCArCtPXaIPrhHYh7sfYYgU0cix0BL/6CQt9ZcRcNv8ZAfToExxjbCDDHDqlV3ip/Tj0rKsgaZpzv5RG9XeuCvS/6Oe750Jsnh0PlZJvnNrHlDGpYAxWnGZ5P0o2zjGkLP+Aw1484SbwVn6M+LdBtZwIKlmWIS/qEzj8trCYAthi7BsLmBsMDi8I9yAVluDg1hdhL46F6O6WtM+EGLP0M/O+dhVru4t+qYgcv848eHHPBdMeghz/orOA+aioYJFOWUEMES2lKr2ca3UexeK6jnTfUnHIhvwXGDAlZ/mkelqAB3st2rbUcCnUj+m4YtiHpOYQIOiyytNT/whJQcOlvLnelb5Ak0Kr6iz7SKI5432Crm9Fb1K12zh7moeMvF6Ydm5QF53IgEr6v/iauOJAjjVlvIYMTzAELHaTCdBozNFsF8p8Jf8EwoqkNEJ1v33QEgKxEJ4j2CLCKvOuAjducJ3Ti4Ylq2WWk557qWkjcE5diZ74Fby9ypi88M6lmzSzGwpBgmFEgJTKQ3o3IIEXG5jVufdkaMquCXfC+OmZisiJKx4AAvi0eHlsiFVkdifOjyPYalM7sRiemeY6D8aciWjCrchS9/KUL1vZjUawhcigEvrCjcABd44cjLJu0FZnu7C9RbpOuPY4vum9XwRgVDPTMu9ChLD8SOxqqCupGKMMzNdBsqwQ9V0aHQiH2eX/mPMNuBMVHOtUpHaNNFEwNKiUvSoJt8yku9yJ49S97sLY3bdT1UnOqcbc1ZcavyNVZF31WSjx9XM3Fj2V8683Kq4HY2bH3rkHXLIw9ReMM2lpEnPwDxN+iSPCjuWtJGOug0rgtthBAGA3T2o/N/my4fU5Jm3bn9C0pa5yKDPeGoJiKhcTsf83GIbQ8w8o5XlDWOuPRKW8pe3gJ59wMQQEN2XUoXipdZ1pp3UnFXVvg3warzHFiqKtTuDewYkhJYWfLHJSJcIb+Y9ZuBo8Y5m4uj1fjOAczkuiPyfkswfhh5upabyTcGkbWm5LQYaXVYeAeHs6RKe+JYlPED/vU/2vozB3rROGvkfSTRBGDk4/EUSyJhqZ401maGXA44JSdEZtpjnWAGl9P9JW7bTlXRShshd2gt6CB2hp4uuimJ3PbfedCAgmLmRQ6y7UcfLE2JRGgcOFfEHIqc1tE6twhZLvU5cVq4EDqmHpCmiVS7ATYx+3V9rmpt3wxwtiIC2wbH19fRbZTmc1oQytKXxAyLdNh/cFXsipLvjcGWabWm6c0WW585VusHF6aJXREA3vJXqfj3aUYVCxkM5sHEJgFz7YLsJmVvfplBF/XZGGQJLmIiNIiIrV8lvS0DDJkeCtq/VMn9pm2xbPd/lWDWfMgMrIXWVU7EAKhhV1QhYNA4M/BpH6cxd4IbNSw1OSFk+GIoXzhcDEVI8dam2EFi93JtFXTWlloXj9YVFTlJZ1niaimgM1DyDbphRyTGaJ8OOqnGchS8MvPOsk4/Bl2ZL1gwapjOXVPg2IaNr6/OghS/S9Kz8engZ1z9lX3Cau4z3hs0eSrhVmuNL/qsfjVAmQNPf5nUB2i9K2Gsfm3IAlSr/93KJ1ik84qqpl9jwjxKMXV8NRwCn82NiCmzeWDjN+udrF0DQ13hLJvSLEBKo8X5dMhVHST1uUuuyAI988C+of+gptS1/0++pz5vvTeJv8L8jLcJxY0WKR1xDQKT5oB0dmt0TG9Qr3/eyDnAyutqIZ+q32fxWdb+pYhV0AScJfnGQJovqsoPlJUnIfzMkge7fUT9lMzEfXIL8eEJvHkmISRlkHf3bfiKud99OFRoCsyTZ/Lan7fo+wqrWvhS9qBYQXy7Qb56T7dQcfEM5j+S5uvhnfAdHsSMJKfsrOxu1Arz+j359/X4fn4IqEV8HLiN4XMzuvkMLXR4rQLVgIpCbaYQGwqwzfNuota3Bq0D75ZyYlkBBg3XcRdyQt1mVG6TB3cPKAAiyCdpmuBXPn2nw3yimEnaQsFHu5eQpBsgkNE3xxsCdC21+dHu88CcehryFwS4QEYTxJvPiCDNGWSx1X/DLS5BdP1BWQfsyH9PzSZUCBnkWDPNQ6Ca/vaqis7PFUQ0OYIDvbK4694wb7OPzKRD3crL2JaRWMUq0rR0kiV9u206tRV8kkVj2dXfMQL7Ia+hJ1tBXNVYXKCfEAiXEia/BY/vEYHlPCUq9zfld8aQqe7ws89qatQf2uNr5e4sEBwS8+orbqzhfvXFWvb/cTcIoMr8F4JXj4xmlVOYi/Ll5WH1tCC1xGkbYQ7qQU6XPHkBae589kUjjEChpme+WL+oCk/elSQqCpwi8LrD6sl5SRSdT7qORwEQScUoyOCkaOu8S+WWBnpMcnAQ8iZAEkZZY38nQ98moCE50xEUvWxzGVo/YoKM4Iu/3/bw6C/PlXyDoMX8j+y37rHiueKoENrYcecsYDdBmgMLfTnikSbyZqRG5+JQqOQa7ZAtE3DacjHm8XmBxjwid1bpqKx/uI9by6x3xxU7FHkHkHQwyozW6l7SvbtGdd+BDCTomPFt5pibkQOnskIrP6wQhZih8Il52+0W3laJeXU2CMdYJ+OGTNir51CAD07cU5610YmWO6owwUo8jY7BbTVU6vZkIHxVJEqUg9S/mr7GK4ZvjdYnf4rhpFeQSJnLH9nsYFIESqfVhhtOZd1/VJjJVWvZhn2silZvMPLRRUK+u6R/KJUpP/aoFBTKd4TCDUtcjcVYsIcVry95i0ybCiSC2QPywy8GDO+triRAG0V2VPrZcUBim5kP4ztmT0Vw5oZJziiN+ckRL4vKLNTxp06PTtJQQ5Azpgfd8GMQKvHFWXqaw8Oa4mLAk0NscQ60CdlvmnSA1EaeYaMKhujBkYVcF1tWq0/Wgk9XPs7MM9j/zEFWNr53zM2WVRfmYOv9EjRdFkB6EKgQPKAyC1kHcQcRXnNG9DKOkuZHbTLheBCPzwXMk8O/uvN4S/FBMiDp50bE2bdcm+2zKGRGH6C7tgLQkJZen5gE6kBW4Jdhw1NLXXE0szxVhuU0zBNW4Gf8YsaeM0JOhLYt9P1JV4aqFM8+PCRksXTiZ+9RZ50SDMBH4q2mwlZ0vT1R/kHDCHl5QR5rlboZeQAhLQENHIU+TQ12dW3UqkSC/0wyNLmL+BGu0uRBJeMJHI0ie3o8nXesIRheHFZvJXSSW30t34AuhW0EFXDZu67VoWs2990OqgPz2OiQ+jEvMPD+8pUJs5npgMa+ooGKqrPvfEiJqRMTfgGaqNSRk7Y0j9DARrlK0LOdyH4BZTiydvWkhyD6XppwqUDcZFXb75nqMTqJqY33WN/kUU50dRuOlvTuVV+s5fFsa79Ff+X2i0rDvsf7TAzPOIDoPxOzTusmFmZ/cR5p5nio9ZJBHS2F60E39qEIF5AfMuk5YG3iVB8svsEm/V/eP2B8dUXeSi4UQMfZkez0Eu+WVX31vdwEh4ILV2vrrYdSa4PRCmgC2jB/lBYr83mjfEAoQIrUNea7A5YzX0fganouDBaEsCN1bsCTipP9AQzEfoApVZWjJuXH0QQdfdwMguPjPlR0XsEK/t3vjO/+QnrHsUK13qHD2kQIXLyiy/qnuARTV5ororjSEiQsTsoh+513rxW3pj//r+SSLkgKVTFxkdmx8bOS80WT3zAweqFdIGKfUMoSZ5OpGSJo4E3uYqD5eDEvMJYqQKzPqYMlDzxGPLai0ySW3yB/9A8ZZqFrm38Q1cCxHdlM7OLOqBR0MaxrZjteU6blQxxC74bSdhVp6GHnb45Rlxc/kERE3FerP3w0O5Ai/19Y/dfXqMDYk7r0qt/2ZXMYtbbuIF8EYsXMEO2su6HnGMT9pRS8lgkkaTbe+lgzvgvG1lh0S3oyZ1WkiC7wwL1sbAq/1cqom9Fv4q4pkNiESM3lSEV/DPvOcAeiTmgXZrN3TDD0V4yeZnu1/ou2hAY/K+NGCD70vXfW/1M69fnAUvkh9KXKbIx2E2374r80OgWo1ZHpoT+Vlq+vUL5UjpzCEZq63S+eyZOwrUDGCDV9WwwipNiTj2o+ZRvC5sfkPbd1CZsb1s5d8StT1iWObkWfOXvNKI0SNZ/ShusqNawnPoQa3FsgrBXJpq+hgoTzkBUV6iw/OSLN/Xqueak2bLVfwlB7AKTFdtKoPEVsfj39//62M4AwgTTStrU/vVpfKz5vT8y4QZfxjxnigS20mL4pOWseYKIF5G8qYmRqeu2qfnbVGuKgkJRSWSXk09F73SWysBaK74DUuupclsew75MCdQ8odyL5AtfriZHqkjUa/O+ivW/RcJW7oSx1khfhrnHf3VkHn/inWh/AC5Kgdn/Wt6JU0zqYkm9huSlSFiwkQ4glmcm1nv9Bx/ovrtcwW8dPwOavAZB2BO99aze8SdM0ARpt7v7LOTbPdsBgHC3cWVlG11onE/B7DPJwfgZwQagS9MISwL/1bilz5kNSyM2cLO8lVsSMfNi0S8Rmkrkgi7dmU0xXCn8wcvDtR8Wr1dysSjPvEl02zNzus/NqiRj/ehhJaAwf0qIoYLXjqroDFVWlHEP+7kfzyB0mhjreeo3dn9k9QBbj+QcLLo9+cRO1fWpazNn2WUiwd56S+rZw8O5OQMRbz0QWZu6Qc9fG1VrNOG+AlM2A0F1TsBtWikqJIcQCaKXOC4KflGyRiTmLoOpRkSk0Dl2T+JnSSJhSGkSo3KQmyeqikw9bWZ8EB5X2sj1AUpg+gZJ9fzi5mksu/GQysEdQnaJg2uuCZRSzj2g+lYnZ+HXmt3gLdjU0mN4WZLwO8Nv9FLGs6o26NTcJjmux3iLrHcnWttOCQ3fWy8FXiEQvsaTtQ68fD0kl2d286/hcIAd01D1+T7qP/G96H4OzLmomacTRtg2lL0bT+xqlwGTHST4AfVYfSG4GsWSHs6e5jVkXmRN5jpIc2saVtbUWdX514sUgTExlF1axbuXAL3r/DaClhwvrN+O3BETthskCttAYRMH+nAA0lKjlGBYvyKQuq/gknoAbQwSkytXpzavfodv+/6tPigmWrfNJXNnxRqnNcIJH0vUKjxadGWzM2JUWT7LsgKsKsyba8Y+V3JXXW2a3mu0BKd/NLGTRFrVyhHCbCmEaGThBEQVkMZi9qKH/AhcPe+i7yq5kePK+fD+BZYS0EJvMDtKqVXu3B/bmV3t41D1Oce7jy20oQnL8YhNzb0s9EL2SrvWBxqPoeh3XI8kKx7A7pVOpzfkYOusJMssm5QrIPqEHm4Wvd5OPlda57bLzSDtzB6PXCgyKRc+7VdLW4zbplY1cNEGYiJWevYaWONN4skdOAqaURhC0WXSADw9XSQrojHaoOQ/NubkmBv8Kli2rcLGCDY2f0HaGrSVOWvlxufgcBoTvYQFRyhARmAR3VCJczsL2ApvDIFNhOWTgt88rxASIOR5Vc381GD+AZXzRiUX3capULxC8GazIp4F23+PhVlbH7W9vS5nsFtClxFPnTvgxzSaiIHQt05R3Zt2s18ZL+8FWFOYPwJmou/a2IPQHJzQEX8LAqC/T1QyAsWGJLrJzISX85rbAEhbbpBIwU22B+k6wO9rzcsTM0KA4JRJ6u+bmy1LYVqGKIxpDymDgjoLe3e7CDRmYTPeajU7BPGA0l1VZ+uII8zAb+HFyKAjEVU8hNe7rD78DjJk160FrOUzaLltEk/AiexVKpw/H4x3od++4P3rsRweJ+xcay2Wm3jtA+MyLgfe4wtiChGTOtm1Cg5ZjKOEqwiE4cHKQKaOPs848gZjb/yHfTf3eVkPkJLBuco4Ji3SmN2iYpheYA85D+k/fKPYnWm9Xk30N1Zh9L8yG1yWU47HnIdYxnhGW9hVmK00rlEjOkN20IjvoPN8UExQuQD3ea04BeIoeYt/9yBaXstMww/kWL7gX2AdRexaF5w5yA1ny2mS5OOCcd7w8kS/IYXRSGHcJSPbD93+lqleYsvEOrahnP8Kt9Y/Mw4G/ADvRDw/1eIEsHfh4tCCWzjY7yX+RD0djwg+wGe6AwTFKV4LgVbYBLE/NaRly2BOYqyyGeBavHW5hSigiewfTvL85hC/XMAWNDahg3kEJ0+5A4M/WpDQNU+cxcNOwsmg1Oz5Xb3UP8Hz6ynEvBdZJwF89gZWTLUsFx/voCARs57QLFWktOIfswrAibbNbTNYtesRVbbTYC51Cyj3kVLKvCNn0eoYag9ZGiDTf0pbIXY4fJkcuamFmqqY/kXxqskyph43nJ3637w68fc9TWYXdUQmpRdZdIVmTAh+5F0JC7j53DLHYs5gB5M37DPAKSTzYz0ZiGPx+xD33Hqsd5nZuW2A2hAc4JlFSDI87YJ9+eB86DZqow2wT//vX1k8k2EIkPkUxJ2e3kWWVlfXC2Q7U488RK/4Uga+5zdGctjKzyC9bwjZccQ0VviDBybOf6bRve0e1Kerhb+BBVNSBzTJKvwGifySVsYNkoPY7v4vHIA61GF4I5R2B3RRf2VsLdge747HaTIfWrwvEB6gnQi6g8YBN1HboX3j7rw0+kZKnPloDDnpBTqkSxd9DzFRZO1YyTaf/fVIT5FAIQyG7VfmVut+YX4VM0kY9oXSg+jOs5rVnMF1rtI7s4d7MDt+Nih/s3Fc4+Jmjkj/MM+qL1jTABQrzrTqqC3TYv3QJAKGUj53RktU6bboc3q4vk4NG+8uPtc4id7YWfwAvakKhr1XWWSlj6lcHFdvkVDgv3hVzIqSSowrSyYvGuQLyeIdMt+VRb+BcBCkmkH1ItdyV6uahEhoftSb8shRHdth0t3qDqeqp87XmPXXLX1Nt0BWo2u0sVnHc3LAE5MuK7DgA8NWJnEOxRYW4Tdj5qeMdK2q/FQXPfF33kcrdU9QhhLvFJxRXCkY2E1TZeIXyWFgPEtxAhBO4atgOXdlThLtJp+Qa9scRVgtw/szKeabCS39C2ilgT+iVPB40yA+0IKNjgKNISz585LveKdBfoWfc7G2t+pbBB8GGFGCZWz8hj5WDm7I7s7H5GZF9bWaOP+07tPesY874I2U7OB8Fp/xp/Fu1mJZmdgRe1YaAMkgHcs2846hHQJxoGLSB0cvLUEhixgKJwD4MqcK3raKXcFaddA7bsTgGoJ+3QkzVUzh6Oce9nRk9YeVkQwRClb0g3uTdoYj22wKwUBh7y0oZAbywcoLtcxaWTR+Q0E46v1X6aWc3MPAInrY9y3fJnC4ngX5OJITvIz4c9XMNpG7t4TA0JpdBIAY3jlYMSRyT6zvb9NhfQ0ifhCxOXJ8wx/jpXw+PHbcq5bssTIbs5b2nbqaHW1nE089PDe5YimVHKmkEnSpM4NFiyRaZoG1Rfm9bRxxhayYmPLfcXuyHsMz6GqecaSvLjjOVzLi/af3cK8mOftBGgmqJCPRKrJyT9OhcALEPX7mMjaDzdujxCnCRe8Kb7e1a9voWtOuYX3xItCBSyhWwWMz25yUPu8y9cSTB6RqJSB9CvnJ8KkD0Lu4+3vf/l48ltswhn8jkJk8Z3m0lHnbEEgngIb4rFAm77L5x3d8PXgA00Tt9Q9KH58dNJRnbs+MSSHvUVumPVY+ujpa+I9ijSP1zsJoJjkE16pXPQUUs+qFw72tMA9sWrZ/8sQwG1Cu6/qWJaQf+dNBYCe+nPmZLXFfc2OXUOb6+b3FIDSr7x+7Jb/w75+QE9dtIVIevggzmIcD4kkHoHMt6ri+FJ0MEh3fAsoFJ9wOOcmbich+gOadXSkT0f5uqdVmuXZ9d+AbvwQU2drPjy6VORoXiBWVR5Xgdftzfq+g3R/WUO19GTJuyvxC9DIlxFVqVjJhbBdcD/u5m5HeW2bFxdwo3LPQlMKYnfoqD7wjsFtWaBEdL82L7/aIlxIzPgUExpq8+1+R9d8CPjKbCMqBajJyOt+5mlvl4QIl3yZokdvNb+NfzFH8M06OTChezrn8vPfjzrh5sHPuhIcm7lrOKYLY130VaqSKur7Rbn54mY+anjSBW7ITLEht0pQ6N0RxEDUCouNV0UI6G7gWWY2fHoA5kGH0IBE+KOcoM3hHNUM5fIV/13MHANqL7wT1CEry4qVIQ8ELyFqzTzBw83f5KjF942LPj7dmV30dxSP3c5Fy7AQk40fUUk6shAyKrFQI2khIJE+YQ43fUkraxY5vdc/VAE6xj4V/It6CvcUMJiXzDuv+lRbkFGiwW+i3BjeQEPVg9ZVYDnpn3J5IVUIssM3GRCZQlu3CJPnFmtcDPBuxS0iAk5nO6+HJMVE+5NbSXHhfY2fLmrnq0JGd1Jvct4zhFrky+wUTfqtFkTTy6UEnrzj3re1ypGPquP110ug2BlbIt7/JRkNr35PzaU47fEYjtp72ZgQQL1UU3/kt7Oy5tEyY3b0dGbFKj8AjZw2y7oPwoUr2ZAHCKt5UfGTRjuvTotnVBjLxsfp6xZBqIAm1v83+RbBXxRUxIvr0xn0luE+1o2fQkCKs7rEGOEhLLgM5LJnUarVQYqe+6+dMRSqEe85cr7MibF7b4GaBD88gYmmS/3rNgkwqd4gYxJxAVRCMx9NLUWRK3yOmtoYsA1EZB//wo8WUfHGWA+IfC2e5uj/OA2wSzGvvLTo1m4oFnNIS7UJTlzIuKrqPTr24UOttrR54mg4iOIIOCOKSy+fDs+uFNEbDx6wXQ6ok6KSCVGSfYxz1lh5arhf0o9ZprMY5fo4iiSIGpUNy+JTwT8iK0Jtqo1C7XlMWS61vQ9Q+18EYpq312815TK9s0x9FMCR6xCdfSsU3IpuDvt/a4VnbyWcuQm3QugaTPRskkoH6xRtcGuHgI41O78IKwwBZK8bLD9mfzscglYe1oSyFJPK7TCHrrRvVCEx1Lj3eu8oYavoykMm7i0uNq89yJmK8jZYSr4EOQqJXJhNUqL7w7c12KQXOMw3rxnzAiz3JTbgKM4swKSAmLvq20GN74/H7txiGRxgXsKnsg1ECnMQBDsl+EqbT5w7iejG6RBM21bAnDUsH7POaUX5E3i6YZVOySfTfZARzdMTQxZ+eKmaHFNdEnwzHMY9Sfy2qXPXJJyNs2hoBovUgGtuJt45xrX/pyPsx66dTNoz7IDK58kmcTRNYHLjrKj6mIT82kWw7F4jlUkUFZBAcx7KK6hVfrKFTBZG8Ln5BNA4Ygld+Prccj0fSuYI+wTB7O9pLiZb618DPcUFay9F8+j6+0EgkcZoVgNeiuY6LyFL4nrn38c5G0f4p/PUujRK+BvV7ySXjgalk8mnmtWSRUGDVBCERvNF/PN+ED6etLrWBuWMB503pqCybnOW1cOSh0JCohqfG7J5ZtiQ+uf5kY/JEaX76QZWk9YB6ir0u9QFL9Q4hoiPVoe3KX3iKusj3ubO1yY+HrvJKsMa3UTr7tB0TUHd264yu+/u+M12BILZ155NmLVYrOVJyZU+rC8O66S5qbQqKbnbtooDpo2UXO6ud/vwiOSTkG7EdVTVlC3dovbTyuznd+qqRV9xaPFdKBsbR0Vce9ftPY8CnGyuJjFY1ewpEp7jHOjgda56kKj6QL1Az1ms1KbXcJRbxaI5Aedj4Q6BYmGtIA7kuGnOSHDYuwUQFA555jka3reyKaxNbETrPOX76h+Hy1cA8MVIBZxBuOp3RhxqUBdrPaCz0moszqqBep7afZzgmelfVAAClU9nK53mHuBZja5LxNvSoLzS8pKerR+gUrbcexKBTkUsvF7Mf8ulfZ4yO0/4iQ4sk4slvKVDBMpTVL/FBPagfmSrOSON/3sz3SOEGkHvjyViVwGQML+6ldPzMThjR/tIc2+uiNFcngznnJbQkzWXIbyT0ZWHUQPfGC6viwy9/Gh4Vi9UaMaI7fkIszIPW/vchk694JwKQ9HiXI5lIW0TBi3PW4ay7IzTbRuyTZk49cj5ajDWiz8PpLiQRL9ZaWs9z30wJEETCUmN+D71y20GdC7pI76uTLbzwcz1oL+S0GjQvsguGkHLjvc2eO2B4gtXKgQ1pNuvvNyLFqhUjhr34bsVYsrci0emNW5RZj34EKfqSkrEmT/7wzeMIQL36jOOtjQnrx/ZmDjyJGoyGv0O3RMuwo2xg2vBcLoAu1XXORziYCYb5Er9uPuvI40KqMWHgYX1jbSgqJ7wskGzTw5K7P7aH4d7Fct+36GdZNp5wsz8qS9jERWdVm26mOk6a30f99RqM+lC8ChV3LiG7xDdNrPFY1ODCkcIwIYcINXvb/6eJelcpo2kGUEzO8G5oBKTA9X9NOgaxGtaLHJWZ1mkgnfEqFu7gud3t+5NdrFlYqv8IXGuy27xrzEORQFV4P+CsotgWxL6YWcSU3GsIBDpxDWlt0ds9O1UHw3lg1z9wDlra//cXdMpfGAxdl5TmPQ9xFyfctKAu+mMQrnfboqCQVqFnYf/ExHFw2R+h69zXIIFRtJ9bqAqHUpS0mkYxzhPbNeLuJ3AWktGMnqwzW39j3FRdOjuoKakVvbs/Jl4TsvUUsq/ZUkrTzOCAHcRvw2f1YEUKTgC5EVEd/OJ5S53FrGCtQSgZ2yVTKe13B85ZtWq2manN4M39diNryPDyLngLLMwycYXMnpeZ35gY1UcUYEEGnl42c6bqeBymaKZfdE2ZEwu3l9hQcj5EDMcqrUwtBeh4dDVynAd3wEc0lWfZcBX3NFInTtSP1v5XRWYtCt5aEFS0enQtMZ0ajQ7aFs6QLxkWVqbvQPkBWmwKVZqPZ80rgLq/DuILLfNrrpKlTt+lEvC2646BgvCXkJBbf7OjSxxZCkjM8WXJyLqHk0ZBwbDbfwowNnscLyg1Q+wKz6QR9yigY0ev+WcMzvjeB6McjwNNUW1+poleU/3zIQWxnB78zm4Q+y7toHpuDkwVcsh1WH5JtRNREQ/SQ2MfaA+49HrbwGSOYtS5dR0ITKUzoyReQ7sIyI7HGdNnK0SWCrEhcuanUtfGNu93uw4Bfxnc/q4HSflBF8/LFYhellNB7eOIsbyELNhfn7eEKQmocz/igVrnSXIRT5jNos/pHRnW0tb2e6K87IOb/fE3PCjNxOaS1LCFH2JTu50RKrni+4AQ2UOyI1J7lp+xFC3rAwb+NNS9Y3QeQp6Z9VvNH1k8oHOivYWX/sLQ9ofRBqWO+u41JC/Oc0JdDdbWf3ABLFqxx1BpCVQ7TZuCbntbxPE1oGm6xES1gB16S7ln3ICRRgFMcm3FF9XsVnpPQX5HoFm2U1uiDyf13CyyQpFUrLr04XATW8CB7F1SHgWyJ23KKTxmkIyMPBm/kBxolMFPkz9C3uPBsbcanB1mYoTI9HTvcIHR51T9SECNsPs9fUBcHhypgU/AGgB7gWqpTd8TEjVwGNIxubqZWl3mBjSrIzWXBjZh0aRXSsbQMTAaca6WSE5XecNcXD0HNZac8x07RGotOsUkP8O3UejPh1mDBwEtnus9V+zkdB2rR+t2GV4MHP4PwvHp7IW/rmEw2ZK0orUEbVKLrZvC1qexDSgzGHXewb2PkGj5tfRkmp1yd12Vt9iwwkGeQksayTvYDQJI/kdpPeRIHDv7i+xeMTnHL4q51E2Zr8WAWsT3uDT1cZv2rlU2oPFSw/mEniL42VDtmAgYRw0vdFcl6IwV4bvosPgJJ34QGUPSVIIdzub75uEFgH+h4F7pBIzTER9U69AfXOaZZLUe3KBRF07I3lVyC+R8dahUBeaOYZx0s1yes/Cvpemwi2pn46zPIKASOI4aTJG/sT8ehB1s59h8Ao+seXp2FuWmIVuzGxVIPidFBC8C13kim956r+xmQphffzmaH9KbDsUUo8Xvc5exFoy1jrjBEuxpvtKRSXK4gDwKj+LOBhlgwCBj1BT0uoUHlFAL6R5bTD6GZ37o+Yp608BK+2XxQ/DrNxVwj8lAQRudJRCHWBTu4Ul42lnuMB4LsUukGBVXGt7I3t5Rz4jgJsoZ106NhzcBsqvqiwotLsKz8anhTFHi6I3nz4ojZELlOpJMww0rju6wbNDK/Klhx7adVMsqbmlaHpeViKKX+yVVJW/hbvIDyql8T79zOdajgH8guClEaHvIKclpZITS2dtRyx8pARvOsZQsT1bhBgHYtqf4KJjx8V0+u+xy8XY8CZyuFpU7Z7jJ3Koew9uaJSVZhl/EnvQcsHeT2XAIKW5/5pD5GeyA0Rxe3aaOX0ms3QmhRdAkeJnUAJv+35/G4Y+EMh4MXZdYvigmTXci6thZx8a3mgTxemueSVuel/Z6iPcxqXIRC4gg3vycZVYFXB3VzKI0p2nOmdUdDI6ZqxHI/W7okzpAupuwwm9cAenFzuiSkpH/J0TeZcD6B9a0o7QMWb54S1mdhkvBHsjnaWT7rcN9Sy0ZsYqAI2Qi1jAy8YGGUDN86PIoi3DuFd1Q2oHomPAvo80CAXDyc4nBHKF6VtSf8ecieIRpsKlJTAj/iQWF29apBRd/HhP15El8SfAJY1m7oQzMZPNEiJcgI01DqXgCpGGOasuid2ZJaEqQL8lQxJ0I54gFW60FHnmO/wE/IFTkbG+dxfde7fozXOhg1jwxcJu5YCjtSjUS5KZ68PH1ALcgTUuf4EinFRvW8mQ7dwy9ynxErhOYu4LTnZc0cT10Oj4Ggth2y4fj4AWX0IUepyDVdcIsbU8qbqiLKcde8l6Nwu4wm0ZBdVlbTRZu2myWDeVjKmVQP/HrlcLnGbu83DPlxkhPpk3Zndp2ojGrjyNoadOdRxEfOLnxn9RZBy1WyNs0rrwkfnJYhXCPtw/hy2Qe0765G+tdlwHylVTYA+cs8pX1nma3srhcehf6nKh0mQ3YqINpSRaBxpfK0NvvcvSSlu2ayXBbXozSLeB/TUC5sx3uc5y8qQ9yMqWulUv8rn9KDAHkgUhNDxVgPopP7wL0XaXHTpvmXvu9h4inR2ryJSeTqje6zGkV8WppY6adQqLeSxOYqWVNHsNHEkYNVhhnfVpGGVt39q/ltI556wU8Vc8K+NmjvgbwSAHkMXr9PxRhX5AVhf9NWOJSZYkSitpGLScw4SPUlhrWvarmlsuNft5s/7sEnUjN7kPWG04DhJCFyWOp0exDem5pCc3EEavjgMbsy5mQWZZc7hu7sVbQ1tBVWCtH8sNqkEWso3UZx1kKtHmCNhcKfctY0Xr1dbZhQXDaI0EzexqGPXYzRTmGSLsT7CJl1pV/uL9g5QHLXbHIHqUNFfoeWmZw82IOXPc6YW6Rw8+FIPQ+UVOoE48qDcY2MtuRaiAYIlY0ER89RB8q+h5CQcgTLIJioPGeds5yfS+CqHgK5CpXJiuD6LC6HcgTC9xSZlUP7rIgYD4DE/rSb0gOTa6mpfiseWPvIbmS/+xgjlJf0TJ1lAThz1QP7fP4Djm5u3AUDRJ1I8AmT7pdEzvz1OEEPRBNh+EXzLz1P6a3R+4UfoBfuNnUS3ptathAetbHuqIkHF89l+7NbDEO0kN8YYWLcpHAT/8+OyFkIo62aeXERiokQ26aaYJMHCRFrI1E9jzlTAujkgGKoDpnAK8VoI7HjWLU0L5glRdO42rn/ZvDZyYKtyKK9Opszwf+cVIegkhlL3VdemppHVAOLfV/2EzofNIHE68DKMCJiDXBYxBpfKzM5UGHLElAAEor5oQ1Q3NijsC+FPl16h8Pwi+x0fUwxGJpu6LGsLJv8F8sMhgcvlMXHJnZfk0LwowUTh46Sc5xW83eFwgsHnWrUZj1A1TFyMfliPvsrovac9f40ASruvdpOS/hqj4KwLqJcRgc/20KY9pId1KXw2+7reOmeogbCSUA1zcAVMevRp0pO5e57Uo3yDL5Zn+Y+L00QwyCfhm1ulI0zDMJhiJuf1qPNsAOs7rCHQsEMkXo1/j8yDCo258xBRP9ZZnTMjwS/iCWiUaWM1bCBLSljDW9fxuhr4n1sXpnNn6g7M8sKjMoXyBI0w7PVxxxrfU+rjb45bG6Yl5SZ1hcyJKUrNuOUJxg41kaxngezf9T730WrWbQSnoF7m9fLDV1zu7eJnOh3RxtaD7KGE7/6GbLOq8LgVtykoG+taEg1IsGpXsuWll35TLj0NwnfEuT9BNBWY/rjQ1qwa2oJmrskd1Tem40+QnWQ7gH9o5eCBAjh1NhxQlJlWUhRIOrpPGw8ZQu447tgLlR8FnBoJjT/eSUf8XOeROVfYaq/VVclVcCRalZBWItvsiHbTMK+bZJJPaMbzTRDdXVmFOUS4umybCJfa2XtBQf4Z2c8VFyTHS/hBIA4GI/x4FphqIeahgVXX80aUjqsTaeh0/Z4UKv0DJr/gK6GZ7UQWKDitjS8FNamY8cL5CaNAQ+vuxQw7DyTdkJM8t3wVJv9HQPh/sLGhZjuaFIH/gYugTUYtdiuyxpTyxn3JXGWalqGCU197O8YSnTYbU0C+RSmj7BzvuDhBOaweEDdTqfWsl0ZSN84Ngg2WHaFUNXLcplRzIyd28IoIyJv1Qb/aJPF1Ted/xjFIuFf+WUGTdMfyGzLESQkL3NakltYvHmlrLouxOQOP+Ui4utEF7/ICEzmZhIPTqKy6Ryi8g80r+7T+zM/EtxV9JznQkaioLLQO25X0ZWzh4RFV1zuwIkfA55zY8Tg81i71dcnGclSy1TPg4W+0egqdg8np9t9e1LDgPzZqhKeXsxd0ouGteV+qyaC1hsqvZIz3gUSzWxUfIsgWP/G/F/wEI+LVYtiZ2XLQ0zskriL2uc6JJkq/GJdBsIqjp7s2Pi60mJYcMa/Mn/Dxlz6xqnzVheX9DUgaDxnoobrg2DXeuWibzmUbTUGG2XAzU8DjF4ipGtTZycmopkzbSsCMdyceIgsWK2tFsGrh91K9IZ7vz0pTasyyKxgZ9PwV6mjW2cPGeUDcLZuzxz0SVWAbYYlfGgwTWt0Cbr+UpOf9jhfdyU6EWZeTp3rooy0BOHLPQf73AceWA7wRtEk+pir4RQiL1tPkjx7iquCkOXbb9nJY2uqvWH9IXvXKrLfFtHSXvKbnsnilLPvh2bfdmDL20C9bT1VOVaH+W9f6O9PYF5VHQeZ6A/EM6U4sx4zZy9BjREIJ1cl3jva72+uwwEuf4FbPaCcestLjHS/Ds/xvU7AjsWYMyCqR5pKt1dbjLl5r51Rq/GlFPwXgEW4AYeOwj5fC/SMO1iXSq67x/M3vDys+/Lu5Nn9puoapz67W2+bTuUCusENrhAIE3SG81tZ19wpKww7calhTh4DgcWp7yXyDQkiCQpsBcsDUaETjYd8rXI4SfXH3WxiBqCGDmDQoFImQ0ESf2iVUIeTDRof7tlec4k3opwLFxG9wK5gYASNijvW9lUJQBS6jcwuLk8+dzR4YI3ErdF3wJ2hjLTvioKVCd+y2WYPoIRwV11Dwo2UwmGPRbQXs+yknwI333fFCCENAV6NUzthccRNd0qcofpzkg7EUG71S3yU9CVOysh5g7uyDGY5wGeEc3uaHbu+NuqWTxsjeyIpbCMHazA5aqpn8maIRjEKsD+oJueV1cvJYZo7mcDON3T/W2UL180R+aMHa5P/FZ3a3GOMU8fUjJ4rvRgYNfo+XYL2BQMNDzmBLwY5c9VNDNMqq8SK9kHhGS+khRE4/Lag+IsG9mNR/C87iAkNq2iGBmdyU2qDG6B3/RMi55dqRxkGHfitvdHkf55saDrMHUJ401ZTZbWEcmXvqczrjqzW1rh2GAJLWSPSFtnXOgKDNbwXI7n8bdZoQOp2y8mMl8sQJH/YGGv0Pn+XZLmLSSYoeoFN+28XRc2RlydxQ+V+pwW6I4Sm8nA6i9xL+qTvxdbRRBl+iRehbHSonW7CJFgmY+wBHypd7yUbegZyXF0xowLENnyxT7zGSDesOYzlpPHppl/hvOw5pZlSCD+UQqGCh8pc1sBNkkf0VYUO5ijypcnazOFua99fK1fU0yrLEZHPSNgbeRtS2bSRhf/UQNlKAOVS2SntgQp1ztezBQqJPxtkkeCqmusjQNUwFd11xbwNUEksccJLBnMR8yxuki9hLML+IxGn4r0XpkyNsDhl1MHev7ZjjA/Scl0woGpQoJIcf08vdwGfff/GBqxLcznW045SpaAvTKLEvo8OkcXmMs1jCfONndaIVwIELjK6Z+cuesJ4cCw0TYpEp+jSgD/lZmY8PdUePgRAW0L+zSx1c4oNhxzH2/yWVnnXgZSKMprTqN0DOjw76qGq4Si/7S/gb4M9hCtybQQTZx+aZdPIF7lrOUHIlUBgCUJ7RCK3EucxgUvDz3PR/npRv6MehkBs6YXEcfNNK/9TZmXQ9xdmcNREGFH/Xpvu6DMzDpDeynS+SjO1zL5yXe5ECnIb6jxk/jKeMltxOsvbXGlNMMiTugOfAh2h58hIdWYyfNf5wOKUK5/Xf0DNuc+NbCk5+PW6UxQjW+tJzOQARFSJ5ltgwvNfC3NcnPZhXK/9XG4RjhxH/4WGijK3GYQQD+wvz62avx8hkkG//VJv7kK3e1D9bd3UyhrPSvbyYqz6ZyCuCFtkIUbdTbBhy659Hf6aqKj585AgrbggMyZBZazKBr2IhwEItP9D6RlwYQviqmsJoDlhlTHxo9MBRu8ysubFqiiyvbv1EWIVYMLyWwpFiiRCsah/cnoAukz2rUC99mPnUjLjq7B/2dad6ZzGzrznlb7jINEHsho8BpcYm2YLW0Qx9MGVCMQ9nQNwTklCjAiVDg67Wmimwai3iDJS0XfostfBLmJG+P6HEDb0LyNdY6oD9iXMCnVmsu8k0NyfOqsvRORtLlPfCkSw1g6MOw6jXux14Je2WLgxV1DnC1pMr+/WCl9WUP3zj73HBnz/nuKn8Gft2Jf2+yX+1+6d4SZwUOTnDFHsf/gnhv1HNb/jSSqER6MYDrWDDZSQrvo8EX+NU4q8pZZizsY8B2iSA+0NS21xASWtIif013ujbYXHOoIwX7WGjeBwwobTe5+oSIfe3fEEJnxl6z3hb0+GZMZ2gpqgnBpmoKCvab4JhT85QjTRtmqS9732W6jVc1VwDTqOpOIgkiXqjzUFLkT7H/ZbgWQOQRm5rPQ6Xvx5FJjxiK8c1KRHWnnLKYrIWD/ahbkvcBS4fgAAt9z/9SNcfws73sa0zLpkUG3VoTpAAXxd5BA2mRDRKdy0d5l66OfXiEu/+tkkgj4zIyGNo3WiJQCh0JinLJlTvrKCKKQHMRZv7BMogRW2m51p+EEvTWBVn4ZywNRrBGYOdo01xlGvX71JsJG2iV7ZbUcmx0DeejBcafvNN64z1mL5spBrY9TgRbbn3feiACyQfrb1MnB8pGYdno3wsrbzVwCDaERd4P0cl1+IGGw88JIQdStmfvjXPIc4EIqSLaeXNcK64Z5qtZs8lPnILpJXbp3Rs93bDE3F2nyGHAoFnlMwZdk5tVXuJYicevzBty/SHFHEEdRDcxkMB2SY0AXmO47XlOndENeYs0jIFu5GR2/QjxArfN1TGODKZBE0vU5GuVuGUM23MS9rVB7AZLWAN+26dhHQbD0sphPfTLOra85OT75+nQZFMGFPLoD8ou6V2B86DXGDCoSJ8pax9F8ZK+Lh8H2I9Q/s0EBcm9YtqFACdbENcWQ9jy5ifX5FmhlDI6gWs9br6fLRwkklJKHam+CIhLk5KCAC1gRp7goOuFV+Ncmii02n36N1UTRDuQKoKctFhcDFnImzAMsoq0uQrDRRDUN3ZJ5T6FTaKwr03gzhfE5vKQWKRg5xFua6DEHNnF7ddlSUxUw7UhhZ6UtAhttE5CcKXIrO0t0Yr4a1wchLcuCEJ8RwMZvIZpWCfYL8iLO7U+6tBQv4d0xtNmdbTcqWTPZ/CWuUCNnJeatFmJ7qwuOHhcg1ResGMwnCSzcx+jhr31W6GrYKTvWoWW68mymGhsdi2c5mUvWQztZ4nUdQ6fIFMwHBzTi+IOBbl/XyOYIdqe4roBpYtiDrLu6XpE/NMYmYQ3tVO8xSq9P6yHCPRprAOqRb5F9FrQJK6cJVHfxuXluLL2ico00GVgEGO2zooratPIXCU9vhVuy/f3tKK/zHNWYcAvzf+0AijwshfxJzOuPwWaKWpmccLIOXM8251Rwdo8hmsDQzwDbmOkpNOcCLmD7G84jAHeMEDrn5oop0psEl+UxI3otwWqNgmtoxWoD0CIoJaBRO2iCcuahhao9vsx88akvvuUhIkzLcnaCqgRD1rZWY1Fs7MqC1ELSOOwNMNUMvSn6+sEzzYfixFtrggilZOLVx2Fh0ZO3BN3TMJCbssbeCpPyvRN/ELE0yGZq6KxdRvEn4EbW3VR+0gFtaQzZk03UFX12QRtjjjttUNUDiie1/uClApsVy2VpXwyuh6Mv66lXXRZUDM04l3ClgWbflqR1oRGVv+gPp/xcIeHA1jVGl0+0R6+PSnVUkKYlcGNLDqTu7YoPwhk4EngrakfPHs/gdSCtcutUN00PNvRKTM3ZlkLHa7fyvm1Qlk3lK3frDCwCs4pMW7Xc6hw8Tuxu0UI9xPcTYnbme6cELpPqrL7HCRw+5bIJ3l+emE30L0h3kv6jYF28ZSFqO+hBaf7DaRK8yZiUXYuPqJVTytKeGvy18WsMR/KD3iuRKATAhIba26yQN6jmHvcksq8Zx7bV79hGwQ/TthcB9to/nytFeUBkPOiA6+skFwShFpkx1ifA/I+FCufsxQN6zUDgyPy3AJCsfHpdXyyjg8yylccyUH/g2TAxCJAa1MKuZls1MC+i6mR3uPtolr0ANE2FXrZ41AzyuIzRSwjmo6MT2N6ueBuYo6FrUi4SonyUpTkAmHVy2NCgyaCWTDayINDKHz335GYg12XgmR1giHvTAtNbX14T6q/VifgWzMs2ji5XfSYUccJhmeWJZZc1i3Kqm1js/ZR5K7VVsAVyR+Z94SaisXtNYetE4NUC/SmjsNZST9CvtVdZxCQeHlxelR2EmVMYNuB6pHWUIF2VQNyORprEI7bOqx3rYZ8rc6B0G6GqnOFgv0YJD7FOVjmiTI7Fq/LjnTk1+Q0uUTTWrJOpznebsSgITrEJ/d96uJKBrT3QQxlcT0TuRz5vKaHMsuxCbx/LfZRs4tpY1SCPDnQ3LkZ2WsiZmshD0HWfXGCIUMlq74Y2cFCfEQUWz3OWlc0ZSdu/UX3YYlJtSBzMY5CvOXmK15Gw6vEojQtq+fGqfVq7Q6yneWmyjaXlDvv3fjA3/7opewaDZ6hMZlExfApBdobLdLWAeezRDSs5N01UcNfL47jwybeucE3ysBjjs7HJbfKPEKi0sgxqyOZSZHsEj/49XRLAI4fdfRTZsPu4nhqdpt+G8MgzItwE/XxR2hNwBnADMVUk71rhEQDOtBPgjlMIdAyBnU+ecVlOo7aNT81UM0Xmo5W93EjN+X4wpB72ErZT1oRqZTuUKPR01INcGqvOI/QNn0p46t+Z74u/RV0wRpPXO7aO4GIqKn/TFkSgRIEJ/FxdN1nrZqCV+Flg6HuwHPaEdLHQMasxn3j0bJtlYysTCJOXsPcEXGCo+6hyqprihBcNiLP4NIQc7a+Aa49ClE3uvnwpnrra74oM4aXJXU9wcW5J7MYOqd72bm+PLYMI4BnNJ6Ykrq5P4Oa3F2aj6IOOg6QkJU9bbaxwSRNGjqDp/wyoAWzeZEYkoH8/UuTkeABETs3Y5/tWAPXejfnjUx9mf1glKi7YknYn++Wxpv3br9biekLzZBZ9KnyBV4uADyx6rtWEa8MQv7+pogi0HFIhVIfk26d5aqI59AcCU+arvnEk35T7niX9+s2DhadPTSzHoVquNSI2vCtki8N1mLwIZ0+LEmmCzJaHU9j54Q294rOGmxkhqxFXCOwK3OjuNOXQP0Ztz3Wi7RXYS8msAu+L16oJ5H/O0ky9mROdRFEA539jHaYSODC9xdGwHAI0VcKP4EgxjDDweu5SoiK88g/uvUjyhNUYDmzTSYT94jII6/Mm5eUygrdt4iYuer6d677bvAji965B/rPA/HS7eQaVbsKs/2pYvJrH6G6jQ8mmm84PEAXdgpPgYYmhCrzLmT4l5Cw8F5ZJLNfyfSBhJRzNWwCGWapImHD58LZLm3UvBOvscbfRn3Z7od5eBMcPo72l90PNbXOWArUXuLkTNC15iKavyZhNS/aJ/PrNboL0L4y7tM63e9gebrsSfF4X88lm8SR01US0HSSgKVg+Xx1cQ2/kQe1uxNStrlA2Zy+EYK61GLodIOagLIONXJHcQHxWSffIsXPTXf5KwAUAsMm4e2V7vjiXWDPjzl7o4JUY7Rl9A+TqNevlDxMYx5KW63Ib5/EJMVUrDX/Pfe+RXgY//YJubG0KFjM8izznvGz6kYEhV1Rc7fIITev5kyWPFNnXbIvOsMu6knkpkLcwSzBr+a4D13JuiFZXk0lubadygcd+I1sX0MuZ41PFbdPvhsDBZvac0G9hlOGd+8bAJuqUfJ+AzAmZY1uEF80cmJJvEpVoNyIbbobrjmFZvW/REa8fFmT6vTOuM+zJfODvagycv3Fjp8GGbA0rkpXcdZAxjgxKsI3orTXIHEQSXQCFrxZjKj2A9E5i6cCyPQelj/3Hp1QgiiY2+QoeW1xxTpR0jz3oXwMfk9dqVRe3+KOKwGNs8c9FnpiuQQBzaQDjYiXt751Hed4fmZpKIoU4DyFBrMX9UFFTmSMH0Jdf0Wo3e3wM002y9lMnWIRcfNE5Pbpmtl5LJocF9zCGT72TiJxN0IR2r0nS1zlPw7NttE31NXwUuTmJNFwAaJIMXGHtcA8QXysIbuGXyaUK+uolMAydWnwVk5MnpSeH6ayu7G+C+8+216lm/w9w3PX1+g3dUIG2KI4lGYIL/v6bZDHPJObss/FY+G2+lOp977WikPWtxKcuUuoaqSt7t/TsEDxkTVPVyrpQVltWdcBiS6jWwooyVe8JRD1Ny54VdkEWM8rMj0jm3B9X59oyRLXw7/vv0pr22N0TXd526BflchQMOGL3DEF67Yjq36FyELzOo6LRq15YGvK/bqpj8jJx/iqUN4+e3OUOcA1RSFSbWJ8hn3Y5HhQS5BKflBY43zw4KZZ4jhDa5VF/P2nA1pFLLzn7MRr5tt/fUmoeWOl5m9NyNEC+8xBnJmxKgUY/KyNIAj98GNGZH5rCgdhMWqUrfOdJVOT0TIpFAddy1V3Frth7Z/hj0MPW8rsZy/CeQ7LvfHSZDs5Qgt/pRGI6FX9Q9CduF36JFvYyITy+qcaBJNTPVcUyxqRexOr7ezE8WKOCFoAxCOEZ2wGU2dlcv7XcY4NweW4gOXQfwGLx9P4FeOWMynKzolFb3R6vnDjlhEIpGqctJFvacijBjOt1yW/xoLEyZq7e+huR83jaqI219c3DtKjB4grupVDpt0jB7h0zALkLelCMEglyN+1Av5NxSIzt4Az+Z01Z0PUAiSwwwtr3WKYqkS/Zw04uHHUVx5H+fe4v3rw0gekGvbet+rIHzMIQX71+KrJLqwo/HOK9yhD2WXyKt8aFvzK6FTpCAMDOieGh1Yg/DaGctbLrBnmUMdlzgs5j13JvnJxs43MkRqetSPHUun/xbPySx7lpW23pBGWIIuDYOp1d7It65Xg+8OK9pkXKRIRuCwwD2rUU4GPDhWyO/45hQRjrZ6niSJu8w1BKoIyyE5L48ueBtgwrBC9cJvAYb0y05zG3T0Ziz+lohLxZFmyAQy62E35ExC0RN1nrT1mChgT5ql/ax554pmXZX9eU5fHFx6ym/JYEKjTc7NgjXgcYDZA/ZFOlhyMjW/5kQlWXZjRfu1GAo2Y0yrd8Grv4ub+90WAtAcJKUjgsbGElDgh+MB+Z6YtmKWOu+JeM6MfAz1MfI43PYzkipFoO8LfaD4g9vgzUXCzSrX6BxaWbM2kO83e6dq6e6ktuP9DkMm/j+q17gOR4HA2q8NuXKe1j/hGG5ToBzv791yYcezlWTBMA3jk9ziiwCBTTkeSS8RBdTsBgjjHFx9dcEhA+PrXtje3z6sKtXOPcjyU8cNrSoNWBX0BqO8dFHio0yk3IESJA+WFR/uOoKW1DAPX7F+TSvwomz6YQrto9+041e84xA43Fmu1HH14X9GUD3YcEVpK2jSnh5xmyyzMIawqL8QNt5Kz+nQOmFlpi+IPwFl+voOaS6OHImKzOazbayEgpFIofcfPZK8hUC8NcgGqkliiAK9zJlERrDNh4Aq5e95ifYKJAnPnx38Fjyojv0qHPJZGCfbKkiuDCDUa3K17EJUfuFHlcg/1fZRcn0j1OYodYRcwg8ktHyLFQ59sqC0eB20rWo+8wERcOgcdjz8XXJTZf0Xqp/m5l0qinx6WTv12Pw/Ap/JdPh2MrkN/FCDeDyCHx7MFO0kqO8ftvDqP4lv/nkQJW9GHaNqNe9VYnFvIK84GLBnYJcw7n3pQPxqmC1Fbo/Id3pAaiExZF3DGZt9ppnRU6It/UDMWRRc2EhDnIXbrXjdsDjdyHbryitBvtDF1BqKErFE28aMy4jevzs+vMf3fESEI39Z3J36srP4IiVkzQCxr0LZJJ/y9vTeAOpEw1fqIvPp8rTzT8tkxR3zwvgIAxgNf2K0FTP8uhJdhDuFS+k/NI+Sjet18lN+PKQx+SiYjJm1whbNqcDISzOtrhe8kM06SiJkQRV6gBSxqHcATudFgA0lk3SaXLopjzPCXIRcSUyQsVTAjaReWLlU49tgOaCtPw1cmjY5Cn2/keqqNXhfohc0Sb/8fx1rWxu6VcebvnoRPutZjRfmZBrDwhj5Y/mROqNFPRto/9ar4uoddcmphxAqDn9c5qOLy+L5kgsUtWXAbOzTF9iucmLbuCv7KADjbepwuBXD6IfIjzb4e9wZjuw+4J9SXMd21VUkrO5jAdBUCgEexv4kO1tLBiheCGDj//eMDdbZMxK1a9L+w4+uKQBderrhCHcsplnUnWzzQ1HI8AvOmUUrJ9IELH8Fn34WXsdk8r+3O4lUIXxrXm6gwMs0Q7N2QYdNXByi7sNLayHCktnCJR1A6PRyVkVK5Lqv/FTocT3DmMZVYyo4gKuXOb+WzBXoiRKljhxVaakQy4QVNskgRlzCFYGPv2KRwHpqEuegiK2AGYPoV7y5mc/7L935qa33rethFWsoSmhSyY7Zx0ekoMpFqMka7Cs8QqQpH1aoXr/k1A9cuimiMWCGlfjJelThaFM/fQJQfYk6yB+shfmDZS2rmRKLseOD4tJcrmUgD9dXKI65P7cop1l58zoFaHPwrMAEJBemWaC175kerOLbgF9H3vct0Pr3rtLtqxfNQomkRswwzlNbyD7GvnSwYr236uLhfZOerD1pNEa9FrRJMXLpWexvwbk/rwAOo6NpcugdnRWxvEngatQw4Gaq1OXNCYN1noeJ+ubaSJMRo0oVDK0wP14X+Z+Di+xlKrA7PZYYvpKZdcrGmYAivy72iK3fkvVOJazdDHmHLRDDXMxGp4xqR6MjrJZXrfCiDrUc7U/pq4OTOk5qE/wvU6UxAdXJ5CtBsvh7X2v1/yfa7OHKYMbljbuf+n5s23JuBC9gqkOgog/FIs6f7ArHWJ0Zbi+bsbwPOD/YU2AZySyNwr8dswEMGOXZiX0of3jPefjoCiQnex8RDFDuZPKT5AEDqKwMX7AtqI/EVQKLUw5XwfEEVQK9yoLkFG005gjF63nu0pkZEIkRx02x7kCWk9xmbI4dICjfl/zkddLGo34qGRahdpSl+kFJdl4bxoPYaZAsLEqq2V86mPjI/kotZbQup4Tz/JUdR+jMcwJCWhXEg5qgxhktjWO+tyB8HrXRyrvWX7AaO/NAB1w6JlH+6BrRBGbnhFeEwkTuFIuDcXV8KSPcg5hRh7Sx5qsbAicrpDgYsOCPfJCrUPN8RIxS8vxogS+IE2L6r+m92fMBvgvNpmB32nft1/Sy7AvQaiFtOQvhAfVg5vWb/5IgLQsBoP6Gg74YU23/5+D0Eyh1x3qPk+On6/2eat4vyAk5pnHZ9HH9Wo68i/6adIXQYVC6tyNDjMGk6CpQA7Xlro/94cXLTOS9YlFmxWt029IkgGKqhRkgiSmJ4c8q98QuF320UAgVyv//kkXksQMseScMuTVRBP8xqzbO3t7c2wmb4RGvYGwAyzgJmpdA6HNVGzrYHr3iOb3KmRj8y6Jr1JzS0ChWNf/xIn4U+fz5vhctKhYM3Swcn8tM8sAZU23vE7W44cR871mzY7NjGREaMDYP5YwQNUymVTRqmv8jvry43VXI46mtPQeE8kOy+CpOLmZBf6qd183YstIS3QhEC3GRUkR5vn85v7CShluZfZmRGHRORe/rs0dX8op8MEBzaMrcD69aJ0akVExVSBNyvJIV5Z6VGg7Ip2Sit6chvE/QtQ9xQ8BDWOI5o+mvvnuhzqCPvYdJpJZGmDWoGGdTXUAMumXY1UyJyVTB5leGkk0Xkow75DtMt1dsqdORVESCwp7kjVVAJg8h/hNkcsxuB2j6wz8WGxqrYC9ahTJXLyOlNz/9zYhzU8SzQFKvg5fdJxrfwPEHpuQbTarvNxissqA/BgU0rouaByIaxJcdHoFNtCCd9MEyxQingKTY2COJqemFu8uI3rOLypEyf+rTliQ7mwkiVCEmECb0itxnJTB1wc4jnWPS4lV/Gr4EQ4eyZq+QSRqCPOrJxduaddgcIMebv/qPhZdsPqN53/3SAc8/3cZBI1COmX7RVs9CXha4bFBgBBIzPHuAwjmf9Dv3UsiQCrHJggoSP0/lrlTg3yawIFDfCVyBnMhixERTzXl0WueBLN7BT1JHmdDoMdUsRwwoNn4lhCHgfUwgULM52kIwOAxdAStfpfCvY5dM2wlgQKXP+6lXGbr0vuDffNTSXJQJGUeEZcoxewEoNp9sr8VFMQJGplksN1x27HZPUmRJzwd8XvQ/eWBmea2Vl9nOw1RStJ6R7eHDveatIn7W6qc6iGEfQ3fd63oSJ/zMDG1KHYNrh2KQ6cl7kr625No3lx3SFvv984F6ERGMQZaQINP0/gWYq7WaJoGK/864XhQMaGKJLPZPMCWnZ/xc/Mu93Xf4W76oU7EjVJJY66GUEiWP/7Vl934JvnPBd6fOCmp2RpOU3TSi8OICIaaWOaFI/yxAx9PiStM+kFD9ARA/+wLz8k7rjGjwgn+KY0cWN0mwgTOaWIllwpZF4Zq4FR9aOaWlvrX8vpHrWzVobNL1czBfveLCR5xdPIT9kyEJnoE230b04zrck5VL69zj3z8XFIhaOYJARESPqCmPM6H623+08SblY7bdV+H0w4zYs9cJ8Rvt4WuMh4PUB0Wi3H0FPajaA/hN9vvor/O/8wEzUu9rYkrtNl7ZAH5CQGfsfKoYU7QE6R/ofdcQF7Rw8wxr1RR1plJsfFFeRkAPqtxJQOEMMFj+soXzVe5LoDW0rvQTq0Ur9mOARAQMVpS1fXxHCrnUZZMSEAEfiiurgefLZ4w3poQOaNpmnIc3z6ILYPt5MV9ztpnffmvNMLcKmU3QosVasfPkmLLRZVuN9ZPiyioEhiK4U4ScZZXBiaul+D9tbs+pzfMjZkYQcDzTNKWpo62QqIY1rMDHuaEssH79En2MbtFxKrjMURmy7ZhsbAzdJKIarku0SAtzZ8Itef51jYcZp5UKo653xQL1zgTZ9jPBD6kgdnMWkoQvpOlWILhXSOlcXDhbA6ei8ZsRxpbng12ToqitGjhGxFixR0aYPqbVJLfaq94jQ7vwurm6M34SgW1+kuCEGbEPnr/6+2p643LzHCB02JUTKhubFhSffWNHa7a3WDCWrWzz1WxqRxu+yGXglZOv6mhpXpaKGY+p4tFt5GSPX8ZS3RKPj0156EfdINveDsrFCRbHOhiQDlkGaTjNBmMezDfevO/PGDVtBQuCNiT5ji8CTB7SQy5NMS9kea81UMCL51Ozwb13YUXiiGYr9MVSz9m9QejnjrGsvIez9C7n/iowEKbTQFAAI9zHw4tEuZOmH1MK8o3g3RC7m8FrVVIs1rz5HxwTJvShoBDZT7/uq5KthtnkSra2UcrbxgXWHaoyrmyGoUsliErO87bwPCKSAOC7Z8jKYk4/w+vQXmJBEmfIMYD0weWjPTshaaXiWhUHGJoojw/CVgYwMEJDi9XhKZzoNTr8tsJtmQCXWUA9vaAurTgifX0ML4Lw+BsbkFEucrw+HRK2ihItGqto0xgCcpiLYyDPjotWuLU2GtNMY5a1QXKlPcduaClguvFTwRSrqS+ktxbYSKyVKH5pSe8+2UTLW/R70qkHnEvbWerYENqlpQbxoDI4RhQqWWoAMAAwgiI1Ell047ZTc1n1aIInOq+VJaDpbd+AMU2CX0ZqBJoPoLb+kBlf9kiCqEXIL7raReQfkdi3FBLlcU/DjJdJmg4zEtButKr/V/qWY+Ifo1yZZLMoaNWk+zcr0Z15VzSnmtumc1dQvjCkqOC+lusqAUfF5XA0DvJDHHmSXGr8FroKWAaU+hdY20dVjZRYVTuZMIlbDdwc5bZE8G2aYc19P5fkdaS1AVBp3T3dBB5qxFHMjVFlKX156zIuGwaX6SBEi+PKnp2C7qnDJ3hzKUdVVAExwtXa+50uxiQ5Ru2hUM6BIHKHgtnqFenbGl+yvVBHKY9536pLqPADEYK4H+G9T2/VD79fOI8/9VFKKjxhIvCA5uVWJEn30B+MQ56Cwg9LZvNp+tu8tupsgvx3DrGJ1rxm6dpnWIDxhrISN3rEXsm9QtJRgxMhesblIx2jbGGH6I9TwbbAQZ7hH81vScQmxibnc+WEDmDi35dTESlhImPNl8Rj35HTxx6+1NtPOgvQe8jaxD0/xzmbmqr8hJMrstxvZ2gbrsvgT6KGf+gEIJ4io04nkfiVFOulz1TiPFRKadLcaPU53QrUSPsc2RNAhRBRpp6MVhT8yhraISF2pkh46pF88rCXW00R2nEUxgnHy5J06MJ6CMsF1gMBke+3HOvbg+0kL7Bq1Bhe7IOP9kBpO/8AbdQRG04krDu3QJZ9IEwZaB7Pg6dMRXrvfTbKAmzETbd0vPBIaY8S47pUjLrIw+AW0onDD5Eo0srYSI+j3d306rCo5yjNLewYNsLUpn/w3Sf914ZvXmmDgbH0ChDhr7CvyrUf2QU1o/C5JlrZkQwno/m3RBICmWgwbPySB0Oek4juxGx/0NF5gDpY4Ksq2KtkCPFYq4HFejBB1IdGjZoZOFKvqzDv+Si4lApW/xC0aDyMbNDo5D9soX9iOEm/Q6B9CDFnrOyQMTXDottqrTAE5guRGPCNWEnfZqOgAUPA7siVH1OUbCevItZaGmOtbesk+yL1rwrVoj/4OJ33Fc2ZGgWhwOywfys/PSJX31zkMRi1YJEnyf67foFMN1tXp+mcPOAAXMa8oycT3asH0Via+AjQTgybYZvNWE2AL11WStOA9Ank8sPwQFMwpkN7yTsI/YH65hCPVm5YD8dlpGsLxxORuQEv2PCHPeUxmRHzFw+w9xLZpvuD9N/oxIVdykMp+FDdqIuvYQiuppAkYLOA433QnA2d0ghjuOHwYighoVVbzlM8E4ga8Aka5Qo3594wPkSsrDP1pyqbqHIrskqjbqcOv/3lq8HnK/LhIznZXBdjG1MGtuJHWUKrZWS9GgyZQFOAr4QxW1NCQ4JHwI4vCtu2sMkiV+PE+0om4ecaVUDbWAFx3bl0V9PWPoPSv/9ieWJ6DWqH5QfuWQmTLOK9CKwnlaJYfgGZNIjKgm4JHDZYWS13Y3JuKCSiB/u4c+ee/xnwUxsrggfHQRNpE7b6e+CokUAqXI0arhXG2V5/J18Kaybe+sLhxofr9sV6aYu3S9i8BGNYURA+OhOLQgpi3q32HuHpB4VqKJCl8m5/NORWBXkiPhGaLQi7bPdPSZTzSyoi2hJ4eqbOq4y3lvRoFyB6zsnEq2oZXaDWwJOBEGI1L1SHv8nnTMCrVKemAd31aUmLUxaqgxzBNui+P6iKjfIdarzfij2lqlFKzC9SOs30dQdZQKqwrXh3UU2lfTyzgESRcp2DW0X24PWOY92GBYaWjQoiPpWpAm0eZ7sl9pKR0NmrnqBf1YzTi72tAQ6et1/YnHew0ew83Qe/o+Wk/oeQmNz4JqjICeVe+RjLnbelzHpOjpBK+zUpYmJglOKxKgUw28SJzxI+3KydVKRmYi317DKcC3VFLOrnLrfr9qcU+qVTY6UQxvBP6irJwRhR5q0O9J/1LgazdRQJQ9femqMp7PB9QNNb6ZQU6muddVMzvNrtRWSKpkj76Wxog85SCk448CE/Rq9p3ehulwCos4a+qKt8756UWsK33PIuzfnl/iJhI0NDIWdV1dUbg8XfhrUW5iUmIAb9YxqjLt7BVtS6+7y4s4vGlOtRm/MSNlHQk3LBuXLJ7lPu9d8WPEGx/iUFVT805/0EvUbXe2pmH4KTCdnwET3REIwQRH1ydX42Bz8YTSBV2LJI8+XOQJ1ZIy0cByPKl6IIcT23M/02oRLb5MMN0Cwx2Xo9HOcPdvLePHlGF3qUcBMfhx4TLB6OukHiPeGpoM7MM0TioqdDWPhz/blDbM4O0JNIKgoDG5ac+RtIVK4JQfedNxBSp8E5CF4Ys65/6fJPa589LLf7FS68KNt33zRXhEWUtLrsYb+7YgZqLCBYQabEDCeoxIQK+5pHQsybZdaOM0UBb3+7GnX+U3XbMXaB8zS2Ki4uB+uF1S5TEbAl1KAeakq1Dnup9n99BPs5Vx/v3xtZP1ixvkDDgKWJfyu693d2LxU/EeiOVsy6jDMvsY1DzLKpidT0u+vC7/GqOawz4JjwHbnh9KGTFDiRZbmGdhnIL/HpwFBtoIIR6Ozwp3xvaJRQMb5+jUuuIxgwWfohHkxw9AiUuf8RsVSxQTnPOvsBti6cyESfTfwpgkOE5EtdwCCN84KRMoSZvvf3QEATWgusUafBt9+y+HtOaobWjOpjocQ+gn/UUaVx3XHZAb8zjcoj1resDlG2Iyo+m+ZCrAYS24IhsLm/+cYHwW8+hR2YpddXDc6OgVUPuTuDQv+JCF9r50iii7ksnJVpJwnVl0u/PV+F4cD4zBC+95uXdKp53D9qbfItdWS8TCjOWJvWB8WlrZfieek5IjZErLD28EeXiAYSSHW7TtD4Xy+nJgcCOBZh1eye3681qDgIE31xLwA7/Ye08t4FvB73QCNKt2fub5h9Ta6/u2vDUNk5po+nGChJXKEBax3mq19ey+UsyuRDdZQgoP/lTdCHOxaq/MD0zh4mp6xrzxOiaXXQTfisP1Fj863a0qUREhK3nxkAhxxfimBTQG1UBen1WWWu6b3zdVgRfxoKoAua+3b/L2gLErZdOGpxq28KrnC7CeCEadQYuTvS76nKWnj2/o24YKVYbTI5GUY6j2jyqF8mLRpmKBI3lJh4wkO+uhP130C4Upu/Jz6ms5x/X6B28Wwl49ZARibmwK5tkK3q4xUea01dfHFVVqZ5fTGfrBaW4fDnFa7jdlyz23DH5RPto3JZ6HflZ0cskmTX9BirqFUWXKN2DlTQHS46X8IQL42Zgtr91UZvi7gNZGnaaQr3WfstjOSMbJMBWTPtS6XhxcAAOQpUvuQKOwEAM1qJY4yDBkk3sO6k9Cv8O+ZZ6ZvVOJCwp+TLmjLq6ao2faZUQkXGSAVGjsJda+w5egTUdd/yxZoMZAPwzdZvnfUvHo4xMXYQFZ0Ot2P0oFG8zTYUgiYijoYuoo5FUIcEitU1sx0XpPWg2FATTCOtT1AsvhH40EX1ZkvTzo2KzI89hqJhRo+i0MVepiuwzY7E9qAQbH0KpUX+MP8XHkmkrbAs/1nSFaeL9+BsG+rfPHjYSYevwbzIab+921hXx5ncZ4QkLwFk4kY5jJ1qhlQofiKvyDYXnIR3OcDwC0lrajKfHnqdTN4MAWF99WSlUa3ZiprkCDAAbxPM7jlo3UVcDyuN6oR+U7RrRALnY8w+s6yX0oGfq+c7mfT2ywtRsREfQnGYUe0AmEiDR42f1LYgT4YQjanucCh4M15IBLbVwZ31j4VTYRI809t9finhfO2Kvlz0MFWLsWMzpJS+jlP14Ft/XCxWJBgogAhyxDjzKLDjtHTyyZkrSyx45T06Dq2QDKqRiJ77yaAt1pgqagyq7QEvOx8b9yaBhls87aV+rrT1Dyh96z6tQTb8/Im2HALRiQHrcGxWzR1DtOEo4evvz0e9NX7Ip6AXXSdFbqMVB23Km/slL4iMfGugqntetWfA1s6gkaIoHio9yNTIxtDS0tO5/3Mn6hSEUM+LgeS6gZ//lxui2mcvKXyCKN1p7oESvsiwnG59AOCgMPsw5dxrcbHZlqy6oTm/1Xc/EaSKcUYbuaqC7I+8fq4XJakX9zw6e22d+iqi+JbZcBViAiPI0p4TnbuopyfQiYekAOea1L4yAJ0VNxfXm4HVrONZLs9KXtWPMtCr5i9wBp0TBLEBXoako9u6MqSL5tU46yFojtvGOMmrUjTrkf9UaOuljAAL1bHWaBbPh3i3zpJWPMVKcwwjXTXy+au+T/2Dbt4743fN4RfKqxkPWVwANOK9lvOL7ADQ1irvHT1Qj9apnb7PyqaV1KIgalnqE5DNhNqEPxtjI6dfvwNC/IHHExZkdO2IppAokQQL6IDniVQ6lodOvPsm8nfo+ltQl+tuHkSAm2vDdcOhUEnfgzxT+NoEpA7quGr936/HqD8I01okd8s86tAwp0TskhsoNEwq4PPgkJOENErlsk+xh0fIzgcKk/F/5UuujiR74TqOD6fxT1B5MtiW9U6H/6JPQ/BOmDN/v4o8VdEHbgepy10fh06Og9m76mFDa4ktyqK0lbvBzAFJwJPxZVIZhXMMO43wGb+zAmbYgsoH/ZsNMHHSn1RQPjldx6P3YVx0ADhx8bA4rdlSnftN7ycuq9no/AhYYXH8s3dx2Vp8AjAd0qWlUO0zzfDw2fDuwJO3wuV0mMi8HRqq7YkbdFgy8PoINOoIDxL0ktNZBhN3uNN1U5vPSBfoWJhqjaV6d7NT+18YdfxeH+CN8+AXgF8jiWLVfM1qzesnFjYfRKzkg6PgXuv7kIRBhndH/tZsTxG6b3AzNw3JWy6i6cOiwIofZxcYt83w8cCsI1C4gx5lFme3uwQMaJldKEsU0e4ptP9KHogCWjESrRuSqTWt4+X0rgXJbKenheQ5Zan1OCJmvxeX88F7Ejm1KN/uk78WzWPY/v0yCAluXpxwTQTbEYJB3jqDZTGUhnvUVFlh+6F5/9TcoQh7aNo1RbbPwZzDLBIN/q5+LZvterja4xfUVIjuRwyYZezCdLc1Mx+c3DAHx4UEmIH+L2o9KLD7MxjednbzZlllNsqzX2nsbrD9blY8//8FDHagnBUGduU9cp5jKsQv4dlXJ2eukdXEM1K23rPCpQsRBW6BN02w/s0iEP/AbFj82ZVGojMd+a8nwWpcAztgiCpvNTas9rhIB8qORzeXqPylhCzeoRHeb1o+EpD/W4DnwvYZX68QUksmqtqjr0SpfdIqCvgzlztDo707rmvbg/0HBsN8WxDNH8TnwgYKs8im70FkyHJvgN2s2dQkRO06hmx1gS5rJX9E8mYiAKAJKaWgjo86PFcUhVo0OgeJENoNWLsQXBUYkSU1epG09qwFrRyKAmfmHSZ8y1EPxNQ4Tz0oLeGHwqL/0iMgNn6lEosGHP1ThsS6lz8UE7W1vGeVlHXB4xQe3H1nlGxmDRkCGkU+Gtu7/zBiKxy9Ga7AnFoOCgDjGo4JVV1ZUfjJexmzeeFtLaEWxXHGO3MApw9m9ABcuhrSJz7nHM6+tR1Bp5US+2xTrsiopjDAmvTz4TLMx/qKKGXekQAoCYKWkEuumjR19KemdWoQjBc9sx1rA884KJ6fOkD/X8c/2CAHuPP5FtrG9JEjxOMBuW0qNA9YdhxVcIU4/F9KwXyQAIkEyCq63sYfmrCWWdVV03JgCrpmSRHvB9X99eX6Lnz9B6yhvW9r0kK2Wc+JcP+KGNfZ7mEjh9BReb0uhLf6pEFb5DDG+rQnWi66o3FIeuK2HQB/AJC6XAJHxduXBnBackuW24+BjQmYxLsEZxC5d0sHe3ISMPaOgsqDmY5nm27tGkG+zyhn1+ng91rupuMxKChpD50M4nAuYrh/J6OKSijiSPfA+vwkVdKXZM92sQPrLBLUXE72+t9ruxS9Dg9JFds3sYVnV4GzwNpOAWO3eKoPEKKkYgVZ6xjiH1CFbuLnle6dKfbFIYRLsgy+jtDlWoJXbF4dpFMuXP8+PzQjdpFjbBk5DcJlpx3rOUYCrDvN8poxq7nZmVxsmAXtICVT9C5KP7tWnkWUhoLZsrDDIfAGtLFyKeQLiiFXDB5tJ5QeQXQ5wwqvH6GG8ns8RnEQ6EM8wW/3Wd6dMZEhsbzo/NPrLWCC5Rt8iYuTHrRNfbPOJ5S5S2yq5EVEWW8+tNz3h2R14fHf8HemGt+MLMggrd6LzcUCOJniw+3cZKzO5A3QF38vXRR45fXQH1G2Supidc4mr5KGldydcnZLiviAaGXUmDH9WfbbtUZh1wEFrs10TLQ2TqKSMWKKNLaW+B3ogezKpq1VchD6UNC/HTE9NIzDoBAAZkAEXHrfIjWUEImWqN030OdrJbcx5s3uryfZxdfNPUprd9MzAsdk3l+kS+lQfAvWwWd1izq4OCfVZz+Zf2AMWuBnRLcsogEqPY8imcEddJmcZo7Itm1cRRBSb9BWBhn6inv2dv810//hnMV8sJFZx6CqrOscQNb+rDcLDye+cGH2r1T5P0lQH/ncnsG6JyKYFkJGJ5X9bbMHE0wcprCQ5dmUvTXexW0LsBupBICAoYLonCiO7QwfYLIg/JlG+qoDcVrVQfEDISTRYqDTpDzEEmx4UoAxm1s3QNj061dd+quffP0gGZVPpuoEmqGdc/KassZpwFubzdvUhHv/ytJdTme7zPE4GFajR83hNrVmsUZxtZLw2HVd3+7S/6+Yn/TXnsTjq10GFGrKex84s9aR/Fy/th3x2NrNG2/v62wYKYJ/AyDkLjD3DorWqEkLLPtgj1kS1BI4XhMi9CU0AlI7g+EkwRQLMg6R4mI6OvosstIBhWMuZ+ilE6YI8ES8v4YKsXd6qcFYkKCh5P8dPN/+9BNzL8vlNWHssRaRfrgmqQR74btE/7+c0tYP/MFhuqQLzFUvldMq1kpMLtFQ6bxgrTwkOPkNawWtneDDmCDpnhomxghtfMDIQRWuEbVRKgdB66ntqyAcStLbLlLIedpZ1jw+fheMPVCScGJ/gcAM5RpgId/2hYStJyaBNAD27fsQvdq9leSwFxvamZJe41R0sH/Oe1zwnpy8XmYtr77ZSTqKA+RwczXCSFbpTVWCPvE+YBm4XToLZWk5xL/o/3aqySgb7zkwxBSqxVRqdi+5mKnh63uYDup2nfj0X47hhvywf+3JTOJLJDOIcxC3hnvlZgy2YKwyb3HusPbvnbD2LefJ0j5jNbzuaHbXJ/ATDFCmov9t3mgE9ZHN8pRXRU6tE71Cxc/m3LS803GTUfpFzfX+3QX52637RRRPMsq/iRq/v7yuO1SAO6TpNsUKw5OrRUlkXJYS8cNTbh8P5Sffn0Wqws/SeojfspHV2GQdutYQaDCPMF4rgDZ/ixXVeBFTUBgJyDLx2bn0xkbcgR1nUvzFyRbUgE7NzVQzxHtw6ue43VEY1WLxYe7Yz1/TWpBvqU32lwv2tgIRy65horMliFiG+Fnw7onota3+Chd0xok9SgbbU4HaUuKDEAo0bCnDywsIsIB0robkHKRT5GY+xSmITFoEzU7ofDEvD/ddRm1vIvazHqOwhXVUnPYI/pRK1EitNG+VsE0Q+aK9somxJTKuXXt5GPIrjUMt/4rr4b3INSELpYK9mcZ/eWpqdH3h98mthQYAsfGKD5bT3QbjiozurtPVznIWW06Rf91EMldS8T/g8UReLHCLJvQIHfia8NPJrpN+2fRqgHH3UMWML2AYOjQdIJyqomvYQJlBoFNuV7s8GJGvK0QaXvazRQzUBvJ8e5Us/TP0c8f1XrfFxO5HfkpBc+4ZFhU4RCMOXIBNZHpy+RVe+E8f2BS3IKqFIksJ06m1fOiXA0dtJIefhOWZdLHq0btCz5yye5Ce3JGlygwZ4D+ItDVyL6qi7QDTjkCIS0aw283b5Nw0GukJ1mzdMVhCH98K3P3TIR9SRkjmD3f71IaRcDlW7x4+MAiSr/wTf+mgjS//rs0yJQr9O5K/wztT8oU97Px8ACLZiBqe/tXUt0jeWPWT1u/QsYKCizCuC7rXd4lAp9s3CORJq8JLCGQVKyT5Zcu3Q+oqz5teqlB2YcFniTBPpsspxiTqyXBg6Uspe1BuIr4WqJOVK8kdyNTZa8YIOgdKFlcHwo0HsulPvl7xYji6g8Vm96L8aDaDOZRXqrxf7Yj87ox3CNzm0GDFun6T9UROHaWeZHFAiP17XiKR+F9OfhMht7rdaAclIy3tF8yE0B4yIJsPTTsY1OFILvt5jORzE8x48kC27XXoAexh9FIMlFQ0ZPQP+XvChbQBqRQUQptvsRFq0HWDpXD6ACOMSIB3Z5ACFUV5rpPIY/caYBL3g+BZAHckv4lVeh3JSWf+/wlKKkrnLNFaX5rrt3ikZzzRW44WT+6sweeqw8Q2LjF+pqWi3fSR6pD4nuklWGEGvxDUK8G1/YNWqpKW4iUgqj7eLCZHY5COoP9zhZPpkKZiyexjwXieQ4Cfbp57r7geadzT1Ynoig7/r9dsb+OqrDxYm/l+2mPcKd6HtTz/ksnPtd7tEB1hpMY6IJSiPaaa4MiF8tmXWEjNFeAtpvqM4CbwdkqD5fq0PxhebBiWQ2OVSWHHe54Z7amJ/lI1g3R5ZNmzBi1pnsdw42ZHfj8aukyBG4lgX+zploO+45kLdLQOQCGbayfHeNapMvwz9pndNHmWiuH/4aLhmuhTTt3dxY72gErXmIorpLn2ArqPebF3JNJTnv4fPVQNnPyx2kB/DiUpyQmVYZUwbRHgCbHq8b8WIeyxln4ynG0Nn0tvJRbXQj4caMhhlhiPZdRTIgfXWav1kv3lD9CrFbUwHyg6UJY8WmgxpCFpOnCwYsQQ1D8nHzMuoCKeHNgZdhQpIRJkt2mqG57X+W9FHrvIYxLAIgY/rO3jcipup+Jltx185ruORAUSUNP7f/uOOmVsjx5K54dX4Pxc8207xxdQ+hRUeVjJWzXG9UdsxAAdLjuXaNYAPqt+CxNEICaELo+4kzC3fmH5SsSo1h0flyqnaHgL4uxGGJyI8GJ5mu5PB/u3GQtUBG9rcnCblbhavvY/Q2IXKzn+MIazbi9YaAmBROzZUenLn1APiVzBzEQLajvgd1soCAbGmKhEZ/A4KZbbMXsJ42e1e+bKK3gLEr5TTgVR5AWSR+l5bJMY5B6maJwWor093RHWK8B7QIBUmW3FExZ0FiJViXIXyVXXmPExbevr1tg3gmJBsJghGrET3mX5zyQMY4XinHxzqM4ku5WtQvqI8zublepkjj3PW8NO3x6VAlOIvvKkOi76HW+tFlcEP1RLJFdktWCMXaov31rYiP8BJRqIQaqMEh1g7QazN6X8ZHVkXvQoO9spI0GGZVveDUlDu063L0LbecluqMpqnXT3BrkfxZHOCviqi7E/XbrhMvLbgIDr92QBBIFp45nCKy/ITzxSB4A57y0E8e98cTqkaUS1iIDFJyRHOO/xBQoSMiXc+8FkUNv+kReH5CfJy0je6rWuYe/YI0vyNW/ajvCQOS4vNlDz6NkUrmf+W/yx3ilJX3jXJZVOqvpoB7u5yRD8vEYrdYqQ4AA9Pbm4B6Nz+kwASE3edzgEyuccmhksUhW5f/tmKrqlOq4EHtMpilEz9Im/kZlXC7QZYUMvZo8sVGJlrw07Izafo1vLatmayAFN8HJzbp6tvEQJ+EAgG6ieAehSd9/7v1sLr9BukYFPpluHeLxzgn/nSED3maPbLr8RRsqlzDpPZPW1emcRZ2C3nrs4LHhUF00MPwkHVTj93Dp8MdIrZAUGpXeZDwdRbGTNDUnWFvXHlJDxWj5tw6u+2zokiQDy9Gl08L44fb/QliBr9xn/DcG4PPnkAvWmBkRvEw/ltF8vgAAcj3egjdniyILFUu4OBynxrCHeiwWrGitwTCGttyDiQwna6XSWHoJd1E+mX4JOEN1xvi+u87UN6Zz0dI3aJ7tIz1uJ86Qfd6QWVlM5MD4kLpCdcOOmN4bV2XNjfx0/DZTkLusFzECK/IkuWWFFaX79/fjrqhtLncJ4sd5+VzE51Jh1l4NXpqHcMyEYIBiDbdCKRdGFl6YuwlnY5zjVKWo+zIWvH4TMqVHdbT9qbAK0x9ruQ19oZ67YwkxB9FOUcMC6cBmcOfaf8S8WR8gPLgpwAo+zvobMpQVp8EWes5gZDr3XMytUHsrC4/8opAs1KRx8MsbogJ5ONR3kb83XvAEJsEDBD0JbMJWEPmH2NyxdL36Tj66cJzK/4QTjOa+nsmJJKyTghcZ3SG+9xe+Ul2Y++ovmPWHygwEaoiu8MnbLlPHtBx/dqNgFK1sn7Z9DfQ0bWgEHGU5Gy2c3fk1lqgvaZKcl9SObLvGDg/N28GWLhx2tB7q/wfsUXtZlcp471x0W5aP3CPplCNvHU1ey88uCllDgeW3iPhSZPzo//KffnZsF16xFsjZQaor/qaNTAJlNpFlWhMr3lqQY3otnWyr/kvzfYlKiKcgTJRYwX1eWh+gz97I7CHZuF5m4GXS6jXJ/g9oZKvZoN/TrUN6UODCpBUvZ9rEAxSgOm7+AQvr/cW/JceIYDjyti4ZBpRiTE/4NMMiDcZzgpn3XcoEaUhT/BAICfUHvUoqfwBSjGQp652SKiitPou+SN1YrZFzDEROLtuht81SoDxrxoOAOBhwQnDVyc95+/O1BDL3ShEQDCsyWpk/PK+ch4O3RO7V1ZHShtYx/h7OGa0UfEs8wm/ui4vpoDM/mUAVjWDYzKYkz4WYw9Gb/vn2maRXbChY9mwdBIbZiYM6e+GbY3W8WJ0nEMwgEsyt612GIGuqWFm7HhVgFvFYuzI/UrgJyRRvL3eaSxOwedp4VowzFVhL6ls0ryjcdcDnlXvt3nSBqzaATwhUbGy6kJa4zaf4SYJMlO7ze9ycmOEXgw3A14EOu3/un8U+atpGoMGJwTNWn4kxD4tPizq6vKSwkZ502m1qldq2/ijeYG1g6kie+t3iAH76UKLCHm0efHukxUarffVajTNrs+9FkOOVElnuE9Ps+J2a+qYqQkrSrnSqDgOQYTSPBtum13NUTEUFAZo05Zf2QJNCNPl6SOz5q5Qvh1+t+ATeS2mXPOEFE0mwNKH5Auuagw9xeE//8GtvEjRwkf/oUK5PhfFZErHSCjQpSe0vgXnMDLtBE/KJbA4dOA/+umfOSd3Zn5xtQVmRwMS0LIbmuY4vKL7yCKOhTagMsbV5GTgpltlyVriUT9rWOTVub6p7nn68Q15/LMMG2K2v+pGFMrQvHPLVfBCVFXprgFWGnGbs9SgKU6KsIZjruCyAM3WpZLix9sBy0hIc863U2NsgflQqbDLf+IKKOyukQtxwR3WAh7tFzh0G6RQGtZ3JT+j4blU4gcDj6PybVQlerqHZW3rFy2l1b7wYVSZzkoQsOGR+XAZkcCu7U36f6tEG9vKiLPF5eVloQdk5cqP2oj/EN67Fldd6y9gP8UD2nCtBFgcC4fDU0h8/oVfWMrcyU8tZ+/DtRkqBc9dgbg7GQcXhZXDgfg+kBBe/M9o/cogu+GLXgY3ni3YiHryMxIYY3V/EhCDTGipKACVWleDJf98zOYzomjC1g2RouS+mEE5Z/holJprdp2gjgkRCurAF6289nLaav5fjQnBvoYip01+mttQaU6JxBOd+KdKAttheATY5lP1R2LBPtf3atz+5ASLO6uF1GN5wGsXZ2sTplcP2OLcWkJCLBSjDRStuyo6PC4MMe68dYv8vyV/OEr6puc4cjS3aNjz902/WymPwYoF4TFwVqMwiM+pHM70uHRF59n1+RODHVLnDXv4GBrXgvSiRbz9F+jSILe7Qz5nuPXLsjZhUNrdFHFUQp7suyfFJsOQfef6BNy+kBMkkb47JFvHduYH1vGQjg3gwebAU/LpbacMBJkD/qZTji4XPuPXVIY/oS26W3N29LpplXSObSbEcNnSZO3mnFfJOYG89niwTJ0at0doU5oHWJClNPtCHgScNJMj0Di19BLyZ+tou378/MTZINWw5rzi4MVeO7Rp8iBEFpgd3ULgjT8eVPu1czTQ7Fkndr7o3lJ0ciW9lpt0lbeBMAqzo1AAA87uKjD0LzZtenC/ZEgllPth3hf3NCw0/zc4/FJA0e/YwQL0o2kVLoaypbZ91X6xwSskYP6qA6wFdHPEtBKMRtaq572599miahYUIxd8TxiI8yuHZ7IG0mewd5rA6Hr8+2XnH7v3hvE0FZLoe4kAAahLKeHp7CwZ22fhZxt1GWUjcTXTFHjFksL1++9hq5GuYcrOwqYRg4WcqXtRloZafDcLZr/Ng+kqjI6kKjZYrxzfmGJyMFYSssB+F9KvdsoY+bc+pMfGjW9JAvSdrApxYtPyLiXFV43zc7ZFj/4Jx14gzhw9rSCsbVqeOUzk/Ho8/IPt+WZHH2QKYiYfP7bvPXIqA2OxALSyL1BmJi6a8E+vE861DUIX4hkRBL++yTerdt1tZKR1+ucA5qWOt6UvrQUUhWXQADucKo80hQUx83WjUd0izaj1tcMSOVehhd298arsZWdJGR4KCxrxLvghpKWKWNg7fWNDNtQYco+ULxICx9dmW2/3rEvi84stfpv5pR9Rkuz1xKURD3JEWvgc5T8tgm8/PsTLBTvCVKk8ChVKh0CFkd72+po4l3ISKzfvgF/tOXI0YOYYgZs9JRsz7Ixbl3kdohCkmQJi0q8rOPcZ8usYyJo0RtnKjKn5QsrOxmQkseirgGHbu8TA5exUZb2vCPRfPk1rNBF6whj3Asqzi1ccqOCTNQlPrSVJpP0d69Q6efXFwHWd5/KTdgibfrR5j0BtWdKHgTfhN6oaEIrvLe0gYV7kNOgGyBQlSk/FNRLGnnvFTGSWB4IlCVVR6BiYjQCWkjdGXO4hpuQ/OKd6+kiKoejjyNiPT9bKRZgOlKgf9dRL2+trIen27xNS03ngX4sOqIvPb3FBRX219p91wLetLz3s//3DWtYg7t1tjsNeBFUjrSf86IUgOliT+RzzYI4EX5S5k9Bwlq/7bw2FyFXEYGIjdK6TzHioi8EWicNyRI3Q81OsftR8Dh/TaKYibm/g2ZcdGUrPcqtLBt+kKhs9xAU8ernmmCckEK3sgnklUljYkF7Id4FEQK55dLz/cxr/EsyXOs65jmbegR0a1LMy05vhi5C0VBh2nCNHjuiovOKKYdwNYdaqsW0EjYnpktfwqejBTmpI020mm+oy+D75+PNfyo8LZ/MExiDz56r0cJ8rIxPhZlFxp/OBtu9RrZxzEG+M9+TpSYqiroBjtlDQV06Ps4qPUkgF1XpW5auMx+oaHGkfaHdU+CGHYIzuLK1i14hWfEbVAsJn3ygb3MBCaz3eVrxKFs6ulRHDkKvGrwl8VJ1OD8e5zueRrT+if3TX7bjYOQ8OWC6WnSBtUMVUeFG8jZNgfgXkuNCLSvuhptY1NjLEdNKJIY/vYxubM3QpG0qoOZGCv4Ka7aqiyRJ+WEOHp/BzMRDMCefMNzhQ1Pzz/Bxh5iVIGepDOucDzKX28p6PjRf/8KL55TDeIpDoH7e3RjVlQ80U6Y9n8PWYjdMqSkTUFkG36UJHpiEniu6qc/jBP8VvCi68DaftSUXTO2aWs6GecD6tdj1vtiJf2tUhKoxMyjeLAdUmxxpPs5twXQl3I0LKippTdbJxlXhuuZCc+H3BM7sIP4t5sbyyUqwAPnUfvC/Y7h4c5ZNt20EcfuyQsjaq2GujkH9SsWer2PWvMCZhf+6KFmrlcWo0jJYVFp6rJMvuqbRzvASpiFW+vQHnuQrTN8+FMWJWpgFhKMcJxJXiPh14YLdukondoFMSmF5F22z41cU9lAf9PR3QFo5yOJM+KAM6SrJPWaRO69TD794Dx+7JNFJ3G9rcXYM4LcgP3FjxcQerW6AEclrYRZlbAPNmOPC/Uc7DYAptR3vQ2oa6B2lRBtHv/E3bjjoKlRao5jA9HD1QEYq47b9+D37/iICemm1Xdhnjc+/0maXRtQ4qjnbLqYR1I0CWItEXHkJ6HnGpVmMocCLUgEAoRlRP3FHfwZ8SXfaatPbkmTAH06DlIBJ6URza/aHEw1QhT/7QdUfsfVXgKM2ILIsckzzoctUDAs2AsscX8CorKmYrRaNgWmEpfdJgo8TjGqltkW4pm1Z5ex0oaHbfzmR95Uw37fd4QbdVr8GuwdWoDZT4RGG7Dw8Ag9+AXdt+npsxu/W/Pofw51omNMC551TtAW5uCmjLaLQJTk4eS52mhnPCYML1soI245/RHomiPb3AH3ds2JTobdSQcSgmSaVGLtF2Li2TRK8xIrwotWz1WHWi2ylik+V4oGZG6/CBZC3msR3F0sHdkREuuT7xTiM+KcC513TqZlTPYaHfrhtJjltejs+sXpQgqZlSBFMKt8TymwR++PeXZ6BhH6VKM1jdooc/+rKKqWlC8IzgamuvfDOLJcXvjsQlpSn5DZLfws6KqPdLRpldQAVoPo19570Z3bhuIbwo7P1X1ng9KbSg0OMswsD5kpw3n5hIY+Gwdp4z5MzIht/EzSgwpNPKJYO8d2D1d80AqlQ22R0TOIsYvKvak4PaKto2t+f6nACwlC6piX6U1+Hs6KxtHNpV7s/8+YKEjnNI9P4jZNTiup3/twVEeRt89nk7AwP9aANZS0o3GASGXbGcYbAowTfGivdwjbVgjkeLCOBKdcP06pAODyPA5bXe0SzDEsJQh328A9tM5ehnhhuXCYGzkOr68foXeJPkfJhd46jy+El1carQyYir0A50AB72gVNn5+vi3On5+iCnc/712P0ANERRGE6Xvx4wlephBn3RtHdDqZ0j43EnC50eIlu5O2gObvZxOcH9/Bc+kCj/sUerh1tvuwESYxp+MeA2GvJHFio/+8bi39LQcX30abk26x5Zb7NRg3wusBG6XrmBpbd0z9FqzPNEosQD6Wu0ywQ34VV3kkiSKTvSwUVdsapJNmNlB4MGD+WNkES22CiOERMlfeTeV87F8WtCw/5TCk+IY/AOmKjImtncYsG36C21fpWEvhgGlJ8nx6fBtX8YjwsurR8AXU+T4fe97YqulXFm6cpMEqe4GB0nKjluEhpVw+SisJ2d5hovtbwCLA9DMpIlCXZJrjt6QJj5fnRBz2qzju4GStgLimw1LErTyM1bZ0QO8TLeX+EzBLRpOSPySjPS95pRSJF+igCNAbJXkmIA3lvhpNLjhpn1Liopf8UOvCFVtH375RlvnXNx/vzNe/Rlfil8ROpcS6sZZGSs6JnAdafsxQDcHmr5R51IirZ3M0MlBlmEZ0SX75dK05okvlyB9vFCxJjMidot8Z7HMVNXKUVf9k/5HSdPCc/0bChZbvJ+2l/Cuc5yuYiw0jagUTJDYAnecuO42cOHbA0vd18OAW8Orb8w5SDXrflk9hfrqYyB+qjCSXYBPp7MZKA4f6WbcURrmWMq8q+cGTCPb97l/gRouYqFcT2qpMT+AONIOAJ2GM3dTk4S+AJbaiFPK/cYUwVdKbBrH0cowBiHydhakS/jPzoBUkMhLtUJAMBxnPoO6N4X7Z44Yx81J3r8CyWLdFty7akYXMQRNpCZVeEkUpcfOzc1tFGy3zNMO++MJOgFXh8KJhOnQjCa8CkRuHpayMjgz92/r/rb8rpbfG98sjqs5XqkqK640W2jtFBrys9eD5g9FxBVZ5ZnwctMBz3mW2Hpc1rjfzHX7lsfLykD9G0oW9t5esHpNS1wWpfcmkeEr7J0a+l80oAcd+eMmU+oRfxThxK1myQa+TpbMCAtHgn5dwMrWI3rjNzy9vRfFCerlltUp+jZPmxNwqSWtKwTvfAJ5LYFWXRx2e0VpbGCK8e7JRfK9JlOQ7QYUU8P4bAC0grtSnv/CiYdHT9p0YPfFNRcAgMx42eXX3QRy2Axw94fq8wJ+Cpv4rNtut6UlKpo8Dm6SwpFoLCwp2coU/FCFxLK+q/yWYhYJdQmsJi0Shz969UyZUEcxZgsB27iST7wpf0uEITPkyq3XIiyN2ZDF+kOCeq9B7mrOt8x3xjJeMVqHCgZkvZOjMOCPJjIyfh2KL3Kgsj204UQzrkovB3Pi3Q0MKwTU4Z92qxk7g/RtYRlW/s2c7iO4eqehy8OpoPLmXxUuP5i+7KSOLnaayuFc15RNnd7XhxpHoPmxaFMmw0fH9zDpOB4gGxezRLJ4XDeB0p2URQATFXr+eThnf/UGamHb8rrdNpoyO5bh0jv5kOCO8WzkXhZMplsNr18l+kfCblKyHTSDvKJiFAzwTtPvsK5/Qdwu6hkCh8tfX+XOdYZP01wH+nBrbbZzssokT+zFshlwc4MoMcD/z+OIaRSP05UiWMmCSfuD6fCLsHbAHHPvj96H2FFXJVKyLUTfhUCnREA85m21V6SjbZUtiUPCDC2VBulKZffxkmN12tg+srj4EmEjXINkCTdoaEZxmDud14pQE9mGODx1qqasgfP/cf/kw4hJ/aUaR76/dQXYXldUn3XDa6iSRav2Ioj/ux9N+oo7X8wDotat8um65/U+f7upKDY/TDoA8a/RGdorgblHXi4YdAUZDoUl6Mwb8kJSkO85rSjkHBt5OKB8dg5cfQH5fBtEXNGK9LO/yM+7gSwoKrkE5IQ6YiBcm1TK9N3JSumioJ0Qd2n7WbPFWy90oeC4TOsiukJM4vx+GruqCiJfgv/IohmIaGo3ml79o+o7xSoVBVRwofqk3tgTxTXX2zmNZutYQP/z2JVgd4Ji8a3XhAP7530r/y+Uv/aRzPZe45TNp9NATMAHkGuXovmvr8Nq5nggw3weePzlR4cht6d5TrZHEIWKpgHYBXbUTIvSqY3c8S6mCeMhO64CIM+RE3soL4gBvPZ8JpFXih91RE/9Mfam58f9M1oR6Bz7ag4dgbuCjn5FhYJF2GvrOcpE0m+Q9kXy+WB/Nx7GBgbyd+8E7ewB9ARg4I+toa1JJ0Qsg5ZO50yy/SaMJAGxKeDJcCn57aeP10GF7KR3gIzr0x3KLm/lWJRK1IgvA+oFEGl2w+LZL6BTm9mS7YNZQn5zovQ29PbBFNUabHzyAiw9GJiNiTWsOz+yiVFDlLO/KZqz470CdyubFJ9ilzcoQmKGQxVjGBpUFnHg+8TXvfoVRugtFFeYiagDIA4BZFfiOGxX8ymX8fLuI2UOHD5xkn9cFlkzn8MsyQhGY4AIoiDRssLr8xVED261tazSnEx46Z6vMPitokexDqVthtZ8B8Y+mgnVgYxKv6urfFF8nHlh8QgO+1hMV3Hu/Gbz/Y3acFLJNXK33ltUbSSvVjmMnsO25wcdhA0iJdD/e84NI6HA+gjg1txShfqfYwiz3y1gG8j8aloXAVOjPL+83xC5P0IDmYDpKAdWewH5PB2f2ZO8rnjlAgI5zEettADWqKXojv20G95wQjJT9fYf9+a3CW33SujDApTExqKDMHctAIwHddoU2ZuzXTnFRQx/RitnM0NtCEEpZ7gW33jsLqxcF08ruNB6ljTh8wWjST+HV98kidbPQPEWFpwMcTnBOdXazaI1nFCYCn4fIyVGGC5j3NzDqUsyhp88kk164Ffj9DTwuUGP62G+LsfrqhV3Q4pXRa58dQeXDXLD2WYsi64oGkSHVCIovXgqI9ZH4O2DO2J1XKyaE4fV53t0o2KVkN51GTZL+X6Jz4qYdjkXODc7NyPNGuyUV5e38XigLelDkF6jccX96ALwFcAXMO8xlAAY3sNlMrQvo/IGVrFqThxyH88GqTGxWgDeKwm+T/HoIwraZJfOZccBB2ND0W4koA36y5CZFXkpeuX4S8YIHwEvU5M67PEnYpwlLEQAilSHeNGFfUoDTQxNxtkus/AumVEa36NWdwLN5cESh9FWsZbJekhok73eYQsYknS5BGU74L6h/AokBiyfgmZfWgPG8cIUUbmsSVoGBfGS0ClnR119aD2lThAeq00v4Oxy64SlQJnyh5QAsG/PPRPnAlZLNYBohVMTH/gdBp9I07Fc74u/RwpCtZQySCcF/GP2/7+bZvAlTvaTP6qRFY87tuwLR5SLcfK2HAPMm4ozhBJfgbV4Tqna3mPKcXCM6gAbsjuZYVCbb0QbREQXLAkeotiSIexqbcxwL1yw2y/p349ynSPP3nvXdD+vYylvhTFyv0tKQTFtlpo2ZF3Vi6T3t21O+hsLxVD3bS6E3PsLZf5WWBDmEsKR5lDqXK5DRqURwmQeX5XQxyImfHYeQmk6KE6gQJG0WjtiHmDDYY35iTzgKwQq3WgSLaXFFUY57AzbgwHZL+kwAJ8QRwKtX0YtBK5s1uIEKfN6+tA1f78sPxVLcwDAAD1vXFFfCI6y0qWDv1bQ8TeffBG47Xf+WU6PgxA9X5S1q7u23I4zIpMdCkLbKw1/Jf+L9trzEroYcGPenDWNkpgHlQNaet2jnGXILU1fcF3ClvbSNQkol4jt65tQ/2R1stX9Mj2ycs9LdZjkub2GfMIPKYbo+E8MEJnBSMPW0gLOZ3f4z+7g3/73n2MVYjL+IMyRb3zsECL4zgBvS9qocrXQpl3OTEew0ygBvb3lELtHYucjgKCl04iQyaB+xewNSa4QmWuO0xeqNWjc+S1iXaLhxCXk/RQDk2CgCXQYgiaE4w1WuxdpbsmuOmrw1VdpfGh8DzT8AjTnEBqc0invbZEtMSqpvkE5dk471F6eM5CRHylXmS+plBhaT/tpx8vadRcKLmdcDpfinV6MS/77rieCaOKLAlqJwyjsg9qfJ12vtoANEyg//I8MgKC8KikuQeLz8LB+tOFuTixrr+3BLk5XbcBKPTKFBdSUiD/N1sGKVwQLGQUqRFt9nYlq9p+yzQziZzPq4rc7rI6eK/l7YLv2co/spUslKYAIF6p5p8ONtCeBeIj+J6l3d4zHjF0Zib5w+qndLLApS6jTTI1jJBy+uT+vsSN4MJ4BWfbNuJivmbPiGRuaMefZn2VcHHk94pY+p58xRA0zoPFkt9BLknRcx+IEIuiZ+aICv2phP5fxDAFXIB/TS3wOG5Ecgtxqla/C0/idS3VydMTka/POVQ7kmD5/OvCZ/bS5O9oZVQIkgb4VtaMhR8mvZOjJmYPgHuWQPrY8CL/eVRoPtDCXUPIAa7U3yxOU674YxR4pKmmkGu//+4Q7kdKBtkvOMMdrzcrCDOfoJJ134ybBcascJBjg0NLS6Mc/SVLGAGjK4gPTTHAtdjZoclYE5D69wrlZwPRHG11nAiuoEc7SlHvRSKiwhaEE/UnulUsIM7lGFwVeuyD8x0lHGbE9lDqH8GFSwo2vBg/9TSfb5lUBxSWbm31TAV/2S745ccMvZZNM+wFsmNmZF1PtBUn8BemQiEy7SE+uqg2ce1CWuC5NbI9rkNHwG2LUnqWeK/nmGioR8GCq49Ve2b+UO+852URvkGEzRwi5ZdpWfdh/HrmTz1NDacOgaBu66moMdIcyqSMHbLm5yVeaMyDG66S6ops6IBNvW9Whba00MssML7XyPoTbLGXnp7GkQTrKgj50XXt9+jEJlcHIkAuEDKcQQTcMsoBxO03AXUZwEDcOeLgBmKu4nwC33zqs0u8uHXwbHl3GZET0K2oUfC7hystNcEkP3Zgwjv/vFKy7aFlOZ5F0g8QJwrSnwbbMuYGu448mF9T4QJj/Yhi6VWjKFMsHRYvX5gRdpsMNDyPIemnLGw+MjurZqRLdFoitgBhaLbbtS+5LApOG1gZgnDjKoLW5Sh0EzTDsKjgDBEu8/fQrKde9fhrCks1buPKHyyrtl9aP1OD1oaIPtJT09egy9M5q0swVOyOhippsH4/jHnurygl0+BIGb7MrQhqcYKrmxVcFZ+6azLNnbgWXTxmmovZrcQmwCF8vHWf/Bf5qzZ4pJbYLKOE7xKvGrbfGl0jDkpCQWca2sy0M9I6O+NrJ/v6NRu5VowtwpvOwCYJf78ergypLHCnbAkb2RjPVqV8T/2+7Yw4iNBfOVj6d4Gk4DcyovwnW94KBBvkkyeayMQsNWB1Wvub8AYvptIjuPg0eUOczUt/cfbCPhiKE43/XOS5u1pKy9u6iuubGKj88PLsDtsiNGqNtVZw6kwRmubpWO+OV/h1lbvuBu5NFoQXqsIdE+JYfmqdSTZULzB5NSZCpggAMY/gQuAu66HIV8/EvtLm8BHuENlsfW5D+dLBQI8sloCSRrSi6YypmbHahDwK4yLCQtux0TLkxS/zY7xE0W/hxcR5+mTjsvUxgGSrbEndXlZA5PXexgL8Oy7PR9bZ4TIS0UVOK+xBdguID5B0IxauTz6+mlUoqwCCeQ/wWhIOJEX6uB1SmS8s4ufyXlAa2x4U69kAoLQAMKMSsSn/KL9+OHVKHm7xCBDLnT9ko3+iXVTlBX1s08WHVQ0v5LNdUe86eVX7G4hKdaklpbZqmoW8eHe2jCTraSTjYDtJjXhiICq2BPOylohSbJrTH5jFk8FylNdrnX6qCuUoTWTaKrl49cW3tphXOgStNRhEm93hMLfS7NYfdozgcl72e7m72/USz3jLY29pH2t5kQcp5ajOORls6LfVLYpkAGJwJNl53V70/ouvG1Krp1JJE0nCAmRvPGx/t8E+Eb/MfHsxH4x+Yew71apbZs00J/6B68EBywdQcnG45umvqrzzSh+j3Q0r0DJARJXVAiwHE9ouip7WBUzdVcg5MNHIlnq/kQcTtwbU9tf13y2Dxn2yE/TzOVnrW6vuRN/Pxiyto26dyipX64UqpjzzOcWWZi8A1LWr+e/E1ThTOPEJTn7QcM7XNJbLKf8FCpWDSAqy5+Kfl/Aexx0PGUWuFW1jm0ZUI1k/u9UH1AVktdt+IRw/f0rQCgXMFWeovlurecJBz98CNZmU9Up7VwZUbVoOoDmGUH/97X+l8u7aG6mHzZNp7+1So1CSECOYsFfPYPkh/sbYKIgDuYVrxAHSx7XhXA0K0rzV5Vyvl3iXeFkFdi4gaPFGeukzCY/r4OXlP1nk7pMv0y/eFxsyqBrC5dEds6vviwvfkj5yuAziGgwO6JtggNFTpp2mCKU3FlkuHGjZ8xQ12o6UQDf1CL/TZIQsnnxwzov4Vad6VFm3QGyclBbjpKZtzVzbH4g9jZdFCDoSGyF5YckaiLy1wuWCvHHO04XGoggepOdVtyTWmJp+QX4zlaKttjZGdWNKUx/EUZRRGJB7XqyWqWG/GTcRKHnTN2an5uQjHRzy0vAXnAYeSHvN7MeFsC3jjSFzy2cgmQtbmQQT9QGQrX3EIPlRjQ2eTGWm3AsiZYS02r6If8PckAW2qO/52o+bkc/41o6/yLbPaq0MzuYMRmqybUV92oO15u6RtSN4jjXSwjh2X1SHpgZhy7e7/BM824JNwt5NDxVSUNK55air+RR2FKpxHPrCL1swHNeni5zJ3VsX3f8pitziSQo56zxG/Dh3yCxUjUX/ZCIBUzoXEMnfbYfRJYNYSBjF+YN3wP/j9uI2EOx81PWnwapbCJANeCIHJxEyiOXI/Ea1AJ5KeYPA/iLoowMaxbRFLTWhP0rW3T0BA1BStZMCWJ5p8y7irKEDUO+PXRX8+/KUmriMZAoyPMmEwYXsQnqcRZMbRruSmSqOdIKTdhZmPLoWG4KSLMS/usfWyGyuGQO0cDNnO95RDsWpY1+REiNEWD1mq+jDsRnoJutTdXHcA0Fv/dTcdLpZVJAe+IPCnjkRvYcig8fubPWZ+ii/IGY5VK5B80unJBPrW5iunGI3E3eVhunWacBh7CIKFx/34ic7JhdF5GtahqAP8ZPU90WRBAAuKgj0rVF9x/rlY40OglDdK2tv65t+Wlwf5ic5R04yYkHRmOWOpVVWFLBW3yz98X7ZfXW4c30SsjskdQuHLbJS6I5BDaxRmCmiJzG7LUPXIDRhDYIQW12u4nkMBZoS3kSfRN2O0BHpS6uLz5Et/5XBVjbbrrs0FfKZMM3LxGjhhocAMy3w1obAHSYflreuzZdHmqyxJXxAuZnUPAljxv2Fnbmhd2F3YOw95QWg6uBkfjCejLWALdPkw7uf0toXCaabc6ub3iOqbUVAe0G+5wboYPcUPMOvqriGb05uP6DUZdTSrCpZciRXlCdFWejoC3D9DFGq9Hf5vUOCqtVL5pq0SPhBDkT+m+ZrV9nagUHRg6wdzt2vBJ1Y0VmWdMWT6sX1/zlD2scXFgYd7vUAF8jSimCERJTfDC2BWacFmAj/pD42eaWHy/qodmutD3qE/5ZnWbvK97oWvzb84xy57w3MOs22yO/hjK466HosWcXxJTngTSk8vVTDCMYEC4iBFtkFlliVgkYRcZeZU56bHxpe7Mi/z+Qw0EBDVthm9T+PavmK1BUwyUe3iYjNQXrUHT54jeXuLrIARAjYwAonM62BqE/IvajHfdlZC0soGflLpGBRn6cEyBx1oLOKsvOm5fwoqDpXLhAqcqn+Xdi/j4Rsodm3l5NWblXFxaTO8ifjrsKGJ3/3HH4EpgGDYwBhwpjiaxe07sfW7HKZFfT4vltpMx59paNxQ+R4FYB+bQjD+/STLbw4FReMN/lKUFI29tZ4fZo3CQVAINt2tHwhHxwntRa6NMY6tLSdxd5QoiRJLDSKTLJhQ/Ys9OzplAj9QFu0iVJJz/2XWRe3IjbOIxeA6aE1z6bN9hGxAFTnmE3ksyL0FULbV8UdVmgmo4W949OnTHOpkovCAa/qPIMmSftEZGb90oKqUy74cCTb272W5A8fQ7Uh6ngqMmoyjXzW/IKfAH0qDCLIB4B5TFmnIH5dffODZ552zqsrgxthcC9uHv03F281S3C4JeT8F4Qz++wkuoXnFPlZMzhtbwgyyZ/1DfFJy05vnoVaSr+ZC5mufjU5j69hrJHLCWVD5hQdFG1Nh9+k35fHvja4YvmqMzCtq+whH1SpcDcR6fHS0EnuS5giWJo0qjOU9a7esJvZjyHmDyf1Z1v6o2ZsiSQuGg91Qi1wR5Lnh2GOtho2KAX41PNPae+4KljzkPz4poKefXYDqAp0pohPDfQLjmigtvB0i95W4WC653KH+bSkxOAbVLCuRj7WmwS0s67NO4csocRqfaNu/I/khgXWtP34MNE/IEbG7xY7nTIkfl5QBS9AFg03Q83SCMAR+ovKxmf3UsSSGN+nTq8D9qkdSyvjDUUF7Rjkvb0OgWM6gK6RBg5997o5sYLkpF4SFqxhtGhefuDtmWE3EpeDWn2IK/Bl248QMCpo2n9+ta0at5r4N3A1A7yqYEIVzGl/kSRbOlgprYhnBSPZzcyeUOeRbCD0GLR6SMavhnbViN0gCmR+6XcILyozd3WooON9SD0UJZKTnDo6pJpwi9+esWZbqZxCa/yY/tPdSRQi52f47HBdjDa+PlmZrxhYqAoS/U5DTuVpRiPhWMUnUPzafsLyy3fLztMmQTF7cVZ/8RsHj6J9QqlHJs4fZnbHUHGn614p6unnfGrnKVJoMOxJJMg9tJ8+SJcDD8jk0zf4GuGH/W/Jt6GXg9ogDjdtXI1hSv5vIpAljEiLTo4ErzITN9wAn6P7UmKfhADtDzpviN3WRXIE+fmngupr7Li9htFptTJniPRRw7YD64n+azk64VmRIXyaRMvSav4YyayoUYqMbEByvOE/3C6KsMP/095Jk1n4v8y4H+7C/AFCCtkHO0uRTeoYXUmmr0GKRqaaiUGBCaD8yJ/W5zXZquZPVy2EqVKtYZi84i+sgUm1SpRa2ZPUHMB3pm6biD2mFHNFOrwo31iYc9e++DMMf/gzbV4hStirOmnVX4/KPk2x4SbrQNWgkfDk7+m8bXVoRkjQpuwePgZVtSqRuLlzbbLrGcyY3yyL3rdvGwpyL5SFMwqjXSJTyQQxU9Boaz6DvMQQNv9cBaiUmLgnoZUjqYr8VVz6KzmMlh769+Czs5bTaxAevHQQzcrJbcwV7Ygcc/glno73yRnomoG68ZfEMqVU3+Fx+1IDBIf3HyorZPcOnr3ZNyUnBEYOffsTXH9US7Y8qYNVjsxmySAXW4jvGPtFbfoZ5l4pO/wceSHiRqtZSeAidgQGuKNell5GrMZlGG92LM6Iy7DR23FlyurKybzj4QT890R8dQ0r13jaWh5gsiwyIC5H086vdXBP86s62mREclXq8pLPTasEu0CsyBLzHkSWURpHD5BbNp3/b++a7NoNGTv82Ua90VKCZIKnWFdKnAQdh6A6Cv+ZixD9C8/nNNO06qnSVs4H24nr5A5Uoc7A/LEtmcTvDM0XEyJsESplnPx4dk2Vmzz831AkEh6fLxoADtLQgOHrDMHEji2bVRq/ksO1LU0eQ9DudYo9RYhXfOpBGtqtAfN6VbKqshaOIB33nl3OmLVuNnstzqGwdBmphlCo6osIzWcqqae3wPp3A42CDKVMEsziXmNPO27kBRyBu/loP2YJF6eaUwcLFqqT2uB2n+fBDNDE9/Pp9Uz1xWlV7LERSVqRXpivaOZ0Cuouz9P5/qVLXD+uTGFSkFcSKNmpAKUsaKNwW5654f1XjSRxFIBvDhrQiyWcKEpoF656JIWir5Y193i+NpuIyG4fKo09F+MQTB4egiP19t73/s2QorCLOAbnhM5SNnem6nNvNwNw/cXe+9TWiffe/Zj654C51H9TSfvnwz7sLFaghA0reRdF3DUtCLCLM3qbaTGUpa9kCbRn72o6Dj4z5TC8FG8vaWglgPwUYS2bBW3FGwJPhnr7HDiDw1gNvudQMzraKa+x1xIqNCQShlcksrxdDzpe4RwahggAlFTesCjOSDq33lH/P7ZYgrbhPAaIflOZQLHbxRgdlhmXmh2wlrQxMotzxTcpRXsVjP+9uaW2ZYNgWW7c8LzMM66G5WeN90ZEWd4Kob485PbEuNSChP29/IM4OLnCKLWjSrpun+JL264j5/qtPncjF/9QQEHaU/S55MFZ570KFLVb7Q4HXE6WqlWIHaUoCR63l7oNt+hQHFxs36jblxwVZo3hWhMHi/mPuhGdYZrUvQLKe08pWXcHpOt2Kx960OJrRb6mRwQupDizi3GjL5BnumMAFCnyUBrdb8CvNxH16NpHknsFXc/vbJgRdr5NmtgIiqEh2KnfZx0aIXXESJqA03oN1QNYnTLwTGCYqjSS3mMX7UE1vMxjOtKWy8pK/Oa5XyIyMppsH/IEkMjkp9YCK2SjryVURe2y2zmJW8U1q91SOedjU2GjzyiEEgU+bhVquTsV2OB6pQsm5Wurb+xSpSU+WBvvlk91fa78xBroTZLjQiKn8w94dR6t1nOCrDBbsOeayS++Xg/kAnvxdCwjUaozSCn3AfFlX9dCvcqLiROOCqioREQL31XGQBZaNTh5x/brTV0o9kQ2MdmxT2qGY0JHdTKQfM3w+k7ZvRnvu+wNL3pn8ay3U+n4EwKG1VTmA+sxwN25iaNb+oZ4l1HwzvENsHAcuBwVhAkfLK1dA5TWy7uJYTEcWfryrW8H4vGEjkKX4hh0wfMbfDjAJkwMuKz7mpH0lf1EyG4qo6x+k3xLYnI2xxT667G6F3ciLLELjrY+YjKJE23TaD1TpHB0C6+ljLyHFkHYZbJpq3RXCvLD3uT/cOm5Ulpx5Gi2SVvYGRRapYWDJJqUyxFO24A6vIzzGnA3FkK73nqzq8DPHGkdx6HKuO+b2r7v1+2t0d5hr2goJ2mzlENuiDwlRtM9I1do4VxeDAZ6gR6zZz56jXbKsXVTjvum+93JVMQ/gh/3bpr0PqfhGifdZpwX3Qh7GRBUakncYLJmbmUOYXDDyMaqMdoWxFUfbl6lSZJd42ERoBn1pxUTirq5Fx3y/7MBgLLlIsfoxLJMHVEY1jt/ow8EciBmqQQKav1iFCDLhbOwlXFgQff8iHqQNut+tFqAQtu5kS7wVU1qxe1vEgbigFCnOIb15yjGKuhoygs1DVBMUmYTGYgiBELxDoBcPB3WJFUv+InDiDggHAji4xJj3fkGqM9SMq/EaQdseLC4BB08bTOGICa+05L+9YMbJCKRz+7RoL4XHw3tuK1rPjCJrCV0tLREVHGnoiEXRklO+3A235XxyUx7Ctzegce8G04D3SznZToUC1O5vXty1XmIc4mOKR7s9tNaifSOB/er2NXS0/h0SvZ2Jrbr9rpawXYbRXI9TkJ0sRhAsZ4uovzS4jxax56WNqxg6S66PkSGvmHvxhyHG7allwUvEIOHH4ahmICKQjrfCMn1MzyhQkk9NUp7DG8xbPK2JtYtL2nCJuRe3FgcksEXkthzmHbTWiF/KO+d1lzqBnUn/OaSc/JaOWXe/H5tvDLYqefW9/XbSyVh8UPTmENFolSTzS8niAPW3YCDSSPPzOxx9fDHkGmss/1Kyz8pH4qlVNdYcVbUcacIQsXpfaNg0E8sPR4D0js1/8pe1j/znbbTU/TF0RMfUf12NG95YmcebWMmX4YhqLjIgES8Bmj9MWxdb/EAGKlg7FDfxy8q80+hfNkfbxks/wO4Fgbhc2Z3QYUQRJ3ee++N4th0bY0Fw0MXpTfi/wAD2bhMKRqY2AdslmmlSPberpz2ac9wSuHrxGLYg4NXu01QnqdSlSyNh5n36k2LC+ApQNoFktPUpBGrJAUzW+rjMsOLfnqgViki6usAkjAhJBLjn2XzZGlJkV010uaTSmDAlfjk5a5m+HMFixIQw44vhWO/9M6/lkL6PrnnFgurtaNf+yxzeUEE5gunJzKd9wZmmNFZJf39ttPXymdg5scIXZlM/nE1gAahzDMIAgo5+e1H6fWxj0g+toK1Sxi3uLMPpKJDQic8q80xnw0mq0d9id2CpnwriyaX4tJvG3K2rSdXjOjxy2uVX2UbLFSBNAWPf+ZBg9CzmWgMDtcHoXl55a7CS4Z3nlyL5aSgO+bz0N79Gm6mKMlPEx5nmoK+/jRRENh/15ocf8pOTTelBPYIBsLB52I6b/7kYyPfbBqkvnFPd5yg8Km2qBG5fWgKYz6qhQ0SFgheJqVVRVRzpi2eXJL3N7DITjnmeTFOpT+GDb3sfcIbEhTpppV4GHHjin9NCXN+jx/C2x4xL4Qph9LiDinAY5j5ftbHLApAnbhQ/zpRmiNaUA+Qeb9QgHNZYH8yv1pQeN+NxcPviqoEJnLJEAeEykO0vzYGF9hP973RXY0POmiMFkVohwPpVAxk1/zaFFQfMJezWYB83KuvybfbTFC/VtiBj3FYhOIbpXr9kzi1Wf+mb0t3aYRywtSiuZb663fOLk7GDJMlYFv07pPxde12kg65fUKq03nUSg6c9FLEZCGgGkHkDmWvk9BPmlB/WelbClKgckhqijoBi75jvfbXNbbAYDOvzYG+NYDTC2TGc3VWbViwQULQzz2XnfO3LDjAinZqsEH/16iN9zt+h9E5NkB1opDvlFXAzPUZat7OkZHvP+bHCfHCpgjOIdV1iTO0/9jRcxKWu7Gtze1r1nwn827D+kMcDf8fO1eQ5L7FqZyk06Ey/V5dBY/gRWQoYK/Q0dXJbbSy7ALgOJrCzIm1rzU4e3+8HzB1SjGM12kQewbGPlzBy125J3HdB0WMVt0IinFV0QDFHxE+fKJVq6GXVSFfr3jrntfKxNNBvjpkek+CwHfBlLrtl5eQ4pw0rVB4cq1tBm+Y/tziMUoohdIitTA49F7i6bhpRJWHVVDvU6V12uy2mSZhfSALqaJUs1V86Li5u5ueZjVc9BNXicvJQ2cw/MYB9iD58WzaaakScBOXE/IsnSlAKJrOst9SExSAlQoFMInfkW+aWGOycj097Vt+gf7tO4C73ioj2HrUja4H6mCspaDlZBV5WOl5fPBHoLfFDVwO0j1OlnHiBzkxiVCUw2MCTvr3n8E715Ae36P9jNn7aGcJTYA2Weo8va8lP3D9K4I1shUVhTfm+huBOVeMMR1Cy5juOKh/bQRln4Xf4Zw7Lytw2YCiVMaJukO96lwT4sJoFkw4Ssv6shr8689Ub14k4ODIKDM3kphaGq/wJ5aZssoTHmvc2MI4eq9f8Wkqu7uySZ3L5UICKsEUUBxoi0Qp/QASqi7pIw88l7JvWf8TQbTMCrLUXOcZnhFEyVwFHz+OxWQPR5kTfhZZI67eur+GlA1IGR+ZYSb1uv5P4MmMfFxjGDGLJ0biKX8z7H84dcfPXg2/YpcmzeQpXP7n8M7SPWNwYdjaMpfv0edxFnWHZnrlI/ReIUzdOXY+PtKff9DI7aF/KklqMNisMBNj4zdwkQbaSWo2OzlinYwF9xeDye22ZAYGlxgYiRk00BtiPUFWbSeoVS3zRTF/Gb8dfQ7qDT7UqtxAA0jnnyTWi7ChbaRpUXaLkpuJS1/M3s8OlIaOrMNsqIq7/DDduRRNVhLORV8rQNMAc+3D0uEv3blVbFlWUsgkXwizcoasPCjTOhiy+5zwd6KoIBfXeUsw6NIHa4ADl9bE8m23y6anFczEQZ/Og+x2wjr1fQg2LRts/YhRfn1PpA7y9jVoNZ0N8oFlFaD+2TJXjGISDZWFzL9/+sH32nv5SISPRJcumPZgtlcxeVmEa25ZtWTKQ4lYaFLULMUilsnZleV40EBL3CfRjBosKg8mqH5TxlL6TExm/V/M0Qg1MSMk4zvYzVkyU376qay0san+Z2BL0TsN+00fcBta+pF7gX73ElsW02rTcWoNO0s5D0G9ixfmmQifaGBK7U1qugqNWTElIz/ixpPqfsmqrHAbwrZzZiJjdk3w/Aa/TgJ5AUqqnyVmq8DlhlxncFYnQmzxgxvLQ+H6re0B0OU9b4ja5FTj+B/TXelDS5Urdbw+So4WkdApUAKkz9F4XITgCzPQ7ZZqCJe5yXDQobK9QPh2JcuJRa4XUkHe4PxV4ifIeMHgQKy2HgZrUm57c/IiCJhO8TRteG7PlqNDp3cLQGTcOV+aEaNKRkwajWELE13DlQMPDzZt2T+6g2o3Y3wC3Hg2RF+C2aOpUf1UTJeEj+tfkQ7Ewa99SXo42Y+xIjJZV3PPeX3uTUqXNiBH+y4c3KPUPYrnQ1gBOKejkm2rpf3tZyABbWi+qJfKbv2BggtRlDXItjDjCnfyLbS+65HckwleLjtuQ/cAJaPif390UolrgEnbLqnQXpPOhrKZc/fDpCpHDd+rJhQXX9z11nXp3WQNW80+ZKo6uLtQPp3iVX+TTsx+PAUVn0SiPHrCaA83who+22UQGpj7c6yqINHbfYebQKHJcL1ZEeOE+S1uFAIMGHSRMfvKNiBM+cDG87YNHDBrRbhRmd/pV9s/jcx6LdW2Addy4wn6B7DkwFxPnZc51GTUMUGnuPZNtqDgUzy3VXJJp2ZQGUReALdcQt99AabVEP8uk6t2dynxfZEIx/0+drMiy/x4gnAjqHb12PgbWHL5pTVfqrjBBpJAkwK1XbgYMShKLcpn/392IdVj35iE233K8hjM2kb2Xt9IdgItpATpCRl1g+2IeFMF+GqVxLdLGX0F2wqC1fcb+fSANEuMQ6o1EtQm67Ufg8xLjm6QgN4MwkWoQf+vtxI33Ffv8GAW7CcyenAV4ghoIKrfzcryw4xHeFXCW0korm5d1PJECTr2L8GmURXMNh2oHSwOibEYo5k8rsEnAVNTjRYuqSzKjsN4l+BCR3LOEijAMRDRn8tWclVv6LbrJCzrB2bTLuBHqKMcrTYg1mB4asywuh+g+B+wPgFBD3aDAEAYnHFr0Z5IwmwqeLaqkKUb6PwFvIRvW8oYWL/4ECftO8MUjJ0Gqk2ylqb+CHXTd85BoSmpfKnutZrcLXbPpc0kyRliZjzb5+sWmGP+GR4CH6SEa5OFTj33rBklQxfr6nR9l1Cd8iP0Ro9lM/4jDnKp8fwruptOi0JTomaxdEc9WQsINZRBfIPeZywU3l08ta1InQYrL3aIoR6OrMgCoWDXRafnaWbp1xMuHuQ7UAs4uPbPd+lfKuPyC56+csB1G5K57KJBaaLIGjBSx+E+R+0d3O7uqy2EeNJrE6Agle+EE8eSiOXKtZ5NCMwew9nCbnl3N3EwaKJOKwZX81QkF3YyKzaRiR6qDQTeAdAWt17ZVCntyvv8cK7rOkC7FXQexa289INMj8QxluyVzSMA/EjJcXmM+Dynfovag86zHYddnrxXpoFpzwHrg081qTpn8DwBOqLCZvQXRqvkgTKS18uuNWMV2njdGnPTawsMg7UBXOlKlD8o892umSLa9m7nn4TVvHw8KIlga2a1lwyWxkDgQxrJWg+K9w128y1kgudUx9SgflCkkQBzeFcRU/8GiZc45rNI5yhygsXdvsSSBiOuPX2nGtRwMUGGDoZt+Fgt2QTzKHDTUMrMZk2e2F40Q0c6zYs7sNMSjXsEqLKk51dX8UwalraPKponUnpn61kXpzyDj4hZZLne4eOaU51lm2GsZ/ujIZiQto5Wp/Rq3s2GmYPqNG7+QYCQANEHlLL71wIHy0mhh2/XoxwjPy2OB+5NKXkZWOEFdD8DsAeYdjYFvHsSnyfH0ZBmZ2cMTlMLZLg2NNn72yaQcUn0hJNilBFFlrTmuS9vpf9pVaUc/IbxbiLctF0JFXZFGTGPhnOq9jnju902XoGeravjQ1iEGBdkjvc44ZJRZ9gnvTezGc92jebnmt8006Mqr4FK3f/Q7Php6JO8bciHoQrzh32IOmDUWbNYUaeIxD8Tmqwp05p5HZ+s3CZd7A4iWPx4DkAUTidickwT/n9HfPuBOIqHMewZzyVLSVcmviqxSJFt1ctBPigJ1A6KYFQUnpprXc5+Ckl5DNowQNmjjdN1x+rxoeCvl/m18/SM+W3Q75qJ9g/TKJ3OEuamehO7ejRIwENsprwuWpc+pF7np9pPQCX1C0yHstDZckqw2sjAQIAjTYwgGdCBmuFNgiQxFRFcIsbCvyByKrnFzYaZjX88f6oIH/yIia7Bav6yClzvxwHzYSCI+aahSmpkOpjjHDpKTEKC+h7aihM1KosUSqIl5XkZwUcuXnDUw5C+FqVfcmx9mGSAMxDrHL+silDZEVPv+PT7M83r0g7f4OfjarKbrcHlc8YNZeJ8vkJogNpqZYBX+T8C+3XVKop8dBNWIUPcuw2GKNO7K0E8BjDZaCTZ+eKAE3jm/B2rOCsCuC+piAtd6W5Gl+osYhbQ3y7VMl6OQc2dCF9206FyxXSzIBY8u+ALiM5/zxB1Hyw7ISlsko5ligt7WzrPxMqAEfaioBrUgKj8zyZB8aI4cpAvxdsn/sW2Yd0X13e6mDRc8d/jHdeF3qVN+zlbHmAixwFGpiZ/uLg0utLS3QlP2VelMR4/LuWnSF1HwUkRigb9TF2+miTIHZJk5P14rJIFVoBSKpUDDxTTnvwN9XTd/1ArhpH1WyB1cs+wN03cE4R3ilFg3vOQ8Bn4XLuFNpgrZ4Xh0hG0eeWuHyvJwXHmJFRcX3e8UlvHcf72uuUDi3cQcXn3NwuO7fOOoyqtJDdsz2XErNAg7ihFVy165GRyLoHdUSGt1wu+tRG3UBAsLOpBzc/DxqdKBeBxYjUvlri5RdLU+kaPUoMaCWwgjClGLVjrLYy64Qlvx2sznrjz0/LvgXan6Q2hLYKmogPDfyqtAknTwZn3UR8HIlQSLjlehM5UqCdWkbS0mFLVikkMDpetSEjkqH/Tl1uSUpAxeLcIHkQwOPQ0jUxRHf+wPeiZRpNNIfEh1vjpcUJynztG+wUfZC+zAS5AWHLy9GXEwHJ8OvPxV7AAVa4bekpx85Jq/6Zp4qGXeIju83I2xEbwaOOGGi5mbDwEy6FWSiV2i9KfTF067PPKqCyVyB0br3xR1DtU3iNKHHrLw10VanElb1+JVqoHyaMAAtuAbTxDqxyWnLFRr30IiWXxs0JRNS6tfPA+0MEvC9fefU9adQNxrz1LT90nqrRi/6+eIK7Z28zSNx4iOV7ELrwAz8eovZXO5WIxqiAKsdOHkOsg5OF2TWVfWKl68lFRrszgBSmMu83F3k0SMG0TwdZEQFa+xfqG3LEW2tM2sTyspq1B+GtIKXiITETgjVtTbU74wKcMY5AjrIDwDaQqbrBCPto/rz9KLSq4K+qEPx5ObgyoBpXEbue/ubdO7KAg21Cs9SslcL0nvttCOGj6LyBqQ2oH5so8vTIzXOcsf6ci3fwuYScJXYp515i+se6N2wojtxKW/MNFOFlumWV3BXI849nTmTsyPOB2dXZ7oikzubwdSA+a3Z5nMnQBV7w/+mhKC+F31ZxheUvY2FuGOM/LwYts6YvpyyhDDrUxPVd8zneOzI2SvUb8mOd5O9mNJXknKWSFWvBbO28sYu0QDynKfCipcGebjQ3R5g6jt9PV2Q+d4eQeNsSTiAV9nwCOeUrZqY8LUTQpyvNv8fk9NeclShgxnjeXtrMu5PK0uqqW63GchR9U0D3e4XnVMBfg4YqRrKuqEyBGAZRqLaW461L47Y+tr88L/t7MoGZqSDeb2jpnhXaZtUrxFYiEYgAPF12WEUrsliT3RMEK1f/4CKiW/utWxy6ZkEcB703jbDQz4hDGv9IkzQDYPygXgnIZcVjCnndx8YnWgHp8E0szjEulIBX51sxOE3JjdW5cVngxzKGYbmhycy2+sKSRFeHIIS8zQb5TCW1Yb9wCQ6vbgZ//x8gPM0SZgOSxhHdfUYeqs6t8d6dFsL6arwEBQ2Zi6I4YaegiswjThNffhC6MrLAOH9UqKVxQ0zzARMdRxsbfUkwbrKEkzaTATNx8G/vAuIQIKCehDZ7vJXP0tF9zghd+fbgD+gf+cBIHcMppY8oUq7cZN+EKgscCPm9Wq0Sa71RrLCJ3Lj6hRzm+C8ur0Ee2xCMXPsioe0dS9FXTHj15HNH4gO9+RG9JzXHuEDx8F+JtUIPJnOLSRNdXy7nCBJDoCpjmspWT6/kTV3n00o+Bz/nrgPl80XSQPjioOFOmdLzklk0ZfzuCvd5hYoN6xDIdK9QYz/QW6jW7qCZlETzalrF6O0tSL4sdxHMMv2E2KOYcej+Iz0AezW2h8pnrr0fJRZ8YadnxBUtLKH0tJyhC8gMHqAyYoNxzH0baCzad5aqghViz6DAP0+kb6SqwKGIM703ad/sVsHbs6ESWmgvepXqnpwnr9l2I7NRkuV+FnIU36+ldatsgiLJbdgpiGxvIlI+R1F+Sl1Pi3ISA0iytG56pGdJKCdlslDYuDqTNGIT4DbiS5aUjpAR5pxiHsSVnlI57bKH1sS2P07+lGuYnCeYvOvwF89RO6aWS1QNaoRsggaQvvHQmbjYgT/MaX0PNNHSeFcUOjAX+0QjwOwZpn+yOLlJvV0wpY/ECG6m5wP6evtTA5IxIKedQT5pUHqYCX3KoziRf8fbhjQLjSuz0HP4xzhrkK6oRma2rFAIDdSuNoDg6O2Qp5y5LLIvCCaE4pGjzKVFFehNdfV+rgHZYBy69cMmPr2P1N8XqLoXsE0BNpCXtKNoxGSXQQG196L0puEbaSau+85KkjQMS4zroJIw9W4zK7vxhdd8qTULTG6f7XbXKhaZs13BlAQIhOrkHKwHWFPIoLHw0iJAGRTY3SHkcX3a4FJZzbVMEs2iX5cdExEHTGGIaLldiwzr7vmIUit30RgN5rQ8UondJQjigHCL1IeJUuKCjnI1YoLKxITm14jTg/v39JGfT3X/AcRRLUMijp9qN7hqFp9RxwY/aXaCS0jYrDfgWtPCsNkW540X8P+8drqbWDTJYuBQlATq81wsy7hWBE6E+VOoZiUYA4FhZk/ON1KJw6bGavXKwn5zoKMW5CKCGCBT1Vki5eFecBYbVSgoBQMcyWiJ8y9R0FwIKcROvoMCtvGuxbHpbEz9/fvHqqvQM6dCOFKyZk3J32Ecq5gtX16oWf5lfuWyJTaOW6Wrz5O9C7VOwagP2aub6aMtcAjEpgvl3zCJw3qVIMZuuzXD5h4a3UCO2fhaN5dl2VERIFFjmpBnRqdqDk7Yq7gSR2XgzQJgpVASebdOmEUGnKwDFtUvzd3MD3YBdTzyh0kpEAw8/w+COopHBOuaf9GokTvBNyv3Z3UU7q1zuR1d97T2o2GO8g75oUMduKAgo3Tz3mYPU71yt1SuKwKoQJLeW6c3/t5n1H4F82qmhPN/c5ExikZ7TseVN1teRtrNowILxv/K99ftX1u8F6nMnLmAWDC7ds3bJdeTQfvuqpLqaEzKYzavtHfby23tEz6OTflfCLSd5pC98/+SjBCluxHDoBK1KTS/gN97wr9Dx5v6vgQrt2lGmB0hPtcQnzwIrQ/Hk/hpZStf2DPKoxCcSvOQleoyFNRdh0rCQKt5KY58lxnHhoFvikrqnNAjiNvnp/2NKzx8pAjynX8HoT38lhdk00VbSthsM3sId3+kB2r/1TKylL0WrLWbPu53GiNIJk7e4ZkvNZ2iVScUqTCG030sdynN0skKE7/PtqweNpDTxx6oVXTIb2Q4c3OcbIj4FYi/tn9lE+SLTqca3zwmHbRhUCL1axB/FqEuCjdqg1b6OnR7b4oYbmN+F9Hp4Wj50z6QLIZ2WxtngKn9LHWEQXOFOlVKtSmUkZTC4lziMMGqEkbTcDQcssifLUX6T1rGJMjoQZYb177VZMgY+5Qdzg+rS68kbpkMdSgZaYl05je/aOSegof13UHBtCG0rS7XwjFOBSDtKJ8H+TVKaqGwa7tRDdao5DN8PZWvrroBkoXGgVnwZd3ts7QHG5jChFGnkDwIdQWC7Rf7gqL5nRlwZo84C+2/mt20mg6thwrXJehLckM372EAJL2QwByE0iOLMLVR+9eoKrgcAeY4gmV+Y/TNWnO30fLV2K5wolxOnyXXpXSSzf6uscLN2jTs4t8VYN5+vnxQ93BkGCQEt/2vqQfQwEA+F1zPbKlLu2fWNVYj1fv5QgjgrpGIY6/FZmnKC4cTi8R8MhGQe5cCtEOVmI2SUdagGxq+IveCQ1dEP8flO1tU7xLhGLu2OQ815SAgyt0EUQYW+nBOh7UXOxEk1m71OSQVwebnRyOn9fp3QUu0XiPhq1wpAkI1kQf/Vn3zMBn4S3qRRjYm9RLRXVzC9IesO3ZIt2ZaeYZ+LCpY6xsaxHyANfhGFqAE+1YFOxZ3nz5GpdhkhxV44x2fXXSRKgthNaSEhWZAqdn7Cdi2xF2fF+4/8OULX1lFCjjlTV6whEaXX60BP+siWO41P9cLH4LLddjqw/aD7F5+iXoCRGxm5s/E5b2PqKDEfOexTaMMxOCSjdJ4NFS3u95cma8Nilh3nO6M4xcd18F9N40teOTZn+im2s1toh5x2c1BiOLU+z6o2PZGPGO4i0UZ9KEUzI63IN2fbj1V4NVTUa9vl9Zi1k4MdEmHk2Epjp9aaBHMRnoSCGx5J/u8Oi3P2mJlnTrT8lhZO4tLI4w58rAkC+9mPh2l3xuQ3EwktUzvHUxG0dV9loX5mFoidVn3sHpUT6RhgLkBVo+JR/A8u7e1yuWKVhOsm0GO6CPfnUDp9ILeONZhnWE7XLKGtUlO/REdBXKbczu/fVJp8r6F/413VsBuvweZ7378CLrdLlc/oWr2nI1iQbiq+ieiJEoQO/B72+UUyc52qxNlitZKfbEeV0wwWk6f9rrEGW+k2HoO81w7egfrQpb/kEXFZbKgeUOto+Vek06aiAlf3Ve3II8jcbhqhhoMznAtThFsNIQylLtcNg652x9gHS+W8diLDL5oPNTvY27xiQidLfAZIIaxDWP6OGwc85807lwtacVUkBDgeMEQ2wMhKWpcc4lIYb+3tvRijulILKy6F+khVTPgYj13CVY1OOXDunTu9MY2X1eIONZwehYeitSOYklclOh4ktQiNSsRD8UIkpBi2WWZuCkGG8cJds3sCKFYI394HMaR++QtDqFC0tOaw7qaZaGOiy2qXG16682xvzvaAST/nRcvZQbEkcQyNC6QxsE/LAP6jKlqiitfce1WachZQkHfDawLYsl6hajbT6W0dbLnjebD+RFSfMSCAR94ihcpoB3Qmf8GJ9siKwXmq+DD8w/2A5LSFHescPXRl84gsugBnsXL2wqEEwR45g8AKhwrOqffrmfcPCqlLh4zLRAplBVP8fGsfO8rnwDtHmIt+g+fIxpLQ5yt3ys0KDeKsLP1kvSLiLlfcsddUj/BtC3/CVBEPL2wOIJXZOCe2Npl1U9amT0ybOu+0o/qEdzB5FInd5XJ9ZcdRLmUIm52Zr8BXJMCf/TlKQv8zWdCn9mHuzTigKB5Pfo+hlNiIoL+nuVBDrSZiSsvP50hIc+fntV06eADhAiq4vW1ksKqJ0kI1LGh16Qn+Eb1QkeuMYtta8TlUCY6e7gG9C4HkLWc3ihc4j4nKSu1jm+CQObMYNPuIjaA8lnlwyXSROb1NPA+IyLdsdasSBidQrlFFCJudLWRXpV7JOUYiyibpTPmq/HhCbQycvt/q1CsxpLkP1EinaAdPw1Z3wZC1d61541YtEfZt45zwkxSQqLHTRNb2PznVKcq+zg8D2e6KgbSMIdUztYGHW6iBxw4gakNZA4rNA4ruVo+ZRpQm4Fv+qICeXzWPvN5m7deRukiVlMQOCreq4q6hh0Z+AHxtU/JFL0vpLnz2ZCFNj5Yyji9m88Sngv4T0/SIa6ldSINIQXbySgSSMtTnq7UotTv7hDSpHOICzZt9CHi5Asgq+YFLer4f7IB4x0DsLCYmX0mOPBGTBaQLuzw1RIE9kW1Ze/pks6vXdGhJyJyBl6HQCZFTfNi3X4T6OUtvF45AYVx8lHFzvQyUCGf36R6VMvQL9gGU7gPXY7elWPITuUTjESJMiDxHHq8/9truASOe5NkQgaOoSY3dfdOXnnh/tUwxD/Wm7IrqJRY5nUn74oMbALn1mMSRlNalHfIvxuL9Vd+soIyUaZTcsMO6x60w9akx6cGgJNAgOWH9NrtGTg7SwnNDYaVc23u0D2WYNu8Q+A3qEaf7AmqeKAMSn9h+G4AmohIJEJJlJ0F/QOT3WblHabVVG0hKmEIlu8wDYR4h5EzjPMtlLSVXF5IirfJ3DnqhqMXzsSSlGW1M9Y8V0OohBDr0I+dPS+XfqIpTA6RF7fc60HpMZdAdyPzGflCiQyHrn3+FkdyyQIn81hklZFWd2ybju8NY05Nk5m2YJp4ERaB+N+ZyvfXImoqNlgh84buv7bBVIUEvrAQkDYsRN8fd6Eal+3Hof8LW0d7YzZp2F7pTC4wWSlLyz7ZcX5tjXlAy7yPiyhJBqAxPUmRJUoAvEMz3Vc7O3Rrrj6xgLqYZPDQ4nkeClnne8nvQDrY8uCp29qS+z60/zUWHMiqOQqxBzi1TpOJopa6c7Vl+d5QuIR0Jpd9Ln6aEuLIpw08xdPSUSydDE8fsA0Da1H2IFwcaPJv5netZeIlC4hcJ+Y2qcYmI3riPAQDoUubgslQxL6svHZIVwbhaxbC7RcY2L66BmMguA0/NjOffe9lACn5TnYN+OgWX1nmg5KNWLKF4YTepZbN11aRubtpXfwkgSKd9pNKofhwX93AUQebARcd183yeXkXSOoST/v7aOwti/87Rs4pEgWUyyUdCC8y7ERpVSqiRama+erE0HB00dRDWybZGyJC74beAVUXuzprmYLfeHor9FQW1JzVPRSrRUC1Z4/1VduujwRbvSnSPWX6p+CTvxUkQ+jFa4ki7iwZORwjRjMyZ9JJd3iyagYFlwEWlaJ0Mh4nPx80b2VDFzW597m3585T5PBg0/cCy/GAWCqSTECdEg77ZLVb3qr8rBmkV8TrMGdXG/RcnunGC40PxawdFwfJNhCYpV3IzyDrOcjcOZQB0lZZ5/EeALpXnIXngGM3VaZAD0fsVnL7+708qYChVpTKxAYbAIUvS6oUHhpO1vIe76teU96q6M3HR03ujSMClMynT6kfryseF2wtTl7JmY5hOHVpVF0xNSnOuS0mqW1sPTf++walNPIMGdg2LbIVzjJXoCCx2NijzfwZsLxBwJ2Drgs6zdboYAkfZqBUR4OcnMl/tW3JUuuwO6iVGnvEJfyV2DuQ9l0Tt377FPFa1ngdf8TdNY9+fup4ovbxstbR7B2+R+35CpitwZ2nl/ZLEioDBC8zFCcbWFRUS/PUhj7112WxynYfJozWGnSShsHUx29ja+nBReGxid9fpTtgVGtz10xiLRi03p33kccVSapMbWQFESgsBlTRprvWP0xS9KjYI81ZJ46JNGIweNY6KEZVPuOSqzIQFUYa/jr/D2ELlge9O/W4I4L8xjrDnSPjEhVAXUCiyfB7T7YpKYNE1ZbIU6e2umrPwHzJsHg1KYKiaaZplTFDQB2QSG8hYz57AjFbyHfCPgZhOCLtSx3hLFSoAP/bVJ5I/74BTMJgl1fKvtbnuhIrTixQBXExVLjbYKDGKz25BSSGe5u2Pw345YZWkZuqqdFxDza4c3l+NVLaOl00BEzn2yBQKuZJv0dM+X6+NwwdU4s7awT5hKcToUMGshQ19FQzEcPDYDAxFnVNc5H44Jwx1QoYzn5tXt1ILNArE6DlOaP/B+XoKm1XgYxm0pHu/65K8KCCG9IcaxLilJZBrQRRTH2+3rbi+nBVdZvfcCC55hnjYhu5u67G/rjJ39Y/ZHGDVBgKDZbnkIwKObSSAdMAaGHMj1ZMETHTzWjYbVrjzGXQbqTV7aWlQuRX5UI+iqUrMPVgiOmjZKVkbkzZvR4NXYbq/dw1XGR7OccFs60FD0rzXIWQlPnKUcuTTbtUQ4EJCCUEoJRseu+vzqTI8frhhALqD7DjVBj1N3iiMHtfZaadoINAvxJ+2+uMu+P/5jdUGqKXocuFZzrcbfmzP4NBx8XX9i05IFN7COPOZ0enA58AEcsqpubtIm4eXEajrNBLuh2Skk9GAWd22RtsFFIf3TR9hFgbY1VtUzFTUKdG/Za2XDWqK3MpG/t/lkhGkg5fE+FUPTEtD1YfoTwoFMtj5SNfjjRuGyoIr+HmMYMSKofqeMqRrX8ZDfcq6gK7UbJ+swWZqILuqVb0iyOMQqmY4WLb/MRG2hdQRhTuHMa3siM6KwCviiwD/PiukWETKkoIcdjhTu/0xeIDh/GTQ6R+D4sOQapabrkrKalnKkOmwBuZ/ZXFkqUuKSIkskz5Skx+0mOs21YEBWTjQ4tExcpHagMmXqlHwoOPo3YEt526zBGoQ8gp/9iRl0WTjlH5rH7tza5DRGfcV13HqhQdnfsfsaOq2MCUtac+z0WZDVngmmbJXT7XzKnyNVl2SGmFxO4ymO4vcmueTdf4H4DWTJZ3HmaKJjBsbe/B0Znauy/f4V3XXt80jC+c1OPzVwhubgjtJZLspQTxwANz/Gcf4jjFN2vnnpMUVU1fGX5J9At1V5IUb8KgBhD2IPTMWa3rxA3fnUlySg0WQowUD+66sPTLaJigDkRnICYuF5IBACcyK/jL88OON3y04k/Fg5jOcjw7oatxIOA6oBwBuj8hlnG60nhyR6Y6AzTn00KOu11eQaAdFatoDTHZ4sh8F6s4a5Lb+XSOnQBMctIqrP2kMEn6jvMUx/bSlgcdN1b12yF+XlidZEI0w0sHg2NSIjrdO7XLHPZ70K17m1GmFHaEALIai1vS/K3ZZ3f1dtxNOZjhQZ6djK0xcdKPjgh9Lh/Lw2gqFGmbxHw7kfR6ysHWPWZmE8fdfq3jtQQSykQX26OR0Sj8bFoPFRj6FX/FUPK1lw31hNu8nfU5Tjw9sgC5KToPIHcSpxUQT3MFbtkarQpdLOzfyo3156zoHQ8ovrpijIHlqu05Lq/QGE7foArDo+asFPXcyuPrEKOoKT0Zw8RC8x0W3uP9YmxXaBdZAqjHU/L+PIGQ8mHsCt2fcfPsX3Q4oZ76zsXqpTFhN1D0ZjuIDl4iPHoJfnyuYWbqvnJ8am+yTn9n/KqmdspBkqHaSklt1YNmI2eS+Ay3VZh5nqmhCWPNyzR5EOmxAP774dCkSudYzrdjuBG8A45pwUZj+PbqAeDUGCV4pHL5LNAioefJV7nZvzMcLeDvVG3xpr9asOS1yJP6PVz8zPs/TKzws5KL/G33IbbKvJ73h5hYGMhdGmjPcVCC0Ji/trdy8hWECeS+A12SHbZ22oPUXAv+Xmf24Igd2lBOAz0jCN//EGQh4/aKt7v62gg36+tdZO+Gbc4M0ePRKUX/TJDxPNTPgoAzMdxKpQe5qdRDjVnV8QSt4Q+3TaA5TjXP9AShyD5BfFu3+cAPCMH8Ch/DQVm9NlElEk9l3sgXsPTSJvqDls0lEqnzKaTg0GJr5gOMoW6QdiPzxMS7nBqvW6GmciOMaK2AZX0LR0dcFK40OQ5WZpFXBicgrf0XNUjeP31kzMStPH4Y3rdG4HyQFwjAehpSTPQ9Ghs91mSMeCX2muAlppgR/KV1fJ8LqYztPWQuWuVW7+fyuHLU6RJiKRP73hxE1I8RG9tTDT3zXO6aAUh2ECn4uYqER2UF7tpxzWspiliTD49eVUvJpUnerEojEzyeXbn5J6VBnUPKwWrxkd/qryoSMb3wPgxEdfMHmi2/UzFxewW2NlY1XborFb0A2j2Kn/9nkWgKRJdBFY4LPSmIc1cFAnKby6HOTdt6A4vQQQbywd5XIWSM9ze5bkTqvI9L5skGISQPv5RUi0MhXS9RBTYzproR/0usArtqxjj3rdSRS5BvIGXlwITDNVhR0GtcWIBDOlBalr/dx9j74B85x4THEgoxFpeKEm4b14IAFjFrmuc8hEZLMmlae5aNv3/rc1v366HMoX7cR/ELNA9q8uJXLgLZMxdzBxyh0oIIZGkfgzCYSvUo5LIfU1bjvdkaxjautYAvN2fUWGBNwRE+VFO858k/4fs6Ztcx6ESctMHFTj9jO4f4pX4m2s9XboY7G/Wo/ZWOw9T/8WSiAuaqsseALjTf2HTaswl3uF2ehIckEnFKVlRvrIxwxSyKzbHGb6tlkpKAnlAPJdzenTyVdHeKIDhTRDeT6OJDK1y22VczY1DZanV74vsgnABi69YdAprMYh1wLZQ1JXtUjBAvlWZS/kU6Kr6D+7PeJ7CnmV3cP1FkJnVavtkyj+RahJZN+0T3VuVtTBjMY1k0GIK35IZRtpsVAtpXaXzJlsQIfBYPyC2PHfADC1zKVZWD/qZFOZpxZwfvhE5CB3ogND3n6Lz+1rrDWLAlgopxX2nPgq2oemnYfBCfhkrkipR3yD1fhQnBUFAzSd+GGU6h0fPuJRffvN68qaJ1altuNpMlXKaAqI+7zjjRm034ixUZhIyeoIOEVpioLhtlT9dGDIeYvrvQ7p/L57uUGq1Oxt3GLiwqvgJXklfVarw9MKWDtI0lWkFKORj57c2XjXVmtLhOcQYat8SQhgpiuqeibYTM0qCPINzGJDNgbxKk44MaazC4SGyc70laDUosTXN7oD5RndFj0qZUHNWOQpBqCCY6AhIDyz2y8dj6wZs5mltzbPHfuTNLZv3pDmVC5O4xV4t+TP+HqIbzJQ1M+yhvFb5BRN8y5HpRb9gnHHQ9TrsmYhGKiI96aw5CAB25wfEBixzhwuZwgclsnDlOCctsCJwTNVU6glZsAcN+GGxmpaNLBhhWYFkZeG8QfEI59DM9+BcxU++m9Q2/sHASbl0ZR6zGTLZuV20rB9Fi7XjvSC+O4QNKVoWlNftRxsngz1yVdn4d7posp9DHWmuDRXeNGksKfwQuUnBkbGBpjILv67TeqAXDNzsWh/9RkkrKkQ2H3mJFtUIGDjQfj7BydjTbJqYwuJNxOqY61rEz7f7pfaVDeohilKKBYYD9fOXM23CCq1R9oQ5G7ZVfjuCLuerzj4EwuJfdJcJe7P5dAhjb3jiOW8+0fVZ7GRy7g1Vg/FuUVhiGxT0x6MCdIomBJcyDrU+d91gzaxAv6+JW8qulMRRgGUr7cpKx8aiohno9XFnesvUsXKp/skYYaw5mOLPyKxV4JmhASmQgZRfTfmnGr7Glyz3y3+4oh1MO3FuUJsgt3nN6DT+CR15wJ2ZqZ3wrllF5OxEJO0BbJZhiKUOhRuA9F54vv5xv/Pa0YM8upKukJuUE6Z4ezAJ++GzGqVD8KMjeYdJYUfI/OtdGITo56uMELqNIoGqKGfrq4hhUsuGHN7n43kOko4nk/F6kE3R/kxJYMzHCPcWxVDSD6RBTNry+kId7lb/RAt10+ubbvhSt6hoUJbK6OqoTqB3MHaYQs0u5wCEyak5J/P/9KMi9Y9fqmq8EXf6DVn8TCyGudeJs88ySx+bzOmqxZeoRplsV3eqvNMtONh3Z4jxB91inPciyQPSEgpuEGBzM7tll3epBdwvyyLxQ/2gSSxu7pDITO+RUbnf0tPc8KWNYqFOxhJ6HqqqjT6le6FGbWaKiFP2MP+XlIwtV9JDgGY2tP1q8No1vUgZJs0Zp5fmEeQPrPRTLTOxeWtmW7qYT13exo0JTrwLDN5vWfpAa7NkNZ3991i/qqJM51JAUw4PdBZOqZkfd8RGBNXvuZoJeK8mCb888ZsQuf6LVwftO32pm+iTlv/56K94OHfdzoLNMgmpHBhkeQktSq3MrJ1qBn8SwTfw6x9r8WPcrhuVZFRcGi+ehQDeMRxllbjQ98NXqJCTapcwqVqE8duOPuwyIlfBvc6DHVpi2hesQhwMl/EYI8/yRiMWOyB95pMtKJmd3ExiY0mPCzIMu8jc1FelKPCpvNgZIsrVg7VVDuzDYY6iMKYr0GKDgx7UfHO4L5mbLvThnXlt8jvAAfdxkd3ARJpwWVIM4A+1wUBwaV/m8HpoYf5UDzM3yy1Lr52UwyYYLoGF3goCoa0oiDFXn8ngl4RbnViSNxTi1HB1WkCODsUiCTxx4VRUT440E9Bps9Dfm1//5DqUNxEmHCuWpJYtUO3TjLNl40aa0+qbdg2OUnu1J8sMFzhFslVKmSWxbS1byy1pjN9Ia95zkmohvMWpp++wEei8tZGuVONlIikeEjwCYL6uU+Ah085d5Su4HO1uC9ShcYE1ZE9Vf8iXGZBUpI/LTRkYQms/qAZXbLTz7V7MqFaoD5rK0TCpGE1QJYdIxB+vqi7d1PSp8dYrCNRa9LvFyTkkxQA58LVbtdyQEjSsv7dMkcrXL2qqC0Sg1FnAweo0boaLQj/oU3/3fDK0cYl7Z8qpDERJJxkrxIkIMt7CVbUnreYyvhSePU7tt+fPxRB9Xb7IeG7P5G/1xmR34yre0Bjmt1B1xNlLB/Sw2DrUcMz/0ghwRcS3njKcnE4wZ71+Ld/Yjc6MNyvToD3E0kFs+KXDOhFGmjnJJQCMwKSrLUdRBA5dvzt7+6XsW+j2EJj+m0/YXHKv0zB8aYTEY8BNGW9/oRvghMSVsaPretTcamEFaXFFltvLoiGi3zcCEPSrwYW1UPLVhYcAHyKYQBDHKXORKW6I3ixr2yXQow+NRDhIjQuGJJE5XTjPfOnR+aYis6A3TThV9vHsxttZ7QYFrWVugTknTFDpgLck4zH3tynZYmhXVo0LWZplHOX7CYhC+P6kKysD68cacmDU5ji+pmRvlJgM6Asw98FH7CowvnOgl3JGpR+guy5urnft6trcwNYwe4HXPH3ZuGnbt1oKZjv/1ua/BmC1tYaPQWu9wqLax3moj0bdH2xwPvk0cg+yjitw2z2BPtBoUNrQ1vpuRANWlpE9uhGm93i7rctxddtaa8hkL9TXSCDCRGPQXDiNHNT78miC1p77wqyFana61Gt9t+g8c11AGXR3l15g55w3EUNMnsjA+ozS8qZ+lNmUKWt/OBv4m/l9sXqK7Nopq7ROxeMM8Qw/xramvMKPrFmygL/mHFZiV0ochxvI9Jz5YG3sJoqOSWl3+W9kw+BPUsoQ9ll8RoHVGdqSuiJKLklNrNRA30BP4qcpEs1mmvlhk2drTQv6+Q5Qa2dcGucVmcOUSPtocdTeVqbbB2u0MTUGbgiZPtBn7krkHZvTwJIQupuDkGb0aUkb3rcxowECUo+rrEjUfjP4VnkLU0ehssltAjVdu36woF/1COQ93jCJ16Y7RjWn9mrmwwplpmy+bsz2GGhOBGHIM2cBqt96ETi3hnmpRkq/t8s7Xp+FyZwMp81DTvMy75/B0HFeONg72bgPSULDkA9H8p0JhSYDr6MD0FxdT98xDdfly/1UceslAdzF+8DHnKPEDey+a891nHjdydSeOOo6qR8l2/w19JIYTxq4CYc0GBgWOLTU1VMx4JFiGIPEMXyj2y4HukVqoK4UrwD1exDTnp52xH8b7Xh4+6sinaDpZ238cGloFplXnx3qGoRGP8uzIBu5leXdCOrF4NmnuwYEBjO3Z/TVPb0nUISK5hrRKv2LKPz3Pz+O5LtJwTwj0ysIIeDkaXkM6pQ/hev1F18ZDK20sEHpQmMFWrm43Qj6lyYzHlpd2VEK3gp5NZp0FnOO8M2OoU+faubXwZ/j1JHZHJz/PHJ8sOFTdKBec0GcAY9HyVlTCdRAXo9XNaL0sanM7rtK1hj4oYg1OkShZTIhWI8NnOmlQyDQc6SSCir7dn4zNc6Z4rFPpAnehZJOx0i7KgoZXpMrZHdzSu97CCu/VFyEtQ9qY7hMRQLc/6/b7a94xO1LBgQuReBj4ofvENUhXWubiNxTAH6CYnMYfSXadyss6//vZFQUrQ/XLof/n39eE3TiPY0C++LI1B+6S4OVR/+ZHwUkwGADw3UmT5QBymmZP8RB30CgbwUw+sBgHJO7vqu1dceTvCLsJ9ADm1pd6YOgc/3AHhF34Jw0AwIDG+dEL1fJxRXOieB1rfAOX36ZvcjoKoqLL6VxT7rZRXvcgHIMqZyuNHX8MVQM5jgPBB+t1TpG40PlM6YBEztaVRPGTDMAhB5sm+Kf3sqKK2XmZINB4IIR9v8mG6UpoMe3aN5i5iVYMy+zR9uYlaiCfHQ9LJsMGAgkFT5SZ45Z5Kj69BVfRL4xLx1nr/8zluqRfsceX7CLJ8vReARo7DUrJiKFR6phsyL3gO4SVo+HsuA/fjKJoqwFyY1J6klwMsWozAp5rYA1QxepAM/gDAyCx7eitJ2XXlYL9NDjJ/0BUS1Ti8Db8kaScCvIZc/b3Hc96L7mzp6ss7FaBdTVw1ufPbSGe1xMhUafoFAXzxt29//wzl48WjXva3bMVNRGOM+ARpuFEIe8DHd0l4+IGbzNFqCL+zFikuZBiip3xXgF5tl/4HEojZwukt1MgYeU3f2wi/CkwI+9fClwqNtI/lsQ7WBALCn5IFa1sG350U6rZG71ZMvYuS9byBr8cmBdQGsvMtKxv00tmNuGaOdXx0bdpX/OAX1waQGQEIvIJrK06SzHz3H3+BVuQIXasvfAd7FoU/GKFw94hMw+kj6+trB7c5x1ZJF5fXggCOE7sXAbZYOCbFsL4jNoVof68zoiDUfnlR+T0wpUvMdh3CEeiY+G8x49BHt8+tv7cSchj4mUmcKVLMiomiRiuqYv/ljgBVfsu6g54N7PBAsuqTlf7DDds2R4zTgabOc456rWXxXbfMfp4cAU9GbzkjSX0tSsWJqNGclTrbjyblUYM+y4X/cxMqF+3TjKb8IBk90hoEr1516l0pHwdo/8sAFhraOYxIBWpdBwWCxcQB/WOXAcspKVFp32cGSnAeJ4B9CgTE51z2LZmXtUFu/ORt/3kWNvWeG6VFRA/6OMZgv2aKxeco7Rqp3uuqZk/oiFyOx8Po3I68/jNjElSrlW1JG4Oi3mTbBj3Ud89iw+rUOuzz8Ovaob7lzVEBoUwqvlb/n7LNto9Y3ceMD63olwzkzZrwAcnp8evYE03vFQshr/6uYGm3yNxkTFC1Pk/tPY/xyRgIFy6xmMlz6pFH9Z1seQ5WzijGUIBrijjLhS8LPATO6MQr3I4wfls+5AAde4ETTPDt238dxTR3t+rkb6+vJ9SPbupl/HUCWZUh0mNGIu2syONnbfAc9GSE1d+hssvtGgj0RtzeOICcZxBxCTgsyQQKGUnv5GDUdzzEsl8+GZJJiinX9yS/1whDSPtP/jqAHhQWtN0wGib7+L8S1ZGQwbqYZ1KpMeSxWiu3gpF61dJ3dnhSTwJUjj9RmVRTXQOLdSGCVMU5rq8/7LMAGsJaHV5N+l9Ez+J/QZMHxcDUcfvbobOQXWOHrbBpNbO/jMficOrl8yrO15OVaHXfQEmaTqejyF0WvJrBc55svlfpTPKyHSJkiwNXNNbIXoUHPxG/lUlFPCzMrO5i0GFiuPRnhVeU+GMpY//cq0ylae8Eqev56UPtiCPk3DrxnfTAPpOVk8+G026CBNbxt1s0iA/YD+q6e/MgRTFXvIJV0n4Zog44V1J8/bR3t8CgS8UzmKJSItnwnWqagjACnILS8R1ayqUyQHAARodTy8eUpERLHmiU5BbsmJuHEhheGyRfWr9uxaiHhApsIZ0C3rJu7EqQe7pF5E0qW5FX9fPSU5kLh3ogeVbSuFdVsC62k/LFjvLxa/xzXWFQOYr7ZnfAOUvulfiKrGTvFV+0wUna04mpU9SorHhY22OrAtP4VQuet3hZn1bAf3QDb5+Qx+gAV5YFq3A8nlNwQ82kCYWhkLO2GIssgFuxdiqPQ/Z1YTCwrRHUEUS3eA02IQBplSb+m90sWdMyQxsXO/iU7/Pvh+WkYtpeSjSQGPpIypqdfhOGmIhn0HuRYD5lByShIfh48C4Z6GKs9viDQkXaU9cCqmmgb8mRr/k5ze5vCYuyspDoWK2Ez94pTMfHXwIicsaO+cqQP4ihkaz7eUx8FhkRwQm+Upr1yii6s9XGXADnkzCEGirax+IYqAhgRCccf3MjWNoea8jZqLOl7K0EAQLws8/Z9bvfJBcyq9q05dc2Y8toP2fKNS5WTyViJyZtNhoKrz8i6n+5N42gB0TUVAAA2ExmGfKQMeMLPvpWigK59VeOXTBeoKKvWl422vNxhL1MxZpr2FKq/qk6IPGdbt936Wb6SPpfGvTV/TUgHU5imLUYYVbArTz+VaKDqWj84ycZaiNYOukASdV7gY+6ghBjkBrkZ8Pz8jW2QNvpBF0Z2TuNgUT5bBqOIcGac1wFu2l1p7j3N64K6QJ/Z6VUtsgTopbyTla9ARgQXkjiifG5CnaBV2SprNW1ALIn4oRpY8eDf4yWMtapBcVpfdZPDGY8L+ztdp4Jvn3Z/KtAAXyrTQKMl+yel9vJ4uuzE0XOn4RURINOAzUNPDrEqnKDUNmgac+Cm8YmgCniNOM6cIYBF62P81geCawnP4iFJHgouhu/4TJr2IS3QVBHZ//VtCvTGbMpUDp/MaJTo2B3cQ26Sya8/osSIHOcSXPbuT6l8TzblScy4IwR264uiCJA2sHRkVGDsI7YeY35E7nEE6EeNhP+z/Yf3mmMVlpvKM1f2h/8/Z6642Sak35WwU5J8FhtPzLzcHhqC+OTqFSN9MThqA/jzJiqV9LSbnhPKOCQ/WAFIJrXcUKt2LXuN8g+tkbS3fYOKyU+Haq2+prPSS807xq6obQzvgI8S2Gv/D7GpOZXODmpQA5F5CK/2Qh8HUUuWAnqVNnJw9UDwXVANbrx+c8V5wucpnHPf1ocdwhuODnqfz/b2XO1EugQBMrRBZ8yzjaCI4ZHasSUXx0gzK8gAziEbMuG6RSbFdIe05TBcEtme/vn8eoEbrGua7Un3mNPQJia2PsfVK+U/cWxEFzw2cc4zxWAqg+jbthnqRyGz9ZP1BNud8EL6oeD0S/r7+aImY2mPq0Vsw6VX5fwLZURkPjGyJTv7cI1bfQ6AZhnOG4z0Sjq/9nr0KhvVho48FUpnTJoHl43Ah2RAEIlGtt1/ijcCqZEAHpo8Yfhg5a62C4F/lptLfOKOvhtNofhVPmZgxoKXFu8N9/vGO4kfKiUHArjFGokeDHSPQzR45XkBDK11zdejZIpCVCuCgK3MKAGq+BqVsn5GqQNrHg5opTOszqWq/onbfo6O1ybjPpBJRATerZNLy3fMCQZ9ObA3f1rBE13dVvkdbnOCQU8sybvW4IFdOgH1GidskEx80t2/OkLBQWpzVavi1tRQ4jrhgFyTJ/PiQ+3dbGPOc91Bw6cAPFj/dnXvVAL/SYYeiAXSmpLmpYdk30kkPtHxXcWoS15fzfeMvTKa/a9v4LN0r/EZtea/wOmfxmsAsBY9fQ9uvebdYZW2LjFTa7togarJYzk128AylfjT5uoW0w9D6k0v/xTuQrPWy5wR6cev7c+8aZMCevUu7MIK3STqVQyQjYr+zPZkN8Ma0BFF2p6Omi/6qsw+18FVDbJmKKHrFfuSLUX+gvb2a4iQ+U3sFKeDTli5CHrA+pp3hg2ZqLTTe3jN0/7guJBI6HA/Z0F6JqVqTC7YnyvZrOjHsAPqfSj9RsVF0ybqmID39mag330qgFZ8nqSn1nnk9uyqcznHix1Pl+OZR+POBcT458QmBJSZlBsZrSBfNJZ+Ak0wMvSi4sygMm8/s1Dx1/iL4ix4MEULYnKJ+q/xYqYIR0Hftjz1Vm+9CSoxtXuaJ/A2JuW9XymA/PLIxQET3oaqgqS1tq50KJ9F0eCJrNNKrhxNgBff+HqRDSiP6v1l8ViRnIwqQoKpFUUMp/EC43J88ReCnfV+i5KqxDEe2QnAi5YHv58VefvXLNc52FUYPXSrzX+TJoWu+Ri3XXqtNz9wdBW/zc2VD+pCieUhVX7FiPPDhnaHXgM/htuHbrvnM5xEKJ/1S35p/L6FXZuMmg2392iI7CnPPIEVqWN9iu5tL4k5hhmvTcZp78MU+bOswC4l5eeocpy6GrTQswn3PlgEE+CDDL25pbcqwELMdq95vC7S1vQ3KBXHED/L6d9L5MovY7dUIMbRAOGaWhJS0gN/K+p6bl0ZiujO9vve8H1ty3TWtYJv2e+nMsJix+zh6sibi59hlJTyz09XjAxzLKt3MTmVdGcG7INTpQrZEZHg4nak+ULn8GIZxIL2ZTsHaeI0eRrIdydJIacfJeyZ7TAdP39rCxFMp9IIaP38yfcioQbdZvqJhmVlH/K/sT3VQ0sX2qN9CA+2mO6FojhTnLpC6CphBPbBsUujPSLHu+25cjug4IyY87ryJqQ6I91NI7hL6+ojSLIB5oybuMD8Q31curiPPyGNLTdUGZGVRKVtWP4eVylOkaGXBr4ORnIBfirNNxtG1eJXOorJeHFnayKULjb9ublAWVxRXCILOFFX1kno2CHSbBjutZ4UjulR69dv7e0EId8I1ibOq2erJFTZ7MGCOX5JeLQQCe4wBvsr+QMB/PU/aLew8ZmQaX0rc6mNUWZxD9NamlMNp4VQ8PsmazFA+w65q21A40OBuaQwYmkEGQpgrD0rTu5Y4sRjGAXZ0yos0QM/w545CbJVc1Ngx8sOB1nLV9FpZ6Zch5Tli9ryLZBZ5DCGISBZ9E3N24FQhXqBOQ3+cUJej9wYxXRfREVHe1NCuo61g/U+Czwe1IS5JroCSgxYQxoqAWzyN6zZ/AUrTT5Yb+CvptM3RznX/ZQqUWilUHjy27zSqL7lOVivwV1RbSUtKvMp9xCZIsnXoU0htEMiBTIJoW1O/w8J8PrGwZJd8HIsa17qC89prxYCuskvkMsed21AQElcYhEu56s3uDfFdtOFDiXEZmIIqLnIVJbbllLZf2yG2YBOQ4rkQLATBWXYSfPd5S0qTLy+ivUKZCnQZ3f0hP0H3KjBGndZxWjnnVFk+HxKWRvEzlgdd2Oe/vMkhO3qDi/9UY6b/0+nrh1poAMbFB8e8i/Htk2GXwS1NkLGLpk23KT/SjTP1bw5sRFORwt57L7IHba0EksQ/RLKdi570Dxe4TjDPvaFFZ5wV/9CuOxx8qJhyRNNNGy3eO28opeT0gS7WjwICFylKlX7qX5NjRLDGgnBxFGncAUs3zq1Lj9glSoYhW8zbIQpPYY559jGVcP9vC8JER2CgaQFpAdo5ymi9+ROUoHXDMjE+uJKTYFJN+csOXRp4aDd2jER4FZ0MtCSZSq+sc/HuJ/Sa8AVgDy90FHkZ/DzBipIcllyx9+y94g25h3qxmX23x7jB5B7bezQ7vXnRLSw0ahjQQHnb8cxnE6MS/Jp7pUhQ4igj6sR9hnLsd9TEgtu6CMOxIWoSsZqLY6N7bKAUx7Z5cVh4qIZ/6cos+HfcVetDnkLwaPajW0FQCl8dnpaK3T1GnU4pdCkokcDZU7O+ElujnHwRRkwBkWsSziEwrEZsuVGtYImKOYXTjHsSHr+C67YwSjHFSATQLjw3OBTqhbXKQ97F8/Mlqm1ds7rKc54XvN8GfsWpwmY6f9XPT0Gx4QBPTE7jRfqPTR7ycPCeDzthR4UGwzO63KfZ9ga2HG0TD2BbynTkhFsR1WZ5t9T6rYGR9HxC4iMZkLkrlB/QINzOjNWRrYNH3BXidoFdT2hlmtvAc+AQcQ72MOB3NjWkAgLmGPy/+JwN5myBzHsxZfSIDdHrY8GFcjUuDMqEN6VQAodDR/eBL2Y4bNx+Ko5oApd5xRzI4kC3q4vTe3DqcZ+tBHq6jI6pSHm5g+ZtNk749aWMC1eIwuv/44xd/5ht7/8D6xsYQJQjNG6NStINIsETEsCVnc/7lNOw0XUbUjA1YRm6ftnwQKfFi4VUkTcopBUe01WwuPxSCdMTdpqynWxFyGv/RUhtTiTXhJLZB+977jMF5JqIVagKU2OT/heF2XPsw0VaUrlYoj5BTK16cdnlF7C2IuMIidwi7cB7QM3KxzrBiu+EAVKHBqppSPimsprQKSwxklsIKH1yWWdzZN85qGr80XgYiD030wMEUyH9gTmHraXfqJNVX0+2yzrh2ez+O3ViZBQ5IWEuliuny4vmXyKzcuZB2RnLuqmIXMsp8tTnF+cKzwWOQ0N0FCPaqCHYUl9aRH4DqRUfdAYMqaKq9BpvkTj8hN4FgNQACL9UGif1xcPkK+NtLgXN+fhwdBoXxSKVK+HQwSoaKwM0T0tlpV3UYLoJhIl57OUanaPYsL7vrwvXOh4XWTJSm1IljXOMSvlVieYMR4ZHzmZ++tsNmcmC5kesqhPy+Lh7MMrQheVq5T5uOhei86s36ScgvUlqp1XLPJ5/xwtUGMaPP+B6dDn18bGCye21yDpugwqiQ/VOvNIVnQd37D/wrkJ6gJzxal9rpR56XzqlDknDU+wFiT1rMp0Dej1LaSxzraAmrO7tUIwxL0t2QqsTle+tPQkRp4+QHBeqeij8IhoZ4HKOCieXRUo7cqfTUAVWCU2ccyb1HpNjpevXIX+aLytgpEpuAxvp84pXshA7pGN6MfH//+yBuwErP5L6LB6nKJYKsyE9YkRdHl1q8rLT8oQwmI08CyNNVpG6fNEyDbDrnd+VkTXAJlRAZTL/pgRvMny+jFYM98Z2osvY2PRuAS2aYm7whpHa5pQ+sfmeL4QQfI2TmY3WIpiaXrTXOZXZ3dG0AexRqMzJjXf+pI8msUnrhYaHQutguaQeSOjipUrxyTqa8AL//VqAo21u0vMC79kTcaUWSHdn6FNK9agaED5MN6bfiRW3KpSrdCAiUVH8p0ZAnInNrc8XD154Od7WtDyPp7lmmI71vVdRyMwIwZ8xR/j8pVpFHNrNS+VmNaSGc2BIrKTR0q1UlJqusfPCoUfyIgVjrUQzz3cZH6z/2/3g07fChBUqkf35SoXH4V0rgMbrNo6GGdeTEo8nZSkXRsT/keflvk6iaP0IB+Ccoo/lTOY7z8AL/DPjzGB5vDqYprSJCaMl64bYt4S68J3975ukvCQ0pwVDDBastuGR1oDUqZ2678lwAgVn613X0u160657o7U2ZEZizBMG5U+sz0zoaWHCFusJebTF1Q71S0CflU/5PpjUlIxv8tJFXx25IZOgXXauHs3MmqCpMekSdKrTeUq4sSX4bYrfCRWHsv6PswGJPmDkYpz8ZPcbpC+DiqQcy+cB0+FInFAE20AAthVg8yGap/q1pugBpjjwjjpwyp1MZ4XKuYBdLSW1Ja+HSuFZ9JS2rEuB4GMig2Pf1z5r01tun1VAOPq0zlhglndndjZnr3xCesT9G/KJuJcQN8+C1U3aWsYmtdGBb42dYmEPsxKMYneje6tlT2vHEMaZvu59jdE5SdH542Tdc4oQl3i5plBYQiz552K/7bTd1Jeml1C4SIofHBnL+Mr3f4BD1MlJAvj9LdpYzLX7AGgS7x9VS02DeYjo6DTQ4neQyq46JeLEjBi4NtxKGJ4oYEjW8WZemzfv58ZXq7Il+4UO6L+TmxooO8NGiDz2J33ha3Hm0/iBAxjM4L0M9I+kKG697u+MMJAKD/vE64C/wvrotGuAHub0B1v5kLbjsG4MbGHjwgwccJ3AHN/njfs0WslFg324bEkdiyzpKbrsATgrT4T7Hm+Qi+x0nRFaYXBMvq/DUywPOij2uLH/tmdTGkIhgdXrWAcWqlb8UdYg2/lUBwNFp7rog2RghP9LpLgW31jXSLxYpGRmTmBZObOGX+RQs82NErd9f6vJQEzB9WGKuCjfW9N0dC1bLUabJvcE04vlA77IRMrvi9c2kupo4hNnQNfl8UOLD9RdjjyKgjdC4Iyzp9mVEjTKNvA7gmG2adX0EMgu1vfiYQYjMr52wJ8HNgV0M6XWZ5A7VIjVPGwZX7U4T1PWZJjO/gMhuo3symItsHE0iWp2U9h9OC1s68VCC4yaayXAlux0+aH0QNDoVdfeU9j4zGbWe4mPoWK4zrezii14ZGiuV3eYYxdv1bPKBjNbIdlA4XEK/51XpdJ9hjYt64kfTlpYMEUndQoHuDL8/leuBTBw/tQepIcZBt+QZA0AxFhkJKnAiPGlxxHD1PFPPZ2hsHLniSj8aOGX/oFgR6Wxb009u5Sq6/+/4yweagCCM14emuqBDT/TbezlIXeCzhA9A3F2Fl6NiEDlZZEt/3j3q6lgi94eP4pWeOcOTpgauuPnsIarzD06Ug0GidcS5RMaq7CIbTyWrGUYVzG5U/jSku6nytF38H3kt3/r0dQzj5AvqymAt1oN9/Cb0Bbf6FpmQSfQZw6jMp54jtV8F8ZR8DODie4ytxR8eUbojOsNI26TZbPHPwfGaki0JFreaPRl4hlzzTu9KnlJzow0rrcnIS/2JHQ3wpidFN6mxZtxFz1pApt7cMoCWEFU5Rw6yHEl85eOZzHk6646fI6THZEjaTnke7d6XhI3bOXT9t5MCSA/OTJTlmQf3X+vaL8aIvn8kbrp7GSLMBCSnaeLNK9bZCEEOkUJHo7YVF0TVu7mz/MbGQlzYcATDLHHckHIk+5dzQkWvu+HJ2aB1FeHY9j9okbKx75yR5nKIKGu9U6GJhktKbPCSQcVUDtX5yqYeUgb4aR2aEylYnSNjMXsF1sYk/cZqhgtj5E5aakIeeTKmJBK5+ck2XGwhgws1OEfiFo5zwYLqo5Gq4hMgWZMQKP+k6ePhymLS9aRqlaSASVODSzp2Q3vzR07hhFuz0CHXeAmNl1iNkJvJI6/9/XEJu7HdUpQ9IY4WsXoB13DN6Z8k6w+1Wp2FrDmCbHMLX09PGmpAvNacmEnLzfio2woYR/D+lmoEUur88G+sS4Edweu4YxPyI2BDMbU1ILsv5iXFIeUv1wjwa1JZjYnzODcFM8W6O3bqm9C1OcWQB36L1Yvd6xTlqPC1lucDqdY1eMR4B17k8rhP7xMU0nhDfXFr1CnNy00mTExzG4FbX021n2FmxxEHRzKJ4TiiPCZkdY5it1PMSSwVyiATwzE2cNmmUmtKE8S7PM49NeEwp0jsMEotAlWwKU77CiwYdE+ft4IaNzNgRQQMZbQ41h2colKxAusyjL9sRZb+BAL0dUIQ70etTGxgYn1dSEIzJhDFaqKSx4vnyEiYKqctCShOKJGqxa0T9iIteB/rNrSybbPTYBOru1tSMREQg5Fb5tKF4SF/Mdp6BnHIQ30ZusS2FVX0cC3sed/en0DaznIiQlqAQhAkTH6yG8GYnRVbl6Zt6gYD4X5eaxARvSBBAd6KPaAppcHMTWCA9PZi4DiA0r+VH8CPRtG5gUbuohR3r7wmhn9iLm9DkwX73YULVSE66OsgtJ7aDXqEpm/s5DOerZn/BLcLnhqLhDyu86J1x75+j9BRg9g7lL5FP3ziRe3OVG88n9Yl5j0ENzWOD36rFNd4pOmkyMxkufxiNKV+MQV98ArK4KJ7OC6910DjlqE3dUAog2RRv9dw3Lvq2Bq33MLrTjv39FobYlaDEbG2ncXXVpuAiGZ8Z5ti3Yi4wHTL2uxCWa2gFv1+SrQzGFP2seLKvND3qPi6HEgCILxqQ8Ix4SceReIe4FEZ88B1MQUvWqZBgjUKJuoN6hLt9s6C6q3wFl2ITFDMT0SgqwkoWztC620PUBBGSLnqH49AnnxErpYGftA0gofHje8ps/BAzkLu+YqrzJrVa02/pIfBd6c41lw64DCuNkfRcprd/qGkTfVQfxCIHt8eBIODU9gjDyrDnAaQm9h+8HQq0sCZVU9LudPpRO4IZ1L4YZWgLo8zeRfZJqZctx4aZfMP04aPacpYEK4Ks+gHD7WA+cSSUGW19IbW4e5t47XYxuF48ohA21oKHDXChNjYKwP93gkGwg6hGumhJgr4UK2PGF+chP97XCG3YrJzDXpCvzfaJNFzSgsLO0JaDQL+FkoHH+f97BVwjL/1H204MLyJnt2piDSYXRflFmQhfi7179NyAVs/cgnJakzR4digrwMb4eoHmXY2kJbr36lD6iPYoEW3sU3OvpuFOk7W1f21bCPOHnRv+I91I8JoiMEoOZEfPLW/20gg3XLAn1P+zZ446aChNeiTPTmiS+gKDInGYTwRKboXApmAntcqxubEuBEnv+Lgk5qqK4yDnwVMBpZU2AXH0UmR1jRnOTXMvH5rB6gNdxD+e5F9/2g0gNH+PD7D4d2b8gYsaxJXHH/Y80PJuEuU1TZ0WBjyzZexCtTvRJCX/cEGZRk4MAwD7+whbSzJoyuDB9d6McODroiHv5P7IbYdjZwZvEPVemET9b6lQfTt4nYd88IMkFo5VULFJVGXlMofkPorkcTTjfUQohxjrp6MvkEzkHj36DUf47WbmGqxDXLGVF5Ln/WqBRX/0tRxKk8/yLSY36ER/eDYdGWy7G2a6LxGpa4jiJpsgtI1TyTCvD22p+nzj9BgOcvKCvq5UbIxowWRKU0sCICX0Uo0GocJ18YblnpHvkolGx0q4Q9FvLfvlqE0YKzEDOqURF//gKwKIW3tkCS5ASuiwmL7ANvJcUpKeWgyse+IMhyT/777Fl7OLiEBgIIMFAwSUVMH8//q2lIOWbFrLfCGRv6DAZGzgTclCgzByNMPiBXyViHcCCXclBHEBUuS6Sh3OJeKv9Zqfpf71n7+jaYb1moebLEHFE9TZpTnxw7E2359pkRjfoO08wmbFlrIdo3WldDe15aG+RHNuNI10OQ1Eu7xdLTQjxdVl1WPUB2ZDhumF7u5ujOv0dKAJNlYgyha7910B9RDUWmlk4XApEHBsOmSnVx5MrxgpAnnJkFgaRjjUqBMlCMfdNYlZ9ZLAtP4Q4QlMLICGDPuvcCion2xNGs55F/maT4BEuayyrtarStfM2iO+OroJaixXoJKYd+RGPfedGDgYwD5+tf44ywUBZ798dyqM1bMPxKz94nb7G36fqKHvN6dvIotkO+vVRZAOpU1NnaXsE2XHOs0BNBlK5Pnhqn/rINzxGwX+I4jiVvnssQKyRyXMMlmBe/DymsNGpkWYwN6XH0HwBmoBpQo/u/F7N4YzdXHi4eyE5mBnTxKyS4Ur1BEXb5xyUjU2ou8F2oMoWlm3P57JulrkQfahTiEnppOW2N40FJR8zuy/zEe4H5WU+mzvx5sOXOTcEDo/xRd+wt8KGp1jflbYIBrLGHFRX6bjp3M1OphCVANjcNyewSM8QI5bO7v/GpPhE1df6zG6Idw9BzTSEMt7Wxtxe1WLMSvqeuVTgAJxrpEmELSH7I10Wzdv38jhFPcB5Xvp77e5Ra2KOPIMXVnxCg+nZx+b7JsP79ZRacqqmLLa0xptj6zu3IYKc75sdbUS7komgDMvFAvK1I/mDHly6DmwvhLcJhHMpg1tO/PqYRIA1Od/ZyJjCGGCneKSCQioGIPL0W9ae6nKf65FPSF+FvAfQoRXWjE3c23zlxqTU5fHD7MKRfTGB1BPDUu3FPe5vWkV/JUBn4rHEn/QafHcwk4r3AklnUCUGcHgVAyahSX2w3RPW45LxVEWmWi69EXQj/5MnFizuUrShhiUPAGKoquot4uIZg554um+93dUPNhheaKFST9xEpCiPKdAatOfxBzmupBRAGuDLCcyCrq1nM04K365NJo6xOEG5KB70yq05O3H9CC5f0/oCAta2IuHY8xlq34S/Tkz7Im3T57g/MbIJmfRDaitwnkfyz1dXim9HofBd+jm2BDytWWdbz3Px1Rr+0ImkRItYhZlxm+tLoHIa6yxJUEcYRwvKlWewBK5ImXAzQR7CwBZgGcvXdAdlJ1DHtQMougYDr9KcemZ83+jBQecEa3IofDyr2pe6D/5v4bvlR5+SHW+KRKiCTO3EYXdBo2/7ab+q5ppAjHYF6eXjr8moSblukn5lQMY+/VcwB6/oYK8nKrD///BVelhJiLXeARW/Nis8oBnpQMyKc0OSHRr4R9+VTLKKNQyTDp2l0iBhgwGwvjC/kPKFpRPTmZGhN4YP1IAGpCvjPPBQJwyURCie4DyRrmYMgn0rzpRgVdhFjMnvpH7kTzI5YedtfZYxsy1SOouOW+K+FHn9pxCFgCEp2OcWQOzajOFuXN/4WXxZFzV+IjHvrB9Vzr9BBetM5X6MEAaeYcV2w89jZL512IO+na31Q2n8hqYddqp/A2QnQ24B0UxrqH/yjnoB6Kaw9uHYgThZ57OnkHWc6rnnqmnOyCq446YkbdhHNXRxV6/UCWDz4Vl3g1XvqBXaJgzsgWiO+RiPYQnyhUCW8L3HWeNEtFU6kxdyUEGlr6DrzE+MPhC06NJLLcFv7D97yHiStPjPnB/pIXustjoswzOCsiowLU699Exnp+0mz9wVEf8JsrR320uQZl7J5J8SyHCq35wiFbYe8nmmav2AJGbXgwEN0LZjl3/Fk0v1oMbmowm7Ps6R90PTZ4oP13QbAfZvLhqvNEo1/MV8bsNjZQzgZUAPiFfeoUkzcTSwwMkb5nYG7v4LRJnhxiKF2fankDkK2nHv+KGOaQxgdX9EkvIr40341X+ikyEXGqMVao6rblojYOCjlVj6VFFJ7l+g8bciHEew2x5DUpciPIMn+nloNwZqpPMPzjbNkkIxxj+sGXTCBpoRdp1ThFOtHgaD0Ke49OdfrtFDHt7LvEyavq8/s4smi82mwDzoA1RPLHwwg6br2wMQI6RyviztEST0SjBk9E2jKHNDlJ0f+a59IIbX6WOoATy1j/SbYRc2WepfaAbE4m1+7b3A341an3xUFtW5oMq3VUGvbKyR4WqhVpuAKwgGtUzfHM7BBt2YykLRiY+JtQXCTWt0EC0/OKDBODa+axF1f+fWzknxN6hBUA2VC1XGoJ7L2GKyxvqfEP+N9mXxEm6cow60KL2B/lShfom06cCUhdxQVyeKiXdLtGyH9eLRD/VpMj3epXMveBjNzpejetx/c6KB6DYzIRSAXzhvZfw6iOxR3JaOSSgzGXVECTIltanKu9QNYVhOuWh47vkOVolR7HP5YiBFobOiA1XyUnjwdNSLbZxvbqU7NzUDU47+Z+oiVba3vLOQoxiQ9UR/KSQy3Q9kWa3Gw21AjMTSgji5stXu55cQ0G+dG/6amrGSDJhhi7zzh2yI9iCl/FiIAaDWrZhC8YLPu4uvCMMl6TFlAgytbSgGkaBofgdtgergj309fPAJ/po6MMKJHKHhcrAenNAUjjOz7zj3hZKge9xGiMIeTLAXE+LCj1ltB/9HvOhIxSC42ziUX6XYv/ECNnHzpPV4PExZmfdYWqkDqMGnB0Kb/uVwOGO8AJTxm0sSGaHJXdVWhX+BO5qh+oj18rRa8HipyA+xRivLidvFTfFcLdZDXXdNIz+XBLKRPRI3LuzHEG+twJ8PQSNaOEh71S1NjPWigcZfTLyrjPlAWWgHdlDcRKiDe8WeiaGy00jW4PfqipLaoamexEpJIpKU3md6G7WMCEpIhkKDBZt3TKpAiuGzZLhFbDJuGSIai9HdmjNN0P2QqQq7Ho9cA4O8X+FKms4LQwa6fpDTm/ptRZeuPB/aWtOnqlHYxPCk+mtr6C4TVKVQiXbDzlNtfW9jgKqbt0qwJ9muVXS3vSqBmu90f2NnsK2LqAuOmg2JJnLwT+ab0RazB+nEvBS2ZeiUktPhUr7Y3BppCvlhw+00W8Nyt5pF7Sll6/AK3hm5wgi2mupygFFLgZBi/d5EVM5E1rXhggPpK76R900piPlCp2A4rUs+DQHuKGyQd4QUNcU6beRt3z6euuCkEqYTgch2RRQnNEK+XSraLa2fWoOmXc6AvqRLD8UwDrpfIos4p+pWTrcXpoDocDDOtDu/NU49nwzZ/l0l2ddFpa5ndkd/cO4tdD6A+C9PcPXBJ/xGUhEdaHL8sUIuGALla6AKIkPrOkUj3liZ4hpfWf6W9R3Jkjj0rBdVmkrnyl53KhIfIKjzw+UxH8mgfmjlRytY8AimVJ9CFYlWv8fke+80LQlwHl1L0f0x/zOASMTrFbnW//73z6aG44ep2ec9YeAW3sE6+nVV6QPtSA1ca3yfm+3RRTyChkCAn22e4gRku5CsN+V44fnbeamOG3+hKtiHERwjiSyae7fvJDH+wtBz038o/tqOpdeawrNdqBrG1EJHFVGrH/wzdVQV942HDPGnZrmn/dh0V7pTouL/zPa/YGRY9/9qQexO4clrbYyODrQgDJ39G2HXAhVhObqcpAV8jYEzsTYZdCL9jSLOXa/6WFAAM+jlMEpDJPtF8APkEYIuUTSUGT7nckuouUybzQKWpEZkNSE45TOTLyoD4vl2/Kt1obsxjOIXZAfbal0imUNz06VuImrbJmUO3cw0SZs6yfsRm/FJ4cYNOT9ljTb/MCYS6WVEH9lxICjthOD8ctp8mN0EmA87b5tOVGHKjfp9jBDr1E+fzdwNbEEOh3lE94m63Za1t2/24ZLo6s5/Fblw13p/KTgQAiMYhFTFAZp7wlaM9hAh/ZPmPapDizfpHNiVt/BXwuLJyisL6cm+nBk81CZyfwSqpZhH0agovWdKbtF4LoFjnK0vM7xuTGjIQVyKk47nNpqFl4ckIWNFgPhVEj0deOxQcsBYcN5clHLAPaGG60suSMh5E6e3Fp4ppwTuDbGvhbgaGwsBjLtQa5fcRR2Zzcg3mRRiGjTQLWh445vc9JZ31WhV6NPNPMXWeq+vboq9A8zKuxuLXKrxUd7mty33gCZ7yfJ2Jr6O3niGxIaTweQn34FCeZ2D4CSZWaq8UyBIUcuBXbQwCGMJjFWXDQm9qzEv32Fp4pBKVdY5mKUERFt2pnNFjqEEPHPyoj+w2u2ufy2RLuIvrj7vl0OGHBSXk0G0D1nKredIR1/1TQe59N05ZRvTwcbV2lFL98tMZO9J0QcQ2o7RCu5hruqk/kxBzhLCTcbPTznf2QF/wsRWShIuEVvUNCA77ULgZFGOUODUxxwvUxPZBkLCyCZQBMI1E9xjErDCKUQHFwxY9Hsf4/fzNaVXbaVJV433+1e1qtgqKz/8wXjX++7l3yxKOOfaTX3h/iriWJjb0k7X8oqfTA832i8Vg0tVtSBanLIQO33/j5lvYZp+1Kgfbrv7a6PWItR5piYiIvhggUZev2/0CAqYMOrVfW1g1xu3riNG67hzuOfGMbadLQnQFy3TzbUV17Qk/56EBGKGSsI8mHx0BuOWckgZ6riR50OKg67qPKGasB88HGdhLCktLr31zcpS2ZkCcurVRL1RhL/aDIqXOKWXXQ0fH1T92Jkb0eTbGg3j+WEvf8agYc6IaFUw9ZpftDm1urJ/lmnK1scJXwaKkZWl8TAMjjmZQgNMoWhvVQL6gtrZrJq6vSFFXCaR053Rjy4HFUXlQxosYDNXnqHnBnae/Q/U/NNlECGkXDEokFNnL6ZIMVGjvvSDKKNPnwuBDdjdD4nGBtqNUKkFrxRKfqy+Q9rRA/FqgPPMw/MsrjwzMDVm4HwWYhmqoknMDFz+ZfW9eRQAOm0wXNHwAswFPM6i7rOukP4HipC7Azwmx0/davZCLf2dLOVpJGxSTyjqbLk2niP3KPXw8vu9SXqvCi5TCCTYGRJz6pABLF4qdM/do56LemVPfknj88msgKDvmjXUu9E8KLEQTFIhEbrhLVCPFxR0tRNmPI84kRe437NMyFB14nO6ZvmRM4wBOy3pgHB5tDAnin3yGQ3EqemHmsPNGMUdKcbUCk25R0qEY//W6SULz4FN1VCiVlKqZ7GMMVIbbaVws7Jj6RKU0xeC4/Oe/vxUFT+DUjjpRaPx3nII4T0chpCOhdD8wFBbvzr+49XXyzuEAWCI0b19vxcS1J79AKK7CJUWEVXL0ZlZd9zBH/zUvUXU2O/0GnfggkbDmTy0Ta9mtCxlC/3aOBeGX5gFevzmaeUcgwHgjh7wG51ntjoBllzsdGCfmakOlED5t8gTQ7454RqIh/la3GOA2t8NdOSCPGhQIDapB0V2vKBqhfMoMZNelcTWZsTGx6zNgdqY88PXodIljwRGCEuFgbdVz53wPmP7KnJO2FlhVlslavaVks5F4uSFLkHUrg9p4NN2I4wkUCdgcd4xN1asLFjKLkf2f0fhs+ptkAh3v4cBAzjGRuQb/9u2CreVc2fvwnHiaCSJZZIJzduOROQzHyxOaN/4nkMkeb49MfkWEi4s5Gtn0FSMj3POEG1cSfFnAwifuLf1mMAZ37T5ONPjOIQV7HGx1et4bEQCrKb/JzFt9p/v0VJy1AxsxOUQFAbY1Kd90IWIv2B/7Ha7t/zRN4ruYhUS7M0E9bDvEv7kJ1hevfanuJqmsuplmMv14H61JCQDjqacf9hIEbW83BX7Tq71cIdbvooclu6YM0lxkwapX57BZoLpKIHUMtQ4wNvV7MSJ1qzZLilwE20w8xJmAhpP5oBSk5xFqQIQls1FcK3NjqhaXWnJX7i8ro3GE8JbLcHBWPGjDkRSlJG24RBAOwaEBwn9ZFrM9/+5+klCM99myFSzfI53XxFZeLlBFUtDISq6UWzBT8Vo4zXp2w+HZ71ZWFUdb1OzsuMXqMmPjSPG+VySiJR7w17AdGbp2D6nzogtoYXgn7A7v6xTUw3VdYl+Ys4IKQ7j0wciHklGTHQlxz1Th5zTkmOWKZZuQTJGBnGgYK0sUPtum0nCfG+4hucQ7P1CCixCsJLB+fFXqgVZrXglqYEuOyxx5YzUEYn2pyXSc2uwJuPGhJFgDjymvVCXqyx/24UVZ67M5C6c+sStXG+Q4N+AJtUzUUx4KuY9ovM61dEoM/R9GycyjveKGJXMVOFAZvrcyRJa3EGWjTzJHSWNhHiY3uP2yZT3WPTBrIsx4PDvP3iZYTB/kOE4WtHewWA+BHuBOqP3Xyg50orWCdsyrTBsISdnNFcXnpQQYVsS0ZKdD7uHg+2BAIWUJTg182uipxEXwARmwF2o//mtrz8D6zyeMiLewkz0S4TDE3kZaujoEMLWrHCuGMtL43wPullsohORlgBV96KmDZlpqyquVflo37YZDcIK01biFPVH8bfpkAbsnAh/Xb2BvKlgLUjXnTU92i4EIb+HNQdNpd1I4Rj+CfRRiE3fLEMceS8Y/habghtDjJeZOcVrmxQ69GqGYspR75a75fZUUeKi/DSUpyDtDD5ePm95MVAH6lk3xgvyFfsmth1jEWIr6k1Y+T0qTelNpLTHnbZ6qQamRmQiFczqGAugqAi2RjT4fSfLS1MwJMGqSqIg4diwvSRJ1JPxpjoYjSaZnlqVNP/f6hvVBFCVuF1RKjUIZLmCCMFlVYlx5QkjdOyybegha1tfVUHGGodHtVU4HyjLDy0ZugvTlnZx00Mx4IO8HkWYo9H1flRFlV5UTRDJ0xpLlBU5IhdWoJegqeviT3zXPcVglyWn6k2jCd7tbSqgEaK30wDuPmKshUHjmH+d/U1vI6WZjpGd5N5zAvMhSn7jaSfoUcIXUIv3ocQhio7r0XQpe8Yh24u8GujmrMIc2pxIWhWo/wnLTXkY3GdMjN8fNXHes1L5dxLNpz1kqj6AZ1CUT0YMdpmyxHcCyP5ldt4I/rlZR39IPR1EhqvDq8z22SpO1D3e2o2OObnQN9utd2XyXrkwJKhC39m/P0f/+Q70uG9MoITG/bQlX6kYYeZ7CjdszjF7i9G/b0SZ6Uv9Smt1mymcnOCQS6No55BPn0phKMIv5WXH51jN6M/WajWfJSb6hGGfwSyLEC1xGV8DkYrbXNU6+bCrJGn9ecbvDnGw+X0+T8Kto9pGKzTJ+/5yWQtVUGGFbrgofuxqm6h5L80SmNen4HZyqIw4EDAQ+QG1z60TPV2mlMiKXko4vPCF+Na1qVeRLz6Zncrjl07+JL0MEv4aRwufuBL+yhJsFE+n/5K9g7GwXnWErjQUdhPtpoOb8aHdcHvZcMVu+iPorr0rqKHLnAgtlMyCeMFe34xR0lzGi/40zL84oZeRUyPqFLLA1npdTU4SIV42zyO3u6+YIalab6qL+djVxYtgZadKTCN8uk84suEHABF2u1qG4d3Q0G1DhHo6vMxQKz9puMV6ML97E2a1PIhxQeSTZvA7+UoRt/AZgERjQc/Jkmm8KE06h/w/ZzeUZZUoAn+XWgQZfHKRgwS8pW5rnEw1tCz+sRQvgw3LjLPxxkw4sPRPTCU8usKgDSywVEWRtoSOVJjZ3BkNch9TfZyOEGb/7566yrQZv5WVPUEOLdIMni4z2E+WrF7YSZA+o4HyQXaVqg7lsXrOx4azlc03pdBhbMMmnrZV0w2A/yBllBTyXWrOKEngI83g29Nj8eUEBKug36LWYGrmojqMfS7Q8nej3K2XlX59RC/3Jllc4KVPC4ZIajkccDzaEBm66Jf/9uhYpeFYPu1BR74TLDALcXANBp9SaxnOPOGO0wAAjduUXtemACmtVvzWsF4vjyXcvTalqptgssxwnJJA6+At25Skpw17kJTDOBWuqqpf+hX5pCjf1/Xn3S1UUYTvWOg5JOU05LHzToQOU1I389cfE/DNu8p+TsGSj0zu9U1us4pa8HeiVZtSTe13i0MSg92IvX9A0W4cwZhZk/Ux7oOKcVVtEKS/gWQTzzwtBRl/g9d6r48r8AUQ7g3GxKhLwlh9SBQS8gPgv4fFGVSfKu+l3Qj0kisvfmg0sT+rT/6e+0nDOuurwA5iBNMwpJ6O2tn5ZxnyKTqiG4ldD1JmpJz0fEvuG14qCnbz1qIRVsPaWHdeY1aaKnSWHZmraIqfGriTbX2tbQQDWgKi2lDT+SSwmd/pIYmvLbYVAcbsxjO6PxjjfySAgK8SEjESduy6qntS5ojRnuiMre5eoqtgxCpMlndT9thrIxt6rNWmOXeYlHq0UtpLX7RzjfyTYW4mg1byAVtgrzyzq6FC96SFLQtDA45xqEEZMhRrJUCitW2Nbe+P8ON7t7PbqyOnw/vsti5ngRJFJeeIIe1KwzHgc69CG1oCHsO4AnSmf1tp1l5kQr+8K4PjWLCbkC4jZwojhresSu9Tce9VtctHqK99bpdLqyyD8/pXiD6mYaVziKRcZ20qRK5DzBR+PGZePw0RMADrqPxbCPckKYoNRwgOH6YdPlh5+ZZGgJAU4g4JEYKjS61AlJXYn7kJ7HeQk/+mXeI5KYKR1+j0Y5lzDrVgutx6NtIPpam+3VY27F+xbeFudQcsWPHO3g7jzvWGFUkiKk4NukUMmBnNnFMVomoF6C9s18Y9ozw/5C5Eqbp3sZ/FHljfhPMI3N0d4Z4Fd0kqlalGAKHcHpDM7wolCMjspdHkIDYrrYMUpEWrar40rqlZWwXUuvFEO6/z42XUzAmNK2xk6w/yc9jJItjSlMYJ4nQ3R7UMgM5GdjD690bYHIfPB5DaxFRl21g4yLmQyfTwZZRreEGGQGTwqtDDQ/D24kapZFZDEAfeLXAPBo7c1Ka95Da37WfHmCCpwmKHVxhPdT+4OmK34tdwNP3rtuZVF2ckPmd1E1BymZT0xrGrW10TMoScN5ToMAh9E3Jc5/pkU+xz+76OsVwBYV0RdzLZZ08D2NXAol25HU9c+zS7QuHq3+1aBQ4gyVrK+5xfLBUmBvC4Rey6Q4QxAAQdbq7bGW1eV+HgQL1ZhNnB3CV01VouIoHOkZq25altDZLAxhJhS5AhI7u2MpsrbbfC2+NwaQdcYyc0LjUyGyUIg/0tZsngDBs04e0ZHABn1RpydMLjVQPybu5lrPooIIhWYfhDsB1LUovpqs8W4GtwSyuq7ZxX6j69w2cVPSBz7VbPjr4Q9jdP0GoXDf09CFSYGkErNUUcM62r3JFG8fZxp895QBi1LPjuzo5uyKeh/HJgd3HQeb66IGkHbiJ299Yh3ohiDL8zvfuUD0S2/AcrGNjKUGmWF/2l4AqXRZT0HKeE44NTfflktkJQ7dIT/uILurfLhOdH8bf9qBHCVVnbTYVj89sDAnoKX+jjh5Q0KAOXDvl6shHMnVV4uZERuqJ3sicDRg9729l6Y7CD52FDj5/+uo9iKmPXMHPE/lUkHAX2uITC3L1lCGsR0AUxy/F6Nk4MGL084467tsb9q0Rxciw+69TLiR1b4anjHh3FnvWGEJdEHhtkkcNXsU37Kn//Tpd3gLszCEsREa1v6wAeQZlct8zzUIvHAOz/BOMGNgQa0E14bYnYfJrRutTS2E0X+YvlCk5fk4x20aUrugWXIO6mVe38JxggdJ/cmvvHHx+P4xuRAh9xX5sqxmHLI4RJjf4YN11ooJM/n8c2R3QGBprV6rAqq/fNZWUGXJEEne85T/kGvm8EhiOzvMOZVOliNuzxnBM1jbIMJIAhe6/Xbwqfd/sTv9lMvM3Wm+MM+bpeVt8FWX2krl9s4RmEhtUL7XPyPLfGkeap5I5aCDMvXpWQuyBZpzMbZeOWW+8WHmqoCgatSVR9A9Tyd+lsLs1USiJ/R0AVsLEkkvd+mt/2Mm9AyzBUVHPYN+ncfIMmhKgtOzIvJ5oGfCUXMj5sYPYZ23jO4JNU3e893gfrvcnMHbtdY1OrR8npZtfQNaEQp7m2p03OQioHtrYi34cpRFbU7+Ue0hcUqLlhVVccA3hv31Ecd+WZvP9THAi0UsnVs3OVFx2NeErHXse1dwiV6dFbXPXCl6gA9E4K+UGiM3JORn2gLRrvUp3eeOsp7DuV3cJiu4qFCkDB5yZQSSO450IIxJgmSCDSnLu4nd3IBDkyReMYhGDsj9Hb28wcEpqv6MQgJMXbufX8gEU0SM1tUYD0PbppTDarWA5KSJ/FphuTllIEdYtO7cAfWSjd/2yPbes3h//HGaiAVlJ2+5Yb9kZI44VGVzgxJUPYc8JZt0Uk+XoAqz3A2e80zn9UmrVtkR8D70s3P8F0kXg/BriQ7CKF4yt6JZGEIJWNg7O3AqA2JIxGu+xhKxkvxbr5OJziz0+0WsGiAP4r3bU8fWnLBVkLvf97PRMD9n/z5HBCcA41+htA7K2CaEgRBgbno+Vjj+7ZN0UlMgwDVUWkPfS8Uf5uGAJS0QEO2N1Ni4qQKgVsot9Hz/tPp9brkpTfF1JtepO1BKEo7JIybWDUoIVaw8H2DYp3ociEh7rfWA2Uev71Og5z0W5S2FISWGDeVqj/GzEs79Zx9RtpHNu+6XMJM44n/YjWHw4BRRQfNZ2uoOHb/Wd4WQZ0gZ0t9P5eLeCzf0MG1ComXcV1qW5S3s6m9/flTO3d99IXMBi/xOrTWgvqc0gu4d+T4/rK+/T+akKF00I6NM8giXJCCfmMT4+e4dZ2OKEx4+zP6HW1Vg5Rl4G4qxLqI2mX9hpsBSXGxg45iEz9mvXhYuBZ8yH7u7S3p3g9FLsh2+jBFGdO3H6yVl4yywwf9cgAw4bERV5neidVmxhArHnb17QLn4oqpUPAiM2Q4QDmoEFCmGqoepEaM8WpDNPyB6T165ZpI+ExzMEVtIF8fFvqaAquX/CVCOFxY7iB1yQ8Mhc267wU4kpp0Uq1QiTPOs9gb017aeAOEPVtDlhDt76aPHXQly5PzpA1wppy3Usvo5AKIv8lyEA9L9ZXkH27CaFLH2nMv0l2Ra8U9Dzc2CfR+QicZENU3eKHXur7I6mBraOSSLFD1/UWszmH1uRwkFTDyqtzoikO8v8Uv+4j8R1qnYaNhQgdxmWX00XgxLS7YENfRn81ltuu7RyVsbjDR8HaeN47CQSKUyHzHjP5WVKubzltpDdyLJ99xnd99CqeBwrtydLpudGhJUX5mPrhdxiNcol5LGuHBxz99p31QWau3VX79OtaLahm2nMIxGGGJEW5Dn+WvbiJcDveXXRqUgSTDc/MSx7thIS/XLrE1AdV2waqBA1tyL5WNiQsadM39aWe9AWdf7+/IICDi5m0kzWLtnpnPuUj8GDvgT5cyHs3HgCFeNAKV6/qY4B7joKQAS5DajTxeNjRZvemaBKyBHd/49fZUqXx6C4YlztFpGnniZ6IPLN73fH2xBMrs13KpiJhdApEKRs3axiq/8y9rPnsbTPct1a8wtv+M921uUwEyxFh2LbCus14H5XD5XBa+cijpXu5iporVpZku+GETSfsIXB3O1zfG4CFDVVne8SeKwrxv9B0AVsGVZ0N3asP5LT/sECpONHl1KS7hjRqcUYxc+EGIjr9m/JjeIwDrfF58gbID6aeqRgjxxjcMO5luAdY8CgZZBlbcRz8RZEUDtiyPkVafh0ntjKeJffyAVrtmM1MLLEEZjK+1ympdPbgdqxAKMuVd+yhaD1gfvGc7uAMWWR4ifabj5bR8pLGIfRP7gffFTahf3fWVC65XjARSEAXVjr8Yy5iw2nfZaEPdCKwVdNeTztkYxMcgDOS2WK0CRUzId9X2qs+vXfUzu19297Y9wavBMNS6hpBs9VAF5e2SXWKqOnnaqdIWRjYej+ly/E1Bm44L8906yXV7w1mf2uNMJzpLlE2RhvaNOGqYaRQv/V0SWKasalz5fMer6UzdPa6uqcxUA7MfYgkljj/QdIydqNHhV/k/8lhoMWdMt0HB3wu5ZTfiFqsqUKDwps2Zdt3vGQ+q7JnqGNosphjxEk7Ioj9rT3o2NwTJC/Itbw0ZNuTceMOGXG8gQGbYGGXJ/YNuS9BagVP39yGMzpa4chmue0ouiXunwSLFu/5gmZSHq+Nglxt3nCOkdgeB18zKtrWDL3XwJEv47zGlem+WynUR5W18Lz3bOppJ83gmta6clA/bLHkn35oC3x9+8RoTVIA71H/Orp0jDAHj5jcd/JpB3H/N815BQfiCNG58bUo06u2H3I6+JjdkbNefAExtvLcKcyKzOAG+yHUH2rkUmbtBCkko+d0q5qRRUDLYESScBLLIyLTVApaCxif1mOH2KMVCPQo/e9BCkpjWDRQ1Sxf4S6me3RiS2TcTCr8qXnNRbIzculyvstEUDXkaBJ6SOcQXQ4uheZ3ZFojZlqsV4S+gYXzV5BLrHjn+QOKFJgyLcd/11uhV0F95oSKE3R8NoIJZJjG75q+SmP2FETNNyx06mzYoOivGNVDoC1DX6dPX0e4jovVZrOSmP7NOFF8z4jqcc/SJlTnCzgmLVfmTnzJpnb2/NKeAuKIuuKwhWR/kpKgF6GH2vKmpjwV7BBt576Av28JqsRYsahfXrFSyrIbxrTWmRnHTUCGGExzu1DzH2479djwJTCY9NN9TrYknrSP9c108WjN3YKOSx79ztOfzNsYKoEelZUS4d1og0w2t91Kx9qNZJNqZl9/xbkFxL78Gkgv2Toy3w/L2UR9SS12xzl4QDWfXGVvkE7sKy1DCC9RFBdwR2P4WHbJ8A7asp4ejEptVjmhc7FBISDmUKu6kaE19SK0I7l8uEk1j8hQ6Siq/iMtHaCJrBJQUi28mZpd9DBm8Tm2IjPS949rqR1a3NSQf2sG6PLdTI5NHUD81vuSmZWOCV5EWD8feo9/bJdihJVXOxV8BpjHSBbMDXVt7k713qK4I53X54pNl7wTO01e678VOejqgXm8ek1bx4K5NbOnFepjGIWEf0JacA/o3t9JImfEWr7LzeKil1IEDbXJR2+IGSR45qh3YBuDkfozYJVCWkxFuUSvWweeFRa2mjl9EhrfYx2PFL5v24nmuy3w6NSqHLxEK/V2loOGZaap+KuLy6Bt0andfRgAW/M1VgZeZpIiL7NJH8QLFtVIlusej//mWChZHP3Wccwofgqvy5QmEtIKlFWh0/dvAyjZtpTHVuj8guU8WrvwWR1LQyAIPtldyY/SPKBCGg9XZDGtwWpVb62MvG9BAHUSs++k4gzfxtjw1vmxy9TtKwlBKP9MJtOljxCD7HJovI64GErAmyQD9aEJ1T1hZQEZL2IfmROPD6Y1FAI2DbHqAJLOXHenLYkAO424T+d4GqHuJqYVXZtmuHgO2x4LsdwAQ+l0eCkyUTa3hCIcnVKuB4TcnAECq6JJABT79occCkgyKXVgS5pgPR2Pve0e8YxoF2CdcMdURPf5u+F9wYOYyasAtBCU6MVYg6iugvFo4GkA1dM574RsiQpZ73mhJ6yt7YMFjo9NeglkEcfK0V7Rk++k5N1QxHaKrTZ4dpSPb/R8+Rw/JhDyapJlrF2+k6PC83SKYbH32Iy8+duHwZ99CHyHY5sEEy+e8R2jfcOeDg14xnjxrjqdiPQSqlfAf52LPfG9PVlgm+BI/Hf3LDOG81/NMpO6XuSZqt/bKNebF+TspkmmO2tD1gR3ohVyZn640I+PCQ3hHxwdMuEgBf//u3crznao6dtv6UbchN8BYWqo8GHHsuzB535kgBs/Fan/w6KGZKIExkURG9QJo0oozV9r0NsBNx3ysauKycmKb1ZsgpClbg0z8nxdc0uWkLC8yAee/mNJmRYOEDpmhJMEYTkGb8NQNtMJJPanOQezKqweZjaI4E04q9SQusb0WRXWyPC+0nLKCpARvyLfzq5GIBoKkss9GJAIHKmXHS1pi0hJxSPGco/lFEH9akneUoV7xFGyF8TfBcNbzW0HYZNKx9nD4wJeZJ4BMNl3f3moo7xVg5Uoxtpy3+1tZWUiMhVzlShp5Fqr+Z649y6lJRfGcDkcuQ6TT6SblNhTvpC95RS+6Z5CjkzVUrdVsU1nGT7N8AkVzveuL1ZrHY8zu12kIUQVegKa0Saw1pb9OjotTzSPcy5OFb/0X/ZvwK0oate+ZoJAMDm/W8zHwsiBA9Dumwv6E0PbFnbxRzHQmHGTz9xNQBXzkvTTCy0TA7ogsiwN3BBffcg7JtAcLQCjDk6BlX9cHG2Pf3tZtfZfS9OIImLvEAws+qwGDmjBd3rJMXVK068rQaz2s3iro7hb2XYM/oueGLUE/6VGT/t244wld9Mu8KkCvx7VrMaKX81h9g697pLSRsJ35Pe/PA2+RITKmiXejeI8kLdksepp6Wk4piQshGxi+aLZZfJAc7I8rfn2LZqKenZcgFECda99FKXu3Vf6fIi+k9Vp+72l0BMUjcBGjElx2pr13gyusMOBm8CmOTf5qhZjeLjquuaJJy+518Qd/t1i9mLHUU1EHTI1votA/511bU/EzURwNElURV+LyNC5R/NGayBBrmfMYUjFfoE+8Z+RSsWPel6MG7jKQV2+s7VAXAiv5SaX2nAHfHxvMh1aIsDfpaT1THp4G0eM5w/78F5Q66d6nFCuFlvCUOxpnB+WuMMWQbHgnljo4rf2Ty2ahjiRx90xLgTsKXPWXMTVdt2EHeUTFmUOOLTj78GiGAcfRqYGVt5Vncc2GYC3we9pjnVKOnQD+CuPOXG9jFiaba9xjm5J7xPwqFcEB/D4gncuJ6yMdeeeTUW9O71l7D8zrf8TPn5vvBbzdWbm80zdM3DbBTyZ/Mt3FsEebfX9L3UPqLFsKsPv86Kk7BpgSMI1oTQS0Phy23qsYWge/8Sud5lY91HULtDxs6Eb7WyrqJk+8Ngz263igxlNfi9GBEbwQPt5Xy9P8KL4Brugy/SN6RSDRlD/gaVu0STzVRDqSah3If7w0OMBG3JG2P6XWP01P+AgWdL0ZFvyAlve1JlawWS88Kzcu3/xp2mN5Z7w88zEbbdbF+hPzRyk9uzPYTV8yRRPr4P4SjO/DbRemeMmrxilQP97IneIIyqab9k10PnbMwY18cgSVFp3DlzvumEgln1zy75HIPWUeoh5ZltGGMXpYDvGtkp+drzXyjVMeQ2VrwHWJeeGximo319xiPZ6m4r5mBCXjY6d14gL8c+xAvhEPJutctxAjk9khRrLU1FrCKVIcoKkWHt6BeEvgrgr4U6q+Z4p6z0euhYqGfQsw2gwXrC508jkWQCJADoWp4uZO1sLvTbedupPZzZT3CmJj5CNLbwbWtengM+fFXcitujTJ40OcZ3TUjpIZUBvSkddVPufNYxjW12zOAzWvXSOP9xKxM8DQs+PQa9aR/WZ4UgEH0kiDqQ0W+bOF3kFHaV7m2Hf80YS23AN0iOl9pkVMLaYPExfYZBrLn92MA1UXvpKax1AVm0M7R50bSxYWv97NW5AsQ3j50SZgM0NrxdNTMMA85j4FdtOcJQNWNjGR6oi8WroKpx3xR2UcydlNhlKPYbBVM8XWHVK1kRhXJrPVwQ0x+x+8F1yS9E1MxL2drqE/eczQxFZ4yW21MQmAtyfm5Ek6zjZNI3CAK1bf3r/swJaESwhrdR+tQ8XYs0DvUXM6HJKj5w3XBeZbENwCQ6c5YNoNfQMqG/6YquufXP/CO87wHNmkDMG7+TkkuRhDZnmm7wTmbU41cmcGAEsWV0L8ysRo37dbsHEWZcGPVUtWulGfMm8NgUnb+SWt6Rb42zvj7/SDpMEzNfplmK1twvsDqhFL+KJ3qZjaM+JC5co5Ds7j8Ed5vcn0PAPRX0Gk32zeV/z8ToOUKJK+CFnjO8CNqKVvr1eVjXXfR7tUE+axjr0cER4OUoaMQzigCUmytfUPdKKoa/r/rNrqK14tCcvK9d2UHbGD3EInjLdOSQo5Hd9kPsBzyBx8HmhvHzrrgKll4HYmlCqK7g63zXqSve5ZyELqYJOmIB5oXTfOl4RmmlNkmE7at/1onHogkPMrpYqOS6j9uxi/pyebtr7n8kfUCvM0mT9SbPKW+6Wt55rojheP4qijSzEFr6RyNjaWyhORQEaYeTlsbZRXQDSWc35RcRycAbQlSMnZntKacFL3MqSalr6ngAZr1SvaXEZ8ZVNKwyaSJUUo3Jv6Sc7fKYy75mmXT5EHHKI8sLBTjZ/7D3x6/MRFNh85/6leWeJDXe9HScpACsCubCn2cToZrPUf0/Kq8PJW98Svm1PV4qN2NcRYnZwN9UwSxnzhz+/ehtGzoe2C/zsA4640JryQx1OAQMcSpda8wuejjU5Zs="/>
  <p:tag name="MEKKOXMLTAGS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LEFT" val="True"/>
  <p:tag name="BTFPLAYOUTANCHORERIGHT" val="False"/>
  <p:tag name="BTFPLAYOUTANCHORETOP" val="True"/>
  <p:tag name="BTFPLAYOUTANCHOREBOTTOM" val="False"/>
  <p:tag name="BTFPLAYOUTENABLED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z2dD7pS103gZfJ6l4USC3jqtWOPR/ue0umjYEY9KlLthURXCUyUuZbmGDPUXB2idlVQc+R1c0j6vNnMaKvr/AnBHPFsgePkL0/XTpsFrxRwwYvjcyvyChgSTkA0WrA8dwG0GmwlBBpsIJyB1sZP9d7xAp2ey1gpzW0jRb65HVkmH31wU0CUfz6Wsa3d1WVhhm8nLUzZd35IJort9u7v0aOS6xXWeGseyTUT93qRMlwCGAgJ0MTKWrvhdCAhS33lj/WBjpWoOveYj3wIs0uqpiLwu66QD/FKmmF3KnLAGEUHPCFZNIeZG+VemSHwWaq3ngADKCST4iC1+L7zxKxU0QXupoYlGQMVLrkA0coQiBp3sryfjB4xIDS2DRILd1kpk3Dq361tTU4F963ymJoPS8s2D4CA9fhb9MQDmPO5dL6iNTmATi8lU3Se3hFzQOt6eawOeAQE8mdugGmp0/fg4hrZFnRs0PJMigkrOsArPfMS2DrvAlTROg7WvY/2DJ792iUoqJUFI2yIMPygkOyNksIJEcP9shZ+iqL98L5YB5tNDRaKL9GBa9k6imOIjAcQjsY2FIrA4jbuK35WlCauGOigsxSVG8OCu1Zna8WTrtiqThELwJYqPRKkb/Ema495cYY8q8rk2fiLyTQLMHPWU7UdPoFU9ShfDOlXdbo3vW1BLleCCGjQ3BTC/KHOtF9ZIIws3OTqgmQXSfnFoALLvKjf6VzxeFQQ/ivQvVqb50Cp4PJdL6Y5wF8KOHQtnUy44peIC/hv64kzqrZ8E1ZxP8TJK2Yq29PCrFPAClWKtEK3hsy54bDX3Gi4rqMKEIJI0pomnVPcWYLMsyjOUhKUHWtxWjb8l6dYYOCDdeGoxaUl3OnbxdIJhH4Kutj/yZTA7dGbfAQX9+VF0dCr2Kp0Sa/wQf+fN2rYoK1m/0rWvfuBTYPSmcY2QlQT0QhTd7BGyuY8NYtahwBZHqKpPwmwHkDVjc+qKZESEW4PI10KM94ML821zcNnHL7z4r89E072v4UmaZQ8TKLaj/MJygsP7yI1VScI33jdSQGrLjIjyPqPF1tIDJULv4DJxVUSuM1ArPFEF0TFiM7EWR0Y0tO6YRh2Zemwl4Ks6hzugb0QePiLoBIiAK6YZPiiVootd+xiklERlcXoUTmB9BZfVV3Mb0hcY1oRSGGtyGAdCLm0Dm9gRDDi3saqilVRwIXRtfQ7/l4l4Gi4Fv+dCi9UX5R+/tJaZRcHNkPeNUKMcTOCti2LXugsu2z/0UGoGzIGG2VH3ndmV+du9kh2CFmHFaf6X9yGGT8seM6UNqIyBtsFrDc9W3UvaNGeER3oDsvBdBpXarMhObqVYs6hZAU7QW8emOaFqFLNq73ZQAr3cPhs74RphT8HF2fEJ092P/efXNyHiUK4EKxrSVYMOHOwhmr6SEBgyxC2oXx1i0ftoP7l/AF12RG7xPsXLbC68grh5kglhWfIPM21QoSNvdIrO+9+/sGXY3QM2OL09OztGxp99I4GAGhqzX7FXMO75rbAn/FGfe4opqoHNzHGIteVZuRSk77lowQxfaOAl5MlrXxbVTiCc7LNlRKTItpDD+Dg6J+gtVXju6aSopFfd1t9ZeK1gkoclcf/09iCY9n3lxR/Z4rUIlVW5EccARN4K2e+Nm8xq1r3b8lh84FNrWz8JEVSthL3ecilqqpZA0unYhlpOEtSXEnU5PzemwQdorkC9Bb6ZBwU8kikxAI8ZwIWmIYT+QNDQAWTVHgAj42WrhZU9OQCcGzHMncGR5sACBlHikp9IuFeEOeRnWhR7Hl169e4M63dZpzguFZVPXzTGznqgj1EBihNtKq7DrDPgXrnxKX8W9ecZNva2DPd1OERBVnCe3Mh4VOgXhycH3D5Z542hTPvncctLvDrHL3fzxFluLVMWikUKuZ/IVS/XKtObps46nUNndbme/ZeSW5GvL+Ulwj1McDk47sonFcsbxiDgBGeaNd5nPsjNf/zP7bT1FjjEBs8HQfoClcESs5QM+Tr0+YnG3kIcfZh0vyAEazgG7+dh/+cEoFZCduWq930RHVQe77m6xiZr26akIib4GDpjFm2SqjqMPYryGBxyZnBXFVSIGkcxANSy9MOx1d2I0C0kcKdQC6l10bSxV1a8/94cxWcIu02sDfOBCGv7P51sSVFvH6VPAp53seOm8JDL/ZzihEFNgobnHyI2Qp8gzwJ3/jr+I9io4zc2otqLyo8F88zkcwfVT4/mTNJhkGzdQglZxLmDsKDs0Uzz38Qd+vkDgJMYyGc7tRJAFkzuZ1DCVqPRtlJQEUksp2G9Mgp8YwMSv3djjitFKMbq2A31ngF8fWiAxQCCMK0jeRBBBDdhLDlAbUyemcsPjyv6TMdzvpJ+3bOJkZ/bpzlqQnj+DD7dL/CPogab9WMw7okNCK8j9N8fbFr4QZ/935kXSEJqCT+ROUVeBq9GsE39jilZ/Zbjkb7CExORAyaexSQfzSn2hwKwPAjbfK5G1yoMgakpodFAWk4ysrSy8wAjSlmyi5UpQPlghocKVSxRgsL9evfQDLIx/nuchfjX9QiiypztQq5uyMNJ5jhm0r0WKCOrjgVfvVZrovhDPB6Wu1t3A2MHp9JTpJ/wX8u7W479YC63RbX6OeMX/4IIHES7Pubs896fc8fNe+VGAxzmj4jEYsqVaFEqTq8ficVrPHpYIHViUS+X9DS1jZm34TAndNGdup2Rsm1qAPskZJfM5Au8uRwkduH7yyMTMhFoErOATsfEhl24Ty7RBIiiY4MzBxZaTsxtSe1QIN2Jwed7M86KW5mgT604SIuLIcCSDsDH0y4T7HSZdGE8uDi2r1SlO7nUqZfxv4OeWRp1+/xooBR9k0Nz9q8owgLn5hnX2OPQOaN0MaO3oXYJBEvezHUQxzucHCTmFjGRg9XSByZ2H9G6HO7MrGmZcb5o8ljURfkPdxNADajUBFVdGScLDx3w7aAZP0z2sPV6Md02vl8eYuImedO4sDFZmtCu0lWxWcVX2sDIKwB8goNxbyzGZg3HHx0IIiTF7QAKveZ0gWnRfhfdfiNZCF5HN+i86WwYQHtMXA7Am5US9oLqn70Z7gC9WUN/G1WdCtW7fO34X1hG5T4AHLnclyZSDeA/zdwX0JZ0Pqkw65TpFjJtCxtCEib+ly4r1WwUkpdLweq7tvDH5tYQdcVM38DnmGM5ksiGooILns42ifI3xl8LcZSHL80+mGXiAmoohiAB0WOE50ATp6eAmQkooGlzQY96Wy0a/2XDGy2syYMVhbSpJfyqglKzTYYwuiS4C8J4EiFH6WyjnGuZdrnGRoebT3yXu5ULJ6+moHG1KGBuCQ9/3yXWLJUpY6NHqHELekohntOTz+Ow6X9mXKD+5AvO8VUbXxlxWAKLhzwG7tVwmbBUXKGbCyp1GBy/k2CDqxfBiUXcbqD5pQPtx6BTDxN5ErN3UchYws76h0zoaiM3jD8nZLXIIe41iEXZE/ZgIKqwYmYa481Cle0xA45JwImUXkVEUjvhaIqSbikUPdk0DdBf8MihoCLm6s6Lu8o3jLs4m3ZY9vN6E19QFlKg5FxOYe5uJqCHcZuC0Y3QM6SIQ/kXrQMv019fFRycoywVVjfknnDCUQ0kOlngC8dmV+QjJQnC4Q3vrMIuOeM+djO+23Zb2ydiSDVh5Uu3XIYBBNhCtVBxu2BCrBujDW2jzB2Vh2pyWOhGpBiQfvHk+BYbTZ3LhNmj/E8zaWIXqyKxnABPZjW46xBquocTMgg76RuQodvUiXQ/lksb2TiYBXHmncchxO2FN0MKR77/IuieHm+NoPglfcofLy0guhjTQ92ySNyYbXPXilTCzpEFZuHGqJYnEOuFsqBw7cVYtgzhZ8YxMawaTH1YBYT7BVrqGz4npN9aZ1ZyeDASVRchURs6yBDgFTrMBzL08YTaLjquMK1fc0IXbhklPmZ4leY0qI20E3X/yHllcXXeMOQwv4zLhN7+IvxMlPqg9K03eqryqz8Z6A0QFmB9negYRMu0bx615SxL4LWMXBDRSxDt9EssTrjjelMH5hKzXTjBfsDlnz5tBL+ARP7+7hdOrB7qrTo8FOmqPzz8OTsby6FGU4ZdXdMxLXNMxeUY8ZiKa+4M3WqRw91RF8LVu5656IfI4lqmJLVpHPBYKFz1jZmTp1gfQiMbAEfI084lG27lgyey90QkfjQO9C04E9OAfeRvThcX+VEn/a9NvoXl1snfMUJ7kVVGqRHUur8xsb+/q8/YDN0SnebWOiLUgQNugBidpvVWjlUI89k0eJYN4EIu37kBJ+9REmhBBFKlvxa57tiJmOrs9qT+vYyy/KYx04fR+C9YSPHGWEYVbhQSHDEehOOHQfQKETlIzQF+WsPIFBLDfLaeiGN9pzZ4ef3vFGtxLEQvOKcCFYt/d2QVzzo3cL+9R4zd9Pwf07ByyY34eKIzFLhT6PacOT9RGndqRFxpjAKEsw7/lZ6aD4w39isoAzSskmYb59L+x3mtk9HyntxbgL18FFhP7iy3sm80cfC69mutBkND0OY/EtiXGNjwtsfbJ0t7zu/sHjYJAayq7ywhNsNXZKPpKtIF7D8zTpEHMGFDtHGnZWZv5yQrelpk3jR62C+VnCSUuRhF+G6bD6FbNPeyJZmLeugq4TzOrVz9SRZIxVO+hOosLcbpuB8iUwIHJ+0hAd8spoRKWZ7wbmAy7dkHVqFT1BLnsLKLmcg7pRhQzP8ks3xc73s36gpFmiydhM9Vq62hagmGLYiqSOD9ljpQkwfTvbUcqAPIdWh4Mo2mqiTVRwDdmqa1lH9uUH4G8WrOWgekmmsdmPsvSppMS5ah7IzM/3zqrHu1bWxvy7/KTBH54dygvfMr8duWntF9ZWMYFCoTpzFXkORay4NFTPUB3x33XGFXLa2SPru/PnbSzC2Ip01xBkZkiECpV3cWc+QNs5RNpuYWxXlIOPN4Mi0i01T5IV7fQKIOa0qNyzUXeGYb9wNlazsK26yK+2A7SYOFMSuEIqAQ7Tgtti1sFe6wZtoT064Z71eTtppXhbVmTNxVNRydCcI4S/9VZZOf08W97KRs+nMtZ+TxRhW5BR3buSaK/YyzjuUUzvaINOsJkddVd+Kutzo1O4uQZgR3DOzaryoADFmEw5Libq8DS9XIaDVGj2h/VMfMWsn/wTiAxyl43URV9Gb19lRAWo87MPyK/pUUcklREOpxf8kmA/RfQvOH3RhnWvCe59CeOTHNwXVVSu4nIgoY4DfCOgikJdIHdcDgpE+9hhSunT84ZB+rPFbMPClxbB+khkBkOdFVxQbkvn8Wuv24TyC6Cf6knFAqwmAqDKRzi50nsSlyrAmp9q1Uips9yMu5MdPOLqczs1TfgINiiCrwZCaTl32ZGSuQyLsNyViLQtCHKTXZfeJJlaU2JOZLOL8//6vYBwXHXu4kX2LMjhd4iB8ScFbcuAH46vR5S9o3mXuyQeuM+PaDrz108RQSoivhUHDho0Wn6DiIT7Rfrz9z8C0xA1XA55/h5gYwy2O/TH21eKuxRFADdOzgGSHICMvF81kFtl4Jqj6ubGqL9NcNCmO7L0QOrgL+JQcw0mSddxeAJLnKcVnG7P3zPkd8afRnpqmpxj/8oJY136blBgzNzBukPu/zbwIMO0sWqeWGMXzNBGnFXaPlXeadTJNlMpOCscD2+IJEncA1tywrX8jvrDLg+iN8MYuPcqacqa8cBNzseuoxIElKaCbjHWi2V3/rjnnO1URnFH/FUHwGiXRuH0GODtpYB2YT3E2IWmbEGAd9URtVX/P23JqIFave6pasbiqA13KGsmvR9HzqjwdAlbE3r0icuPcKZUOBe7/1OIPvB4K4yQmCQNjSE6almEvqpETwAbx4WOtj3oHpRpzfgxtFmOqsZl+fVtlkleGUV8MrR58BqZIszgktCXHIgHWsIX2koLDE74sRjU91WSq7U7sqZLOoFglp5X1ModV/UFkivTFNwaHqo0FUExZCrPorMKLIHY6Sw0jk13uNOQ2uGvXvGSCp08n/tiHg1mnfjokAEKp2ijtdxFTyfrHPOZGNepqqxOfxwoPwpnSfaNO5eBs7GNto6PGCJrdB4Sp+ucyp7tmSlgsvGZyMVh+Vvo3PLXG7SLJGCYo0fgyXlJ67xvKfnVvKQj3h6WmDfQCxiOqRZe0Qg7XE0Eg0w7TpXRENRm2krI3oX+E0raZB3vHeRSpU0CDNmt28+O6MGF9X5kOzGdkeI6B3px/X32O7OBj5fnTJPUJKOEjjKdmIEQih7Kz+VplF6Q5p8FhF7J6RQ39YL3jaFvjzsioXXEG4PYGcRZ/OQ7wFeTB3w02nCxUIBirHow/0BoWYEDVZ0knG7ojKn6te0ABG5BbAb6ZrrtGev+AeN1Vbu2mPqcazW+BQsyeVlWcihzbAPTVnfJU5oF0VAHsyrwBMB8/s9SK85M9DlTwqorsHIUhFCVYblz003NbLbVomHloydDTs7JMTybepbFTxNCUFruZDcz0Wa7VpbTplO4xp8tQHhHIfhEAi0WaKOGEENTwESP6hxg4Wvpm/JCtQy2WpyImnrczUh276RfnIi4Hh66y+k4zMUVllvyBILYwIWaGzdfAeKzus7QPgcx8cgKi3hDfhsDQMuIYn0kt/EKpRPk/uHpmHbigxPMVL0ybodiRaRSNUvYvtCDXgCKegK7Q6kqGPpsrMvynmX8uRgv70jl5Mgtmj2/nBbCagsmpNDdAdOV3ekhk8VNMsMP7z2CoiZKdLFBuD/qMWre31JxTEogEw+9TmaqOGyWAB/q+Rlz5aDB+clrvelvlV8KZG7aIR56gXDEtDJvRpO6MWkpZTDg2ufbvp7wfvgXCrFiuaDzC15odZwkAKC4DJ4EQ9njqTwIjKrxAu9sSgmCEfHxrn+ef/f4MHox5H2iXGsReE/HboH2DkhI4gffv3HUF/Ck+MhGb94haOFEtr+EV+96yMAKrTN0Mu1RH7TesJNSKl/wHwOPMixvMHu3OGMdfka0tk5kOubTfj98LDvmmTSpFhyVzsWSpr52c5sakYI9ViCGe4MPvbWT2rC1uH1qydMucaKOLFdIXTdOYhYkhN5YXL8cwB8fCJciENpPtts1uR06Ae7RpaH5wg0StoLs5r4bDq9WfnzzmxEoqBnwr9d8UprfxlcxqWXZTX1ezp7hek7tb2O0T8hlAv3grnWMhiuAjxQSrxY4zCmbpz2tcpk+WdA78tQ6a4kNNUhDAnUag7HWyoajk0/0rNLQ8eMeIWMCwuKj0KDDafQvTpq5lyYoncWuh4BMKc4uoGspu+wWZE2CxwH4RvvxQi94DWFBYyiKzvKcMsug2Hl1UuvuRwa54OOy3N4RSmSqQcGvFTxM+wfmCIOlXIQuz/FRVwXBXr2UKTkxzuHrsMARJxX2J0qfhxr9HxUoJAWlRdejk+/3hMA0fhWLP9/Tzp7Ra+3hXpeN3CtFgDTjJP2LDcexN5HWzyVj7JgZkpOFS63uWrWx97ef3vFtzzBPyCFPKC3xxmZFqPSGpmcHATOvLohNciJf5X4cYs6pFV1L4EroJY+yY8YTbbIzkeg16FgDW4Ga1yqnxxQppJROonGZFTJcoBSjPtfPDiO2LDyz4d/86Yr1d+9E2n+SZ3iZKkhB6NejLL2cLEwRdj1BHXm9IXGSyBHnuhpEnEIkODIW9PBbXeROADQMx1lekT80FY1/iv6FJRMnarsI47rAIrucgRjbqL8iP96iX9wxtLpEoQbJMBbxDzPwTDbfJ0P74vlBXuxrGlRnRzo0VnNBEMpwa4taIN6qUNBRQgrNAzyCCU2O8Lx9PFHsVFSvdRXd3R378Le6Gj11tJd0BOuVowfFSuM4qts76lTES7T1QxAZIcg1XCILhBKC2aRq5txjgbPbIV21qDmjMw28EY93gfmKZ9wxXJ9phI5Rwx9Dlu14k2tjKgF9ksruiDM60e9+I78LUZSVr1DJOiH/FAHG64ukotz8WDdaFdhai2aRgW5Mas+E80k0dy0UO4sIU+tOswLO1We/jRWRqT1PbKqCaDIQWV9pAi82cRMFzYATUkFXULF/qwsHH6t7DJGlhji1zmWXVCnLrWSN23MmBUXFlB+lYVRCbUOWhFzv4E9XyqEGAsbvwoelD1uEALL1lOVFVRGvnfY1/JtLNhwOUngvJK2YjnT5ERhsNi9sx+9dWSMQRR4rLm16915GPmA19uRTDxLmUbF3hcbeq0dFlJ6GY5M64GcijMrOGmIg9Qt5SGH49WUz1RV7POvUx9rXlcZJlZKgMWCdUzLF2d3E+wI4cv7moKmynTu2Ba3qzXLk4isxZw38jPwRNcmBw/bmf09ESZ/VttFVPqLu0lGPN95OKgSPL3bs9ONtzgzNrDlOUH1PyUhqHlZnzC0VBSpVux+x2sNn0D+ckYVcOD6Eb40oJf8EYT4LH7MODTVzTEGLqwXmgUZYXqpHgW+micx2HlFPzk3d6zSeKVHXWMKAvHqtleLJ2wMx62eFxT9c8yUe4JpQzFwCuCnp/Z5cw/ueTQw37FHznhD5aHTnOUNH/wHGdr94xEaCcrsx5FwBacE2ivNdYRnvG+7O5mIKK+NMCslYGDu2T8Yt6C39BoDwH88xCmVWNE+mwSXEw//a+PDSSz+hsrhAPBhEBPba8mB0uNysWJHznfaPcQ4kmGIL6FTgQSJinvQt3wuk/cS0KiFHBrbUK6i6PIYXQ0W4p4US6lqOcjgmnjq/sqU27VuHPiGwx1Lc/AFIefEEyqbGZSw+zCKh1Gk4IR9mlVW3jki4qpHx2Fqdq+96nsIMNEfIKPmnTzAtWUf1hk8getN6RaJXKhldZyKIuqpc7c318f+9st9ITu6mEZyTBJDpEoh2/HCRiMgsOl+Mn8s58Kxzn7jOTRs+hz2y71TISSCu+JmCoa2SBF0pL7ULb1UfVBNML8ZIqTbhUoSFBuGh5TGvjYZY2DAZEchC5RBrBsPxYTiv/ltj2jqm91cdlKdyfggJaeFKRHTL6QnTHEZdG8IeR+TNe6EEAi9PbYA8YwTyAOfQ5WC8NJvMQmoPkiWxchoAMou3uEAu/zMzWx9GI5jLHBubZdOs4ETnXRCCTz5F+hsgNel13Fryx6WeNLFxrExogx2EcRO3QUe4bGwDunEgAZ2mPsrHwHpAhvn8MmEKY1qnHpKHutlAvnPnUzx4vQl4QAV0PtaGfgXkHncvoqqAMEW978o8TqpBYD5N2A2L2KDUMiv7c/eqrYZLg7/X0SVwV8gxjKvZ6bnIciOYS2UcrP+fn3S7RVA6E9s1bBe9BhqOmXf2YC0ONEji51EWswS4G5jlxiO5OIY0IjFtkA2iq0JP7Tk9CB8ovzImQxSRGt1g1vCtt+qF0YYvXoQk89bEj2amieNOesZ05x+rjdX+lFEmMo3pTsYRl+vGX0YQDmpsmo9KWs4gnsbEaPUwHRvCatei5x5xP4X7+Eqb5Df/XpcfkbeAgEKyPvCOtRSYZYLAbyPSRNozSTyFZaiuRcHwD9yVlsFsPRu4BbikrdbdbCPZJpDL0igraXlphlTqpwAdwD5I/sSXqe5P9wAV1CfhMCEopuksmubQptU4cDHv+ACcIfO7hEcr3qoNZveRbmhOQqrDy5XQHgCBCdO3AYLM27BzMrt69guYCNgk+5JTK/x60L+hoRQRK3e8CXhOUL3p4B50bGNwUH7MYju9/F84LoUREW2skilhCwZRo7UXnDkYnR7xSNHd6yePLuvfHZEfyQoU1hUpv4yS3t81vLzDRhRLoMUUIOfE6UMxmiktDJnSKWjz8RKOdorKmaXqt2vOVpJPvOiWjoDYjRd/on4ROpftaUB8Bz3AhIOpSIFif5y12vaE6et804+ckfufcQ2cPTWtvZ1mCCgzfYApAyB+p6kyFd1SpiHcQX8OBNosDJwo7/KXUlqO0IoIycyWzD8rZnCMfaDWDkEju22O14XL6NzGx/S3WAGApVi2W8Qoo/gUyhyvMc6hyuQgQTqGiejFJVNDAEOM8I7zBB4TW6zHzov2YVYS9FbOfe1krQqzYbCCrsyMbae9dAmEQRibB0A7ZZhsHnVJ+ykqGl2CeyVRmaYIrfAnbPEjiQdVyj8U3nXuO4JZu6o6K2aqSnTOyw3ctqFlH7Lk1cc2cmqA0MGuBWgHuVXEVci/+ju1JvySOt11j7AnREX1MAgUMcP3vcxK13DaBMwzmmu3+oTYp9pUO6jufQkNtB/TTqy/i73HXFi1guSs7SVQUXqK88tL2gMfPKBHxwyBRGgDdGDjbYgBW5YTh/dc+rS7KsZIKYdgXIyMHhir4jHz/ScfJkKWfD+60/zjtCs6Z+tu2235hDDhyyPIRknjesLd3cZ6jPdxrQSf9eW2M4Eq+nOR8i7kv1y56rrbZ3H9H4W6QjheYUj7M80KoBdTXqHO5YmpRrQg+MrjYLCEw2wix/7i/OWdxTW0Qfnax5tSQhZE9fugLvLTUYJbpKdvhSKqGMDIkDjf9pFFaC94+fkN88DW5+NRtVK6Xg56yVAyYgPjR/QA2Gh/TEmXfF36xVI7BO1dG/mtIBYE9++tFo7CzXcvdp7m65bcMCu/dVs56+k8kpG3RIK8+Co/6BInbgGdP1E32FerppPzDHgFJ7wyT+E65fQhT8+axIpWZs0V/CGj/tucWDLgYzPGSzqF1AN+QtabXjIKk2ZzeY9ZFH0gcxoiql0gdoJtP2W1Vc8IMiX9Pb9ypkj+CJbZSk12njPg5I4i6c3vQDJzFtBHWctF8TbUZFxU2XnDcj8It9i0ebTJZVYARSJx+sP0Uft8/o5ecQWB3NXPGSMzwVHnuCe4/0Di+iEw2hkog3K+ZK52F9dcd7rTGCdUIHljkkHDb2B4MpgvDrcBvegwr2AVdDxs/8Gu46Z9oXLivQwlMTUt9XyYFHtbsXJnVmHpbKj87pSXGF9QRtc0QUO1d7oHVBXQscsOOhKw1GTTTnBET8w+mg5CYvGnzLo9HxIU/PFD/fVH6aMTBwAlO1iLFaketd57H3Nwg5+2m6d3X0wUg4G2RDPFN2xS4uBJagBaAELiatNub0xPrSp48rKOiD7ANW5LrqpbPjqjR+lNblhUMrPBcBVhPfx5kW2FCHdlfYyknzcRC96EcHdnjNJ26sbj+Q5AjqJmhyvud3ISibF0zhMW888swhc+XQmhxmTl2sRSeHKHo5GO5GBvvu4H7jIKdyCieWm8dXJZKNCQtkEyEs7OP3AV55ROvB+c6scaX1vwje/HqGUqDXjv6g2+F/kJsfS/fMb/AgVLmZlse4jcHfdt+BVXYMmeplw4D+l94DZsZPiuBDO+ikuXTyuaEmJQastIYE31PQwz+FtoNcfVx1mCFCa18KObTqNN3KskaFIV6WwP6fle2UwS0Fng5cTv43fr00hEp33XO9oNHJR2q9utVaLmZqwQ/1jIHwJbpynZS3OzWgqzF46ZnPHMyt0D8RzeUR2ZLcvs1Ga12mEn1zuy+3pdDK58B7kzpqoyRhJeYXro1XwuwIVX/mfFyk5GSpuLva54OgRdICOmX4Kj5FMx6aSdd0RLnhDX3wsyoxajCM5eDlXAkNap8M9DhzMqgq9W667BgwTynoKeH3odbtMfrI8Bbq+32SQCXwAv+AuTij9XS3xTuvTbH6IlSL0Psaab56OXJc21l6lqG+3fJlja+pz0eDRkgnPWELsP7+I/5oEdkbuIBwMHb8mQuzXC2LPEcHsU6qgxBuo2Vuna+JivCoAxMebQ0JPD6DnBvOlBKFyiO4OXeC96ZcaX9AF/D9m7jJZOjTMBlMMKP9J2M+2id6buOJ+H0D2ofdUgbNHjJcvZ1AR0UT1fwD/ydJ2HMTOdt/gOja93jr0DSfYKbRRt2H+3hXKNVuSFv2f2F0qxRROHpJSbX/V74fU/hrluPlYYtTnFzRC7kk7iRqXXPxL/DLKzUSKQ2UYXyX3pHkPDxmpnxgHcek0JtjJWkEagKPeI51+o0B3RZbiwhj3YSLVGMC+MGaRE9vtUTF+3/dlOLALRzKsKhn2uIfA9jq1/ZQ+BafMhCIo+BKeO4V8/e6rsBR6tA/a2XuIFleeF72mTdn5d8odWJqSDn+Ajlr4e1BAgDEb8g3b3bwpmT9/w3VdTv4YRuQgNsxSPFDpdjdogr6W6z9WHuhkNjlcFDfudZFRJxJiPWMBAVaaWs3xM1EyzNoKDGknStuiLQTy6v5DARX0onErO6K9kz+JD+c+lGEP4oinl1IadaScuktfUtXQJ4vXRUbHvTS2xCHWqllRcIn1bybQ/ACxANPM3Z+izTOLSM+Vmf2x++FTI24c0sv1hs/ffk1irKTxsgDt3tWTTAdAsCGiNnmRTBAlOvpUnldcVX9tb6M6X7Wb5C9gU/HzElWXNDrFzBOMghZXpov9mnY58aEFFPJZgLnSnU6FaC9eMmcxrgnl/muBXmU97whANWVvSZC96bhuCsIxof0D5edsKLr4whk6q0nDXGfLNfgpKpqGH2xCB0Qb1geTgeenZ3QHFPktDt/1bd7J9w1iolvmAD0p6LOok356Di2gJrybwn3c6a6E7sELsXNAnaRAbA3q3GGypizkGjN2KzCAq9zYwfWRIz5350dK+suDmyV53+tvLbijFfJjOrLmVqZpiwyP3mnMn8E/wqullG8bd5wFEhRDaTknsXPaqLX4j9bDRvBW9VORxU8GzogzSSJ2T5ABSnfZMkGWQUaStxuh5VxHQ6li0xYaKmNeWBlC5nHv9EAR7qdlvfIggFnPxg+DWF7+w20N4I8GldD0ot9aul16h7KLFCJC7onn+LigHhiZwceEhTFN76kRXR2DaX/ECGhqKVAzWOwT53xDd2b68tOnc9TaTWQ1XHNNIRhJUgP4pkAO3VGYbxe3VgBExgY8iGxeewPWTNnVlzXq3E9qANew2Gy1SXSg6DiXGqpX8uT3ZF1UZMWrjPkGVbbmVCeD5oKmsecZTgEBITw0dKNSt+1UTxmnav0iGkryMLXCEnsgHJ0Kfcegj8yP71B6lSLyXYKYt5DoOFtQJLGg0io+vy2AVg27PRfwIxZoUbPVDEi+mbnq09PWNBluLFq2QWL1yLY4e8bCgvBmFNlWqhan1FICn3KgkC8qa0+JDV+A4Xx2d2R0mEUrsENstGhlEOCFSSJITneusXlrCIYlcP9BXCPMOSZFdoZY0JZy9Ly9LzgZ8XLSYIkbs8GblLudVDXA0g/jfATM8+5u7vT0pq9uuBzRxg3juxuHRb51eKTZKmAPluWPH3Ei+3lDtFVhiZw8VPdY5xtjWy+8a1HY5wdrczfptLuqIjDnC+7/E92Zmxbv2d3QEIFQqNJdWmS9WXT9EoS60I0aRK15WYxEQDAmJx3K7zqPmDVH6ZysrtjRLazx779fS2psibQ0EUxCfWIdgaJddcVQW8CoTVKtaaPt5qZXv5jvDI171+S4GO+EIc87pMEHbww/YUAii72Do33KcKkwgW9Er2KwPH7mRpv22XdLCQ0uSu96solSVvB13W849xkTBL0z6DA6f2m7MOupvQYDO3RFIVYocwqltgb3iY5xmQh//VXmOUJcaegRwh0Xhx+LUIUBPTnEjA+P8ktCtNPB22lYXAxjA/TYYZw5yY13bjdaCr4sAD+kP/AVxX1eHszCp7ZpTrsCOaBJ3i/y5/AEmtAwl/ZAO4drwU4QijbH8iLGFiX2LX3sTN4mInbpQk95C+38leL0QG5RwrpUZTOJgOePjAFYEY7jVotdWwu2L2fikqftf4vvDv7OHHrcZPIaOEbs86pbXckTEi05+NJrzFC6Dj1SdaITJWQll8aW1tzj2NOvci40Gb7cJ6BspoU5cKiNOoAMPBXJL31aTQ47J5KoRJe/iMLd54CCl6A1Pw+TfAic1TXC47qMdzifaEUmmcKvr10zBPnRQ1yJLb1jIBXoZfIYslOI4q+OQjwI+6KpNv/iV6RZ5Sv2cPA+HzKhnde9jqyewym7CS+J8kEcxYvZ8wUR7sWhrRhNZpup5q7sY1+kbUvNuJojlZs55Yx9M2xeZAHQhmf2Gj9dOUHC5PqI6J4FyPscAstfAdXFNMO6iIfAI2PT1Rsx+MhQI45X051KcPNAp5pHLyxQSr9+6riBzqV0vxw2a5nWMHzLGNXcxSQgMte4c2Jilpw7vob5onosfhTjNyz1LUK37+/jzbnLjMwlkT26hyEM/q9ZOe11ghGB6kSwCNYM5tU1hSewkb0Ut1ph+6HmiU5tRfcbsthSa9fEPtIDJU6aoKyX9xfw83N6e/rkVMUqT5ppEyizQcOGBhJ/DCUcvL3po2KDrrcaNgdyuGQI9Tr3uastVnmB1+SrcG/9vYxvJkh/ACS2OfexRzbswv/ssshcflv1kEfYO6AdslnC5K47XUT9tirUwdbCp7cW2zpyElnwy7f16qavfcKVx5wrEZL1hleafzMKFG+vgHY6pDMlXr/43doACNJweudeqaAycAnXaSoEaUUnjixBws7VBFiAOmr7QSjIw6Ozb6iRtGukbnqS8Bjt1816iOlZ8XnZH1hzyBL2x/RisxGgMLFA5xwAhooROmG6ZNyMNlIKf1z9KkR16ge6HUHutyxX7sW2tYINNT60lLN1LUR5xx255f7nmGIvWMLEE2bzcbewJPjMpxZoxN2zEop19z9M6L6GdCwiqofVBisBiCdUV4gj4PYmsYvNR2x7jgYkXtj8Q6SDFxJLNY7o38z5bVgKQF4REItewRTWqY/Y8OYefDbiLxSwLc0c7cjAwO4d/jAfC3OYZcQac9vSSAmtXOWtn2kCX48f30gMCbdxCdMoZaDE8WGuUAy/3FFhQHimd3BhOgJ3CUq2+drqpj7lyQpCy/OT9daNmsQKfdf5URiTmvqnusikuyzbYqRh6m2ZfoCU9ZTVXfhyVVV/VQwZQVYYHtUPIeCTAztUP+ntLWchCb1M3vpj4kwQ0k2IuDTEGJu3sv9XVKYDPG5awb0Hfmg40eob+eNQG19dDgw1zSHzPcrJXods4JWKracozgw+6OaYMjaBvbzc0+qf5Z4R58sQTvbqeULMFsK4WUNgMTcIkZHn5X8YbeFQV+rjzIZDBjBl0UzTMSXeW+PL4VwIio5Lg4aiQPUlA5D/s4/ZWSJtc7SSWzV1YNqkX+RQgAPpOmIiuRcIJiT2M8JqbX5Ww6Az9vfuzNRSzeJ7djOU5ikQFCWYt+Fkhj5faF6nU1qWnS9OK7o/uaAt8qDDtV88fIbDePZRFQklswEx0C/pqoebEv1UllJqH6pkqo9yFBH6yfsrJ+MT4+n/3IMCcIe2ZJW5bP9Z5dv6ydx0g/XIehon3ZOWTgM271kD0XdBQs4YFfdNmFYxe/4qj4aYZ7pruL+x/U6mmOEmt6kqhdDf4wqHsZcc23Fhk9/cP1w2hP04kut5PhA4HbOc2c2wSvTnEscfgtTnTt955Dfv4us85Vkbg5zhOGWKcrAlBZCFeHf5AKk6Rr97AOSWN7MAufN+up9vgQdlmo1Gg2kkxUkZYgc7hPJIA/WAlWE2hQngxyOfyZicQX5lQdDp89ERUq2m6RihpOLSzxbN3dizL+Y5y1/cOqxkHwIlxoxWXlxS2k6Uefp0dQ0wLVjzEb0O+hU3S6eAXdFwDaGJYH7ghbkqVdxoLq5JFSgEtuR3MNpSGy3lgN6oB4P0VbVSNIfj45M5wuRniqqZJ3pENzZg1VxFFu7FEYt7fK3Y2/GDEVBgiZycKkpZVaptiQzt24zv3Um2L77wNOn8ZGqTI+uhJNY+zXA+9R0CzFoq5VtnmPmkUk2YoqG6F/7cZ6RQaaESImDRygEvfuCsw5MlEMo7pajHlqwWLZHKTipkQJnOdYvTTBWG1YMs9JV4homIdtdC0quqvCSJ/nq0anm5n086/6yyptj40wAEV7bJxXRcx5pO1fvnqnGCGMJq5y6jA+oY7mVhVbNja43Os86779pINcYMAZiv/XTqJ7s39INK8ry4eD88DGymJoOTEdfL/PJDBdlhochtuCttvcvUalOGFI0jTL6Re+J7BLK0jf3ORBwGuQuGCxcZw4mK+qMyFBlBVn12mFsjINzFkDLS7Cdp3lyAD+/2FmPzbmlRj4C/icfy2yJUOVE+vRROrr1gisyx38q1hguT8VoaC90rnI/foyS8dPNpWPoDtNThffhFaGiuBJWQ0zbdez6vxOSZS5xz0RFtaPWpUuZ0tla6vGWfmjDhhME6fzOWS5yLatMSkWTAUhCV2wXzGQquvTQH2IUVAZ1R8noTmfpGVq42UZ2sMrV3biwL4TcPqdOlvFcQKwMA8yU8/2MiagKEagHgxf65yAfq3lY0U0kZrTKqI4yua9nCrjHx2n+y9Gd9lHJxU2CsRPp2YFmZXQUnpDIIbMxWi69molYXiVxWYwe8XePQrTPuavac8QBFAg/ePh7uiZ5beKIEGiDG+QxYXXog9yZwWbokF/zmz/ZDuWByEu5UJ7r7NbeKXEg/x/mNXIY40R+lVoS4pklc31ww/OIimyE1S3DpmsYFuP5acgcUGydkrnQNW0kYPBaehNTrfQPchb+VgI1/7NVQ9sCuEy6I05TleX7Q8e7jJLfXCnQdgTMM2PZNF5YPyDJ2MoEGAS/n+sU2BwjBjEBjrjuIGvNBt+Q0fWmSwTCtUYUKSK9QYDyP0ZsEYaADCfqwn85MVjUkcwHTN7H4abJDXd2779afxhJ8CXOHJ99+RYwehRxVlPVO0wOxgyiXIc1l5cN1p29LBOP18VcKREv1jkpM/agmQAizUt5RKYlDjEzrOcudu1y6zNXLlyQVkhG+w/YQeptZdgQ/tQVXhE1fb18sCXEXuBOryaC7rV5wrTrTiGRq3PXqk9Ei3QekNjNjYfh143fNUVmymu9Uaq3alF4uT+zEnVCqnsm4HftRB39uPtEr9kerOOU2vwLDdY/j3+XFqnl+f/6NEmoGEHtIx9sRQzre/n9oU76dVrnyzDu2cz3HBEtr/Yp+th104mXSp1HsaqQ96Ro3Km3IsmzPLVTu6eebESyUKjIqrIN2B/1UC7XucCosHgcJr+gCubUyLtL6Vdf33hnAqra563KuOhUiWNQKxDaMY0/e6AXZKPTFtZD9jRmgNQbi/VmV1kwX3Esr6Ads9jMM9oNDF+QajwQd9KlwCxD+hYnlz6cHrEtkKm9TnVQRr2WYPgtD3HU7vySQFlXObK3xYvlE7EQO2hJYV41t9PFGotXsomqyjQMXXUm4uGb3NeuCsaT7c8+gasulEMf7zTzDoSKrSVtMJmve9Y1Yatc1kJWAIFQenj40rTHIVbqesePFN452uEU/SAdHObn/EFXn5zJBqY7gxgPycI2s4fCq76EmfNGcpnfKwMuTMW1wagaKLhdzkhtM/1nb0Y7jpE7/xrAvuLJVmdzfYOV8gV9ZJRxIPcilbID++bm6N1/ned4DpnEvWe1GZjTlbUiJtMnOrW8m/anYnF5Jm3y6LrJuUlvSj1OgJ2CSBaRotNm/oeYt+3/1mM/ke7rEfgU70UdfAwqyFLhNCr6hAMz7iU33j+Z1HPl1UY2GRPbdSt9pTNfRbYlN7B2DzlY4NaS1Smf/NoxoLaD2h14i7rkYuIm9qeFfX6i5YQTgfyJr+WzR5xJJe+h7UZOkF5JNXN2wOkY/CXYjbRglIDfVxxA1TW4u00qV5lZuT/EaxkewPpgPU24XZahKGHwKuxH1Ez6Om0+AN87a64PVldwr27OJXv4FRVpsj5zp37Kq3KHPbu51JK09VZe7I31wDMFKIThmv/0zErJKyxmwdbjU6n4l3JxkPJri4bR2hXQ0U44YBPxl5jioumOcZJp/sH4FL73P8aiOHVZBSVont4x6c0Lf/TfW0gP+QVKpk0EpTWbykdJTJpiVVOcl/I7LWGjMKlR2IIkwsqmpyh/ReE0bky37mv7Ongs70EkYaMyKD0J+N+UsII38jfWHRhE8vdmINwVq1SGeEEdSuNOTX81lk/1BH4/SsFpKz3pBFPCGH34JfY7Oa0NS/zS8XkDtQtjIjZsWoTG35RhZC7/k4XGBxEqvDVU20denAWWyouRgFiEMTJ34Qa+1NCyKwSJchDG0UL3mDlCfh6/ke5JdD9+58bwbu00ORyE9k3rPAvjyP4gFjegBqDZ1gA5SNFBJ/IR5ZBHX7IN6Gc7Q/QWxTo6IQhVnwH2Q8BWm8NeRPjXdWaZx65rbkJM6TLNpGliiTX7PoaIRN2PhNacZaZJ4TuDogW1bHf/+ssTVUQmmTzVZwAzXX8odimo+E7pIwX2iOgGC5I5aT1URRxjMMG/1mnU5kWi67HQqW2P7YwTU6T0KP749p/mAB9bRGywwckAjU1lDNaxPnpL1dp+byasQgpYb9NLGzEzHXuAGzvaSao4u1rgKV3uE5Y15Y1zyusxbcCT62WtxVzOQcpCGW96AnCdAhFDR1vm2rG7TLHP7h52PfbaDyEevLgFFPcIAbkGnfTyqwmdR12l1n2F2Iqk5jZX1VdWkrnweM/utJ6Dc4lO5Ay7BpkFBsf8gzacM7JrsiiLWkTKA4OuoTH+xajprA6GbGikXBY/2UQq40kRjao7DP66y+cdXOoqThYMyyTA47Z0eg0Uk3wCSaLm+0mEj32pDyXPBsGdJYXaOyO+Dj1hIlVEsB2nkpUIc9sWfhIeujIlaSWGij3BbrPoUUroyHkdiKRX22oQf+LIW6tQ8mAe22QJGLVj3ELYlZ+FfHRRDkOWvMGVHxhmKcP00myWCcSfnpOOUAPKHYceu2oMY+NFwJVoTBgbyfR2OtExXEC9hwSKEGN0Moqhri/sXa08vonQgDwKMvnYqKVLF6N/XDpbT9w219Vn88URLQKFBgrZnySF6t4hDdXY2Ep8UgU70TNL+nhxgMKJM/tqr+0lBFNIvicxwNTy36PG3nv/zDDNE54wXFwFrS3h9cWtGnye0SMxPt/nXhP7Cti7wzyNn2rD1EjNaM3CLDMjYAmE2PMG1cohcu37gcRRj6FHlKuiNZRRR846onv60JCMRnFZ1Md9q/lTGk00uEXs0NR5KbolrZlfng1eQ/IiBCbhwjD3Zz8SIAGHdx0dlo7EUFwFfhWYz24m9dCvXVnYtnoFb/1hRDtE2OWBI1a8LlEPU2aKv+eqYZurk268jNKgbiQevGEE+IG9YTfaWpq892ds679z+DqOrIG6DrGe5DvcU7bgnzbIpl6sTTCbSlZAdN5jXAmzVfiMqco8iSBk9hLM4BFQ7XfRP34ZCm7Rpk6e2cU1d9NoDeV0psR8z+8cW9aZKCO97xJh8uSfESs4HG7k4KCDgt7RUR0qF7Z+s/SqlA+0kPNaA63lfGY7OEvvYsGyyIiT3+fAW+3vUQ6cHWFLg6f2iXbNVCUzUoyzYLPoxFcPPk508MSqwB4SpPCUNe9orU3/2HzCb3AMQc81FVH/UBlQ9KZ5kZgyPYTqc+ffm0GNv2NNiKYH7BC2YhnKbkug6CGHdH7qz12LWwnadWMNMJRrHJdOHkBPf3aahIsBCHK4q0NhX8Db/oPy3MglTnuDaSRjpUfoIdfiLzw8iiU5gZMFHcch+pmdndydU6O9JfalUh4LFW+eJs9QjApYYW8lVSSvl0Q2bdhxn4Um7pGCR/6mujfWSTvtXbMwiy4bL1q/Vr2YZrzvUUicVQZX9FwneuZKHtztxy99RRxF8B0gjaTAj0ZWBB4ytttQiKCn8yaxiK87EZGJ8Oy2ZtkyvsWHW9Ib3x2YNgz0nTt8DD3Mb2WH4P2E3n1ShJFPYJHTeSySB3PKfCROuyVwpoQzeJeyPr2mojeqD68KXGjl7xDd4U59Aas2/l/DkaFzGlIR1HlTg0ZYvEufRsfx7qNQInHA6X3HxCVhAhi5HZIcSIPAhvZEJM3IrRiR+K4pCZGmln03x7/Onjdjx0+svGfRgM6380Z5edvTvtipFpt8crUqPD0oFgc2JI1+Vlc74SpZL7lRPHmjsmckHZ59f+29dZEAhJlWzZLn4fBGEh1K6cH28F0AEft06qHkVhei6IQYkNTdqhXXlTTHW0kFbqP7rxgCP1B5lkcoLD5lCCX2+y8ScW1BQiO9lg3e90xbaJ95E6368CFwQbQkiDUPTRlUO73BDnzoz/habWNhM1o//48Ojc5nV/Eo7o1cnShvlUfILtbhIP+rk+3la3IeOaNVs9K6ef1oAYolx0bITtZsmJ7cR2wYIgGh95BzvbXT8K5ZbUR3kFrEUoAzx8fAnmDOo2eRnoJ2uChlguDFpizcMiuKaDJbAfg4SpVgmf3O0mlB2/Ohcrc49YVZpDmkckixpE0imv65rMXCYorL6ZpmjAhEwDX9fXb6ihoYqAUkS6eLCewHaBbWlOQ9OgG/Jlr9rCTAHOSB0o8xmJlrCAh5NMtOpdJhFvlzkubQTbSxGdC0WJJhNGhIclQKyqhdx/9YbiJZkYv+I5xqI1IFt81aOt6BBB1RwN2GrWqnjtivFUNwtxH3XWxKMNsO+99r8rvP2KLL5dGzZe7D3NhHQmcikezW3PoigEpcERo4u/d2X5Y0I3uObYprGwqKOEaPz9FZ1FISZbKiuHiaHMhxrS1AX8yhs/bq9CmnZZnev3T08P9VCV+GvF5lNW1y+5yULURpSfDRYyIKJz/idyDCk3fu6uTJFC8VlB9uc9daU+YypkbGh7nsnIhRE9V022BfDbImo7lX5ilcBncW/EzDmLvx8gJc9Xio59PnHlSR883DmjPhX54vSHHL9EqMO62sQS9tzbhs9WLIv2a/pPmlqXscyf8nr9FcQAt4SgcE6FxtDgPcMq82GQw0AyY6IwV9NiAOyPyAVQNgY/99o8fsbytKxe5UfHNg2crC1lFdgIV10JUN/HiheTUxtXV+IWUoe5lWkXRoapYtMhPm8HHCibNF4vxCZs9p3wNjCZsUlMlZjcvOG6zYKJ+pbZEDPc6NFClXGi1qpfUhjE5mcoM8K7TJxsVfxJQ38AfNCN7gApa9r7jts6idDknX1+LkQkCf2lbzyptzT6IB82rFgPMj8eBXDP6Thw94jygOEdUrV6fiWqvq13WiCzxcdsQbL6QW9wHTSS7LgnMx75+WLP5eg5eTrecNrYgrhCQ7tXm7uCKBe57pKw0Y0hbu9khoQ5E88udi2cLshcmf22cWowfyMFwlPXCJ/98cvHDtCgiTf3NDch066huLftuYCBnc13utkbBMKA3jhcsbak8CBcx2hSGRDN7us5z1aIrUTYBwm9bAeEI+VPuwzCPbjWue+mX/0LW25+R97W0agzdgJTS1FoEA31fx3EmE4a6g9W8kjcyYDl0fBjyaG5y66PZ5rsPSlvoY8uBntEy8rmFYqJqBRJiQ/547qc8nqHio8Ggt7tbDdvR4lonr+mxEGy98S5y09ilWNy4RJmxtgW9vcRLR1/vJsNemdNDXa1UQAbafcjGFrpfZ7JbUKJOkLGxOq3ccklFExGrYYngnm4y1xMgxMPgWkBkR/3mX+e2fumfhvOEDaeZNeu8bEJbpIJFa0Qok/18JFaSDO0cFe1SBb1t1ZXsVgqBsNhZJMJZ3dV1jVDs+R4R42D/wwFGpHogUky3AiKN1fz9CKVHzUZqis5QhzrA9LmMtGbrpjHU4jvoFtDkWAeNiJTMFDzocrR2fq17BMYqjNqNBOWu6PPV+Mn6xzb+771we1rRYzsSmM95FIEAi8PXWrMYFFx5gKTdC1QYvJ64X37NESvQiKQqU8jkHHP3O7qbOr7Qokw8WpH+5TfEMyA/OpstDA4rglAZyHASInV/rgPB4anb4Y5/5g+KHThqcah//+UgFptgrUCCT/ykGO77Xg4VJesaPC6K+ruKljst9pfM3BfgBb3V+ar3wHfpUH76QaBEnUse9qSfsV4Uf5FY6A8/hxroFv9tQhDxNpQGVt7pnlLJFi3oESvkVHfDP13xlfSrlrlmN3d5Duc0Kogw6oBlqlC4s2hEAadfOqh3nVS0fCnqUcAdRuWYFNqC6Ei0kMzBSWOlN+k/hD4NaetLhzOfXHdzF9N0h1kNsQEDnLnIK/zkU5KqScJDXswX/YGME99C0VHNZblFIjoe/C81LmsBly4mwE2od4QGvPhCRvgPyj6e/2ZSitOiJMed7VwNibKImx2Cvhfr9+ZDJ88N0dJoZ28U/5nIXtB6gTSsrqlUcKaVWzDyXSCx4f+AwEujGPh32+JeEaVL9n1Avp7FkGpITHQ1lg7JRhAiuEf5XyRpGgeaceR1Oy+u/lJ5aLDz5qs1Qy9z8IqG5WN8AyBdHhHJ8s38kXUWcmpxvrJ+Ys/Zd8yrusGTbg13mNa/5U5bKKeHKcWG5F4Ua/sfWHzy6t9hjFVvuEUpi+f/yFR52XGt2WLMZH9YUCU2aXHb0XW26hSWiNYCYhUXIRaHjNon4kBRirg30b3DAKISUUIU4+6vEVPeguOj0hAMHc8eKLdXJE/VsIKYVMveCC5YAiUmAY4YBXjKjUHOXVpvpYXvFFkqRXqdkD97jOzAbyJ/C05ZIDfegdcjnRbbRwT0VV1DLJsdiXEEPEO8J6Vnec9tZP/JOLJR+frK71qavA08dj5Zcff/FSKDiaiGS2uZv2yP8iG1sVpWRuqXcsV/qVFECiKLLK8W2eF+iNMvOQJEvf0M9uVwYVz/QN17SPxdc8DTOZ/BUxwAcPh9zKm2DzH+wzj7GpB8pjJs2nos3rRvcgH3qBtoij7xm+I3DYw5v1YRo1BmhkR+5koVf9KNk661D64HuTeR6IxIM3Kf7YNeF7BbK6XcO7xc+2OYO7V08C5CS4hAC7kaYchwAXdXuRcDBkFGHNMUu7Bms8zY/MWe02raQBWkezz8rak+mccS2iuHta8XI/MYLghTLvLHff8QkvfJZuBvfnUIbNz5KXaySf/d8uE9LdJSwZ789XVOjkj8ITW/rmvXXr/CCH4G/nxw/oiCPC25qur3laCWM13kph7g5A4OLckPpjT2ILs0uXMWnxFyvIYBnpxywAzU1BlkFb3dD2no7ruIDKKk/yzDaeTNXtNcsFOQ9LnyKMKWh6RgeBh6ZT76SHs/CGHQ4+omCpbjNJm7vzG496sdIMvvN23pVL0VLSEO/Sted7x/l5oHmmHXi7OynKycOfe14Ojbc8O9RyabU7mlri0LFFxTctxYXGx/MUxlG+HjRzB+zU1rzP3Pa0tKx8/zeu8mAk4FbYu3HRpfKOZi3oV/JWXQ4/TNCuMmUX7XPqOpS9dQ316/ije62p77gCURUZ88m89ClaYWqf9qwpJx87r94mEafvoL/VtdSeGSIFJuljUTMSD79tqVcESPmHroFG1Znu9SaLKHP8EJRJXXaohxvqAJfXSORU3GMaFbf4pPL+iAVuXsYD/SRcxG16WI78gsIUjBUIR62+SAzy7NLPFvqGVTaS+h+hIZBDQ7lnY9sygsgybIts+i98kid4korrM2jabLF4PIg2EkzgpppSPH9jwL2A8pyEl6KUdhOHKlwIkQ55DTn/k4bALItqxjWOzEcHLKiGiICg8TfxP6iTW4965iT0saTQj7jVKaD0DV6M9TWVJ9z1g2whApfBF3OF+BzJFEkd64PZZ30I/r+u1m6j6Vj3Y3do/O2RURf9tw4FmJ1UgJbEYhAF1OHeEDe4fH+RLWf2am5DOIJN/ef/9lFDB3Vk5/Vw8HuW3pJDrb59ka/5lKZ5rMjydvVaXkoYgmAbU9jzowNoYg7JHoMPJ76TYa8mXb2/pbws+EcFIcdnSK1uRTIx10t6mqIvvBMzzugykfNqqnVOS2oh15NPvF0N1oSqm1e1+pWEsJ6Wl95eLBZRSsTrXfKiJ+oGWIKy/wLiTFHb4cZv8YgApDIwfmnR9SK67SyESpOQiarqO2nPxFl1VFtW4hxd9JpZfpdEfnczqESIOU6LGDwg6aGlyWueUIp2xOaAqv7iZuScoym1aUv1AXLHvFdtY8FwEqXrn3fSfoKAtrQmmd0rlsM/L0f/nl62mh9Y3kmL4uvxmzG8Q5obbKTWJVSwqZs3D6UZIeh8gq62l7FdEuoRVtHRaJlF9SkIuOeyB37THQgJLR3WqY1lJt0KMhk2au6tCEi8LLmDELE7F8tDpxYTUaSUkBfzqCeUoar4U5U/vYEvJmS/JHdbRKPRGxTjkfSlI+lUE55v12TOyzvFDxjSr9kqyya8RD1w4BuTVQF6oXQ0zOh+vtMw2aGiTPJOXKThLFquG3C/qlMr0txNk59VtmxG9J3x9Vj6b35mhBaIArhfJMy9wvXr1x63trEFXeKPiwGBwaYv/e0DcJPgoC/xSIF3Zd+496VWXXDwPu9VZsJKmKwvrDg+I3MrjL7UV2VdYjCB4Gyc2FtYTVhGTjLa90SwXKH0tpmXIPkiUNmbJGxbXybz+hkk+6rCtFkz2jGAuWGaP0rRYLag/UhZwCIq7UMDg6Lgw+JO56molBkjkVKbLQ1X5C9jCVehsI30PT6Zj8XE03w/qWpJ3Rgkr8LG15ALFz/7oBGASz+8F94Epd5yKbZtDzBbhJzYkgkWXfvDxJ/ZC38bRm/I7NPzAzGLjDWAZ5a0ihyWwawMWG4jFNmFo54T5vJMceoP/AUScIcYXT4uY9tcplYBqCeC/xd7HBpIrg67D1enoH6UPqmu5XXGDg+PKZ6fCilVY/e030rBd6/llKbJfTUT7xHRIGBTwbeWkK5cJf6UcsbuioL51qhWBvGHT4yOACkCecJ81V5AveDCP8u2SiuO9DY2/4KAxriysYa8DqfIL/6/6JiN++Wgd1174T3ifiYKCVpZF3HJEBToj90SISdoOKhFh018Txx3TAz3JEqz05PDFJ/V5wGouS4PvXpps5GGLgPPTxEzmGkUvpZH4vIyvqB/XlzrbdczP8zrFriAUiNY+jA/ftUORnMzjtFTamtPBxb7SqcRr2u0bbHNDOVM2t1wKqtfR/IlhZaZM9fv4CC7OJZWJ5QKT27YnqflxrN10svZrqcomC+RTg0BuJxm7CyBTkZWMFOm4JW04CXdsmGXFOSq5FKeI1IxnOWXLjQVmNjc0kUGemwLa23LvdRfDaIW39Nd0l5XqnnCaJ4Lz5PCAOXo8mgveUatjfHPByBm6tor1X2EItD2Kn4CAio6vA19vCoam0oHoO6+X05zA5MCIeuZDn+puwYmWMD7dFADcnzX10H8LZALtDQa/w7lBamYqPffGHzm7KGeWtjlLieXnv6Qqnxq6kBctF7wvpWGM24jtFuzfvUSUxmcxczcxbGW1YWiMUifBXkN/uDom4yhooYgIt/3bZ0U12H718fQkFRESa7tE4PM0Kt9acPzZPM+gjhFHCYZJknW/FOixwPAPLzpdiAybU5FnUqCaPqbejTTt60Ptnc29k1e2NaO/1T7kEgguqPuuZsqGRbcQPmeaHlGwyHZWLS0nrrq53/eIxzmIbtQc42ATp51MEdTEoJYK9sGLhC0FWlMVP/B0QUKsD1vzEopEENcuBg60g2mn6k0Hc1CJdbdESXd0HgLbjYgzL8Iilxo6364v9Xv20p2OOiu0oTUfJxdjQBDFkLiSxVoSj501urC7Nr/hdP5/fKb8Hy4HCleJBZsxHGyhKan8Kf8np+53451KQ9OVf7v1SG2oY+TbsfxBk6iXRXHNfbXNJ1afwGWm1QsaypJIffH7ZhRF3nLENmbnBPSj3g1sjb4ElMRhtcxpiuXJy8RizOu+yjDEVi8Ed2h9ZVEw4JHXOsn8jPcgGG9tiaAP4xs3ws3vgtfWoJPYBdvazAvIcjgaI62Y4Si7yPzJBBr2aQGsg57SzM40BmQ1+ezY3ZbHlxbgiQaTSeiaD3id2LL817FA5O6WPy40qvVPK9z9lRaag4iXNy27ApOhW0plz2ahDCIvIeLjo6zPWuw5u4uXLuTFrASsiABCEFjZmkIM9cpXCtbLZPN4O5nmcOaS7J8kyRvDzLAkqkhyRJeXCv+bgxuXo9X+n/4knaWRj6otNtmpUp+9+hQIL3jM8XcYqLOT/smFlMOaF09dpbe0eYoNy/EKvv1O/jaHOnqoo1m/lZNIIE4KF0Hni3tX0Wm+tbHbo6ofFAqFPNdLRqJ8ANa83biHCn80IZ2wtJMm/x0SyWyernjC349xkZ3FZmZ8A85WTaooblVKMAbZZYDDCOt5NGhpu5w94VctzCrNtFDqiX5dAx9q0GeQgGXCchk60ctLIUU4TV3ZE+vdB3GHrDRggpeJiwUqnbBFtY37umbAcPOnRy+/08x2lzdBhh+Ro7f5nQyLZi79mx3HUmngHxoSCXQsXKyxmNKRVZjUQnrqEEH/5NSTqQwG0wxd1MAewuEpwGoKHrT4lSoLNz4LoAl7DM/q0FQiwDbkQ7TZczQpEYKMzcgHTtc/eO4CSgfuCIWxsmOOlNcDMWQU6vGpB6Q16XE+mvSYX+ZF1ffJrmH9YUhSdyK0yduq7/fQyx5TV9r29wed/XAvbWdO53bezWOb/MScQODQJe97WBPOUZ1U2AmpkER3UBzP9Cd6wei4pU3SJshzRKd1n0tKHrUNAUvZXhRRrcy1DKzedaHGYSQsvVJ/8+EvgGipaTX9YZWNYzelKi0BKVGazOYiLMIHDnYhiWNdThCcZSKmfCU/g9o9ZyEZo0VnRJK1qL+AG0Op434UdJv84SjkSoUlP+WDNc8jQ51azS8R3FNU3mq4ApD3sL4zYIrR1lk36lzrexKF0zgqYPzX4kmMPyymVu10DHpA0TSpxmweUsYcc7HW37s1nqlC6ptxZQ0fnEwiU0Nf15xRkzGSyUY7rcnkpiffxtxeOS+eFhg9z6m1NZnbO8a6ZzL6pR1fSonbITAcblIRE71PRC6Jh3fiy0/QF7nexhblGLSZHxr0XfWLhBmbun+WLW2ApPItVIrW68sSNTcFR0paIrH2lnAs8SEp54egNrthAKlkr8KUcvFy08F1Rd6/TIyyVnp1A7te5mg8aVziZIMcgmmSYMdGDdCB7iiMOUuXOtw7NCdnLRLwBvAv5eFzt/yge0ylEE/k/bCp4dObS4uRYbkoZ1IiQMbI3DvHrCmRqZq5qrw8LH+bCHUS8mXaplbLhGstcMxrTjb594BWS36GZYUk44h2A7ig5B1UqIinQ8FsrK1nMIxbEtO+2HHpNSfL+AfQ5CMybjXu+V4dXU/VpjvMOIiUjh6Jnieyfxq8i+nvzxIW6tXaFdReKPsJLmT0Bsl5OO+hW4IogYpU+xLT/LJkD303QncNkxXF+P/T39dBV2Tha4Kp7EyKTPbGam6oi71SRHDt/6//iqyz1ulvOySXz2FLFuz2nqtTomrlwnffrkFMuZk9DQ93am5MDwatON+rPTimTCX3tFghhxvA09XENT+1k17u8IBI8dqVtNJH21+BqerrOPzgP5m/57h1wRQOvSBoM/esBeiNmP+mJ4BiI68N4E14yS8prxkOO4N40PwaH15jb6E5OzNS9q0e0B0zycFDLasM5zYbigc2qhHUN96q/Hwq0XH1kqcJtcoARM4Gadx/r7eFgKKDXKfufH8ClNDmgKYjjRUEv8BpP3mmwpsELiambAltRJEkuXuNae3PsCmjFYfe4FsPb7yI9t6RJeekO6IZ7v4VYNBW6ul9VWZZQx5GkBD2huY/YILqzNIXXwAcL804PFvjKBCTmwykQKD3vkQs9cHYqrUtLVkl2XzsBVW4FVTROeKx9zhaHNcOxUMv8ZaQnbtKxF9zwCqqDHxsDHy+Yz5TtKkL0GFxl5YRfIkzc6ZFaSA7nzv71zAFM4CV5/QSaIvkfHQtvhffGieZa1WucRNhDZF1xMjGXyWOn9A1lYfIriu7A/Huinttpmk0yacObQrdBHyspASr9pxEkyS1rX2k0fsL+AeOYYAH7AWxRS/00Idcug5Mpa9s/Sj3vBVn1zPs2h0O5m/Lyk2Gha3M3KadwwFrJq4XjVp72gimkg+OvjTmYQbuI7fkmo89n1xf67o5cxUl2Kx43EVk4kwUV9z9vKEBQo8OtKN3FctrUG0+fhrSBMTVpYf4T19ohARsIUt4A6iCmeGCayzcdStg2DPpAN/gPMkuMT8rmwjVR2CZ1O4epIEgmFo6rYSOgwj0f0pQYKPRCRnBHIHHrHHviFe+gVKam7EFsPom13fPMWyyr46l9n766xyKZcFiTdSgv/Axcqp1u1dg27/zPTja9oDIkXdvp1yktz3Anw5YSRvUEXvkZkrItLLoDAu4+RG1yGyySqYQGRh3aYmqk3aVeMddM8mrRNtF2J3ZSLRyZdJUPGrkW9kOtRVh6biWUjjO3wt9ka08GU8pDzD52AIPFtoVPCIH/IhaYRWXRkdJhkRSJkoZ/TUnClB5K5xhp8yuPokgwXBT9psQ/vTaSlF7aEvATlZHFhEfKGxGAPerm8GMCNxyXEKBeINrXvyNUt+bWa1ihkdqIsHi7BoY2+M32EdCY1dHtLRYGH4fkzReO01qTXR3YVEKdtc4Oat9tKlmi+ivN5DPeShjNkGxeYQD0G7qns7DJ+nCWcXTVE3TtVMRs3CFMUEwmq7U2Qw/+vVUXXLqEZmIcEHgXwfSxCckwbqTQahHzBLY1UKBYzUPKWwbq2zYRUxObyE40te8nildXcyTd3qmPmUCmy2ljhzv7zgzAcotCSF3v3Inm3nz9+lhb3U5MaKvfXvQljYtAauvYF1wNC8DMZoQr3QqaHEwgEZ2+pVVbbS80f2rghGnMZwn9dIgi+xnv1Vz/m0bzgefyKbvzAJ8yEUIhSiUmqQmmSTYsM0n12jMa9B7tByqxrdpmODfFupqZO63YsZchWCFH2O/Lq79IeSQZKBRoF9llyTtgtUbrFwRLvfBEplaRFWD49y7j/BAqrAIHCm0JDwzKcfnOfEgpgHcy+h8yvggPcyj2r/S20aIK+1Nb9j0GKrYkyGuKxxdtdUnXmKrGzS0lAPZqRr51cUfzaiW/ZYMPBzgiRL7stZ+JORBPofU7nkLUoRxoNSzBhwwWYLxOKIop949ZUvwCRCeYSi/2i9LB5M3l3suC1ioqBwuW+4XDuam0t8amZMmSNxILeZ4Ff1WieT1DCuRYahMU/TnIw4G1C/bvRH93d31O9uQ3bDDVKX2n3+lGKNNqHeEH/wTGTs1n3hVBVNQ7w+/LNdIeSnxmirWSwsDiH59D8L9r+6h+a0R4DmH2uu8uvSciN05FwoyzgpUmeEzYs/V+FWQrfDiPfX0NQ78c+dzsCHhQI9nS4rDGkj1QwYJPzWNO/XljQuqPOVZnz0moCSr9JJ10qLsRW9h3PqkNv2Sj5nXdlyrgXCkv733hcHVA2VfmBv+/lK0WFZ4Qame49Q6J2vyI4Y85hUT75oMBcGTodTQAWyBT6al4x4upTWqGIQkxqNZ/s57p/jj+8aMoc2Fp4oktDl3BqobiXhQZGXGg3VRr6ayMkP8GdTSRjEfHJIvKGh/u8nmif9V9X0+h7ElehhuSW1Ca5yeRmW1dKBBfug8aVxMl7FceGHbzb8NyOo2K+HTsNfQErtPZD4/TfMwnzIET1wOxIXKfumWZHotoCiLQ+5fvp+bZXdr69+npV3fpBwmNi10Ptt1lf4l+DrXV6HTNsKGNBDxS7yO2yDOEE8XsMfHwJppPxCjhYqKaX+8UarceX9JNZzjIn1OHx93heg6ji2sy/ZL8eFx6NXCyq5xelCxaOOtFZptZ6D793tYv7xjYkSCB42Arsnbet4TuYFyLYcIoVZ1w+rU+8J3wMI0MkZG3e8DiAH2l450q9Rcgq0DYZXnfSVFQCOhm2D52Fe14R4kFntNokWxuHm6ztWb/YUACpZ1aRPuwg+rQqAExeeOFOd75v4wtWqiXUydUe7qBZsDuqtMKSOAfUPFTr01DbbcX+fiyQBQXg/upD44/Jyv42WL4lBBTfAhd/PczoH7IcTlQapWQZxC+VqTpw0pMkLinbWW+ce4TMkVlbHUw6T+iPnshv8tSNHgl6F2XzrFOmPJ6nTBHcOsGfpOmD2gRzbrnkYJYPg88fuQSCYBQv4dksH5Yonmi5R4QsmCr4YDcJ13KrJNAELphl+tfq67YM0KMFyqfJTDxSGwOSSCIFhC2SLr+oL/Hkr7pcgrf9WcS4+6Z2CP+AJwYR1dXxYoLHl3VVhAvBja5dLYgqylqLY5a4KVNyLvE2Xx9v0ShnPNU5eqwXKngGeAoQUCLWpuMUXDFoy5VhznRX1i6BG5B/FI3I7SEKDX8k9DoJ5L6CW8R70nAZhp9evxO2vzz3JWy1U5S949yXzN9wUBRTx8NHQJIsIMegbUnvfpnibWMcsT60ugMzyALQDPapDBf9sTnA3TP5CaIA+AuEFvymsQpUtAhahRjG0nm5+qeuawq/bwlB/YdmgWwxIjv4f4UTEzc14lMHRtZXW4PTuMd9TQxzaJXQ77q2fJPy9eP+34JMTeHLzRnXn4Vof88Imf7SKG/at3xRsMgS0x1/QlP4+LgCKWd2Iu+5UEh6UNMiag1ZSKtw7thc8TmxsHNr7TK83mMvpR2EZ+UW29OVNgv/xhz6l9yU/tghIW8qYGOL7WODHzrlV1zRfhZFYrhmYqZHIt68nRYVhSSFRQKV5u0L1apBsb856ngT3JVoWJTK75FACZmw6CRaTnF0r30JkRQrN8joiNjnT1pzBLvTgTo2Q31zhnZb0iIrHkKqOoAsSAtsiq686kcGyAESChO2WEsE+XqkKgNm3kEpBYS5OuktfJkY5fwficxgW/YS5urbU6uoMTkbYNyknrZ3w8ZM7T+PFmhlHXLbP32AW++unbOcdMCHLolZJp3tbnC1zqX62CaLUZZSjG47xnr+mAE0k77cAf7US6/2bX8wqRY2O9EXyzSIrFPdtpP1ZLDVpUpwW7durAjV2eebk1+oV3NkuhsYZsZFw5eIUGr7r57jVOcw8MeRqqIMVqQz3SVVOdhtkaXO9Pa5tmLZEI+WlWjuc8pCdihfWEYNAh5WJlX8YhgVDdwFh4w8ozlpkwR6RyRmEOD43RySM8dspgfy93tTrlSF5l547oggcVXzhbwk4EUF0kFVbfTvg5gktwUaA6dSZxUVMuWNzB3SYqdIcbPu7nIZp01V8OjCzRa/tZgUOyhzYFWGbPPFOHT5k8FXlwvE8HlUKPiWRcvMdesUg7dd9M+l7Ilx4b4YsX72b6LF1hkuTpsz+X2UuUgmScUw8P4lyaoWceBu25UZ1NT6mVCrjk4spH9Ffx17Gv/tyI/SZRj/hirBJ6ZNqt/VUqNwYokPHfft550Mz+JGzZiilWRmpCtmVhmDH1madZDGZOzFjxb7GxBA9cqYS4OyUglACl/+WJo7kyuHI3/ao+Lh0GnNjK/6SVgscO5cmtDwPd3I7XVgrmO3MpQD4AVFRc2iaVhjDvCZvfrXIZuV/3zsy3ZLLz49r8hsWvVdgbD4Gcgqa4uJa7XbB9A3Lv2VHT6afzq45tfj4wDUU7339lh+fcmxzEdOyOk6QmPacsnxfFGZvgVE1QtuwRfypqiXSpTosuQAAd3XCfdzsgEc3C1PUScgppV+aDMvO/YaVXDNxL4k5D0+LOQfuhf5zvFKoTYixJufiJ4iEtisrHMo3l3s15jyPwxXlZ4DIyUlARvqx6huWbBjh3924ZCrK78BIGeVkdgGUMJcQgWBeCB5zYnokoAodevg1G4Mg26TVmhDSZN9oly1jpPkZmZRV7nZRdwL/YynO7wzWI1s++pHApPj5PLMFp5rTxBW9lc5Yo5obBGsO7xRipzt2mgK/DtOWyZhI4JXTY5fWYcxy3GuSvOOtb/IYw2krfKEWDLpc9wCCmzLvPxUBXa2e27Te5x6mM8FwyNOmQP70UdcEFVStF23e4MO2Ivy0wJ2NXxJMMqBWcEuUKoad4VQ0UHxoCDvS/AymGPwkraOv7O5w/OaxXFCz02TTEhxUQqpHt0T9LmApEFpS4Ynd2mgA1owlL8i3E0muoBEQVlm7/EcRWbxsWgOXhi88t7Ga31j4nh9janDy+o3oGcvItKN4K4FdY65nvl1Da8tp41kr1gD7y02inFIXr3w5yBjCMHpnfxq1cprmrQojmv4LjMf5rtYsUE9w1xSGwTRgn5sA+kcT0uj/HoAu/Fb3yfkeoxIbMuQS7AX0fjGsO7qE0zdgEIBjeTBqNbmKwSlrthYsNbKa1j1pIdyAP/zjUFVlfQAVz2/iUBNN7RbUluk1EdL9KFsz/mL2uThZxy7HF0+GNV/uJ9QiGO9axEReMADoFXBzcHxeMBkJ4+TrYoTwQ27AMbC65C7EmKGOzTO5rTQ8wI38GkkjqvfxtBHpVNQuHFszkaO4kkySc/OROBFf4O6RKfPaYmxqJDJOQCQA6k3W2WJLQIKVWVyxxps0ubLjftUQtP5w4wGjW3+YNKZ6MLVbPnPNh6m+7O2ZxtDE0uftesGjsdTfXt/o7t5SwA71d99bzdoilERCxwoNT8BcR4BTOO5/ZZNkTgUvzyhHdwOReUyp1pX3Tly3KMAxyXM6p3IcCitOeOT3/osahrhY+kEWMPUj2k+L9lkrNctLpAmjequ20ylWqBy5DOzUKasd4PSawY2qS8C3HjDp7O7MszuXQP6tL0DGAzUBG23mhQDNyKfonZv6tkm0aHkHWSKKvw1AHa0+v+ZeRZyXlqf6O7sUxawlF1YBoWU2xCWgB8jqOCH/TgHKRv1e3L2Mtiab4axakcHoYOilksGb0c75huPs2+6swJT7tGOxiodAuxqN18mjZ/X1PiEyycbwSyE9Qhd1ByqpJH/1q9MI8t/7Ab7C6x2VQpVM196jlE4gMbvjdebbs6itvVFQziD6PbQiT93ApxAAzU8IP33uQmAbgr9G3LliPia8kpiXZ2yx45EIJub0Ld8S5NR84dH6lwfLhC6WN9+z7L2z3gcYTFn9Oakkh6g14DHypNHj5sK3WqoWRpLRNV8rn4XMSEyDNffQVlxjn//iNG571IbWpfHJktFhDIbdSmruPZpxDm8OfzzimmFwSTeJ0FQKts2olT+b8s5mG3tvnhR00TrHIXh0ACNhdObPwXDgBr5FzOy99l7HTSJYKc6zG489Csd8vh8oVtaM3y+PXaG6nWi82kmKgBsMcscSWmp+n2KGAByzIg6JKMWnfyqTcwPMKwknmKceq6Ig7S0LMIcUu9BRiBDQCdz2pFiDluWNpkmyT1P6NxZcyFW1SVMA0XkfWnH6Cvx3ORs5Db+2vyQ4pz0jJLsE0JowzA9hJO0iFFiikxe7ojYEGRkhhY6JX84ivf4VnQEqmqc9UsYyyDlGOaM2pD1A8uZNLCq0el2NyG1LixOf8Ydc9NLgczHuh5ZV/9iUNAUAwKQWkNmiB7VkQonH1XuOoZx7LTQNNv1h5qsK2KK5NlGSK+eoTPtzj6ci84TSZsEAiT1I0aJiUPGaFhX9JaZdks4kruIJkvdq6ZzuIFRLH72h1bhRBjwvej059tY2YXWp05oT3dBeVU9xsIJIY/iaH2yS5S5QcAdu6DdhBPTd/ZnokrPuj8q6b5pbQfZDzYO22u/ml66ic43S+cCmJoIQRtwz87xBWGTa/q513GWbCU3ACLKw0l94apaCNm9RkPgrpuKPCqIiEEE+t9J7J/eHUA3o8SRek4C933s9uq17sdzJeI7W5t6px3JuAvEvPrSaewVPviNJT4fI32zQ0YbtOw2S2A8zmNurDGKFUYH1Zaln2+OwYBzi4HcqejS/EzHwHBB6sGFCeQyV8oLvnAfJFiRbQh94i0f+DFRWUo4TtU1vP31VJO5VX1Lq+66oToBE0FV5X5STiU3FPs+ebp+XXVNbUuoQ9tDDicEiYEkeJVgL8pM2dYVdpZxy/n2KR/2MgJvX7zYFpE653IqYx+VxTkqpF9vJ9o4raW3WMl2iKatEYh9pDAm4XuRRsVJwP8IK2TlNV1rBA+cVdWIjxZnp6pISzdp4UTXEL0DXUdwET+G8ShmSn9n5YvkKJLdOx6ibQo9IY9Kj6g7aqnfOPVsBPF6diHYfycRSv3FfSb9sXV/pwlUk7pUd0bOyL32bIl95MNC2JSEM35ZUK1rDWPmE8DsxVylrS3GGXAf7uNdHM2X+vdMLRIAFDu7KNUU5CmcjmHYpR856i3i4r1wNNP4yyGB/74cTPk24tSkpX9o6Dlq8oE9WpTkxaO+r3P4mumYtL92ZfM2cgXV9GpnmEA2Gpu9giiW7olspPL29qXhTvqj9nR/4il/QLGjBm1G8iQoGpkNDGDl2QluL4rle+sS+pNqoFJuaMLT1ZuCIo+BHlZWyYRRHeFMUkBXZglUa0Aa5t6NAQOMOUGr0yX8XbVv4mVhp9lM828fBrrW4oHHwq/2ZMVFJZ8tcX3mJjE+QnIZz17og0Wtre63lvcfomBvbF8OHrH+2HPQs2uRVMwvZBa+LXbNyXE4qn4Rb3mmjxtBzfaXQ5SvO4DIBt0swyXvUrxjCL/fkUiEPffJqrwX7RdKyuHFrRJ6IYZmkFCUBZxhfghdfvDA6ZzY+iRAqbG4Ysfg7TNSGH9uZ7pOc9jB0T3pWgZCW/n5h9+kIYe6tBULpTuh28TBtlZZ7Mo4w8kbZz+SeLl5xQLPmBkGHPvQt3BQ2yly7TuPCwk8ryqkogzVm1jgM0XI6lH5lZiYfXv/0Axq8H4xwbruvIjeq6eUlMvNUGfB3GY5ZJ1nou1K+f6xTrsOiMXH8Ei9z9FtA2P4t67tZ9fEs2imefL/KuAGgsnp3h+IzT9RmuUBdyKp1DIsu08Dr0RT3czCxguH8/SdOhDwB7QbgF8n8pOqfr1bFvCMDpVblgjUOTRT8IdiFTeyXjRS+WnOhGEt6HjPpGS7uCEn8Y5p3az6L8W5rIho2lw6ISsMgFDFgh6eh2bfrI35nmAt1x3EbsLdc/oNNoFubYOcMdHan5XQxlAAWMEFw4CgXq6prgIn7EBgMx7rPDwm0gYebv9fswkhxGwpJaZQiA2Ss0BsCOgCAtiz0XfywWrQU+ogdbKw6j8KqUAEj4xcQfEq/8rIf0elbttA3Bo6+5eYkbwipahSnDiuigL/OsQkNJ5u7YM4nialooPL41cE7l69Upw5AUiOi9R1t+oqZnvgtg29e6nDCetBRawdOUys9tfAvZF7PCPAP4g0WJUPGjuPZaGlcfs+xZ89n3mQYmzQErkubQgbA+WxIaWjml9QRI/DzF2tgTTiB/1YLOIt4mmA5rem6alvVCYTYr5jGiGZ/VrJn+oZzgyitjTZhNkGzYXCpbFJLjpKQNIeiaM+0OBUXMWvpnV4IUSe44qTUoHhfBr6BGOEVkEa5DvbRJyNccFTAnvSFEzgzDXdTJdnWxC6GBgS7Df5idhg8NG6ZdtOvnkUJ2k/0hcxSdZP6H1EdsYfCTPsy+1DaC5RJbyKblBVDflZH5TRY8Td0r7heYLxZ21P/9Hr4EIFW7F8XMafZTA/Uo7kpy0wU52dNzFrMY9xcnzrc3lLUzzAx2pGszWKZHeYRvMNlE5PAC1PSFOafZVQbA5523l9vVWjLYjSL7VlVu+1FOJpJhx3hHDThyByBmlAyR06n1HdTKjMId0hbxOhziVOqLaccb+IxBL4JHE4Pol+vvF+1JApytYFk9sJu52bjgiHgmJcxYG/jp6jKtgOvWYuL5fQ1SMudge9mtA9fxqbazaiB3la1PYF4TAFwUiVhx30xnjX1UwtCdNkP1IUoCxNXovTU0dugENkyTB5gilrK9ZV/czlQWBeC3vZzQ54phLFFApHQhaunQZpW8Xa6l2nh1vBf02evThuitSl2WPWJfScA7CeOuy5hwu0QfoBSm6UwZZaFf1rS38UcEP1m8hN69BBodFlsRtwjqDk/lIQpgytEXoa8gi8leKLXLvydRG8jgY0SckV813GoLRrv0vdMa3urlnNiQnVjY/Lqp46WDVpM5wjCJhjQklZ3gVIV9SBU6vGNBmhFVpU9nJsXiWMCnQz/h1h0tTSKyaicLzNdsQ4O/C055Xgk3lK+CNLsEs7+Tv+l7rGIhyfmnKCOGtRSyS4VITOLt1wDa2VciiEfEvFKhWCoTpAMxLv3r9TuPgGjiTJtIgwXlQbXUjqpIpx5UHa7Dq7wyGj/hnw1AGCl6PaXli8i43R6hQldaTwvsr/r0IGtr8jEV5dH8plN3v5KEl4Gz7vZNaZYSwti7r4DiKtRe91NhrERpPQ5z1qW49yqg1j3wwoVlP/4EPojLx5YzDpkZwfr4SYwGVyXdmK6CwnCG+55nzj5Y1UgNPcY/TFK1YwrRXPnY4uBYRXaEpO1iXCsTVbFUQo0OOxikQW5xMP2+MUtnlu9O9XvXlcCkWBSGkliRN7eOZHpWFHUPzUVufx0bFW41H4/2lAgVVy2Z2hmVYMKFpJHzyb43lV5NSbA0+NXzVsSbMV7y0uqAJuf4nVbYE1faZxF4vJZy2TjKEldEh9MWW5bvlnfTQsqSR0eOjcgOocJWNxR90r8oPY4BD4KHaaH/R+xITQSx0j/SEKrXcNwcXrNEbilY0Y3LiRC2n3tGySLFX3yLrSItEcl/+rR5JTt5BZOX+TqP8Wl4bEpdyosiiAB/ixzOywBmivp4Thv3hsY2daDnaEqrxzcPcBIeo24oXRUjCKSVPYFGekJ8ilOs2TnO6cZUQqlwb8M+wPvdxcU9sX7LjcTDmfsUurymFhklHGe5SspYBAnaMhgHczGEfZ/hNE/g10dJt4MMSM6MUV4Fq9UZg36s08wV0SG45K1A3bHEhHOl+vfm5vamdPw0+guuB05hpyW2m5Dp/k2/0W4iIQ3SnvEJNUDnFr7K6ngIMzQOyJdOn8dr3Ls6nu0g7Nxei3TIuKh3mufOKSdsN0Dx/qe+Yo8ZfIjWd9OnQLaINFED2yABm7hWve0vhGwNNvO/1fHxRPxYC6uL1IjNWEDZzAXZgvD3habsQgIw/sLGo2wz9qOZzUVfoB6y1NkM5br4YgKoR6ey/WqmHiYpFXyBcu1Cbu23ZuxanYUTGLFe+YLIdGHp44KOa53k7/V+TrdEBpucEI3/ltEqWh+ODIooT8W14vPYcwMyBeSsf5GwItLXw8jadcuAbRg/qp8wvtwFsoOp4LMY0uoYT+czxDi7kTA5JabGja+XDkBz7IMTXxXunCzDaLQSOx01zKeTbEyGzKHJxXkNEZNCF1nzjd8zNixmHvpTBD6J14PiIL/Ify/mtQvaNhPWad3Ag0RVjDuiwaGZ9N4aEPHZWomU2tF79EW2Z91eXn+8dU8KSwqvmqD9C4e2Emj2pupRLOcnVdgZ7WSt+jjCxxdJnFVi7fRSSbDMrwOTLULx5IJeSEpeR/JMBy5GcvvTn4B3rdk+modoy4jZAzLgLy8l1P28aYm0Mp9x0Wub45h0B3ghhaumIcCl0YyrG0Mfzz3Qj4HldonMWWtP3bxsC1mT+KRhUq0M+TseLN4eUFiU+hMEVeTvjxxsr1a9g9GN4+lSMavlN8o3ICJr5+zDKKLvow+5oN2wm9ttiTF3ffNgwEN6CVnJihaFauB3fYLHV1B6ojHZJK2XMLTtBrH1rMJUe3a5g07CrySnn7ouF3U7iA2lpE/LIzr9TaiZ8XEzFK2ZFtL7CdlGNjuokGyOZQrEmMPiHks0jJ25ueIkeBeQdcYZedDSvnVbew4H9AlNm+NelJ33yrE0w5GyAeG4h67ER5u3h55ezvfEGUpXTGAThB9GloBKSNFaFHkl8obK0iH8tit5bFhmFeDR2tHJXS3z5yapuELMDQNfz5rOYAnwV0S28drA3PTb6z74NKPRZBM2ShhPlfZQOEn4GgC0YaZJSqcfhXlATgbwUh/9Un/KAD/Q2oU0gOFAeRbsZqTAuOOnV3iILy/Hvvlc2DPL57uUJ6DAT6HPXJLdt3yQNVFBV87ejY+I/09+qBDslonS4E/okXntT3Vivj01Zaxp8/PQoJWAD5exIw5ef2T56ubf/w92A4rj7E5Ex67QW/6vVgXBHHB6uZ0le1p0KC4VaiyY2RLmYJ0DdQuywtuslqkSv5h9mWepHtf4O192j8KMwWQLMw0n0oMWNDzuxHGgc6bCeUIixc5xLNxXcGoigcGMMGsMumeJXRbVnhDZyw7RiUUbW/gKqnUpU2h8OOduljXg1m13ox0shmiy5DvnunKLRpW6y/GO8ahm/Cw2+pzoSot7pZQBzVgbTGusAs08vKDZxv2XqzS8qWjgNsNANvxcskL6GjspQbNYerIcsUJobwquCnBLbmhHWWoF1NQZsOaoxm+f9wzXeY7/4z7Jr+ELG2hhKzLjRWSCqspALFaDFmtIHCAiBwYyzDNdeEs0wm6OaqetUi/jsR4Zo3hPGOw27iPxyLEam0sc6tj29dRrFQ3uB/MkKntJPXi8bgemYElNZPPGEiLR7IXSLxh4Xw6yJjlt9ltU9mdu8FEX/4WFpkR6E4cNS4gOcU33gPq0czEotlcCLJ3o3ZFiSs1suT4ol+G2wVqrJjv1Jkt1D4txB5Qv+CFAwpG/BN2MY04erCFM8cwsl8AFO7exciTwKMHhfenUN/sjUAkjjqk61XeXZo7Nes0eTYUdGHO8B0u/TmV9nX2IWtfV8KZY7PHyetUh9VBR2+FVhPLmXRH1grA7nM/UkUxa2eZ8C3lsGVYZ8o0EJoIYSHZIWFpS50WNplo4Bcvk6dAGtmWQRzAFKzEb5c65H23c9kGMNNxtfL6c7Hm7yfwTvLNt22MyuaNJDOcKgNkajd48QUj6IKvYRKgu1Yj9P89ATZMCR0J7jug4Tb/ZY2eC/S1z0L2YwKHNsldp3s535LpaBwzlBQ3gpg+zuRLJyDXOH97D7jwf4TqEG0eD8X0/2b9XWo8ZG0/Dx+z6jS/QjObKxZv0drrFAC3BgywYzatnCokNzcY0BR5saq7KjXOAjYricqxRgIuo4i4RkpHos9QnLo0hGOsLlmx1r+t5MN+k8RjraHQe0qQkTrSI+kzJeFKVPd3AzTX1A1zpQg5DExxCmJoAC/r+TNjHoUShAOT9OpRqzJIwJfGwrdu9P5olkBXcO7WUSQUV6eZNFNrH0tnZ1KSproInUNfCm5DmmvxRs7wS2bEfgPOVC4bJwWgMF/pRRZSTp4zybdxiDHmt5jj0CKBFjfltnNAr4iiY63CA33XrzY1cWOvWV5qsWXoExagA1JahJ5XggKkFcIpaG3pbA4ug/hLa76JNE6XXaN275nkF82fh5eyhhYvrOFBvAfM33OuOX53DwbuQnQ8jPU1BWl/sxnNuods1+MNiJt+DDmkTtjmWPO8HYM6axRNVtSZ+5pYJ3QlOYH0tDVnnXW8PHyLoUQHgRd+bOn6/oG/JwxMMAg2rpEq5vLRIkehAHvFrjboMFQSf7yHujXGF/oFuzA5ojj8LflGxyc6Jl7pvXrM/UQr/zQJ2xlFTwjHpOl6FP9zjSuY28vpxxcuKhe9/LXNSWSHAQXL6vQxENctvNVmipT3sPe4l0c4IbOydqa961ikdH2v6sQBdFn4HoQ347OIwyYxIRGs8kAGnJaDYq7UlQUwDQH0J/W+Y99USv+0oYaixIJeOBupozrVWq2UagsEN5SVpHiC9JjsDRIMEW+x0gUEeQAFNJccRNsqvn0ce+yoi1PG58YsDXoNF7zudksOL7GhPJvpPjw3eEvjnjL1jsyRdd6oldyK9/h6rMXntoLDvRALT7TbIB4iH8dYD2jaLDI998siIfuXVIYF9fqO3hf0IJaE1/0P9X2oiCWMCO1S/JisCGG+UwRFK2SzJOz6Ye6gUM8/hj5uKtdiFmQfdNcJUGrJeCKQUp53zpSEl7uedM8Vii/E3dbOiyBwHMdVovp2MP+CD+TK1KajaLkSFdr9/jPuWyGZr0xqdBmojgpNBniWEEnl3mjDyZatUaF/F/QKVHnTxrM7wF2M9ROzKUh27U35WGryNKgeg6vdXk3gf2DRW0zNEv3q+SKrPBqC76Q7d+K7IVQB0b2Mc6LENp9qHwSGcEaeoTvBEJ3ziTgouqN+8109ZMokcOBVWD7vbVBNgq9EQmRlfSh4LzkmMv66v0rXimc6zG/LpnThRYFfSwPq0vtU9L1PSJAn8eIfvYAghvNpZ3OjWIBJBHibA+pPpSZZosFXQNRs5JKw1FOUs8jXG2+8nJaXz93jtsq31pBnnll0f3xGzKaMuHPTJXAyfGUu1va4qa90Ho2PFY4cxZ985V1eoktr9EY2IEXQrnC4Q5dZdAmKETR4nB5YfNlsmQeAYAl9UxyaklKMANKS0Iz5OvDZ82PQKTyOy7jekdfOjGI3P7IU7d0tkOO8NNPZGOuX6N9/5MPZ7XtNxPJ5ZQYXn3i4a9QQwhl+Aveq4y2BxTpPJZ+BtzB28f1kr6zLLIJ1ufwZqDx9X5Fqw+98qqdgqV9kGMvOGa8Qgv72YGbzMqc5LZT9HoUdm5/vaslgrtmYIgSNQgSWsw9Wkajr8x3Q3mkJwnBQ4a24zQwZXmH7gwL88gsiAGUZrdEYZlaamXONvRipej7pdMgY1Li/z/ODeVZQ95N3dhIFMqVGu+wgYtm+EGhOINKMKARk5+uKYaNh3geyuu5D76xyet468pPEJlRm1wGec8slfvlp97qUHkYkVciCEiMa7WrQaX+20pO7y6fHqdFwT/wKtTw8s+SeX1m9FApPNEsIJmRJZi85V/BF5CWuBK1phG7wF5RXgz6WtUNM3yR3WxeUVBFkONy3xgzRf9wykiwPQAsQyhvu6WQRknwYKzHYDl2JrQQUb179h8GZErdhMwmcoPwkU20EMZo5lyHW0bKENZFHNgx12WWofpLgaw5Ke1T0UEz9obnj4Rg4xtr7eCBh5KCQ16AcNeCWbBBrGaceogik6gqRqF8nZC0S1mmjU//1yJKjYfKQivzapV12iQi6GXQAVr75JVzLin52zPeGrLXoD50lbGCQCRhfIpgGh0mNzJufkkfnWP1+cXvxwVwBE2jECH8gmik4QGhOMq9fAcSfZb+k25fQMHWUuDFOwphOKLvC0YpvxFeN317kOCXd51DDicrislWWUtqGm8wP+uFnex7O7fvnByGD0V5V72JCEDJBkNjpD4zkUICcuBromQ3G3AmxM71tSyFChQjV+wuu5lyFuLuI6HhYa34IE9CpoqYvCWrfetQVHrq7Y6KIqCB35JmFAckOOoM3ps/48rLIVqoSiaiBhB7DGiW5bLVu/t9Q3fb0sTM86YZJZjIv/sSt6PquQ/lRca1CmajE3MR0vS1g4VDDCt1pwCJruixjlZrDv1RCz5Ey95ZUEKj5aHk7iAcyKxs4PRXstnaBMxBK41YuuJCMmCn0ugW2Sg47W5B98naaxqpa09a2eorSh6w9XB6OoyCsN1N4BEpDTQ6iJ8Wkc53c2Jy4L80zgoavR434fbMz5efXMDEqKck6T1QQ+RchxyPssGlE1hmx5l1vO0U1FPyco8Zjyirk2AGcjFz2FFPef4UMAMf7KV8quOLTJZG7+DX5BmlzqaNiK7KD3ZHJSCWTIIxDj5eL1QH4Z7Xj8hzNTFxlPZWaJ95plUie33FrIytFqLB7RsxHDjSwCzgrLeXovuTrpMIrX/n0TNUPSVVCmkksocXOAUT4w6AbGcpy5tGj0RjMEdFaJJ71tEOkrJy0jGaM5GMkAt+KXRjAD2ITkbe4cRbfn6aV/BQnD8oeczRfY/dg6eo2VxO/k9+sP4oQqeDjl8obW3EBVeBWcf36PCf1uiQ3UFgPQcRMrF2beGvYNwUdQZqbnpHe1KSWvJQVTtysEkPeRYVbZDfRfjfaHnj7+b1sD/a844S3wgm1lf5kg3iKho7ZbkDZMvzkDJ7fJ96VbfQ7fd+YxLC2i0DS/I/Vrr1SXCuLw1JZjnDbkjnrqsJNWXUtKFY2x6ulrqe0Y+b5fc18xjurZvZxhDiSoxYdam5clSwxCxOQlrjfcSySLQvURiufH6JZSXfnmGumT3DDao6jbF4pri9BTKY6/8GHxwlKELh9jiwOneZRt8kRQTE5wTPlibah1HYx6DgyHkUuI0kHI5/mP60kYCj3DTnNG+S/fjU2eW88JWyI+FO6uLqmZYJja5YTTwO3Cy2Vv8DPCInv0jyO98SIkhS3FZ0iWLbrGF9zsU6QNmf65PD9In6OlE9UJ4AQ34hV36TqmUMKiNAcC6/Khymy4RUN0W3Z2Pa4P9efkL4rs8b6eSAtjbvNfgetXOsO967/VW4RpsRFwAMx/KbKueZq5ArFO6IdBI/95NHnfmXA6BCQHPZpWy0pIBZogQm7bdhe4CsdadTk73aMNSKYjMLYFeOow5ZnjHq4X3vbrHjOa8UJ0+OWbcKKPfOY1RLwPU6IdoqWGCwBWqT0SBm6FP3Sgz0p0jNXRUmryfFT378DyhRcaXMi41a/VKQcyiDxi+yhczUOVfSNaZzZA56GcMjwA0Y9EUwflJXHQ0l6rLCc6UQyh1or41pHbSloXy9uaM7BQkDjyZ5E9ze6YMVbND6es/EA6x9VeOoK76J4G5mEyOa30vFVALap1Smec8ILr4nqCqVRT0BOZxnPUoegFs44DwFF0NzPQ03nreOhGDXLikzfsTvamb95PKvaO7ezs4Nt9Mppx13fwpYQW4z5otjZMnm6r9LN2YOa1rWIdcztIEbZMdsQTR39WdrvVmSKHFB+RkL82/69B1WmcoiiuBHT3J2M6dKY6wefgEYSZ4AeroPSPONVNetB7q3/BE63UH85UYBzHPNRJOZaeCTlfe+S2lDbaWjVkrJpGOjB1UfLhGt75i1fcbSrGy8lmj1Qdkh9/jXpV1fL9fllB3FF10Vh2ogHKdFfVPa9xzBf0ncZeGbuzNoGIa8GiHNj5HXK+jpsjmypA0HaYG+xl0qViPYrfBTqVhRzwgk0UsjV339npsHr97Z1XSO7Xt45PFbePRBGrGgifW7qyxWIqAIziQYR7UWgvG3mVr/mDa3gyLV5BeRst/jAILO6fyBdAhlEOHDOf92V+D4m0IAZwqBGxDKIKz2s9n96SOQ6hJlEXVMaX9XRyVjJLjKQz9dSH2PWGcxky68Kdx6jP3MtHdPkk7ctm95ZTHGHvsmzVU3oRbvb9e9+jKMLQbVy3Jj9Y5P3dMthiONNrm4YHlcKc152+wwLDhdjoedM7vbQaAP3xi3nittuW0TSX54vwZyqOO1/bb6jfCwD75NR/XMPaNiLKcDDlI9fcKqkfUyBhscw6BKW81QOvadhyh3uzVyc53Nd161uNr8IbugNFrBcG4mavpWn9w8eqNBQ5ce3DGyShOsNsJaTQ3OQtznz9mUJkmmfmAQ0xEZACOZ633xnBmofNXjatobNLB7FryDCODgvoOCeOOn3o+Y4WoBAQrkJyQ7gweXND8v3vwtCmxayEIJMnl6LAkp2Gh9BYKD08yZvXtFaDkKaoHvwDU9hyBNxVqQt4s7FnbZXDrXbgqOclWO9/cgaWcPILDMWuAHlSe8h4w0qNcfmH3YFUdVoG6+t/YYqGm91j+xuHDM36zCx4+nn7ZMMpsHG6/7/YhXQWbOwViIQ1nUYwPkNeLtDbZRqNRZl9caT1MZT05JYSVBKKPZ5CXFerJqLWehcuJ3DzsBVZpTHMVYq61ClbthWXH2/zVfAQqd3YGt3oY1VTuQZzkXrjuxcbHG5rnU+CdBt61iopzKlAHEI8xJmbVJR4jAZRNBNSOB2i91Yrv2A6+xw25s5WMlcWeUGzCGUpnztsz8D2psFZQWfaqM/LXfspb3UqPVAkvdCKymJby3aegZipT0HmqW3kcXRowr9KPjB2vndNb4BY4SqX1hjCrqkwGfovYQ9D4vPFzbdiJ6YegNTa0L6nD++sXeA/JH17MOThKQ6EmVYFoqgfb/o7V/LqXp3eqnWRV2L3EI/pXyYuwMRcaFC9fVFzYf3NvmFOGvHF3WJ2RREwTttFdLMaOU1HF4bYlUNoHTaKU+2TOxG/99J0Kq9p58CCAVnjW/dKJrMDJyshbmdhXZjL5hpRoh736C1S24QpuHji52lQmmTEbJuiQs9wGpszMXbK7+dEm5AB6i4Dd/TE+mMgr8ienLn4FaDK81CjVtg4ppK7Q0lMQzNrS0DNnPm3q0gUPD+VZCmfLIdp/VHF2yRrmWohtsTl21EGV6rKzQA8W/mVAbY/E0C7qzMokUZAlJwY2srpm+JtLdSkGks9V8wHUqtc4LUcVdxWjFtFGhlfJdo+ttS9vGyt6JSe71U7OqUk5ACuGdraDLPH48wL5b/EPLkNK/vwsRHvkEQFMkxr5gQ04w51RGVdyHrnOBeY02O/eSlMLu2/+zwV0BqQHtWpVd5ZGDvWiIRbc/EJmwTYFxShm8r7OM4imXFzlj4WM+jGEf6Zee88VoTkjxQfZiqmsK8yL0tZMEYKvJUkV2GaEKSwHL/EsGFEZfsTPjkeBXsvF/kOnVr1ZHccNfiU1LlRsXOQ8YpG2AE1Wvq5DEyLsgX98fMU2YmOwSM/q+Y9h+s1NICqZLvtwZfV5aDf8iaOodAzo0nuyPsdAYYqiJu+1E++CcpcgZjv7rBG582Pat1vyDpMeviaFBWjBPu5oMa6GfaGRS7wUWfO0HBqv1RO+6MjyYL7wc1EG9WQN3yd8DL+VjPrqNQ+vSBQbspICcHvs18jUahhmK92RS9ZkMAMg0FkwYs8oKbzm8M8+pC80wG5qX8VApU5szmWUspkJmurXtOQKMKMgOji1aH2TT5e0AubZ6Rn04TAirIU/x8wcZ/yrZ0jIeQh3FJcb2+in8a+DJeYNxYqeWCk/JJ0qPQYcNd37vA1qWPhhtbggFbKB+82hH2YVV2Xf/Y32J7TG0gDgEn5WX9mmAGD5hrLhax9WTNi4GNcrfNs8hDbtlBu1zoPLc4iITM3QAlxzPWhkLNhqyCWmot6H0UZcdyUJdiAz/lRZaHSk3bYreRxxZT5FUOQ3m1PJbEQHmTZ0oo9fFgAd6T9Y0TvOINpoldqluh5VyLVOvMScHjqd1LmfQWI4zQnRlbB4dtK6KthzJ/Avk1qF1iUX7pxpXsJRzX7OkIE+JAQXwPYYJcfxhUIarEPOpqC1tAXxNWGYBAItNYfyT2JBqIPPMzxy4E97HCTT0anJoN2Z58qFA0Z6S/dtRORUn226UMhdpxwnU6+GGdMKUZ9zyhfJ2eWKcsb8Bw2UEghXvHQKVXnKk76vQaK64ekv09uxwNtqWU6jhaKKBQ1G9LSccX1h6PDyOwDEyNzfQlxPqxTSw2TfdFWS/P+un210OuY9uJeyM6R+LEtgFWQlqrNJEYzgkiOkCKkn0md7fPqilvOxdzZm8cMq5LvFYAslzqZh8vkPLv0eJ7NB+mND9jo7IV2jC9CgSROSxPxF8WaQG261Awdd0tgLHaSOKQNB7LscH4qgLt2zvmeJeAZooSne7ReeSXpb4qrBib65GQsfs7kpH9D5fExx0mpjiRD94zuD8ud7nTIJV9e+SS4ERT98eBGgWGqKZXmFb+eh0YOdv60K1nU1iFBbzfEw+sRs6nsW5P0KUAjsJfAoc4+ojf6/HRKmOCUF5Wcl5BfSvqy0PL/0Md6E4JRN78SmHPQofACrJlc8xME9ikqttmDiCKH4XdtQkncakaYMw9SyuBJEOECfkhuOCiaW6+r7T24gYVXC9+kIPICrLjADYte8dyC1cUIx3ZQZnaEO3aJjH3UGyUIwzjzy+TFNe64BowF4U1j/WD3os3bEIaJo2qbix6mLRUQBREGUlnTxhXZjeRo0dQh6qxd63NgF18WNXkBGHu4M/20TFzpNDJ477gtOukujtUu9ZMg5gKzxi93YeLh77ZRDNMEX6N7Bh0ceEPplsUJE3bdOBlgXF1BjlEBKca3D5IOBh1vyaK7m5+JlVid8lsPFSobS7Ig0twbvQNDY1e+WveyO1QSdH1P8Mx2hCKIPQW1yeMbK5uvnNp/FiW7wEM8UtvYfvbEsJAXnlDbh/aRE/E9f2EwjFw9EB0tJHJb7Pq8Dd1uEL0PmLEF2Bmg1toSdbkHtVQ+zCKuqdAdgujKuQu3gInrydLtylKVPRS/w0GAdpUKup6Ks4q3rKdp3l20wDyPMW+v3nZwMv9HsRXA0t9GKn1PzLQA4SWyJ8U0bCBcICLwuo5MSn/H7dA+bXluL8hZBUp0IpVysgtCFhX9NIM3wd4vIzTrCe0zhuCW0PssUVVP9bgLHL0WMHe8RHWJuaR6sM6rSzTjtTz0tIcBETEggv9/hBSBUqU/Kc0C8CqTJddTd2uIJhT72GE0gIEsAm7z9oHPeaAZ3x7Qx5cndeOjMAar0KxI5gRP5alPsgdolQaoF5F/BF2yKs2TnV3Awr7gN8s9a2Hq1DbnWG+YUHXvIloNB3mpVLFUHw13w/GWeB0qec185qh8V3qyQjttLnO9Bx1mMxDIfNRpUfODtbSyj9PNnJwCnAH/FEjZZLPrejYq16xVFQaJ28D4ppUOkdNUE12rXujmYCzDL2KAYybkkEZHt0wZj2fyYp3owC3aa+R+RT/nQAqCjYRRSS99lLAiQpJB/M9tog18IgpXzfiavvSOBRr7E0pHYfx/oJ7ledHTf+iXwb1D/YJqIyhiN6lH5Lgzm/O0teTzHel6RfM5eAvbjHJ463fQEVvncN4ieU8XO79zuU+4ooGeQ/KEXntjUVNykes+4lOBhQdL39JxkqiCLSxuJV5zxSFHPxQCEnQLWIRl6iXUs+eHDO/PHiD4hgIPkG6OrcyEGJDdNa9zyfFV6dcswjxYwN94wkvQ5wQ7H5b9eUeqHfnWXDbmPKCH4U0hquBIQhsVkEmxpXG8c0E3zUM7hWVh7bHSP5Z5Cd3dJwsNkBQkuVlPKjdmuxGcUmBn+Prkms00uO2+itOcQvszD5PZYb/QqX2SWLpimucfM73Iuq4jrDmRR+mKbW4fF0nIYYvsLvvAB5xmG7LuwseNGc2XZqQfWQMTcSJsqEiG6rBV7HctVyHOCQ7jxjuMaIvcIpjQZfW6MEjUggwoxX8QLa/eJdkEwZ/eMIXJ2DmoRwdVD67qfY75dV+ApIQlOEle3A2RTTeI2DKeR+tiYyaeMevQyJr76JzM21Ebpl9YZHEycm8Rj2i2adcfXsiXVyV6zqHJaYrbD8nzVOGi9vFsgEiLchIbErAZnfoLVJj4jZDFjzYJZ4ZawD7fCZh2hYJ/8WVDCdV7cOzQd+1Y8ZbJo9dyOECdQkavXmvTSkVI3nfkI0ZS65w9Cga4wqwVDTFp++9dwk6bFbs62+FkF8qtpZTU4FCUAKxZq67xsSYu6mm17Mt9T3j4X9p05ud39GXVcZUajY6+oQuY3Me8xy7+8H6VACackqiPCU+x1ROUKpRV/HANbFJXAVpfe+/QYPJFsOxuILBNqGeM+QWT9lVx0wLj4Lp3tccx/NPMoTObp/dka8jcZgFviQKfjaAayRFiprP75y9dyUCcD8vXbpeF2CHzQpAzPZyWOis+26aLk0epLgzcf2Ez1Pooy7PLFgwRhkiAnGk84ex4AgffaCmWi+Grtl6wYli9i1ulTQtKQcwH1huxgd0SJiv/30hlX39LsW7cNFjbBPl/hNtBz6Qa8kCPPGf1c/hXTuF5jlJpl43fTNF9xDTwpJ9qtvxSTMLiv2BHGwP8RdbpnCwml4nWLyo80kSwph2vKfHle5drsOomGiKw6d0kSzhCHghFF2nsOuMuFpGzuWqJS4tAdSRD3tPNuJt9jT+FKxgpBdqP2cMpDefWxWvyEL6NHK2K/OcjMbpTGyV+i9sT4L4B0CNFQAjKt8QZGnAZ9EtQW3uVqZG2ujqaV/7n6OCYt3Kjr51HgmbsicQPyzAFMuE74OiAXBBu8H+YXYjI3uLUE7Fw/33RT+tL3/j5TUBzgjUBLHUBzWbgmSFXyd1qL2bD4GdT6Yk/L3MA+HkKmBKOwS+V0qt8hSXH43mjR7taNpwV7hyZSvVIc/sXVKBjbY1yR6ELsFeqWcmsGQuVERVyA1L9/ANcQSVK3Epz6pH2z8PCIWv5kXdD2gsWoimK4a3sUZh3Vx0oKUjV1bDv+nxj+fgrvUmCOYBmYW0AihmAbz7OWBvJYeVS3Y+6Qy1i7Uql6nwdu7CWz8mZJLON7D8Z4bxr8TG6HpxNYXlkRoebTDv51s47vOpHxNps2k6MYmcgPVbp6ARY5N3fRzdYSegwrZsPUezCuz0GCCNfBYJOIIXYTGK7lGQWjmmVm0dHxNIPG060hM5tVT1+qO9EBLYkpatrrOv/0mpQGLPAIDZIqzAVKB4EQUT2Qr8wRq5jPiiTeUvO66mhzKsnGHCiwy8XQaM3WH/LAjTDP7AJ+FSSdb4zdYe3Nc1Jqx0SibEEnMlsBqilO7iDq5NYQFPRINI+H8/3wh4qdcqk+VX5pocU8SYyf76ZizN+gDoFEnORleSKhKvfilqUmP64Xdoo2e5Kee9SZgN4rVSxtU4QAF1KytW7gakb+WzFxbrgWEiSevhD/Lh9+EN+haTdywJhrD/DP6vOjGV9sCUqBhtK3hh4VIoHEs/C6Y0LM7P1WMP9DIFNdlYPlCWX+T34GZ+YJrDozXCd8GTSUGgLYn821LKeOumQy7HPHgCFWkxLBCsMsU/83w+iqgkJTfLSUg9++k0NJk1cNm9kluohAL2Dj0KtnVoT6iOEUNZcxMfvHCwoRF+MyWfuooWgCoMm0PzhkmpQST/5x3o/xT58w4fxektv5c9/uNyteChS56sGypfV4jaoecscPPirLhavmCHJGKBfyZZdqEczwVIV5Ay453AxhFaeFvHTrEan3PCCF7wb/7BQvzhD7yKnKkfllNTxypBh0EbKKXSqi/1l7xey4OWNrfSYdFxZ6gfDsgW5BWz++HraV7sliT1iANXaOx69ZvXsuEJ+UG6/jsJs4dsPkq0t2KMF/G/VtpvsASbxielBnsiwIM2AWjS0n/TNcUnqsfJm82VCdZR8tVNN52D2h3YwmNmcenx1DMcz2fowwL145uQWV7o0L4wIY683NWcjp17i3k9WmBrLUc01P9hqzpu3sVi06htjb9Fx+IIBx4x/7fQ4kiQEU9yXMSfzpSNipHD+NS5v5pYthMNAOhQdNA7vAqWt2RxTapPNiK5hERe13EuKMvIuwQeMh0rti/i08GuQayoA3qNpm7fDWNm4CWGPp8KLULQAAm5G3vtJr1LiIzavfiTXu7JUbvxpYUloED09tSphgXvbn7p8MekmPT3JGSvr8NUOMMqJNCBgJTOD+hws5yzCjHfO/X5QNcNijkQ83SOGZtcKdTiJgW7bBsxSpPixYjKxW9FRXxEN/NeAY4u8Gh9mSCxeCI3fD5ib8TsRjnMmkb8f9V6czGiZASaeVdvleHPQ7mmr1c07g6Wv5nTr1dH9nzJhXeFG/nibWD6al+IfHgerz5TmCK1qa6BVp0vCEYNVzCBRUXw3Trjy0oBeXBE+p95PRNcZLqKYuLD09mpgsLehkB50vaY12sI6yFfDKb/VvgA98Jris/4vDSMVyfSBMi/G9UsguYFzDh43mzU7YNhF0lAwdVQXVH5w2McYCB4UaQ4Y4UkNFT8J92P19MODYMfW0rBXzgjgzUjl5HIAgf+i4ew6rptxMbw/LbZaGRLkzp08PjOYoQxBnBVsAFLMQlgRJUR+rTtq3OKG2g9aYm9L5oGaxuNWMHukNLSrjf/kYklo7i3tyu9B+5HDSvVdvhPueH56XY2Ea7zncZZXX9cuRsXlm6b4McyFF33AMrdZi9usLa3qiEet1KYHSmLJ8gUN9v2/4Ezjb2XxzV344JPp47dgbtfhGORj/hD67bcG6vZhOQL5hrulq9SyL0usfjA5Tca2XfQJPpg+yfB6IISfUB597SKafLGtY5xW8oQUs5T6ois74Mss6NbR3olFTGxEVqLFCyuwWORoPS2e5bENKImJgsC7skbra7+RIKzsEZcMGigFJclFI+wauEuG6U0+QkGWW/t9umSkCKb1CG+Yif8M8C1rrAMSBF8Q+7SwoX570sZ7kF40wgqYym1+9JHyhGkzKyB4oWYGmw1mCkZi8tPfdsDYGyuQSO9hUiUur/k1Wc6KIj//IPek4dDkIxCUM5j8mhrMuJCTdT3qfzein7ucVDO/4dup5CMlSfPot0I2XiI38nN6y1wkewtAGeNy96j+/sQSgXhVOarM0jxGtTBWM/VgZ0az+8RBLD9z7HNy9nmGUmHwzcXCDO5w0ZgoTvG1XUE16e6BmcIXgajyO6ek7QwEhT5qllkUA+DnUhCebU9HIQLGcWUCHYJ2Z33SYF/ZrwfWov83Y0PZVkBxBpa3SbI0Z6ac4wYFx7+JGCGdG138nt5XqIfsDayGmEqjY1KvgYhaHP0X7/JmbnBZnhRr8+EN6Fsshaj0n5MqCQTYk5gTtpBE4bJCLhio8/ucg9SyP6rKLu4zNnk2Pn6Imp50kMIxFQ/CRECnGS4JbhwEp+7PrGDcax08/hedyIIGZRZmxwa+/JXOqYkSy4vgty+df0capsmw11jjqm8la69EhKZ4cFIupOFhe/tTWIUKH3bMcRA3hjfCm0l7o+6KI8fugmsFHEda0OAfWRW0nCf20gpdaRNFPZF34sWDRKBbPHK8qz9tzce3AKO+OHD3Rnmk2hZdYzoKq12IkCq0hoccNWHI9EHymkGh04HDEraR6YabwerPvFteUYGBIMC4anewttZ73B4O0zmsxsiRi101JbU9rMfIarhCX1+vKlPE9bWecl/fWAt1Nyqk8x9yVuUxMbCUP/BHy9/ydH+loGaXcJoQMmuFYjF7TMtFUKUvyltBq+hbEkq78ZxrEabKF/ShSTAOYgnfUx8MVzpbbU9M75sVfYw7io5UCYWR5dzfVEZp5GH3cE/WsNV7YTmCPf1ZFtUEKCF3cvdbUoXaTI4LGKZgY+llI3jQvDeDsvNIEqJu9wUQhU3BvghoZg1a5oIQGGnrbe/DlocIM0WDsNBeW1pkoF4WXIslDt0tYFRxnZFLUdaSROJcZMf/5eCACEs4WPK74sg3Ibhgw96QhdmypLvnw03FL52SDvt+mcTbmBKX32JZokdmZaQN+B+8hVUireJoTdjFq3zzq1AHC+A+UVE/1Y+H582TTQYUE+deYab37wdlalhk9on9U4X1e7lsUG7KeU+hdK/5qfUJrxU1OplSDPX2xMVwZgfLHQHP/hnUOEYm0ycLuisT3za1Hodh3tyAhA4uGk71txFTDCBc7K2fuISwGOzNWIFAZhCOso3yqbsgBFioNQkhvut8XWIvRPTz8Q/m3cG2F1EceBqcn6T8OgLczwpUvkBs9Bo5IhbB/pLBFguCsMS+XMVk1zt/hZwmiIeix32O+7eZzTa2ncW+XzsdTZat5Wf9YfwVDDJBR0oLN0ca6KH8Vdi8KZF4pBwogaiY3A/+3mYqvV/mEosrFQv8kmrIPWLmv9kcuIs6ER+lz41fUFtWPxYu+BSAOjjx22/Tk+6DvJw+/rB3CcjnZDWHZehs/g9Ggqy0s01+QU9JGUbFjFHaMAQ2avd0cposY3ilPngGRiT4gy3McNBq4MX6F2CcLd2i5D7uXcJjKx8FvhFvH8jPJVpojcgKOVFVRDZ2KeZLlcvCMFRVrVt6w+jpnJFpY474SXm2/CLETG5v+oAcKhLAY7GMSww2JCujK/X97E+B/EzDbUkhIVoLp1muHX9AvcmZtuXmnlfBovT77T+jD1gXvEvrN/TunyBoV5fVUUsKhgB747MyKMbYeFqsM0vp9DBSj07kIG7AUnU5wbebz4gcNe38JlsiC2adDzGpmQXp/0VtBTxQ6qtO4ji65N6IA3l63eHNQOyAj9NJtZef0sxnnyMDoUswv9/rQ+r5vq5+/bbNbZg4a5GZHN+98leVzUnDpZoiVFYrOB0x1+vKp3ieFSJgOtqKcosQ4YngJrWwjGpBHyEFXroXpQZHGJhGfJONaquVCdmjD5GxXUTpVo7HrGsSzf5+Gg0B/LLdN7PGyQhffInRzE0XXTiR/UDcXxIiqk6NMZYJ9TN8lq3dt3iyrQ6irwl/soVgJPzm4+EJigeVCV2hmEd/xc80GB28iaTBQ3XxRU1g0SbLZK2TGLkkxuZil3noujtAVEDQJO9lCHvWVoqPrEU+LaoCoHkuzFdBCartYo76rmBW25sNGWZyvnTsGJ9sf77TwRWewZVJTtebNkuO078gEktpFOd41kcWNii9kjmYdIp4tESI8YIjaWRkK/BF4CHZneV/nPgnDl39DKUYXX2/bCwrv2f/3UEMyDNrNxHJ8x8VqVvVRPLev2idY9A7DBGWjJ28jmO8pPlNmsIZ8/DB/zkUL81VV9mMZ+uVa5UdnraLHWYxlouCKJevja9rS6j+tADwZ3AZPRduTPbeA4DwjbTXqzP1+YwhHip3cPynvEKV7HPPpNhmPgNf0JsI9LYWQUUNDc6TcYp4retGc5eYszsYnKpnJkWmNdB8K8RhMgcIq77OS6JuDylspLliM8OcKKfHoNb+qMW5fV55wuWQlLMS3lV+BOZ5M8gUUiq17PPYOXHZCdNBABM7JriGsysdKVPaUtbS02a18+sQTUIk7IwmUYNP/tSEc4FPHfwitjru1KrxEIKSvyPzELshLSgy1rzC7+3Z3aUmWRhO1YormkRvUqrllUOi/FriePrvk7wIX5rA/gLphOPq7iXDXcIV3kz+kWaE89j+TisjTZ4XLCpx1T/WAYOm4oKSQAmikGzGW0aCuo56CGRwQFsCTPqAjEYpeW1rus0X8uOn3tcI6B62DDttWTcURK2X3+kvrSgR4dmXhBjLPwC23IMdUo0fLX8tguvBXsc3heH7F5RDgIaRVzHUufIG/adKYzTn4UcifhRSQQdVQ4PW6yfw5duBblmuHH23/aXW8htPtW/OnUIczqbg+IlAJNsjkk7A1JGJZLJAm6IUG33grbrjR5Ed9uHlLhgcrwqc8vbKc1TwV3DK/jd08gsI9zPjzChHTgyYP9m8Qwtowpn1WhE0JRuO8DSOpvAo9W/OKbDd0A4qGjePRQImqY4zAqBdV/lolhlEqXcwGTEzXCtdfQYwTl8t6guNLN7W4vNWhzwXR5XGCcAS2cf2wBOxgJ305DwJcs6ngRlzaLEsYZOI9oWrCGTZ9x28b8a8xB7omWfHrPU9k9VpsXA2qSjvTRv2h5gzh/w67EhyWeB9ecdmvy/1ejDdx54uevE9Rb5/brrOUfWy/+V7fFavIDhMTJJAmAFF1CKb5Mx0bjEZ/EhkEiZEBAL+hJOtObs3atsSs7byDarAgSqexmKsySu+P/4BzpWcwQdLE5fn8g7pWJuTgEcCp/xNf4dsHFF5GyvlBRtwP64+LXrR5AztYV8LbeZ16aaBf1iMlcZeWNYBz+Rq/27pmrwJIrCLbstrOssYi/bge6sSV3aGI3rUMu4Nk9Cpqzh+Fqtp+YC6kVz7H+AzH4fVe6vZJDZbae8Firybd3S8L8PXvuWfGNa7gE4f0pDV+9qhJepz0riJOxbpubrlvoXbBqB+q39a/+mzAYpbqONKum3UhgLtNDTl8XGZnhnwSiqDKvNvQYnfjzzk6aM9aCkXoxm/pZhQFVJDk8Hfxe62dxSQRsI+B2LWl2/K0eqP/j+YB/JGA8i3m5cjmXJlbsiHI+fxP52jb6CApJemhRqo7AAOMkpIVx+eA1R0OfEag32aQnceOsNAWfowbimEgawmlIDoq6GU2BaitK8+Pzu7FEFa5o/TQQlCSM+dJIYO0cekcaB55revRn+vphpbZfCK5Mbw0gAgyPDkxl6sBYrOd6izObsDk0pIQJFyPFUlgdJp0Ykm57N4ANlRFMoy3riggo81s5mbfb1OfDVBDrM8bHmCC8dIiDuzgNJmIO7bSovgsQT+pvug2gvziaV3/lmmkWIsEjGtfXLEkVNZGraPVSzTqMkin+KS/huHKfh7weCOosO/vrPip45EfcCd8F4PfN69jd0Ia6nn5czFky05gXzZs8XHrWYZJl6a2m7sLYPjPr1WxVtEkyOrqH6hqWHcGZOYOV1mvic/08MFSYwyKj+iubv2GhJI0lV2hpQMYoeOmqPAGlu+Gf8ms5HQjW9ug6XfhlV4aNb18H9dwHi2rKyg+JQ94/xggIcUS7A+T+4k3Vx6E8oY3LeiOcpjzWQ4Mlte1+T9+MrwqtiSbzCR4+0Nf0398qxkLytuaMmoreGO793pOlYp8+4cZPQQWayniFoCi6zbRWnG7zRX1nqXuThCLrAcKJ38LqEqR6+FxMRiRA/zHWRH6CGhicqulPp8Qx//WpUZ+4XTMo2JXv0RiB+9i7311o+s83Zrok/6iGQDhZWjOkB9prmj3NZyoNMC6EXFCbPMrfuIHpN7OD+iBkOUeUoa+TdHUuZJO/XR3zsjR3nrjSz/Fy/l/N603iwSj8dDl5YDJDWaOSECGEOFToxrDSdbkpjrRMDms+TVfzvo2bsz+aBTdxne9o76RlzzmW2fbPaacrMiiMzGNIbHm+4eNDeSe6j5KyWvpdAWTn1/pPwxZf7kTxpQJG83GS7WxDwmEdjM+i7ARwdcWPPoHmFKKabNJgtfM2nm1V/Klb1d9xjq7VDvk5kiPC9jp7qfDK733wKerZuEANdVIms5BCoZFH/J5B2n4ywUOIvo5DsItJI6ESzMk7rI1/Qxg93qdft6G7VrytraC+ltBgzUNCn9sswQGC5c4S2uSJr1KuWOThppH5FkjX4QxsWLMoblPENBUOF6zz5hCBOWI1F5/rBUVlGZDIQgzs07fu2Bthd//K4e1avEItTcjEfpJytPqF9+0EwCHvIb7oOuA0V1b7FsQwSIdmxTisqRdDXuXNq7Qb2ZRdboLXs2JgZqesMlyxySKGR8FvHUE8NsOJBMT5uv54EMYKkXkkV2QJGY0rmREKSrQiP0On80HE+tjXl5nvRQY5iPAbQmGfTy+eiDQyQ4Vw8ntxj+iNpcKcVU2DuFF31lyDarNeXPZrEt/oByb92fdq52yB8PnhiQe1ohr9lottTHnPmMJEm6IgbI3yK5obPocCtl2mXb2yAeiivMV//AaGXDM+xOo0mMIj/Krfcghqo3XVfdOU61cJQw3BX3RXH46Tb8UUX7IH/TRK1qT4bcrcVDSAd3UDn3d22afSrD7DMTX+SupuYUADciQ/9X3N+MkGm6IiddwZfx4Q0oFyD8OdyI4K0sdkaYC4lgaEYiUy5Ocbdoawx6wM9usZYCmV2c61PhiYjoDu9105jKOJ4upcdtsjCo5njUw8HZL49oXomGMKYoXOVkmpksX79XU8aHttSeFBvG9pegtRTYdfYvks9c6+TsO/vo4Wm1BBjS0F3Nay5tP6L5bsifDoRtLeAePw6ld6f2zZF31MyCcuoAXIr3639IZ9c+1a4EejHu7C80BraPd/ev28kUnz5sPZV6XLRiJQ1qmyhFAWrJlzlp+63KxfGkbdDSvJVAmHoc4m/LlIfZg+rYvPLJsTFMAg6OoeUoRQ8o27UTnnE3TvJK9iYWFkdz9psi+WZQAGuJn1Y2Du8erfprxMJ4T0PAIjzL6U47BfioJKKgvBzgSg0tKYiFKPgetCjtCspf3+BExVLSohFHQd1RkmC08AeBciTN9OUheTtNAqRo/trLpL17HjSjcYy/gALHLZiiE4xBXDCSqHlghmkrCMart8FpR8tsIthlFnzEUpcH7gfFFg6Y8zcgVskMtdaqNjLMaKG1ThSjI4QA8WUXTnZBCYX2w9TNc9yAQuWQHaexPvwR6nHJbdokXObds7g4BKlPQJsFotLG5rEPlcib1GdfaSjf7JQ+W5y1VM1O36AM+JJu2fonybIPAlbSdLJkqgSKmWiDGdkgYDKGAOjCo0oAZBIeF9bQBcpr5+nB33+MCrPjjfqNw4flqLYl6q548G94chjP3teS9My879YJHjCkhvOs0N1MfZECkZlDTQcxFhHC5CVrRzKU6fzuEr49+IyY1WTrJfSpw2w+M0e5Sm176jMaUExl6Li21sM0197pTbq7D5g2jvaKUnowFVS7TV6/S41bT5KRc+g6A5Q4Tbt4Vz5oHQkojyYAAg1dqKz0S0ZgQzot+rKU9GJSe+npbEAe9ogm+10BKmwwwHibXsHyAzRM0WksX3LglZWm0xcAAJ5ih2iU1IAPGSTug2lZuHr8DyspPd01bkuWli/giWGQiU4t9VdQWspQm6H7VS5RvVqXmCK9nTgt/T7hIgB+Lyo8szyCe+M8VsY3dxnhknI9H9vNgtD6popUHgjHYXmrZj0pzoCNY1xwLtzcpJluJmbzZ07dUZsMzEs42rRStbqc9meNB9/ck//Pk34vL0sk6htlPec65g5JOBwhc4bfwSZxPPIk5fkyH1orTVQe7LP9jEM3YOSFWQtaal+hAycmmBA3bc0EiRTwFTYP1p76alqj8zECLSZNVS8FN9v6ZxVqum0PK4BfJCM9bxx3ZgYCfyF61T8DWY97Kj80jDdDbjSrBQPDNFYLuZa9TugcnvEtt8fjqGdN2FIUDBVbUQhoTY63snWnSCmsyo1I+Kl+WoVCiG2exVBWclqZ5R5FIzcTC5kyXCXfVdVp9x6iOTzMy+X8k0P3lUqE/AasgUvXjUzhXLxJz+W5ty/TIjzBDHlG+Iy0CQBl2YVWoXkTVhnCcRPOeMBLb0TQrjY9SIfggoRVSpllO81PisUmMdgeR72WglV+tUdaBJ8pCGkpwFfK2BA7MV183/w9d8avNuvx8AdBnuxD8XY4n3+PuTAQ/Wr7VTF13Na+onCUWMQbchvgpwbjNwCSRn1LFTWwoCSoxUK3+2JYCOl4VBzeqOnaA75x8819c0IayPJ9eIU+mEIKy3WklBHD3HLcOXNiKBwygpFHKpAlrFfpcQ4zo49KpnwMQa+usT7b/yK7Hwbzxc4fLjU0DZU5otQgZi23j8ChUXQIjirPFeNOT9GYRBNdui10+mEhzH9No5OQmzlnznYLyb8UFeJP04ybRx0p3C/mKhlH7pK7MKIECqBQV1gPV0CL7vYnXwDQYNfjfUGJBlcrz7GWB3hIYXfNPu6gvxWRru8wFsXiLPTCxq4h30OyYrCLY1qktY3CDBs2LNoqo19qw5+Ntlx2YeUbKeWEArbke9c0N5Y4yfFG9l6NgyX2O52p36Rq+fnnyubOUhPzXbvYeZK9ojJoOnhGDY9w9qmE9+G9LxvK9740Xb7jk9ymlLE/F7vdIFZzi3UEz25FVRFXapKw7LAz+rEFbcDeNwwvZISMmSwvgaNj464+IFNr5VA5BfIXcMLoH0jA/ABNGQqllfR2TROvVZ9o/whti0SWb6M/UMPjXhGfpQ73fmSmrkuBitLqx88IMPCi7p7gz2F1+7vKGWSy4Wm1mLE7QJqWK/yy/UT7t9/aZoGIHg7EjXC/P1NBiPfeN41o1maSmgvqmIl2bcx+M0lpPrjuNqayio7YsSPR+ygxb8CbWbHKmrVXAMyJ+gY12StwKmg7DURgE8nKX88u0SPA/xiMfNW4eHh7uFs0WDtLfZCs4m/KUMoBH4fsXbUNjD1lOn4CnsqLfFPwMrUcA4d+QmkPCu/eufv6HvKd9IKb21JViP4agmLtqdKtkxJpJDVsZn5hU4qLJtDkq9MjrVM7MWPmu3LYHyw8kliQRi9Tik/PDPp4XSV/VDx8ZqPzhm40OYNzJmFxH/pfII8WiWHaq+AiRA6JdJ5JLrOPqC8CZfPfNUcgnNfDU6TV67GC73somZ4QZgkLbBuE13+EiLrIpUtsW1Do9hpsRrzGECnM/ERiygK3ImjgE+/gqiZYXsXjlxpeYdGyP41S81oFHyIqqe3f+igRWhu/jlqqbQHtJ1hPDTlassvhvJsSmy5ANC7Bsj15GnSTOQt7Cyd7S2VkrOqpGyYSZF7R/bam8WgLmEq4zdgnuH4n80T9eaGwjDu7pk7JcnrdoMZKrW4cYmHEdf7TjxTcK/94hdfocMujaveEnLhA9HPT0563mt9y6SA+w0RFj+lyx7h20S63N1fOY8tVliJezwnNqPQJLmA4qgwkKXAUxYTCFB9Y5LvNPwGQYI6UO2r3i+4MHjqj5x9NeFV1foyQTea92boZ89H++mIy02OuwFJKAbHdj35oG/DqHPn4GHoKEaXfVmPOlmTw7SXWiVgSHiWWp/qo4Nd9kjnxFPTuEQxAIKw2UjESpnAwqyNs+ZikyZyA//rU9MhE5dxh947+zpLSvv4NuCzTMnFFOgCXFdm8ef2LhkwbTua0b04RLGWBhiQNXSJIPSGVSbeK+cqfxftf0LfOUx8FJDJ4HPOB4A/YavhU/zIyFAkxL+QNTEpuxS5HrFTL4scslkwZwJuqQGY4hGXn6nhcJC/cA15l+QmX+pWBxY3s2H44WADGz9q6x/EwNlcuIR5XVtmmBNEroR3DOQW6CkJjp2ru2HNPwhxax42mIsfLwmdEHlAgmY2pEKZCCfnrv14pPjdEK6ZNOS8g4ag2gmWYaWlN44CGsGBFixjOvPxfYZqe0="/>
  <p:tag name="MEKKOXMLTAGS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z2dD7pS103gZfJ6l4USC3jqtWOPR/ue0umjYEY9KlLthURXCUyUuZbmGDPUXB2idlVQc+R1c0j6vNnMaKvr/AnBHPFsgePkL0/XTpsFrxRwwYvjcyvyChgSTkA0WrA8dwG0GmwlBBpsIJyB1sZP9d7xAp2ey1gpzW0jRb65HVkmH31wU0CUfz6Wsa3d1WVhhm8nLUzZd35IJort9u7v0aOS6xXWeGseyTUT93qRMlwCGAgJ0MTKWrvhdCAhS33lj/WBjpWoOveYj3wIs0uqpiLwu66QD/FKmmF3KnLAGEUHPCFZNIeZG+VemSHwWaq3ngADKCST4iC1+L7zxKxU0QXupoYlGQMVLrkA0coQiBp3sryfjB4xIDS2DRILd1kpkjsVNFuRVbdhAHwXGp8Qafrljq0Grc6HsYuUiIt+fplXh71Hvi+BqSLbprXcNxTlyQ9eRRWt68aoRlXhxWn42eyiKwofBq6WQZCqgM5/Zs/zJwbIEzSFWMUPXaSofxvNQEXkUmvDKJkgLEhjogswmMbt/Be8qUTWuaGvq/mF/8jfOPqdHN5ZXGwzUQFGThxprqme8lnc5vFaAcF+zU5pIPr+6TRexJHtM9G/BWNZHXE5EPGmZR7jqYuYEw97fMyNx+F1bdvnYO+FjCa3fUJRERkLo0mvjhBoskCCsEWPPn3wT1g9fEc+OycFV6acPIZ1Ij1NhXEI8xIVwbYECPatI2PXPOTxjpdy5osvcebSXRyIneXkYyi5pSwwo2730YOtJrBqmwb2ynQVa0NZx8J42lTdhSsLvxoWWwYEFtPGQJeC/ASsvsnDde/U2EBaviQLy4eG7n79YCLMACnYAVHPjBgVcvRhKwuU825OQM9PoUUjjBK3/jlLPSxnbM2BR7nXQDLPG5lGlMbhZVSPlSTeXwRwtvkQwlfB51hiNX6r9uGza1CrkP0xhrQOY90Pqj5x03BQQRWJXCw6n7gLwmZ+zcutw+qG+hiIjdgKtp0VPOO1FQc5gVi6K4gMQUlJjyQxwxhiC634O5deuufzIvwwHhGBrSS1QHLE78bm3suWo2y6i7lHL/3IbP2NpzhaceqOlSyxr2+kTyQT0llVh9CvFzQUqQkwB6UV+MvmUyv2ThfRLrPNx21xnGRn+tUipHdzkmm9vx+ENlxxhVAzRhaMTjXkDtIz7RD1YrxA183zkqLSyvBOZDH9h0JrhL89HjNhJ1l6fCxHlPJ9d1b5D4OYATQ+DMtifgy64sIhIFdi8EbaeLjnwVmqL/O2LBRJR4CjMId9TNfOvJbR+DteiYLwyUlerUXysazV7dlVpp/hRkOmEI9c32f7xlkQAxGFYmzY3MYCHQgd31I267ZJcE+PRXO4DUKMAfyki36j1e9hDQKuGo55OMEGv51KxBuFYHvc2paloo4WcafjbJx1ICItSayStnDPSi/0X+fQQvXG6OC8q+Td8S6YI4ZC7aDVRM1k+3dN/yIpAr9tponKkPbJFSlZWINrq+phvFLndGFMbC2Q1jPrmDuzkLWGpwOZ6fV+W5MnKrzl4DHiteNlfSxFCHsFzNmZlaVmZgTZIfZHiAj6nqYeYMr9stxzaB8Z070xLtclpBlfHTkqUzAA+M8JWRaxjGRSnmoESKgCjnriZnz3Qgh+UBOlLowt+IQZ48f1BwWdlhWpw7c5F1MDcN/rI4NQkAqUqJrL6GD7tx6vy+0mMPwog3qHUDFQOB2hWiIW4yfgTsztwkC2w/z8VGlnVzYqnhnUzk2nTj8gnaRIiznC9def1o4UeQuY3Y+eoKkwXD7P6rBLw2/GC01DGk2sk2qKYDAA9U/MdB976uqd4X+ov2wfhq1NR2lDeBeNxRRRAmu0LUclTkv7afJGAe2Kqkw24mbgQlxEHuZEdfAYgiBbbAqYdWVFTBm8Ekawh1mnaEK/Of0ApYzQiYwiFqWfs37Hilk4JgnpfUE7RnOkLOqGerSAKmkQbsneGX7NSRn7pvoqcLGPv3J7UrRKeFDx9nP5rsw60BgWcLof4R8+LLWI4k/A9DP9VchiWmGCbHyOdSgKv+XqU4tNflCD2PNLBdHHmZOEPGT4xpfpj0EmB8yJQj0bRw5UIEvhMZpQZpHzjzphQs+SoHfD/MqJUIVLMv8CFAdyV2SqyYNs/PEoc0IFij8MvfOlo9fdnPRL9Z1QCweTfPyJ3gEp3FzhWSQqs0K2Jtazys7vC9WjS/jES4f14W9vPZl/93gFBkqB3vxOdgvEYhpCQxURXLQ9qspknIomEKpagzah1GBGG+lZrnxc7rsEtgvpXHQjt9EAwW0+WXKdbL9zTDkiQ/IFWBstBWwroCqpFaa7qRpHfJnzg/OhhKR3/aGrekpBofdLqcd1aHT9eYwiAM/j1zOz5iniXJ+h7BlhYm9X85f7SoTAvoR4xXRdL/7Z8tXYPtjnr2n1m6IM2o7/EypP1UKfEYJWo7uUSOwNglmfYRkH0QsqfpcWcFwSrkHXIBTHqGFP1nqNp04mk33gt28CBJAQ/7o4QrMKrNqOS1E5i1zp14pUr7lNP7NbHiI45dZV02tub2wEQcyQn0dZSRrzCddAPJxdA3POzSCN2+gb5VbNW35r4w10fH3GxF8jJ82em7xlXeA46q4TPacOe4TwZUKGL7UCOuDbLT+tzEOKw2CihQS2PX7NxFOk+LQfv/e4CjP9ZG4qwfTKEbOmAhhxV8MITreUVmT1PIK0d4c3qFs+ViJ38MWNfqirP89OJYloZGutQv31/j9P+Fi5XPwoCd9V1kWB1af6MX1BwtaJVyQaYZu+iikvAgEzGTWTzyaVg0cGhGkRYPtRNr+qCKX530BDW3/lfiTagaSaEzvZF4rg2OYrFv9kvJI6xUZZ0mtqYfKLuSPZN4Ro5LQveEGQwl5QUl5Srs+42MzHcYZY1DC8EXtmSjOAQnuGwvIpJDX3WbDSjnw+EptwNmVoe5TzcWjoh0ndzAMkZzZSIhJK7uvm0hgLKLIkI/DYwYW1wnCx/pR2ZF6Zjd5/S60sWS32EC/euwRrrQFvwRzpDF2XMWbTLn83rjLT0aWu09A+1ZrVmeTf/QoctnBe/otxLIa8EHhtZtyZoBz1HKqN4QAFcyFBeFoOgLsvh6DrtksLhnd9YeoFoCW7KUaHeVhPy4NeySd8D+TPlZyZtnoDKUUWem2OEI3P2ITsWz8zLnb5eOwUYJb/04jngSasDFLlONbDPy1joTV7yBNICoESgQjiMqkaaE7VqKEGV0TyaFEAqiqPz6wEQhJAIriHJPcB8WgrUVIyytP1DAA9b5GVwg+WE67HKVJGaZ+nZZCXJGDBq5YGaRhmAayQlVFRa09zB8BWTA+ccMq5YCaJakFxkHVZU6rmhrzP+vcwQRfIW298DGOagtHKt/+c3joYO4hP3TSP9dw3ydH5K0dx7GaEOlhpDjcEwrHrxTcbOH9TLVrGBl/3wExJEe+Qdozjln/vxKvZ0u8rjK89s61tjIN1QClFSqc+Sglt6lolOdeqhQnYeJZb95nT0gg9OhstbLbzGjJH7DOIiNP8n1PBRGbaCT+G3wS9x2isxnC7nAAIs/adZAWX9W8ymkRA4T3S/+K8/ByUCJrsu/Jg+BUW2Ptm+UP3tvGbAr81A8w8ZG5yaKZ4VKEsIhtE3J/2gA+4dZcv/cz+xBym4kqooX03BI8Im/C8l9ckYlnr9hJ1MWoR3nHT4pxMiAIkJkk3lLTv0A9BWQYTGdHHeL/aslXkvB+wKlZkAm8MrQ0XcJBQKnRuv8NRPng5lg1D3xfWF/guajthO63An2ES4jRxMUo6g7IDlsRG3K0j1VYSCKVXljG/L2AVILOMbkuVFnocJh4eQyDgKV/ZLNL21TRaKiBJiqM6B9EAf/vedB8Y/DS2GeiJ88rifQJjImEp79DiW7c8LUpXwOs+n/AwbjEmCBC2CqcbtEbpGUcTfgW+SKFM9eBj8Xl9QoQXd59Y8H2WlqAZy/zpYxzyptRDXZJhVj7yEVMv2y9kGC8nu6Js2cVjK/QUWiJTYo7BPjmLMdP/9szvUPGXRT8bbCOMNihqe9ugp/8vd9KznNn1zTZc1wlabEGSmPMLFSj4RQ8Hh1BNInPcNypBQrBxr4dgiqt6aPUD8OgPqbN5qZuiNDlhn0BGfMSlt1CBvTjhgEVqdANzdCQ6Ks1kVsCxypeV4GSz2/dqJbj7nWYmOSiH+x690GJnY+QbFpy88ilnoFPNAIBc/5jkxsGQkR7J+F4pBUT7RrLZH8VZpQhbnLu2Y6iIz9+mFrWnTp2eKYqO3+XOghGmuQVjPIv8Tk/N44jXugExioNhBF4GjNCYYqo9ViSFIhAq/fx85YKvJuZyfUDIWBH+P/MTerT2dYTbhmOeKTk56CqHgRYhW4oD7T0GfNtlp4RLnOKCO4Yq4iaDcrFssSSfCmXSbAkVxqWwHR/6/i3XZXhsxUS/8owu3cNclR6RH3bn8ZeGLV+nqnrKfdncnNGBd3rVSWx7f9YvGnx+0pP93HxwBUd33IJ0AvtZHHiv8hJnbFb01LLx036PREi3mRGHImvKw3xGDS08sO/nG+JjzgkwTXZHzP4mriH4/IY1PXfFgxaPrF7LFmRCWCq7Q1fM467/yU1hO73SobVrNxfpwAXoDQWer60MYCMKRpHyqwek98eOaPBRVO3qjgyH41FGxgRUe2aBSIq4yUX2vG3zCh0iyhT31tw4mCUdFHv7kek0JoQsD52LEUEMGdk7qzQiL2VeWlkc+YuTvoI7m3+76I8l4akYNlKlSLAhKwgXGPXyqHJzgrON2PpKO97ypJETIR15fQZ05IgXLTI+6rWu6KtS8Zl/5DP1F1WHipQ9NDTJAzP5vWrKuLG3V5F7s2Mb64yfS+kXz9RSUKoJ/o27UCpSmE1r+Yx/Orm6hAiWSqRQmbyQ/MBH55GOxQM4Ue54Zn604rwyMloGfX9X7lQrBYjU02T0k8Kq4z5/Z1Ipqsu7R/8wAvcq6aLBP836z6Y5d0+9fuvXng8qc8ZUbk2F4ctIrJjSkROhf2m4Z5H2TOi8L/4r58+eCS9/iDCgcwLt2fZD6HOAmGYqjvtrEXhKKcv/TdjXKn+A1oE+R0tDyC5LN2HVkeQX4o9g1VgNy2bPo5RwcHe7Z2IwhxPY3e0ppKCjkhZITBLg4ShEvT0sAIGA9ejm6G24MZstCd9FsmaSXriVHlSL299FMc0FyP00QwP9uk+uP29YJzG6DRPll9kEfV2pGToaytgb1yWqicWPm+TH17w6XCaRuNwHkRnym5pTPxk8Q0+lH0QbJ2EbF1KsZ1eu94t086z3Ish3HiOi9e1plEdhDLrt7NtF7wjxbZinD8StIaUJXKDBzTytXlyu4IDOXtzDO5rimIhHzuO6fHeKW8A8fNI7QfEWBbTKv5TLLA5dII4Oq40O+sxh6+7/QazOLtH1DCnzStOMxeZV3jYdMGHDs1pRJ4RPgnbcaiJxUFi53oVZlWcrIMuDYSWbdbH6egqmaEZ4lrr/zm+CkVI4aiADfEAqrcax1riHa2QR45VA2PfQdVYG0uoiZDUPAYk+27XlBdxxxFchnUG1gkAe4u8fLW5+ceDTsTmobt6yimc5PzJMzrhIaDHgsgx/LHydjKCiseygcq9VhCyd31GXxdA6KRBBfW1LxOeQYsPfHjhlEWosivLcC+1LJmi0MEyJG+3O5ke+MFhpuddSh+12VzeJc1xs9Z4hiXJHyYdrt23a5EpRjB+/SMuVeXHJ1YfWQ9SuoyGhPFW40bOpHAs+G6SPcnOCUEkLU3AOip4j5G4Hbb22By5NkKMqxcGi9wYFUYDu/MJ3iQqGGswxDVHfxLT9K+kn8m0AdtW3ddvBVcXUc8GZg94zvmBBBq+zXKEKGghk8lizXMIDz3E+wLFpWFgo+9cgW2S5g331Q3PPeu6ZiF03cIKcKkxOzHyv4xKczM4jp0Fq/JYV7amLm2aYU8BpW9MFnnUhucoGYX9HxEcrqp7tXitnvYo/+r2St3SDu54mlrcN9M0y6Ddqn/7d6EhAakr1zLYQjbQKa3w333rk4kRERHVc4h8MBlFq9MjPCo/jDl6lmtkoIEmIZ6Cd0wNKqUJVbVMZWMXK5t30P1NZwV3TsOlHQ38+aafNHMEZ8AJcmWRs71BgJn0xHTuRrrYgFGLzUtJ5RI26g3wnMCCNbDuMcn9qGv47w8/n6/YLCj/4KUGtBNi4sb2U7CIGKglLS9r4IfvT4fdChkZSae+9owEMAYHGqX17sHBBKAidLD3jgfHmoAUafAeaCwVQlD89gt9LCa2Bqz1QIhjfbzLF198PrzSVneBF8hIOTrNgIgESgF3ixnsp9w/IOVsgUzb3TgXjgbejLNGyTnhebTk9RAbVzyW8qx6rX/kJUibouioJOM8X1IKBmDdFDFGFbiHUaf/9dV5yH4onFQ9UBsccU6CE9FXxRBvo8E1p61frgnE2gnCFPtMzEV3jjuxYCLZgBF4a9eq6/mYwYyhh0ieD4Kw7jEURHYTLWb51kO/VfP5lc49DL1Z7ol01WnnVy84Z1xBNo0Talzr1HNyxxWEaVuj/fM9vboQCkLff9e1RmDQIyP2Kp5XCOY8O7ZqSHWtdcN8+12lwuKYDUfDlavXsWQ5Ymz0suPgbdSh/Olq9WSog/sc62T/9vehJJxxYjWpDKri5kP1z23Luq/GpTOw3WyaL98krJE277owXG9R6oS7HYwjSBmfgLT8dLFdHj708/VHObAi89uMCA5EPCW5vRSaiXsVuF5fxzIpxwW64EdwFtcq3dwxPmZvsmAaEj4Dbns9tLbyEU4xHiode7x73POqVeDmE6zAJjA6tSIKkJp0KpYGaiiQ2k54zsvJRJxUHe2pfkiXKrKOAvbY5BPipOjFBP0qtsMvyC1TBea/ucOeJ3J4p5wefYdRt3saFBYUa+prn4AUA34B3jmPxklUmykZGkkkrTHmk9Bsv6IjdF09lMBF5XjnMRNO8PpPxgBidcT0mRxDnqRnIjIRkZLh+1lS3v4wJioK2bmKH4+RSGjR0v2yAN1grxTnqoke8QeqhjsNqHZ4OriLtE6QgfFnge7fnUvrk81MJIeHM3mFqRMDP/bN3/u9370G2VLFJnRUDrFBwuMt477hHO1OM42V/YfPSpnSwX/OSnwJZqiTvMhQaoyNjn6LLvnf6QZa65wEhrrEx9mfMqq5hgFQrhk1jt0AWetXeqRyLleAszwFyjjJxLiThecmN/ivSk1StycrkDAnWazxUqUmrQT33Dpnnlf2d8UCChis/Ve7oWsKhX5FqA2PHuQ5Nak1tHSng2KKxWO+kklB/Bf/WoR1Fkpg7WriNLti3cjsXPPSRMVxls5dFVORTKloFRbez55nmZNSJq3aDDK8cE4dVGv/ycRteoMinPpsXlRHo2QBwNIg+gsTg7aEcPW2Ujztbn+yspqVCBlq5ELUGk4da2smwdT48ADB8o26FctvsKAF9hphBbYaZYLpHZBIekxmP/N+oLIM7mJP5gJncqIE7C8OiNWFYsEwSjp4O9PBYQdPz00akNyqDhqJCfbhKs6REIbKxLOtv5XPCk0ekjX1e01Nfy7/qCdFjGv3QzZcG3t9DzmNDfl3pxYqz2vdjfrpvAHukKLbKLj24gLpQFVBJr0/8acFsSmoRYWeYbNARv/89EekIV04oRTPw7iCDUdL0QgBB2yitODToU6vIAw8u0WoN33RtzV2D5G/T9Nvy3uc8Lgw4yYatp5M0RTkOUdf/fQWikJc2lDO/DAo62EOvhf4UIEKxi4mrTM77b/UF906rgvbN7CX0i6e1TFcuI2rwlcwjEl8kfQaZh4hHPu/ko9K26Pp5QYhGOHOI97WukyVES5boAOgbGMcDPxJYPxe8m6QhngOh5g3jM/ZXgOHjtb1WRWCn85gjeK2BwjFoGoShOvYa3aGJ7pt7bMIn34uatCeo674PbmFwpA572JrxzPEz8V4I6HucsggAjp0U2Rnv0ybDYeX9W8MqrYV6YvlwGQeM13gaS16i122HY87+ElT/aF8iS5j5HF9zbqkcyjHxQOWlp+zGcw5GWSE2IjmUYt0wq7KhUOQlWJ7BdESnxQ8QRoVEnzbv2nJV8DvIJQqaqh1F/6bCS+hKsK0VoDCr4njvpRXmFWh62OqeVIwdz65RV610VHC7VN53s0MFa6kXf2yOU82RE1Gfu/vPKatRRCaZilHrLbgIJIQsgGIBjdXSj68mtiEtvvZMtgTeUiK4JO5zapvnEU3kRRfimdeAEZg7A8bM5fwhCDtefIfuAKNGLwBHiX0dd5QiK9SMcSR1Qw/ye2k+xe+1HUiYePJus4Nw023miZazAcg6yvf+hoKeDta3LVYO6fyx1cG9jmesDO6WDxRXvetoXY7wY5tSo1+rcL9mEVq1Ei5+bqYm7me4/7GNgqRX/pRqvNOkIEwby1pxWJ77cESR5Q6n5KotvXm2216JZdm2IQPddusVxiYlcRGGfhrkhc8cet6cmizf7yo8Qr58W7oF2ZlE+SJQ5LplSMERuTmoANu0unP//eoZYmVpSW3NHQGq2ALrcRK0hOJT6rbXypeuFoy63qopMPCWQUU0VECfjTXHvAZFnCYgEegx249JU9I4NTviqIRMzywQBVlqVv2MAa8/UDcec/IUM+jXhEJBhAU1uaKtZCfArguer8z3rxQ1hzYraW+/v2jVZPGzurgO0FGPswqkxyqvH+wXwlXODFfQZBcD/9nXlKigytz4xEZHWnsNJuQ1ULgQLq3wFC0uNG1QN1B03oTKjM57ralmfKZENEZp+SyDRPnqM325Wjx6V2mQnrJHBQfbcj/aKXtWQL8qXxdOXNcM9zNNm+QrOvemzOmHY9epLVsdxpOnTo2/kNLlf+lPbKtvmFweUp5RPqEVUDoFrGohiS+1XX/lZ5UuwmA0xKv5eMKbh2yhNVJKhZoOkqMZAoF/UDdkxCTv9/FGDJI2Zxl1zmuzTuUdG4OmwCUBPNVKd/noQahPo8ebXkSR4FSsJzJWeq50SaK8TOattjH7HgBOQdQNQX3kXjbKqR/cKWnkuRspIMFWoZbJUIgu8aVfHGDpnHEKZ7t3rjHv8OVpnlKkKs478ns1WFQlxZkAi97pJK0mLpRES8htNxZ8vN3cOJ1I9+U8qc/0lq49t+VEqNT5vKO7XZXbAm0c6ODTz5Xf7lZy0VSNVJf4WIQZ4DDwh0U9RmzQGV8eaiF6ooRyxBNpqysISO4N988wP1NIHtJyz4snbXkzZgflkXUfO+MtZUjrENiDzSkuB5ACvmv6CU3GaCSR+1LPnJ3IqdFOFSFDgtI7gWSWnStUctXwgoUnWnvurpVqYdlhhbL1NxhYGwBjS9D7Yt75zt20kBX3IICgKvl+xidOCeduBCDAAMvILxWEhTpg6J3LEtSlRRRjckHHyhR6M+RCQ28BA3HnCkhvfloSJ+KdS+rGKMCqyZ5rmgOAt/5aBMPd+J+GLNX5QBUVEYoBhPHEl5owt2QsIsCuq99ls/bjSLTEoWQpP3Z9iOlpVEwBXAsBANygaoFupTQMzxsGk+GbCQExqGxesZVW2lRlQoi45gn0CIea07ady/XpocgnSva84Dbe2BEurka6GXvA3ZrZRCpkPexUCUUMdYr9J7GbBk7ixQsCsqFBESNwdeKpD9qQvQs2WYIKraZIfRps4Lz6Z9knUt96iIPrYWzP4fk0idpDUwPPUnIqOF4FcKYwj1iUI4XJiq+3A0gNEn9jEu9G66w8QL+4U7VNjFa6Rh/JWnnUCQqsFTpU6Jer83WlUdPJiKq+Gt4rGvbw/yC0upU7W1bruPRL6shzLiZsPGDx8Q0PxsCOqigCVbhcE7An9YoNWdUGLhOuvXevNGl0CTLHKGsZDV9Cwg42rkQzguj0yHHovgNDKgq1na2WLiFDohBYjWjTPX7yZfxblFkhkDOTIT1bRvL922x6zJo4P/oMrQV2/mJzSU3B/tFiw/I1gzvBEqnHbDx/EVsJil4zZd2ky4jhxUT5OFzNtwuwOUGYV55VaO/BizSWymfGZgghLIXpd2I9gGD1B5P6pq0SlUGMx6m8ZDZ+5cAZL74CA2wKDbxwLke7T7VSs41AJ1xkN9Tp6vNO7HF4KlrTGxD/POjdr/VG+TlJcWX5KtLcX0DAnGOtyyGvI4xTNNVxHaPF+W0+WdOn+V/tLKTR/3evdnzjk5L0BrlasewJzUvnt0QdUB8AM497JndII/MchxvNYON0NDfVKBCtKzCfYGg4c9OdwqvxaD/hmmSowLSd3ruytI1vS9MRAoz/NtjdBk/ysNeFXNLXzGhGrk+Bb+pKiNSQTxNaWyw7ZvUkrg1q155fvb6SahTL3GvQqkHTLYMapd3trpEaMCpmQ2bGC1hY3GdAYiUZpFqh/k5rXSMncDtdzvnTvxUSmFv7/n7+1mapPx5TWhdeKqYbDIXbPeudOIYX6X3+B560BsPTr/AoZVb4tZmi8IUU6hpYHf7y3OKt7/14VZZK/UguEpyBrzkYUUtP/3Ja6ibH4Wu5mUFOR9W2ZvOwVfqzgViGFYkdsQBABPvzFdTC55z528xdH2s04QlOjp35vMsQV7cWZ8xGv/V+2mrU63wJwnGtlI2ifbfu9TjYpIcEUVkO5og6f2R4rfOnbvc2G8xMDgL+D+5XSEvGt/tefWK97JkVtE3aGqmOPR54Hm4WCB3k1UP4zOqIJWHmSZP4bmV5oMdazl5fetUqnwsj81Qfv+b4B3PzQcCYtRs/Mft3JhOglCP3H3/D1sg1IuZbOc8NfJswR2lcxgHDf4isFFXZKQaXUfwv0QjFYbimMdXdimuf4dyE5W8OCnuKt0HsMTchtxgZ/1e7/AT/xw8O2RN3nLlkA35mBUjwaikRpnzbK0MSoIYx6XPWBv9feQRrvS6pHHLusAr16fGDjbsx5oAnCHhjBrnZymkNdpzUDQgnokVmYv8+1nQWiVvaj08ohmefhIjDmHHn+nZqY7sFMEAnB83H3tp4RHBfi7mymJnt79XcQ9I7ELmyiDmG9DhgRDRhwlszUebY/UoB8tVk+uc62S6R/g1D977iD5gkmLcabgRV8gK4ZGVMc2kgUFiCItVJ09MiSE0B8QfED+vNz/2ZF0hqUpNSkhVcbljs0RO2A44HZ/eSo69sTknKc3UXAnoNQ+q2s+tqRMWDhJz5JVSCYp3SAj4//jleggSQzfuPe44H1vbiwGBX1pKD42qzoBbLnVOzd0X2tK3t+DwQWQYXqIH5hHEOlyGoS6JyjMO0PfTbJJZYY9pTaZxr25IxAhBF/4S8t3mYS7v/wLtkoxEDsfJvB2mhUVaHqmdP/kuY1kt/yKO9xiGm8hBoHRovEcz32IaeRlun2hz4SHD+PSb2ktiVGug4H9TuW1Wj5R43Dnisj2mv5AXwYdE5yK/2/jTxRBn8KmsCltdjyChiF7EVYAg7RVFAerJJOa+RZ620weKCPES7MR+GQocK+kzTEnsjFqeN4OQ0kCBzSRtl1lDS9E4K6Ec1zOzRZeIdag8DUUfp5/n/j9hMf/ScBqtTMqdRjD55rLyaRuLjkQFD0HyGo6F+OZZic+jPfPfcElBM5npB9AM6EasJ2O1NvJunOWiqgw30BiKcEi9sfxJF6Nplpi56DxEk0PDNSkL/CDqxulexMS5cjGMhByfWFP6m0u+7oOV5YNPK6nUrI0H+Meni3asRQEkX98JG3yFGY4+sxxFC+Iz3kKOXlK1bK2iibfzqlDmZyX343tqx2u4jqbvJlNCrFThTHEdd3k1gkbcfRdo4qh2HGkXidf2/sN+yCKCqhgfHEll0qw36VOvMXRgxKaDxHuYCU3Vt/FvSmckhNZT2RCtQ+7MVQwO5M7vAJ75wPdAXtl2IPgtx8JPtXb+mC6SZF5Bd69c3V4dkzQ2FigGjxFMR719JBO3aReR8MD71R5vKT2W7MwjZ7IZhtERER235hfk9OAtuief1fXL4iaB7u6s9CCg7bazOldKCrlDLjPmqjKLFAPHy3+qEu4zmfhucOUUr60KQ51J4bbNSk7kjdybFiM21tdYXizj+XXbXFeotytuAkXMhbpHbupZgvsT6YcIjsgWuJrCwjKAND3L4UsezAbY7fX/uRU6FHDs3PgIgS9iQ6mQVV9Puf8cktAvwGlFpuz8t90Tqiy18j3W5h8adVzhL6E19affz4oGQmKz6V7Nt4JxmgTLAMEJwi2D72v5k3EpCRlvLeAlj2TSY08deukgXALmKYIOjek13Fr5/F4kwRItbPl154P15h67aFfp2HuptrxW2G/SF3ZXReEaF0ZMUh5/U2QR9eyEJNKLMfUCwYjeEAuZaCM55I4aVoSnaOsa0BtZySzupQs4ErlwPaXtxgik0zCCPyBaTq+0N09JWTKy8JU1cwfhAJEjIXze5YXC31GurFfoH+LXdzgpQKQG0Edf+RBPpHa/G6UcXVNUYDfGgD8eFejsO8XSPCFH9vFXxYfXd0GiFvQIUGtrPNUASdvWqzNG+mdsoH0UXkxl7ZoaylqlLuPH1972FxS/xVXOyI3YP03fxW+oRNoEuDs5oPgv28BUJMpjuQ8PCKNeTaKhCJSBccJ51s5CLAwgoSafQ3LJEssuC+0npMjbZkrbWbpwQKzz99DV8XYpnmlOaD02XaLcX8wYREo0fe8Dc9mRMyxWGWB4tgfa5peU8hQgzf6DA35wUrg91HTDWoZIQOz81oRvqhXhEvXjG+gp221a4FAHwmYrEvd5pWwJpEKsCPVMdqQCz2IMBVt+tLpnYU4jZFasmvNagGe2VkpBzp5ojKLZEvTT6MouIy4gf0vs0GI9MRd9JRq90Bk9NPPU2clWmfU9PvdjO9yh9r4h22MReioPfmPAKjecTd9NOZxoamQHvfTJM614stZaOIH1XOvLXQxwplciYDrd/ZbAO9Siiobo13bfPygw+QemRwJx/F25vEl2VMPM29rHY0hPhTn/qPzuSSJRuPYSoZRPsjRbuRGC+WPgTuugizVy+A3nerGsXnba51jpe4JHjj4U4h5Vgvvxmi94hPMurqKnbmQSisf9MLy0ksZnQt+Bd0pGukobSUot/B3iDwLk8Zn++GTkD4urTSIHp9FlgvYyUUIxgCYthkLld4bdIKMmg0jZ461ImTNAzpMhRWeuvUZC0Rvjpt9cirNXbe6tRY/18QCuLuInmHIwx47RPuXWz0A4/mm0uslDa3eoeBCZ+Mf4ZYJP6k7elTZU4cwnvS7wzhR4Hwrc3uaop+4KwvDRUXH0hy1F1gLbZEulNYNa/egbCyUdtrnWEVMXuzT1oqHqlm4yc8CWYGvylY7ZKCruGoI2YNih+ea8X6WYFnPwIAjuywn5mvQQybX+dhBYsK9eyx6nDEQyN3jTggsj68gs9DdfsC2hyPRHKAFjusWMPFfqclD91yeE0bR3huqjB+zZeX13PzT0vpV880EQWfC6sUNLTn8+0Pzic99mc/aCOafYRTY8pnt1xM3K8cpkghZBqfk5C+txU+jYgfn/lr4/gH4NsD+hfAKs0Z4qCcGLncMsj8VqlG3jYU+4cOYqphNXjrncNyiiG1QbK8biOGqMxnAPkw+0+d2l47aPLCGaShh04Mqib6dwl/wd+fgga3FuzUMUqeI1TzYATvrZ2upVFqIcC5x2yFyV9mNkrORP7dwSCW2z62qIWfczrcPVbX1Wv1TCIq9a7pbozwgb9JzLWpJ7T0uJXM2UUvzkaPFKIQyw7wg7Hwz6x0edfb7Npf2jLhxxRENXvNFi3BG1/Rw37SZMpLvmprox9Rtq55YUbDldmY924cN6Z98N8hmt2zb9vynr6w5YwU4bRXvUbX6/qFV/9jzvDRJobtTEtB3GmeQek3DTXccuthL5+c/mOXyHv6rcggtWEKY+SgQhh2yeFulPOdUOxXRIzdB96YhIyfWtZ3KrU0y2ClBdcLSrpRt5cne2SIv5qje9HRyves1MfuPIMNGq3FXPlOLgjC0LqyGYFrpS1pv/hJ46McEFhTYR5WuWDgpWBv0ac28rOCC26CE8CZkQEvAMAcQYdeM1MMvkKE5KDRkoUBImf6/LcsjJLwb1jxCiQR3IE0sWl/bMV6Xv7kN8xp3gAmd7GTdpWhtF5VT86vLlBGeGfm58nmKzFbwEQG0lXb1gSVBpOCzs0IJGjN5dodKT9kpQOOlLaX+g96kTqwXjx75F4QXvDy6xmeIxQjq7fapcANkYzcCOkjPpEUKnbsnilx/uJYhjHoNWmG2ejBGoTYDWfg1zTWjXKqcxFKhZlaiITtpCQ8lFn9rZ2rG10MbZEzoOw+COkHAaLYhsVtOCDmbjb03UY+kKIhaVxkiQYj88VVBoYSLFJnAdhtS47FIZyKA2Lx8PNwnOtkMOY7k6x4Dv8nLNfM3nyXmJPPpLFRK/FUAOIjsBeZut7ujHC8kh/UkABFjDm815ezjDYyOnVwZUy9D1nM3ebmVaY+0J6FFKFiGs7fngsZg+k6TKQwAUKuQIdVTEyzreou3HoMma+REqxe7i31pQ0hlX+80c4SkoYQnUrBaf5je3yu9fQERE+f32orW4JzqbZFXpEIHDHLlUhEJrXSHaC6N6D60Mp673tnTklZG3jPhrBn8i5lpg5Y9iqAP7sLI5F+2eyOYUX0xSPjOeo6rrAxPlvDthTJJia0DgjzeRgqrKUPp3LgZZ75a23gSuprxDx2WMljnxNBMYvcmt7t9Hz04La/rCDjiYvX/auhUWUKctNryVQg2PRPvwR8KnjTVGHy6Gb5YI7KcufHanOd4sZBPSAB/hTNDmAyTdfnPjc6gvAYHX7b6sJtS0TNfbNFt3HE6ADPX7EoHeaOa4QhfEF2Vpx7Ft6CbS1nfxlmFucylB8j7UlsZOvTqEZvBB9EX/qFi0P1qKxNG787cVsLYrC7Qij0QSRTtwh8AATRgFlVs2Vn3J13PXhNnz0BeyfzcsI3e3SLhoeMmZXdamPfvjICoO9M0FXZlDCsEqZiBhXRSh0SLWlinlm74HYbm5RQwLeFng+ZJeep6KtbkihrbiVYcR3g3EMijpYZFob37o3Ukt+STfn6DSi/noQnC2SDZG2nJzYPdy2T1Q0WVsfbap6AowHlK2bxDcGFNNHcgi7E3skTaUgLHUG1Hn85DSecv5mKRjsoJHDzsOx9BZn7nQSdI0XH+Ng5sVfQM/Mxq3XWtXBguGOt1TQeVA2RNwWY7kdi69qc6UhggKRs+REWm7g/DLTWikLDuR/pkVEb/wdM9xApNVbGn3Mb1VwgU0EEspcVdaBJnTa3QDeWYJvtBZqcyI6GQ9CdV5YjMu726+0zKayQuOqWsXDznC+RTrvEhgXY6i6wPs7fAsbXQp9XcYKbxXVT7BywV6WwRk+eMSgqaFW3xiUDvY4kcLVzsF4sf+UtxRR3wxy19jmGF0gn0j6/a6Ye7dTXF05uv3MwYeDbOB4ledF9i27IGHrNOuSa+IdEhf1bU+w7GRfJBoNyo3PLfyflMVNpR4bT5gEMq+RGd6tQrL01M1PyM8s40UyyB8MDBTTyo3dvHng16L+W1khvO3U0JIfkIeeXucTA0uap2co30pdJfO9Cao7t2QAOCxbZbUqARQwcoutJv0HPtDtECHOWEozVXpabFJU+x7dbgtvgUD4Yl9uI2Pvmn3R/IUVUqmRwkOIlV4CNeRL7ZMhL7j3JJXNaMNhoSk/N9hVqcz69nAqr35/9DhfkaRY8fpZhltiamUPi42Ad4qO+HQMTeBMHJiZcw5FTppqT/a5cuxRaEeqaPO+vyUGO6VkiFMYWiIkJBVMH/V+sS/o6aXPn2hvq5S6CqFI8dEwcSazREZDB4dNjZQp3BP8+scHLtnbtDh0KaL0MJK3/jbwu0yogJV62jab2CW9S0V5MS//XF4pvj70h2pNg54jb0T6/uJh8UtjmLIvG4oL4ab0HVZau8wO6j/96cJCQvagekzvfWP4NZr0XQKXC4dNFVdHNnKr74oHheyvIjply3T56RVxZbH1lzd0zW+0gnpdtcwLfb5jA24kV8SdTPCANVA/krqAU1w9pYEnPWW1ko4DQkIRsulIPy/5/WsFqPXRCY3dXbf1jDGV474qhBMQPC1PFxTjZ1LL0wovSO7O75mi6u3uxwSqWRMCFBWJpWXOlrlyh2y2x1pK8imThir0fw7HiYx9yobR8i9z0UgL/3k+K0/NZl8BVYnegEc8K1Gb2qjI3nzhpv8mw51v7ZDEN5SyRk6ow63KN9yOIiypg4J+/n9o/4AhJbVGTKpv5ksXMciFOHsWJ74KKC8nEUdL+LG2GteC8HSyaqHl663RehXkuocC1DEUpU+0k5g3RRmSVidWbr+m+sFKlLLwQgxqI9w+5nNBt+sw237fBUCNQxflfVTLCRyrJfbC2nJ6SnjHjwrDlCMP7vyQqbl+PGghjflnfLc2RbNy43eNshKEdUNB6j/Qy0b0beBLtKvKM4DbsiTDSgIlmeWjT6Vgu53FFHLKipH5ikIvC2b10bWy1clIu2s3tnIBrjIF+OipsJ7tldZkwBedU2Jgm5K0iHl1UldzGYEfg8MZkLNw6tXPaJE8mz4mjdVga3vFP42i0g3Zy1I/EPv7vvOKcxORCBa6yuaf4NZt+U0FbpAgxhU2nUSEb26lqqsEabapSOjct4Mck6sk4UJtvi1+jBU6khD+HCUsgXiEo5NMNS1rWlCil1aWw3TnqtDvViYuEjNEIG3tpneOErhNRySbRLX5jaSAu622Nf1XhL2/DHFV6FYQIxyVwTvfRZvCMsO1R9FsQSBHwqxTBe/I48lI04SXhuViqupplFgFn7ShZRWVuv33R+TIAmBA7s7azxZmSCjopaB4kuCyC9EOJIILDcaGJjI/9JSMAMjJbFkja1suIBCOCPHcql1OCTMUQSkYMhJfT0Dn/zdkV6XFgEUcSqZBCzutmFqDGGpGXxO1tERLeUaVsg0QpfjD1DPl5n+V7ntr9FkAXpZHKLHfx09yLtE++KMqhZhmiMkKUzYwVOq0lHvp+L3Q1LKAw5yIcWUe/8CHaMErU4UsGZMjd27E6LEceHfrlvXeiEGhqXchH/0rdxBIZQERf2ojeYhEOWWECcuIuRF7zLMZw9eUK0mNHwD/Tg6Ozx1fz1yU1Ha4fqWsYXkLOQ0zlJd9Uob2GFZvk1+ZCQY+QZjWcj0YpYomed5SC3vhnRuFh54HjADtOEFrapMPrMM6VWVFPC95CEWAFQ0SxE7hZw7GVOoIURl8Yfgju3onjPqsF58D4YE6+zbc4AwNa/fQ81akc43+n+3J9FyM1h1lG64o05IvpkJxMML4/EjdSpLrgq7/FLQBSxJFLAmqWqxP9glJi9W4jY09ldp2sMnKSg65vJIO+6E5zQbLXoHE/9lEuYyosthpsZyl0p1U+aVtzMbGK/pUGLCw3jF/lCxkEogzSo39D1gV9b9O5iJfkMkbjMD9M7pz0QlN5YthepQrHIQiaAqkc4z0X8Gg6d5KimTYlomgV1qQDKM3AmizXoZSoYsl//fim3noftrMqk5FDAckdckyXriPFk46HTvM+6eTAo42WzVJ6T9rTjZcBVOEsPYpoM+LUz96aAyq0al0watopxEQhM/M9/YN5xO/68j3IrHuvqO/Hn+aeRYNTKY62trnBPlC+3I4o44qUyU2kj5Pv4V/RdlWGfiRYPxNOct8qo5IdKladzwv5hacpiLx4pLCnsQZnuWzb/5MteAbhW3NZ5vcycU6tZQDLQdBN2bvjaXhqYNFzs6a+irQU8WLBR0zqkeftVlu3zk0rG7enSVf57VcZyAcjlVKGK6I+Y2Fui7wJ/42yrtm7zBt5L8UDbmtvUuY3Pl0TKoQsZFCmwUJWB2o4nUbPmU7+BTy6I45CkH9lUgiU0hlyYrNDwOqcATrQr3l8eQCxoRaWTlj+2iLRnTntQK9phxmJHekbqk3nSnYvwKSM0w+ntI2gDJnV7qFgSkrO9tMicnRazodmkE59GHEVmJryx+s1txdJo9ZD03Xi2xNUdk3/UBW0WPJWQJl4LP396d9sYCtt+46tm0al8FkreBsfii6+9x12LSPl15KHfUawehQwAFeRt7CBuJ/XcwvUIaKjAtD7grSJ4Z+6xrUrl2wBRSIqyjeDnNJTIFSXWKFkSzOmVQDZyUz5aB60nwpNUgnjsnHxIVa0crOqwRt30zyHCtzaPTfsyf5pPM1WT1Ma8ALhyjL7sx7o9Zz1QCdS/wraAUCEuVedlZ/hHP/g0GG4jPTBomgqTe0BFvl7vUcrtrlr4X1s4C5hqMahvIvK9D3I9lyA50vAA+ttD+6ivJeRt9bLHiH++saI0GE1yp71K073ecjrM44LnNWV4yLQpdJJFdzCeD6kjeE0B7lnkLmjocpIR7CCNCNawGdu9htdrZJpnZaaPBnwxGTwraTCk27hwFUFmrNLG3So6MYIDa5k7V1weiECKzWNlUf19WFogGHadkjO4fTHiV9M39wcGoLBoRzSoBoT2jGgD501fJNEtdKc0ilO3LFgfJ66OcIXG/CmOm3WFYy1Nh7EF2jgEbeK0wyBlL6UhXka4vYyRPwSXYJ/6tQnHuuA9kW8J0yKsvVp5ROZ5sFyDUesb+LY0bgkUs5uW0GxLVpv1TEb4Mnkfma9Tji7BGakHrMAldIXqB8g7UX5+fu5og04TTSIYKOSu1C5RMx6yqJ6fsRJYsXhvaBEO4z4Zm2SCLEOYg23Od+qMd18mmu1KXEzr6QU3I2+p+3TgGSs+SG1fTLnGANKT2fydVpmX8/7tnHGPGGJeHRX1Nm5vABIAXgkB9+vXxmCiDYNtCcqbSwBRh+PCnT5ayYY99BSBoCnqFGmz0xWBno+srpvJXB8w2lmawNvTvwbFbUwlUipDgEex9iVE+3m6tV6mywoUEtfxizG61OI+KMby7dcxRBfN7Q8VscaSU8o9Ra4r5TodeGdz2euacqGLIT0AcVesQqjYYT5h1VdZG7F50p3KykxlC0xeq4lev+M2VRgj3Qdyc144fnaYF/6uHWQ04fwHbed3B5dfpsF9vnAyVt6EULipfLv7AdXp+bLNEGmfPUg70j5GI9HNAEOumLfJ3RP/7m0PjO66rPWQCEgr+GwVGHYe4kQ/S3/YMVjdcJ1vbDMj35bwR3lXKhNZi4Ea3mEYlfvvRRfqVKYzkeqDDxEU7CYoBKwtpa/i3TK5OYJTLTFr3DSOyK/lU6PQDciSQ4hHjFO9GuUo1hIg8D4DMESdn95IY+1uO+J1MG6mvqHo2YzsOufZ+9ttFpkMKaoHqdGpbG3G/ZkDcon9uoSRYy5+WzhU6ipiX4IGzIspT8Hqy8XS8dqM/G19lAcbwwFA2gICm1vC5CO4PsU0c59dXjsyXFQTwmBEX6Cz0nS9OV8r6rqUTU9xlXuFQRgYqreH9EjTed+pqZVYT4yR1SKkNMdTkNYXFo65vSKQkClAPPYU/GRDOfvM22pkGOFyK8d+Ysjpwv4JQ5/5kTTZaGjZfAgTLDf7ytyUi+6j+Yux2z55uOrBjaiCia53TKOS+o5REkt4W9G0w4zrUQEqQlAQV/FJWgezl50Xq88lkO/OGUSznzJKkojItg/90SvTfTk0yhrS7dNXH42xz6J/vHNEXXwKek2IpIlpzipHsl4yEQ+Qnhx8iLL3vfCPYjvcRvxkFnvoIAJK30pV6lYIcJhtcJ+qGDclJSTJqFibrVIRRuOssTwi+1u/ikeGOP3ThKpaObm92Gqu+ZCKP+riYDOjaQ6hMiwDYh5deksZu4b9x6MCjLkCld+0xP057bPgKnN/QFV5Wy+b/1hNUWM4aJZ8uIjWo7GOsVN79p+ilZwEpSUz9Dw7SyDxQW67GDQsbk2TkBH3BvcnGexAEWBBtS+TnpXun0XfmYyQmp6ykskajaLC+gzdNWJUAYO4vbc33ECpUKI0zXJlCTvpJ2xe0M2MGcykJGqkbcKVGneopHapsc2lSTc61Bs/yW6b2zvOjn9li6mrVlCvqqUUxzNAypG64kptU32eR0Sccp3Mk8aVcL4wX8StMlPqusWts3EFXfC+L6I0N+vB9g+wMJ3NsGqitMtK1dBfz2ZhiiNr3u5RYSpVAhykp8yitlaUdkMt4EPtsaQVfyfIELMZVa6Yzj0P2tmg8EEu9wevMNZnaUXcEVW+yFh99U6Of81BOvAz9JTxZ7Rlu0zxX3abuNLzIhg5/6fyrTcY1uRysxOJS1mEpbg35bfkNaiR/uiXlfu8PRoA1+YK8CUa+EqOp4cuxtOKgXW6QNQwFy5DCPg5JukEFwFUrbtc/+eXkwazikXnH2vFGKXLp18/p2AbpezuxNgj/GqiUimbtOItyO/0ZpCQGKKHMhMa7GdZiNqyW7tMM9LJgRRohPsAOzRUR5g+Ct9x2aAWe7H/pHkzeBpsK71MUmlAlW9c7dZqwSkM0LfHezFJ4f5vuDgB6+S4MYs58caXcY5ouYYuv1voOYHrY9do4cAmY3mbpC1jvrjBV78GiCNFbW5xJ7d3VcSV/d0Q+oqO50mRzLgWFCcMxPzh2kq5jq7ShYj9o6HUkUnfiSDTL09XinloejzbfxggKzLSQodJB/Bg9851mZQ6uPWnHQFI5Nv0RQZN5f9WrXR0eM7Jp/9aiwnTh3glV8uQwBt+vkSK8tQKWPKY7jye3EOef25Po5SzQlRpuAZWRfg7qsQ7bKAjP1J6FUqLxtsui54Tbgao9DmPpjC4eS361jFuSv/JFFo1i/ZkiIWFdf7DKv4VySD+eskwk3l2F2Bk9mAQGpS8gCFIAyQmrE07nuI1fg8ZDSCD/GHFCT01CWHhuohLFT5O8F28+ShjbTGKpwiNED+qsrOWJTIrBY7ihUUX+5y3/hngqx6E4gnZuaO5TslcPqI5zoqccpW42dXn/NInm4SjHuSWVD4kMoFfkIai7QHE7zbyj3WZk/uFTkcBYZWScJ+oJJpLTxInyZ3a0YyFKZ+kHZTvSduSKdPjNbVMJu1chl0w8YuPOcFX8Yg8fxoZObObEEJ4dmQQELJMd+0oo/WLv+MEbIlggcYWAoWezb7S2/Ag9uWT8e0Kuw8pEqNjGjXZBQgFOikvBs2jrXO4d8nlfHHDbb/U6ljz3FhB5JrkuXrbeVImkw/YEezPseJo5WF4G/7R8SS9I1XbInZ8sUp0FXwxLkKH9OiMyPP1th4GPp8iempCvDsNkmMXps2j4RJKWrK467x/0kfv+9VbkTXx5zXONcVvdXz+OrtwgE+XmJpqDwaUgi4oZTWVfqrGf/rANL4FeI0rXiv2ke9Yizj4Iydp3LSm/m2i7rHb3oJ4ISrDJj4a3J/alDfUnkjVfic8Bj9atyh811eRvccA7SUd0fP7dxFN0gaPw58GAa4rtxuFE5xNtLn1yRrE+PT4ReohRNFDD/fpgna4Wngwf8//xIyrs10S4sL5qmCcDR0dswBJv4t+ez2YEZLh1cVj5rm01iCgp27FF9he9mjYY/x8/44OPvA2ba414lZH8DwoRXzIF+5wteDBubSJTH+rWJfHNKnPQP4nDwd23HTl8npM/g87rv4plXP/V09DurRfkqCpg8KQEABvxjNyMXAzPidD0JZ6ekIVNoDmWNO0/TDDofa4I3zkPMd0YmANCM4X+NTri0n2EaXUq3ZuWMnQVFTtdRoHm97SyNkCQ08iYqY5Fbka2QL9tGCE4CS0+iZ1P2Uoov6rFfScewL34zqXp89WbJGP5K4WDdUfyxBHwiRWcPwxuADhbv/nSjkTCdwUGC8i0bWbjwHWXSx0y/593wjAUxjWN1Nj0prR/POcyAaGM2T5lyfTcYxm9bV++Aw+moyiTitxH6G0+ZGfVdU9DHP3CjsE+XQlfOEjjgxtsWA2h3DCrvd+5OL+TRCx/fzV3fJq7gF1aOA1xKbarFEWre2h+Q7EABdwZ02H7TOOSHNDcI8LDZtzE3ydJIQblrsr7e4S/IlTRVgS6uuA4eMpBnGwDbrm+xSqFyvdcYxYha1zQOfBZPL4w/jMNv+gvRWQ3FYOC59eXx+3JUzTAj2Tn8IbUuEkh8GlE6dS+ORsZIxdRJAyeyvIoKDXnqPNn8vzWhNjiM8mTeB9Lq0uN9KGbXfZ4iDhQ0QD9vZl/hiRlk9uvSjUFnh0hSMI3sxN40n841sEmaPhkB2rdh5KeAYWvR7I+7w0hH0SmCzy2aZL1PpxZdqiaiYsO2UW/Da8OjWDL9wcWQ1GXFbSXOdvKzq6QaUmRoG1LSu8Nev+zCgpENcUvZhGcmapuvCuqF5T93WF9YAnI+Z4+elzQ3+tcwzJAs8+FsZ2bKrXEaIpwT3sK22MgEMLk9UF/6IsI8HUEtp1H3eruufVErXY26AkHd2RrQChmK1qWggje0RFB8rAbEfSPioY+5hQWBbc7cPdkxJ03hHqCJNu03YGgE8D2L37+5ZuAGlN45SCZHmKfD58qgYjQc2nBrb0x9Af6urfT2CweJl1H1t+/NIJIADkx6bwtQj6IL1Ktd2gDxQTjwczV1Z1ZNHXSUGWimN45+kNaprrS6+zRgJepq0a9WjmJiiF3DVks7VtAOiTi22lTBGzpbnh0NBb6GYei7qXq/mLkNOXH2ly97ylcCpnwvpjRTcBSBIZl+mSc/h40dLK5/KwWRcDhKUf8xNfZpSvC5Sm/lr6ThsspV5K+L7/AL4+l78fwMF+fFXfQkKNhY/1x2giQYDdr9aFTuGUwzUZwfEuu3KkjK1xAtMCI3ti5+R44tAcdHusbaA3rv4yv3Mo7GmLNLvVtpbDVL/oEbkDrR1KML1rRMbP9MfEqqJHrou/MArW3T+cUDHwMtKA+Db1/Zr9B7nXF1BgYUu3Aq541aR1WChAMjKGq9phFdq90z9C62MfJSONCR4E51GUB3Rm1/6ctCbzBtgAJKH/FA0LPEvFeXWJuKe5FWXLUOPO45W+CpXI5SYEy+4uFPXxZzkWNiMsQ2Kmq79gQ+3l4OLdrdIQdSFXimz2ZaZj0mQnARgAPXBce1Xp8mkLeqZb0qZWjdqXFUsGW8BIO/X41BJHwAtd6pnxaDKXpq+K0IeEGJ3sqZkDptm/VtmB15INlAyw284cB2EeUskwZgLKsjhpW21VBm83VfpjiPeevFVFLS1PUixiTZtQScnl4LgOIKBYv6lK+whr/zmnLQNVe77IzoDOsl6MuWYd1p41kW9KMdS7a850ZryWAFSQ1dykn5UjVpmg/DiNQ06iXrrHHaWfNLq0jW1aYuAxcZapYRnTYxsLkpA3fLMY/IJ5TTyAsqgmuV+bkBSxZgFHXE0bsffF7Uk3kuh1S0qsoyAV1vLNn/kIKa/ZicbBZ08K3xQ8tww537e6XkT6L54SyRZy8Vel2CU7nPAd1B18zrmX/fXhPK2c2o2O4NhTgTjhDf2iJY5m12TfdGtrbJCoD53MYIchuOUNRQt1zWnCWb2x1oo+wToWefFNExD5aOINlHMwm135vKCj5/jm8aRuRh9f1hO9as1+0VsSd6Jcuap9DSP0oUFSDFBBhPyGdMN7AsEmpT4B/AmFvIycx05M/IBU0mWMJX8A1NNC35G3rL9mT8rWMGpmbmNy8BqkHr9ADG/IixPSPmzMHMuAqit2a1Zb1NZYNWIuX+wdqKnIA91ttoJe97SAQfQsS2SPYmotcEdmwZZ28TBO4WVtRI89DCaeM66Ju3GkYi3ymp1rFUDLNOfP/iSF7jjaurQUN49XaI1ydEaJMNNDDCZMpJ23XfeseK0Oc4Fh5AGtY54UhBjlJsf3feAwLmbhFkkV6W+NLv7WgCDNqUURYQXwAhc0UTnDTvt+ud5WH+SgvTKdvArf7xW4p9k0I+EZewjepoSXeqMk+uWVx0wRlFLLZWR2jtHDK0hYEQxPJ/4Glw5Cd76sbWA9s4DSJDp1D7P5U+piTFLaT+YgMpKpRK6lZIVgHEg28aPElCsGIe+WiRu2LuqI0IAYr9PT1ePn33o0sKDzWdLQJq1PKTonm7IcyaYgbYlvHjK/FVqeNe0WXwPsI/Alwo6nfDqxrpCy6FTJUf4brXhgtPlDw1SUwNzTeTfXPQBf8kJTRgANiEaJ7eHKQExtJHLScS1fXlzz4eBzINr0gURo0D79pdrgMXnPEoWZaoCjqmQZMMGOuZxyVomhW5HzeAX53HG4UfGftEBpxg9fdLK1o/JeYRy828D4ixJqGwvyIYOGUzmuPJdi/8tcfyKdEPgTAGcullm0PRJ+HYEUEEo4SUEN3J/TEcgRwzihybQVGwcgRVBqUrP9cNNmeTFOsavhhyex1Z2/d3s2USmTr1IoF0y6GpWyArHE1oSVwedhE5VT30DLvJIMlz5gsAd7+3Y6JACBcqXopfFdolFwakVfuBrkhLv81NGP1Y0ykTlCcBuguTfWjAsFpLqHZGWOeW9v67XxgEyuFyEcR64Fs076zgYIJvwu7Yj4PtBozuhN5bG+0FuZ26U8NBzRXxaqk9U6GOMqE7p57HPOJ4s7JBGHvrxDiVrrLx0XuKPlavUuez1pASpCz6G0JK8mepEUdaZIV+o58PngQAIeRGIA1jnMyhfTbMGMZ37BQRwNVw+/z6Ln8HIZElFAvApxsym2YWnN3dyqG9sgoKbi5K8pd+FMMFspZ4CjOXxPpcIrv0rlTVz2uQ5HePAtOUsY56twwm6XEnLOt9m5fvpVusj3Q0nlzIppZ1wTq69qWISiMTnKkTvnQNmKfL1m6ZMGSyJ1Ksy9Qz5H+jFwAvfdNv5kxOPoFieTW7F1Krbm83EU0y00vt6x//LLmzo/GisHKosZJlAfG5oBL/qErfxWpYVgnZ5a6YAUvHEiBzh473jCDLzd+zf5TRtuySkf5PbjhgdasbmeJKqLN2RfoMCd3Ky73TFCJ2hLBmlH4djN7BanM+dq+RnkBrOGkUddDu5xbMiWzqt2OXpPlVjEazR8wpRfbDsyxW2wKcdoh4jPXQgjvogp8SVL8rk57mOmLewGusfqM7KcMQ7Csh1hLPXIeohfeerpeDhl1MOZ/HnwzK26YINRXQmHp3Kh9ncAHbO1lIad1S0q9f6i77htKPOKO/TXW7XkQAWrr0F//FIg+qR7NE2sztwVQ8/5ZSLCFdJ+CDKoDQIVzCNauWKPmy30XbQrMX/O1cVv9f6//97tmetriKLQtWBalsXu0+7Xxlne11jpTLIsEGffE/dXf5XA9/T1QZbk+qW/4fbRbNf2BTSkiMqLZLn6rU3WD4R4l7JDFvbBnDvfCPEdf9lMgwPe0IhrnejkGxXctWSURJLPfQzCCmEXjmJ7xE4H29+bAH2xLk5Kj8KBryYLlNRdo3R62S72lB+QeCB8cUQp5uqDANbp9mI2H2Bnzr8L4jgAZNuop7T1uV9wV9dj9hIq5AxZpwNZxNIr1mzQV57DfUWJF9jfm4kpvr7sLAR6u1LtQcF1KZhxFsMywHBK1oNVaGbIPdTyCFzyIyBK5PMm5UC4ixA5Noz3SCHRKzU5jGXdWK7DB+E3Z+MgOMA2RjQAl29ApGT7HexyOchpgj6R9x3Q6PUDzGivU9KnMWUEji3ltrqNfzox0UEQSkDxrWCghVE149jXHSCv1K4wN33wWOt7l55FJK8fpiChQbe4sFZyg2pZAAw67b7ZuEs/MEpfXYJHbL4L+gI1oc3J5VCLoxc/xtx3HS4cX1PqgiELOYpIMTB3UzGYGwjFIuncMrMC00Wup0xBX4wSDu5897HPVLEmSjg3ibVimyLm0YekhDTYZyx+C9BgbK6Jx0TOUcbB6NEqrAymkrQ+gtr+lmiGnToJIp8MLvSWBM8dgyeYudhdXjNGfprszT/vMd95iXe/JmBqHZz5ZgiLZVnrYFRRNeGkIorXhOfyNYjPRMj9UKhW8PRTUWetgQwbc+CvlBHMh3lTgmogMrJK+yaeN8qL0HTmvGEo23OkDHPE7pBfU1SNmuJLphBnC+fs3WqvBsi0YvOUMid5A31FJ5sT8BuBrT46LrSJ6gdfi58LGkeb+qN2uPNUTFdxN8v70+zq4J9pquwukIYibohPvwwHuqIp8a2QjV4ip/5zmEcVM/M6qdEyoRA5z/bxbG8bZ7AVwhLdNG7ZxSmL2ibbMkOR2Ny4+VhucSXq+6O1vvEIJahfi9DULlBHlJ1fv2u2B8729ceUWDYfg2ydqR6OVzNg9suMKjkZ7+n1cvw/66ybJoUBbyGOArl/nEJsqEaiuVFjWUs1zPzgC+7TtarwZg++svc7BY9iywSfqMOEgj5gxdVGEl7HmjXZ4Ctsz692em5kAFsFuEKOOYeRufVgY/uscIgUrEqY3osVfpanmswZszmn3MRjox8g8g3ztgenD30kG66Xy/b9s3Xp8A9PeHzRZlBqS8G72oA/RAQXjBURkZZ9AVPlGcHWsUEY92LojmuHBtAb/kfOqVicxUs3XomAX+YEfsvhRuzDciX2n7xEzbtpAD+SOmbU20liB32nEYVy8ff45eAEOdgkjpH7G+CSnckCQns6po36Di12CgU7FAoQA9hjInF8vAk8CXxcr4nIkXWAmZo74EOVdMWfPtfaMNSLb+0bFLfAHTMoC+lQIgbS0p1TKxwGha3YSrYgvULFZYt7SC1SAx/3PSCzw1JuamhEiRUwHuKZib595V+ly7lyTyO7ZvaAhPtlMKnr+cAYl2XjNNWwurB5a8JRj+x4rrhtDSnEg37svEg805b96yo2064q/sgKNpQGT94JT9cbj8U70iw5g5/7qDb3lLXNQZjtqlGwz8xYIsi1wUxnKu0gUn0ul4iLcJbyXcabmjlEZDccb+LTOQB8OTJ4j7HP4QihUCnAe/EdAMoSQENw3Btrv0MQu0Z6XDPWh12o5YJjd9hUJUOQ5KFHmEofK6PQOcuOCr9F7sqCfg5hVKnz6xMScNcmteVyc21ZuKtxQzb28g/kLBMOj76l4vX8a9Uz3FifxAzumNhCXCWA9RKJIRUNmhyfjPs7lQV5lfT4KLBlZkKdCA7O0/9jGPp/YRV9HjoJWfocVB6ISfa015ZeE7uP4AonuBh7+jiVpeshkKrc5fGwWED/WmhItHd0pkp9ZdNL7wWa3vJWlz9QxdtCNFbYXhPq1uD/o71o9KWN5MOtbqf1Keqq5UgNy/9yOoy15aJeyG9iWrTUNtcVm9y0gAOBeNebWCiwDczhOLwqqwTU3r13CgiPAW3ntGgZLXAoxYYrRK5EdjY7UODJncenuF0dxVQYbEVQdb49kbIBSeoBsaiKfiW0riGA3o40ziUMQdUc5YHTlHNxl60HbYhGrNnPqm1h/c+LWoEcQalTGydW0kygkUx0N/mFpi3ErnrFYNdz3KNm2Y6GkM2hpbXyJrhX04Rw917y7PoBoDEBBDHISRKPNzcuJ0eDXjwUm6GqnKVgivh/CeyC88PN7HROmKV77U0zim0+oKjFkegElYss1lejpj/MGfuGGe2vMMmZgK4XViQbFfvk3O4UDA7ciikFVdAkN9NDmL1Xhdj1hVBuRLwNotGSbCvHy6I2AZiw/EU1de2raAggOCcMhyF+V39SQ0LKIvObb2KlEyCa0ZiW3cl6gVNY2qai55sLxELfy7+J7LylwJYFLOBguNe2B9jdU40qOmKht8up/z2n3nNJ/RF4joijydFG6uqiw0+MIr+TB2VDq82zn169eCaNJaCGh2ecHN/mSwTQ3mHnRoYuhlWv53Xq8YipF5Bo7fGtJda4260DJNtwptVVQ+24jA0TaJndogbPpUSjzm1gg83z6NvBfWGg9lT8W1cSTeJRlHUtJ5iagqSF9HJ6qMcNpdITRhWxEv+zemubsj/evnKMhbTUrSB/y2QkteWkJU3drMRCHI5CpVUmyiJzPo0OFh0ip5lGS2G0KU1psFeP2NhYZjpYdoeiId5Ex8itzDWFNSdllzBiZzsx9aWF3nT4QNeL+skxzfc7Slq8hCfIgtwfxi2ilu2FLXSu+3xGCvso8N2/3B9jelitN3nVMQSiYf4Eji1WlYByHIP/Q2xvQkgOZUBs4d8PniUDQmmdvAYNOHVrCilUsYfZG4IR5l/JXpZaHDT+CAWdNnZC0aaq/jrQEK3gIYkSVh+cGXc5a3338ozuBi3sNqNqpWe7dkgv9wrYTy+7YU69uc1kBMKlMFUb4ctEuETF6vUu4yL8LEJiyrbtdf/uwGISBD6SRfgxV4sV+AyUIMHk+if1p9um4KO3QLZ/gRB3JHNWKK52HXQ6syJwyzjM438mkMAdtyMkdue/1b01AC0d3mNr34FDDRCiXQ5QUQinXE9iUbQ3C3CSwk783MHK9sN7QvpneiWu1FKGkWcHPLIHB8OIuAszzZrdTy/g3lu9Pd59VflN9MpboqO4MuQynTUSwC7B/NTXRJ3O1T4GQ01aoS6TTu4r+kClyOzUyMAQkI37F3BxAbfqwZwkj9YJWCTsDHhZ0XwfURxHbbHguo3YnS6sVduH9IDV6ewcoFUZIZY5IcmuJL3KYICSwHvBbIqdr2tV5kB2N+QfspEiArP/VOG46rIkm+rNzFqawxy1RmYZ9TvRiRHb6K23+c9QBSn3SJvjpdwz3SPqTizZuibhvB9uV/iYMBdRnJKQ+vn2ohaA/NdNo91t9JqChCEfTMW2IUI7V6IqqjtBb/LkLDpZ7FY2xkwJX0RmxP9uStRyJ5gEKaa6F702P9uZPgP/npl8enKqStflhvenTAMusgiwysgl/lAtl7JxtRw+Qn/uqbPgz7egBnM7xe1MDT5TtWDuyZDGuAbjfA37BXoiyeowVEKOJZZsRUHrGOHrQcys4H5gzXG+qBM4wb8rVc/YkxvXutyjS6umfU+R1AwvD8SRgIACaXO26aH6StjEps+Gpcjt8AbyESeT/Q7eX7rs4ZiAqvAEu6nMF/rHzwH/JSUB6Ueajk6ETfndqbC+72zyrpAOLlo1xThB4jCmlPgpyxs2SEpgCZ+HZWfLj7r+j2ShUZJhSa0yzoQ2ytM/P8qHOQUCJ5o2arMasP2h3lCum6DZIGfvSEPOc6uooV6pJ9tfiGpNnqGRnecVC9vMFAI33/piWf9jKKd2wCOL7ZR1N9KvBFOMq78omLg2Urq0yofrYiXzDnB+NBK+k5EU96qUTLWWZOvkMFL1cPALIcCOU+SjazB8O+Y8NTkX5EDdbTfzoATyFWwTsPIqQECXd3OeElZ9KzxD8N0WGB7Dkh4RzoDgmWo0azcrMB4z8jOI/7gsqAI8h5xXOiKbxgLjnWo6//XdbNXBT/4iGkLvYZw+OnpBMSta89ghE/YPf1x9ix449o432jFZ0tL9KCuSu/tl/tOKZH91I03SF07cldq0zqKFqdvzoooCD//D2DxxYTMZfa0Lx1xGAy775ea9/knwGILuATW5BmZfIZ8rRJIEbOMa8FvDVqAvR8TuKBJ/3FijkPPo6cxh0ALjSk4Vu8WrXLmTPDOPABzReS64hjXFi0+zoaFUREvaL7/8qawHNBZ/cTSCFLDg1YDpqVBLlcEl6mVVmDapfQNLjnkpsmIypkyJSh63kixwh9v4jlQX17rotTBAcKvNeJ1wbXb9dMNBOXc6SwCZCIotwCgJ75fLob0lBWftyzf8A06F3bZY+3RiEfxdOfmY6Nqua3r3EtVjHbDZZuF3ClC3sAJcDstYu5pr0dr+vof92zqcqqhmJm4Zn4KKag7oswMoSl4sdV9WJiIxlrXUWX/VSLu/53sYz6AxP4uCaWDM2gkn7vZzEELkCvRlvUzW7BJ3/q+YEiPvY37NV0Qjl/sgx2w0oP8Zli8FCLBIvYf4qpDz+7BJ0HcWgNusgm18w+JBk3Z8A74Pe4Vid1IP14WKa+6L2O76KAhsOlgSBdHSXdZtsuU3cpAoI9EqoMZAcHZZsSKimhB+74c5X3ECXs32ux+MQ+bJSdZ0VzIKgK65StUtOy0QSJU1k02z1ZjJq1yoGFpoDcY7XP22dL9jWxZXjGAlno27mgefla8r3JvIi+4NR3I5pTblOjXTDTmx2b/giedCvbFmroPQx+97hT6dsfVVjX+7FPZhePIrGSsp3XE9eJjIp6W/gJzXVzdq6GpnKanr/Ks7HVnggQNXLVgs+HdF/sqa0Di7q1MLoHElLQL4XfetNQVDiCqm7mwc6LTjLAhb+bJlIFg//Bx3mxz3uycg5b1z7z5G5RH7k3XSLR9zhzekCS1G0XvAZzl6MbHa8Izl9QZcQMAf3kZSY2NQvtiiNxhb025XUMY2lZCzxWHZqinIpMk2qE099FShM07tGCmo7ZTSGGPIOBz61ansYJqR7W1RzuF4Q8+SZkAfDVBbGRDqCNYIKp3XW5fArFgbwkpr07iQP/9j0A4NsTpqjInhJWf/o2PjHGBPB+oxJ1zluhdej5GElCErGv6isAROEgD4SstdFjQy9pWsioG6r0bFqIO5xIX/e+pBtiosP2liJHwXSjgCmrZuaLjWX5chh/oEbA5gDyVbHhSPlpBwMUfcID+4Lohn7E3huTqDN7c1p2UPgUkviiWXgwOsq8CIjQVBzVWtG42guE78DItKba+rPaG+SgsvZPhvT78cIg8/CaAeOyr6ITis4sqdVAeTdOpPG9jar8LfKBYSYjCjU+ji4+/N0dWbz/dxRSI6zUkNgU6pwnLO5oZWdbobe2aTXu51qV/loCmQnZ3dVkpS5VDajzOeBvFPJoB7NCKWtEJt7u4gBEsMZ8FEMyzSFC+iC0pTMEyOVAtrG9OfLAe9YzULsvEU4LbWobkJUKJFwaqC/W54B0p+5y6uYH7t5Zaotc0RbYFxI5BXnTL5nzrh51cFGYjLeeDwhMWgP5WR+inOEPb5ulEEEaMDE1eUKEo3gAb3WKkYoass64kFRhX1g75MEYySr+TG+I8TnLQ9nOF1NfFW5HkB08G9N5SC2BNjMxPtNuknx++ibL7hze4Xa1NZ9JbWevrh1axC95xzHRQK/RXP0rbhka1AA64kP1A4W5U3OUB+ZmHn8Ij7TkoOwk952l/rBqiZIVc8EjK9GqMYvJYKLTet27vv74T8FUaE3VCi8JnQQFu4gtCys0PZphvjhdR7B5+4c7xSWYfKQToa2SFUZE0w0aFKlH2d/FZ1Z+qpCnDu/ee9eJVic3KaGX4hOT2lwJS19Jjcy2ggrmK9oM9Lwy/KcV3+fiuldcFEnijbT5T0OyV0VejUGaC5HjE1NAt9NMM+CtDVXY60rkZpad00I8dXibPDDic/zFrUw8fKi5rGnNiLBRanxy7isoRLGQRDzhtU05bVVmEGs3fvB6ULfLvmNVIkB6jYivFm5dpukB4WLDT3PUSt3/MsfgeLC+aRcUEM2/EtQfMFaaw+FmYNRaPr9acoQgVi9OhPmQkPrwWPJ3maKTfTULaqk5UHnHLL0iH4o6Oufr+ZgdLRc3tXLKaIGjDgkYJzqMyzrOqG51P/eCl7WEv41oiQc8jRn5t7PsAIYXQ7+7lWQsRAmt1r8MYuUqz3l/MYfnSWCz+R9LckM8tXPckSijEeP0SM9mSbJKdc0efQXaobLWzMVuS+UvPEgbyBXRV9lXbO1z2BHV0i7gQEAdR7Gx0GkDRYsQPPOvkuwL43iQ9D8A93MHahxzvYbQddW6dW0YjFaUJTbr33sucd5ESV8grML94LfvDDXOj3FVDGS4L0JgXBtTRvaXFEs6976BcOouf4A0INkuMOXTkW/+Ui+zng1AGCyKFVqGociQuhNAC12EqdFPCUSm5Gn+KotZbzIkhnWpBREzfE6tGYcmMmj+FFV9fi+IRgRGeG0VyJWd3UUGp7naykXKwUXXdewbM9pxwGS8NOSNjPI0mOFBL0rj+Q6cstcwd2x9TN0ktEsm5gJtqM8asztHXR1CmvcBB/QHq5bXctJPTeR36WNxEgCt3TiR8kaKYKm5/yV7TCAZN8nH4D6F3cn3XFRePvx7qDbrhXArTNXsQ3lhfYero7otwbL7lxAF956JP/2fCqaSWofd/Wd+BmzVtV25dBC8VpF72Uy6QK8PWcG+H5Dn0bsN+v5WpmrmqesjvyFAri1W6MmBvFe5Gq2+xw0CGVyOWyMZxUyUaXcCs/Wj0fmshrwFseOZc0XHrHTQdDet2W1O3kCPCYi+uJQ18fnUoMpV9rbiLESS/CM7YEqhpniXgLUwRtcMHUR9s5t45Z4ULD39Tttenv73S6bCO273Q4OHVCN79CJgo4SBcLM8kZzmiNd+jT+icUB8Iy1C9WlZf2TOGDChzE8gBXAeqP5whkNeiiqY5zogVaZksHyKs3kh5u4mNoZqVPnKKrHry1WRLWSww+x2ecIhyZ4XfbpZlZlpdaj5/xZgbPH24tWLHsusyo748KfB3JvM7s8kszu99tEcGvTz9S6HfGXftjms3qHD6daiewrJmxE+Ok5zCUDSBGLWUV7IGsQXqQP/SAguOY9ZGXth3EbTJLGBAtrlKLZtlZvtq128LiSNgfIoFBTe5++9FTcQM96TtkSXtbkMxHkZr737ooaPrB1Oz7JHBTc083SWza5uraMMA1lZY6a0a75nEK7Fd6J2mlp0hvjNsPwUrQHQgn+E0HMbAVONRg4YpYokRKzVPWuNNBfGsF8758SGePXrOEJxZoNIYQ8Qof6HDU4eDpeIZkooeOYdjEPknDaXFFfkUlTBaZ+bC1dTRNXlLgfv+2uQ0G0CAt5TYOXdM6JZFW64BQv7GF11B/fFhwRbQHDfaBuXp6UgxtibGynBHGBQL4Zjqt77KGwuEHNiraeuLAI23Fc9rhYqRa5qDxAfuZ2+A/R3+xECCnCHmuWDBJzBZ52D7JYnDoAbZcvIXMtSTuSjGAfASVa6rRm3sVijl85wH1HRMx1aO5zWHrfJu/IVivTnUd9kfHRvKKWrSIdpwye0DYIabEQrCF13rJtXTfBhBuEtL73wuytSLpZrT8Izrf22LKdxJGORYbUegSCL24/vR1pQR8J/Q3++e6L3PmHewSc5UpgxbNNHegcUNQeyV8+ldBXoitPgspH+OujLQKNaj2TOgh1AEye1VrHyK+8YoYB+HY71p33/khwR98hXEmFNg/rn/GIlCIksWbpDDHWDru4MseW/x/wWOPpFOSYBwmaBFgggUlOcPLED60k5Iiso4d3je5Dt8HntZUJMTOYt/BxzcZXyNNOgBtL8DYA2GDsXCgs9zsWjhGRxE4IHdaqIgXyZktNSB5lXqn2RGEdBjZybFZIRIaO0wbxhqXauP6tP8wkSy2kJ8ANkoJDNF8EpnmPAultMu1SFDNuOm6mt95PEZcghWwGcVaFCtVl16XAscdKA5Ld2GTyFYwMC22K1d2mr6TciK9s+F3zDwDRnQfVDtZT0cVUkimzFG8y/M9lNA3olp0+2yBdk4hMdtWhUlp3U8Ai8BeTaJK/07oxErEWrv1ffxF6y+Y3bUvK44qNLLwLpMGvH0TVCntPtnXpP8jukLdgIU459pP4Tabplasydnqa40MzzZhaeV27goPql+LE37qTgsR0H4aDv3tLixMjxJaCwU34GkVFDP1r044sbS4nf5q0zX2yX8XWduMFJUM/BcYC2FeOXYQJWyI/Iq1QRTXH2oeRR/uuzxI9CHtwz1RuSA6cc3j5c6vKPcOT8l7D4ePS8hFrflDDQiqhZIToBy2PIjioN8m2V1Ky8uEc1edsee82JFQRvbbucpfor/MxH7EGUe3zId4yBHIOI4C7BaVwMRD6dsPIV6ehRWLEVe6ffuwOwr1FfDEf7LOI1P6mM2nqYStqcFJoGKplnhqLCrbfOSPzBZy4LMSX4M4zxbEpJdnNRflR3apC31qYBww9B+LRAsEFp1jOVmQUV7xQZhxRURcol+02z4U4ehuG6UYgeBkdFxKwshCxiT2bqBezkOarcpZlacuqhQvHBD76pP7GsmrsdrLiAmEeA8Jaa2UkOvUCK9hM6gQpQl2PhzafxRalverC3pkwiADO9HzqtVpALrG8iNQXfCSbaQRc6dIlpCtShmY1Eb/VlkkL+m6WJULo8+zLfrNuoWX9ipT+6yc9TuI2ENQRDR0kuTdgZR4x7KV2yiI/qn/E/hPpDjhvuzvmsGqs1E2xsfJgRXQFQBaY69fhxbFhFILJWW6u4212vHxif47v/KY6lWOZU2FsiUxThIzOJyFaN6XyYJVZqyZUmCSr28nUy5g9/qly6va1ANNXwjPGnqb+CPP1eCu7FLGoxbEuOnd2QgcEaB5LI7BGYj8k48/WXOuu9hb4t9w2GWrWwoqUMJwR4cjmaFE7pHkbpy3zEXmk0RKFlzZILvC6ULJUqWO+OPsmXoo/L0En4fR48TomzdhHA3BJDPL+QmuIr2oxNuTDjsCEAqzfMEq8Nspv28kBNawLeMnqFIESQbwqqN1av8O4uCb8RSsmD368GmZkSXbMY28QSuDfcJBNOGcZWKH0dBot+gY6DgG2SvvHqKBXJf1MAl90PfsXRgdhR+dkTpM0iMcjxK/feQOZa5maHGvTicXpA5ymcL9v4RqZ4ehtJHH6LEgWJcRVyCZj/jukY+lZTK2Bj7lnzovm5loErvLnekBSurGXzX/V60xst6QbR5sGREbwXkRPhobcOBWh5lskOvzGthMIzmegZU08MyRoCsUHY7k6t7ymQ9/WCOHrGkfbuYZWh5h/7mFAFKu/Md2+7foxRwZViYXi6r7DGD/YsL+jlyEdMFMffLKT8rKSGOQXHmrBv5dLKY0QEQrbs+11mw0GBfMX+Z/46NRUF9gyRv+rbw3dTpyUbBTLtG6Y0QTj61sk7LldH30Eme6I8dFfOSiMaYCbgh7eDUwYGlYY6ZgGBlaNwbWSY+93PIytdrjQNd1SJ1X7ATdD4F5wK2bH7B+CiepT6dQxqT7Osgj7DxTfJmXbPkWED6VhZSN2xjiTmUeBtkdBBP3a2/ZWqhvwwdtA/LCshvhouu3AQWVAQK13TF9dsi6HulHqFNjblTHv+LizBvtZeWyAVBof6IvvhD8awal7ZWZrIM3QzvBZcoMGaA00HpOW9bzEm674MLGcoPSrFc4+Sc+gk5lWO6rnqbL3YLTWO477geb3rlN/NjYfHg1Sks49pl0QZBHsbL7s1XTGznBQwgp+NgS11iVk5roYZpY+Htz5X+cV2M+2O9hbQiXfaUxAWVhSiDzGThhHszjaDLKb8IJ9pMCqFSQSM5DHMELLvn2CLLWRI1t6zba81eXw1Hc9wcONNd6uAMKK4DIcGqdXJ2pIZNzAxJu+FbjnAmp6WZjpcbYPBTGkN4DwCYBWPO/iOLOPa9gLJUdo2XVxBL6PCKokRl/wxHHXBcRV0phjGJbgv9pLaTlIZFCKp6rya2DuJRLLpFh4ukcuAgfH9WfA9aq5FAW0vCZcCGkCDBUzHyAN50XA2fTYN03Z57UyVasLIBxQ5LscO1ih9CB9F2UWPTP0ysH5WVDdISispeEH5IqV7S5Qx/nBr/j6AGB15+BGWnV4fDeNKoXwJWKpb/U5PQ6lTAmSTfHnBQgIdKBP+IjVPT7VuHhNkpq6FGVPAtP4zfQxjF78d9l5kcrL2Wz55yyifwdlSkd1duWB4A373H4KedPqHZJYXXO0oEbfVqy6fZvlEoiXGvCRj8oOgyM8124eClxALkL55GEew21+6svD+FouJkoGJTkEv7iJRJPBpCTzqqhqFUBIBxBTF47frVzxS4G6PaOSFihahdHOtRYOam8P8Y8PGxW3W3apa5TjD7w8uzJNnupvImexxm4F7fUFt8IMqhFypK9gYgw7Cyb5ticOUS+CNhVGfGdD3BbajXcImegOd3n3h0OOjCmTXaptorWrA4LLZiFaCpc6D2ZjkCna9n8DobJ9C89WXzImpIFjxBbU1sUfksmTbA8Dlu5n9FXRCOGCK+9ZBlmCvrpdmheU1OW0DRggrUy3tc1s806dVX3jWdT4t55ssnOalJ6mrOxKTup0AumWJWUMt5pL0UTnpfxNfDep3OQvJ8nRiiVSWpvhEEHPLtC+PmUOdT1w6REgX6CxPmnD2/60aBgQ51WB/ct8y1o9C7CyWZjBOW9spIKdEIlR6XnBw3tLWeAZiUy9vVkVmOD/iEo9x5fnJsPtOEsiVtI61J/OBxD71VIe67FMUL+LpXLeX6H1cxW7oOZylNbLR9wBmTrUzJnDnNVFAVGfcHgtpYm5Tt+6ABfzPGXZxJlpllFSzWAWz16BSuWMRvjnVxUpmqmAis55PQhhT54I/8goyKAApbgFSdePtosFC1OG5z6nkFcc7Ghw2AgtjydQqe3gBswg4O1deJTerFZjAmFMoU/BnsPJJqOJ4PjrMW3uwZgpQuh1V3He9DOZDLO2Zwa+Lt0vRRLbOBdCwpDv197eOQLfXqtGSKyzdIUo2SbhaXCs1sijQiIc2Q+n50dfrOm0LDOmS+9tjednDctY0IJoAPhI17+mP+euDmEoDmwuHtijVkCS8f4DGbiHesu9D/vd9VuQZyRsCoyX+6jnIaVvAcKz+j5XZtWOiImXoRXphyb8oc0R6OD0A4X7V1/GblZNIWty0WZ5Uq45DxIucvF4PizQJ0uHn0xZR1JAJ7sM+tMnxk2GZBTgX4Hwz/ZO5loVY1hwiZ8RkS0zFcEzdzyFepT09Qtl0s52ezwyxkjHgiLK02ZykMScVEDf4hzz0uzwEe/TiuBy6PmTbkLErLYZe5y0UPO2BYRiKhTCEatBTTBQRWeQHDSE+N54sH4/LoLNOt7Dq6j+7VkIFicRnB0SHTew37zZ5+c7FC+0CE+3zyl2s2Ijxvdf8z9eK4BOlyziZE0gbOWXlV1vUTz77EJLIDiL5iaRc+Xg/NlvgMErH3pzlVsIzJJBlADXH2hekv6iO43LfHv/yJvKXJobEZ/wb04V5Cuv3Ro3IUFrmLfom1Mhr5fcW965HeAb53nZ1syL5aSiaxqy6vl8YN7TedFrTQODPE4V6hvHIcwV1rLBs93oOuZMCzeR5dwulbiKFCthx1Osw7XTkoti7NDmlOTdOYwLpH3uinQqCPIy32rCge3zffeZRJEEqH4RM6mPmivazkU55B06VIPi8O2/CTiFWoiYoGTGxjkS9xHG5bOeG2lwvgVDWyj+yX2K6Fa8TtZWSENX5ADgkZ82DEq5JUtI0W2mWq99cxCKJ1NMOGWWKWABLdJoFHA+9ZR1bXjs2NtM9WtnXX9I4usUFrBCw7Xqu97OxehN4sRdvZspK65h67KZVR47RN9Mr6Uj2oGOw9a01Q44Ud46ASR89mBOI2nlaZBNwlYmnXrTT6NiLa8ycuxyshVpLJsIBRJ+C7nEcrLc3vW0Rui3k3NJ3gCxd0YCGFqkV3b4Jc07WXrSNTBshInlleAZ9myzpCwheU9HLEZlZF0W9a5d4SVgsgP8RrJRRyzrEip5/P6zlZzWpGrJak1E2aD4qOyBHXenu00HtxA1k9qd7AWJzB1rcWR/uXsr2u1gFJbGycBPAmCTvienDlsBZsZMlu51qDE8T1hrdfvaDaSMzbQ1trRJfMjVKMMa/UjdFxLVWZuM3ZNtC/yQwd2jjfMvghBDRqPr7RuVb6I1M6/ngZNvSU+IFGmPISCo0IuTIkQH7tfmBYrqD/+diM8mLs/HAxA55SiO2FvpTUxa9WNE8A8WG7PDIZvVt1FC3VX2+zYWW4oaON9ng+p2Wvjy+jQneNqOKSBStBhR6VGmustf5w4vOUWCYrO4a8sjwjWERc5SpobOSOunHcm5BFFubzwiMkZdKPGO7aoNbXhDthAcKTuCzW2nN8OMjuv516+ABTcdh1rDz6ZC45v4MLc1G3c16JpAJz6sz2qdL5m8v88P/Xo54WrTaP+BQf+swJJS7TMtlvVQTwLhTy7NsvBMWalZ0Ava+BZjLpqIEMYBN7KgmkvP14ci0UUQ+WcjToFZ1qYE0RfFGJm/9mLxQe3wCCriUn7jmwyIIb13pMuXvWV8q2Q3aLGHtjrkaA3GkAHjw/SaUFfMBolm8+ADbW+9eWET4KVHxH6U0ZVao7GE2Y+ouzml5fj9ohr+PQqW7sQBnUxFIumTebb/bcgIVgMb2T4PdTKHbzZQWIcu5davmZhInLyjgY/WJkoeMOaIX/M75XyIdt6JTQouIkaC6P1nxjWjBd/iarjOKsGPWqX9mX0Qix7kdESooTrdvUyJJP77gtf48p2nVvskAEfKketGzBSK5/35pGpKlyTev3cr43dPHrdkbvIY2gGI26BpTh2bC6zOv7NYPlNLS7TYtkqNHj+5qbkbjy/+R8yoTT0xwEh5Vf3vPqLWDTkDwZNVqW2xwFF2rKOe6y7JzwuhEbRPbpmP0NOTAPqgjm5FeBpbGkckUyNIvoAeO4vwLO7611350U2xGq0ljywFtssY7um8sA7ERMBbeH3lMGHS4OSu7ifFNJBCS586xgfSgLlsUGYiMASkAT2uypFjX0Ty1jyTzYFvKOf5snCbMSWGKXnHgLZ3F6oCGcAWSWM3yrY4LTzIFC27PC0d2dPmoiuTOFG6B7+kr0DDm/iJCTrf/dgVxmLiK7OnAvkUTqLZucmPxzN+ApUEqfqo40GCscPVJHtmNzf9qDP8D7uy1tOCYyKuIPx/aVKT/NnKiXSvyU5bOqFnhln33k5UBsp1I3kM9bB4s5kN4bz5UG1f0DZBqLuCrUl5C1mU2NVxP4T2C1sPmEKxKF3CpKXu4L6dsKXFw6LAb5ExCNdal8rrrolpegYStW2/woFAp5rzypuil9n1VWWbMP93Mv/90PwxWjZbxZU11YJNfkFOAM1MdQWwZj01joSuvdjVdcU3SaN1VTihrH+bI0tobUP0rtICZ0KtkDo2++0SLzdxxeTPuQToR+TdJXPVl9aDcPd+vL+/LpuBrj6Kb4CCvUfITv/Nlj4Lf7b01w/Azo5ACYKXagZKBLWKE60IxQdki+6RvYmsNLixRck9ND3g0WVK7rpRKbJNDwVOjExBUe2ssBrzL04OXkVuLYWg/k0hygOXT/GdDA1Cp/nsFSpoVMSrlcR7j+PbtWdjMom76SYpCats1YvhUPneckK6vqtO0Tf8dF+U5Xayf45HOuZs4mWZrSWmrpPKBS9AM8081zA6M0VD3PT4COjfpH0Xjw7Ny2xNRQYjPNnTj9xrBM8jDk8DVuT6sHqSAC9KzU8OW+agGNxe/kkn1sljL2TBoJzfecnsa6VZ208q4bjJXDKSyvr8oy3SZY4cWEt4zTWkNfuICAITVb+eNzP/MOxtYYItNWN5gy7OBTwuk3IR03vOtBmvrx35IDmp8bQgiyXhUbBQfR/9PTKQPbWzHEklya6JSGUSzLOP4pnEwm1D6aiU39Zwjc6bcGc72IfYQOndlfoufAePZnNstZC99iGlMAYUKUqE3d192lsSorY17Gpgd+weWRhdaywToClV7TATYZECvkHO8PqQ19yPrfv5YP20uoA4Z5/vpnI1wtRbtOD4qM2Z4ElshViBuhWxyfMMAhfr0BUngJNNvk8f3k5wpoGC++7yt+tzgeC79kubKPA6tkJ6YkKtcdN2kdHcCvcEPJCULmvT/9JBbbAQOkAKxLcIxYOIbk8mGbVwaoDhr3zsJ3kKZVBwUzskSQwxpCuiSyxTg9gfGDXt6RlPJ35NR77Qpo18Doqnh3jvjLmRdRdHkeb0ZlhRdFvDcJO2xo17YS8dSHI/tAcyb4FBTIzzRwznHsqR/V5fMA0fOSrGV3WvHnQ+rD8Dmjbs8kdG5JnECLvx4ZM0kjUA9510hEXzr0JgmZmT0KMQWQ46EZR8Ju1LZ8VF3OnknsIl5YMXkRTTTmFUYjmZkkGdJ9Q/xGdhiRuUSdacHK9cnBGvpRXURmoSrQsloeyHivlI7J0uSjf6vcGY5uokOzxbAY0IIXD+5NLOnNkLD1kvuvfl7poHOZ85Cv++Npqb/GrD6xrjz99gqjRzD2oeVAj1fRq4nvLvEpWoy9JXTAxoc58W5ONu+4ZKoSS7rzZi3hrH8IqO5GVo+2NjhmaulOaKXTov6eWou5+bw+uVjyfIWOEDy+o68wcauQHiqbrPT4oIkNyS/5s2iMtY2yBPpOuKyaHzBpJDXh52Z48gHbtBETg3W6nfXzpgU6CdhajCxQRza2HlgdrAlxkYgAh1kjWR6afwiwbV3u1nPqIZczPNNVy9EWcU+PPhaO5zqz2OYvnPzjH8o/Hw+/x0vVrOxQRxEDZYTxAp7mfmDqRf659FrbyvKcugFXs0AUdA8i7eHnVU0wUUKW0fCUYM8y7ctTurutASIXt5Lw+3s21MZySAOzdA2dDzo+pGgCGeapfOa61Ue0CnJBc0MYQraUCLnBxaPF+KpYD+zFJRQFVBvA23NspwUvTTCZyWi13B0YJuvEwF0CDTeQ4pbUHq6g6bzQE428Oq3PSEDnrRX2lACik8PcKqJBYf+J6/sYXttRbPGYSRRHE3GpwzHvdgIbA+C5caKdPx9+X7bkpOy9NN53GDtG1pWUx847DPWHmS5jkkyXqUoOiRb7Y2Hr4QZgsWiykFOZy37adN+D15nKoCPCARo96mAv/mxHKkr4AdOhRI52StvZJ717PHoyKjA1/zwOj/85UOBjzSYdVbIZJ85YhXXb9GzN93nzTUxqYWZG/PR2L08N+AzKKNDBIjXNx6Sq5g9a7/1BY5Mm0pGTPpEzyvyCrrbVsXSp0PHAfFDcPskJpnpGsYcn2e1QkrQHqqP/RsfJoLV88T+XmA1J78+qa+6wHUVa43lEfnxy+k7gPhfvP3MlkSbJQuyDN9zx4DdD50bJz06tOzuvgqVtjmxPyi4ZKaNr6YX66N3yJ4+iinQLRcdyLQ+CTTz5WaEXDVKbJN+mp4XpSIPwLY/Owwmx2XRcs1YtYFiE7FHl6Bsm+Ms2F0ky0vil/IbJeG44Er6TcdM7/SK/g6YsFkpsI54sp3S4bhTjRG39F3E2kyoJjVoR+gfKmIxjSFnklWJxTGV7pH/mDnjiFziNeFalWGdEWhNJqqC2Tyj6E++hM2EmPwtlZgRfm0gNnnm5uQNWhpyvmIK8rOJv1Agvdvm+XpIGBTznGmM520CcVwPHZ3awORpMNpU+goQvMsoG41nf/Rco5nHG/cDvV97m0tpDT1xP+AwGVEy/ApYwUeMXYzPVZaXDCoZtHY52++8Ldn3ikZJzbLBwl5zqbuDfMUqrf5ABjAekMHEKKWkM9yeZL4gJfH1Z/+w88UGXqICjnSbRy4B8+ZT4mSa/P0qBxUTnbzZ1+quZ8Nh3iAmzENMEaSZ5iQ2h7Esq0Cghj2j7JqL+KHQG3f43FbQfFRsxvqZSba/JMoc69VWMItSzW0qyvpRz1jmr2MJtJwLxiXVX+JluZcG05EhJm3atXsZKC4bCqJ19f1zVeXzoWYnIIXyWqFLtWix2yRMi/EatQCrCccukqIABuFFMBuu90mVwfS3chL1w0pzQ5riQ+6Fj9eldnDTQhiwiCnnGX3Uq3IXuvYev6vr+mNABo7Lipv0s2l9Dy9sdCOuQNtZY1KmPo+3S8TjKwc5RxG8Bvkf5iSG3BEmbnEMl2AXmq/3TBot44qSftL9Q2+uG78uWiJagMGU9/nudf5VkrUwJRvyLnn9eUvhnaW6paS/3Uxnn4vNQ2Hcj0EFKWfS9jFjvuYK3HStcN5zjc00xQgvg4uY5aF9JCdng4bHJIaOlPCTII68ABbjPD7i9QfobogjVXz6CQr7BEWUKNSTw4KG/zeBoK12R9x2RFLaKMuOzwYc1MWXX5xIYIi2ktx2E0mIKGVrEEdpkKwWzLIfdwfec/8t894cVHsYY4wrjPHjwtdCQQ/ONWXHWVeY/BT/zsFZ3I616I5esY1M6gTFF7sm0vdHvTY6VA+lOAVao3SYSg3PzPMLQNu5NHjFdAT8KvobIPMJ46vpgp/ApJ3Vp2/jXXHolRAGGEKp+dFTD5JripjWqJUIb9wuNt6SRZly1f8VHRACqtfaoDkl2FcuD4iQ6n1+dS6c8PmEapl+Lyse54SRps2mDnvZ1ujZomu5E+sp/8yvGEHOhmVl3SsC4U7iQXJBGIEbgHOSMObCWWFThvEGi4KElPn9N1TtUSo4DfnxqJl/Awx8NiOtWaMANdWixqESVEIxYbCTNGTfb4fmj5vDGnbdo7WpqWdXpeLHhWODPpHf2IoAoiH7LnXwRERy1JBqPW7gbEAOqVNWQmwPKKV0hk4ofChXzuzHD9z7FjmF9MaHW5G4KZa3iDMDqKhECSXBlmR7QWySPTko3nSSn8dlID+SgOVf1SD+FMNdPZVeglR/5qVtaY8aiZ1WNVregLom03rjxSi4QnCqSyAguAGZU0mqYUpQjB3su5wFrpEC3LurGLdqIKIGMCAcPF5trP86A4Pbz6qk0UVG84OTG/8DON9Athg84A7HRF2ve3oZlUmRdgjulvXkS4mZFfIxXN9TSu+f8tHcRiiL3Y6ttCUHyWsJd+Uu4vXrWpMRxwbvILqw+WjkgcAzrUWDHsPC7MFsNsH1DzI0CXhw3PEazUoSdbcKPQ6gKWx9kRg7Zteqyqy56mLLmFrh0UjQZtWR4ESydZpZaptaRALBZjcFoEAguCRDPitbS9stv9abunAjb/9sfW2J8X/c7R8+Z9zWu4swmisFjbLE3KGmr2ioN2nWcOyB/6/+kGm5tkI9nXhMewGB6RUaV3CGgTVtevHli6ikvSDwMqks/Va2kvN2tUyWXwwbuvULPJINjC0t+y7YHi+5Bs5g="/>
  <p:tag name="MEKKOXMLTAGS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z2dD7pS103gZfJ6l4USC3jqtWOPR/ue0umjYEY9KlLthURXCUyUuZbmGDPUXB2idlVQc+R1c0j6vNnMaKvr/AnBHPFsgePkL0/XTpsFrxRwwYvjcyvyChgSTkA0WrA8dwG0GmwlBBpsIJyB1sZP9d7xAp2ey1gpzW0jRb65HVkmH31wU0CUfz6Wsa3d1WVhhm8nLUzZd35IJort9u7v0aOS6xXWeGseyTUT93qRMlwCGAgJ0MTKWrvhdCAhS33lj/WBjpWoOveYj3wIs0uqpiLwu66QD/FKmmF3KnLAGEUHPCFZNIeZG+VemSHwWaq3ngADKCST4iC1+L7zxKxU0QXupoYlGQMVLrkA0coQiBp3sryfjB4xIDS2DRILd1kpkygrGnJ7BrLIiLREL76twEy7ef3Tl3GJjFTy5sS16dryN17sKzoo9F/AS9PmSb/jVB2sazylhI5s2jZ6L1aVgJKKGdF24l6IstZASKS9yL9Mi0ZrNnSOD9jroOGyOmHeCLQwnlvrGKvuNTy0q/McPufdcDzmrJtXHWr9+TdMjzmMKScLevpHA5sCOEYccmeBpkSB7QQ4Jf6nnXNRMxjUA3KYPDVEfxd/ZVr46hNIAcHbumSf4EQchmUYmdxF+jObAxsxKeT0dKfy1qadNfQYS+j81vbc1zFO7MPiJiSqKYd4b2OA7gn+Z0PBLAo9lIdL+vsnyHdk7nI1EneLCvl0kV3oP48PUB+Um+v3OhUhgS9hz6DWn3apwPw6felehKFZSXNz68wfvge4Gck6J7PyOsvpqXE4NStTOTscRefTMhHP0tGSC+Jm/IHulvpLqA2D5B7IF3V+LdhcESowVqVTh3gHeNO875i1QwSU47lL1T/H9jj1WtgWiyxh94GwVaoggO+98U96K9d6PaIGoPxM+qadx6d92rIWrZAMPlhufL9ER2ftKv43Z2VPij6iRP9bH1C34/2J/C1o4sNatfhs1xrgHfS4QWq6WjO6CZBQveQ9P7z4kiPyjdWE1PwccoyGxg+elEJNQo4V/2nDfUGheSqr8LtN15MfayRcM9ZwK2X6lFNhOV4ISJi46zyenrGreys1V4Oy/bbn6zyRE7GcV92Tdj63TzBT6EOVdzhMO3AwjscEkvErV90CYL6pZxWaw19qEUbo9t4/YlhO9iBbtCoVmVTgyhrOJHCOGyq1NVsQ1CbEj54Kkr1R62HUkKJABdiOTwaG/1pR9AiDe62emumrprVVD2mugjUeqRowFixSprrQNnkz3bpCzw675zeIG0qv3Z7nOAfKeuX3uRH274/oA8DTLtvoXdmBfipENrK5L++XbTUkxJXR4ssyl5K+rQQzu5WdfiIGVJT31g3/ClNg0uJmtzU0GXjdqxUak+i1sWsqby2zE22jVNJZ7pKqsbWvJzYxYJRl6JCPy4mx6fWIuBIZIrtNCWLPddWtXILtRYl04G+BIYqhyw+kimbDfIjbGR6q1ReE4hhd4g4YT1ye1oKt1b2wk3af039C4DMhD5ttkhhePZ2Sttsxhhzt4zGYeENrqrTnhY94vZkp1q9d3WEmtLBgnct3rCCa1uIaw8xZOOrGZ++5uAdeQbO9VVYq/aKVxZRc+dAkBq6todCrOB2BabwIZ7CClOYgdiGRz6QoC6RF1txxw3ekuBpAOqgK4C4Ku8aNP1ZGv8kGn3nzrEl/GfG7+E94fFo9E+DGVoW/QvSM85guN2zOHfJ8c9V18xkU/9Eo9PT5Uv7xhVr+1AOP14EFz4GpvCon7fidWNj0bJ6VIHJNNZgQxN+0G12dBPwSNJlN9bV6NQk1Ys9Jc/T5mthbkhKIKOErs3p7g0DdE36Z0VleArQI3gZnofjOj6wdepUcxRy42pPDwZcas4BNZg9slc7OGv4EzLf478DR1dP2fCs7gczHI+chDUjey4X3X6U4rNQa75xttz1tP1GQg32qCOsY+48pEV+bTiHyWuluxx9pxizCllHclryseC0SUadcRpvT9u5HKMMr3qYqqdDavGLcn+PyYG4TfAp7wCpxAemAv8a7uN26pZj/IyRKrIincTpQx0T+hkLaxo6LV2dMLGlWyoGMarQkOSp5huFgeFlHRJLLnSmJUvWQzPfr3/F9xjyLolf9EkJcdnEGbbPrji7HHMWkXWZTGQt5+FWnvZ5+UMYAYGnjSsDvK2vkPKCro3mx0ExIgCmLovAaI7Rym31GPSFqXbSArGouoYzR9CvPGPHPxcssIxQC6whyFRB888tnzMbyLPDgxM0Wafa7drXy/qDbh61JMbAxVBm0L9NYp1FjDGrREamtxoOaSqlatMWsk9aWlRzXnm2QFHYPRJgzWYCnbAYPRfotssVwc4hVYOCGU5Mzk8nhaibpsu9Kb01aSJtQPX41sv/Vr6fjmv49d/E/M20SoO+qgOpG2p4L6+EaSbK/vwu4ROqkfq9OzaLX2FWmdmAsdr9L2bCYdqrYGVHsNgJohUPrqd6lW/E/AGCS7AA9yyjoIgffcgPTklAOVLBOZg9q7T65Ebw0OEVzyRGUEJfIo4ZmhSR6B3STv1TtmNlP/y8qxqghkl+rSdDdbCYhJsRRP5wa0+YvqzOZPVHegKW09WW3YXLwqD+hrFuQ70eMbUpG+n9ONqz38jzUfVSAQSKQYRDa1SVyFpbDfieLzsQzVZKeeVJVmslaOoHAe3C/+i92tFScNOsXUIHInnuvI82hvJ4EFS3ZLO4iSMF1KU2bCqMgSQbO/76oOk4CgiXY3qZ01lA1JVIHTJloc5XlNEjzsgklBPQfbFcuaaErsQNBuApH7XiwxTSJ3S9p/R5Fi4S/7pmrdh51SYcpRhbJLUahxygtYn8wHlqsM833vVgM13JlBIlxqPeqO7M0zqmj11w5S5axxsRio6Gq2+0RE+cQjrO9RFl3Bh9p0/z1jOwg1S6bhBzpLQJHrYYWg8tq19J5i4pURNojJf9OMXjEMgJsWJmMRPKj/gUjReNaPsGUmFxRJZyqhqwUysqlCxxxJEzaViVYJgcjBc13ZwW9MMsTjPWn7Zp0amCVmNRdssK674C2svGUePzKoB4u2S+aJfuxiG4QznjIDuk9zp+kK4dPMSp97IS3t1Y4GkWgRlJTnaQZdUWjObzMzElgQYOqSTtnuekC62OlclNJWFcB6PIGB2J2EZaEIRZxe/phnQDj8KeO5+xRXRXJMyVdTBAEKN00aojT6Af+UPDP8h0/ZT3Ukt0TQ7wOwk4Q+45Y4vaPWHdCQ28IzXP3R0fA0mxEDN2fnso5VRr08lCg6S2toSxIII4ae9cOmTwITOTfBfrxLjFKgG9krE8a1zecpRnFV+unFShIb8vEBYW8oBC/4m8NCXVUxNyB5UH/Bzs1svmznDxG+0cNrJTIAq8SVYoS64ll6d0S+KFeQOZ4awIgM+FaL8JM0PqBuc701pDr0eTdTJu8bHMS84yFU6CGmBGoaVCavLZs7HyYKyyqVyAdtp791c7Hdg1QjFPn4kgCcWc4VZAEDtabfqF2NM+mi7nYCOqGT5Og0P60TT1QnYP41NW74Ht9sTbij9Tq5xqVIJTw7WuHFQqOxRwLMNLxzenGTgQRcJ+Q79FM81RbV/POGBagrWk+PtDBfoJvt+EZ94/nMO/KKph/ySET+RA3oumc9E8UyH+YGblmX/9MoxHcB5AdsFyvKPYOVFB3l8OwKxwh/7Q6+6hSt5mrZaFKkZU1Q5lFuK5TTfLEWJC2IHzx0LCzL8DYsbMwmu/ncc9hc4ICHKHJR9HGJC0k69VXQZWWtZXLtC1qzfX7YfSeqts13r5gf21N1vo575ZStWPhdjoLNowunDtX9TyPjFqgccwKxnOq38fhQw1931g5PNehIR+2/lVRguaVssVM06jq9fjHJY9s0qIBpBA/+SDvKIKsP2iHGmAVbKlYUcV9D3cFCnVd/fMlWcG5aPe2JZr7o3dEqetL1/cX6lo9dnpxXngDhTKYxkHUJzC/mghT/3tzUIao5lxVl8DizUs2bEGNk6IGiB4rhBl1z/t32P3yRhzJoKFEzK0KL+wUjPWkNcXDokp7PP+r58gumdp92dwSzzHcY7gvOTVbbAOhFQwStLMu4GEOu6AVDrP5626vdlow50GD2KUj44KGAfZ2S81yfj4pajkY1vDF5vZgcSz10v+msUUXYd4xTaw4GXzffcWyn31rgkWgIpnk7BQYuQtx2hw1a1NTZXhl87BwzldDHFkE6cf9tCGWZdgFl1CpVZf3WFTyxQpAbV/1tqxuFI0qgnABOfeBzcuS3h78vdmhBJSs//aBSwegfl3rE77fjoadrNsP8StOIOSzrjNvVdrB1tdFOapqMQAw0931VV++0lwEhEr6Tb7kxQ7A0DHl6LwPbx3cPi5pfI+qxvj37DTnMhN0H/VBXdDK40QlyQAoiZhrTpqQXTXxbY0tNRcU2+ZtMSbwA80yht9TR/lMe3fy7IsvZYzQz2F4BYv58Gp+/QeelV/NFuWYB4GGT8sQLW/bugxg3lpSzo4Bsm0nhqnKMQoLBG4IvGPoaP/b7HxE3MFPbMDjQWfB3ANn1ZOc+A4GKCLPHiteryuB8gAPP8IAsWDgPvk3MIKQWK466mIo42nzio2Y6iAEV+VDPF1l0OdcOwasfTtHb6WXhSFaeY2nRraxclMuC60cqtxdAtEFFDSdQo1jug3inxGIdSffF/4dpob0VfQWzjBloFE57uJrSLSULYGKTYdM/+aFYRIXjEFkAqlJV3hP/0iH9RDHmnvniE9q+UrIFdRY6ccfrBWmRerWAWAGFCCgjMhVL7FsOh93SdNx/GTkKXT9kqN+LhWxZIEuSH9fvZj5h1oMAqRdMoJfx5Y8eySNt4oXvCGTQJF7Q8nqI8fqS/Wets9KXNZ4QS75ZeLN/ewHtQzJTwZo0zWZwPKTdpSiro857CLQzw9nG+MQxjeRLpxj9B/SE9qruVpDZDUCRPce9kNMPB9znqSpCW6WCcEXLpFgDGDsXJcZ0YitcT4CeWtb/89SRoZb2Tf+shnlgLrWHbAo65KWXdEHMJa0EKoRrlY7UoBMYFIVJ3WSwwBjZR+dMCG/xTcp+ozhD0m/rQUhZmu5utY078rFwgBCFdU3NsI6qr4aQhJsYl+z4E8PEOmYNb1j1tn2Jqd4W5s9sW7nf36BJ5JSuPzcho+tcpwzoTw1hkYqfZNYp+YVoWiXBQRXEn9PNtoBtfBpKlUm9xaiie39vjbWNMFyOEFhNoZI2QC0vkFES80Hlrr+4bkIErM17gwvv+5yXxbp1dESKGd3RZnV05MLt+Jt1CwCha54Ad40HkGbg96YAFUdz9NRZ2qw6l2IYYSsyiMD77Y/jqljkAqNfrSVgDZju/FrU6/f9EQ/Z2abEucjNKlM5BE0DK7IW2YNxmXO/JSWK0nn1L7AzAhToA+GCpbMOcYIHVKAqFQ6lUiqLfRAoksl6PZgIPGQ0ylSa/FkYaiIwSCJP01u7AQoWNlJOGpO//6pV9W0eS6wZliAQKYSnCd8ZfOXoaEdjhLq4gJ5lhk2oYdunYd8Hl8u3z/b+6U1O7PQ9Ut8uInTBUyxVvXzhbMCiN2KeOupC9Ky1wfDtsvw1TXrtAgYxwnAJm53TbRe84XukDvWhCv5LyLUXJgoO/j7ZHbDkPY0cPqZ1Y5xITA7giyTv3ymynX7JRGlku52q7znE6qILp3oKbJTqZUHWOayvIkvaPowL0iW8bl75zN46h77C36gFlGpXkZlsZUDlVQ68Zc3yx5mf4tP1kP2Y2nHLbt7j75Lou50/Bq70eVbNLY48/58N8ZGMbB8Av147Z28UP0lAhQA90jfiySIime/iQHNYJ7eYLrceaqY+3FvES3pA1oKld5bh1Gr6C7VwpATj+i3+RPSjBV1gfwpmqVv5tjuPfvzrhhM5tMDw4o8pn3Qlbg8WjDIz8cDR9mimm5AMGQA5Lw9QO+j/krFhZfQXP5ILxpxNXLyYzmVhK3PqXSMJY3O1ZzWlxo/SJ8KnrzMRknzIVnQ9E6CPxpr67iWMwDRKYarQWr96YA4J+/OwaTlIdb7vunh29gQ0ZdgyDfrR/UN+SEoSeIpdQ8BYSpKhB3HIbeZWQaA/OyoltS+8pHXnrtSfVIqeB/nO6KPNPvh3+Xoxe4d638h++iXzwfRRSCReF5vPpEjJghoPlZjGbIajvexdqVq9lAnOTJBanjB18+nZ9upr3kyQ7iCVlpNmR0FvRjbb2vN6XCsGEC0hpPONRxV4Bzjr1kSqa67kIP14AaRnX2qPue1WN3cYbgeu9iI5SzmQpo34Ea6kc1BWpaP2R+UuEjv9ryzwcNWXOEuJbiQWk8rK9w+gO6hJ4G9+Aey4Ni9TjWvXKmz8JJ0ShC2EKKP3STRQIPB6CNmrTNUfl/lDOf1cA6mTNb3mi1rEbSyrLxN5Qvwz19JrOwzgGfd0cjmrZ033uUW/NDsfZA+hQnD003GLc8pATTtrTZcAGjdpwrKrnBb0JpzlPkW7k+fl0++/1bWm4z9O2q0jz/pLMG7omfuPGz4tTt4kYbJ/HcZ2ZaQMKRWhSrwlJTwoewHu6oJJdw/NUgAj9J0vvBDmvM/YCzjUsCSQ3dq09+90cCPEcLn143eih7wVKcpwdnf8mHVVOn4i4j1YJzvpvWREvwKMYOgIewyu1Nh7Gs/DNkxw4Sn2UcSXVrmL1QqTJt89UzR4umKsq0WFO8BachvJCWe4AZ7dnLp0yFLdcbNI8EwKcJSgQGFG6VSP61eRL1h+MCvc0usSKNLshWHuQ0xBypC3dRJFNv22E2eOtY/JQEa659svWEBt4yp+1y4N/eKwf0G39MFvXvE4t/WC3x8+fldniPAnS4h2TaeFB/B31o/stPSGui2r+p4YXpk5cN3ZeXy4S1L4/Iv3cuPDD08rXlv4pDsCBoekVhZACOa/O/j1OCK5gjyoWqPdQT+611Ocea4U+Bt3oM64xE+eMQCd15ahM5NB/fGQ84veQEk4hBQnbUJ//Ffhz2fs4E8a+B0Kp459uyMDcOS0fVZlgdlr4uMW1/UFdoxXlopnEDANjRSinbv5Na6yd26w31cgZGOhxsgcRI959Ltj+3611x1+8UWqhvPdBJxlCglxaErHXlr3200kZgHV1Pfaiu2p3wqGm46gTWmAM5z7uARNRr4RRmjC5pPX9IpobuEupKUvrZvrY3VLQgNnyzxN4WSA3+FTkki5mJUGcMaXE4+QhR6QNCEAVimS62QygfO/lYXnmic+899cC/0pkn1FOKxbqQSVcfo3yqMXY1Ka4Am4SZTB0ooopmHyn9Fy2BcZ1YRYgK4T+CYr2OX30IaN/Qrj1ndL+ybFCrdU6LKez+gTxKhePbsIWJW286PBHhn/fiWy1sMvgAZ4Pn4lV6kGirOQainaDFc8p6pz62eYUPDGF6AoFbth+wk2Vm6C5amKXBd/MvlYsA1k7pzXSerqy0GDEjKbctzcmM3Ubyw9sUrbktj2vhm2JjPld+AI6/wjN4DxKEHwtcttCNzm2mcCm1cpGtw1y1ov0o9jdogP4JGtXIGIFJaBZiaHSLR4K5vRpgLVMAqpIMQh4bn4wU+YQGqkNJbl9Ndy4hJDwAJIEVVB6DlNj2lMlRyUMuQMUPWBJsL/Rh0372WofqlNoRAXViL36bUeIXhaTS3i/wE2qZu+BqsIuU6SZ8cGskNDtGpFcSfxljcEeH1GMmiP6+PHcM2/Qcsb+4Rsc+gUhw6QygXfeW7l58Bcyr/uIUdNJeWD2xwdQstE+B0iQsw0Gtr80/S4tJ/ZkL5LEB/bEJrhT7kXSZjaTQ2h3QHUocHDgcj8IheXCxaVtaYTfXvZs6r3XT4VrEIVfdkBPonQveegOr8nm4pYJVqNXwIDvHu8VXXXwyIONJWV/DRNZLHBMgvBBndfLT9CB6EuUXOc4J4ICSfEaSwI1ZA+vrt8FLKLqfeGr6v7pw0D2MkBV0MN1J0B4FFSDf/NQg33AWA9izKcC1IEat2fctiJHfbIKSHJz9pTy9O3Tog08h8KagHyqfm9ZhlU/X84wgNB7iuIqNpSGYs9jwVtN2mT2zqZ9+FdxMljLgrybDWq1x2c7hqrYU7VulyyrRQiGkYmDnMkroMQxRQOocqDjaVwY9LUnPhnuE/Bkw8BxpgYuBoWyzE8G7W9FwxkBr8FMDL2nJxnzwirTiOhONOe4zlZ3FTN1EU7F1BOCbTxc+4moohON+zR7K1l2qciIJ48Aqz77LiqDEg7t2zuoYEu5YOUmjJ+04DOBojiR+56ECjbwA++6/oueiriJfRn0YpcXkbkXQpgab2u3E/y3jPNb2q2GaR6RPj51Y0eQAGnnr3E/mbzEwwpIuIKk728Q8fTclkdFIpX0cXGd0H3znddBrp7YTfnP4p94XCY8dM7Db36OKCFEHIcLC+eWqH3iMDhMQ4xXFeTQKxAuEEhXS+sR0YCn16WVGwAz+/iI6/yqQdR8vB6OluJ/eNTyd7/B5Zk6U6WXsqhlOWaihR5VB95QuaoSKUda2LFfqnoVu0mvO2KPftqM5U5L88Vpgjc2gIpIUBUQN1YbsPVX5aUYhCXOKU5SFHG76xkCsl+h6ArnafAb7/UiKKV6+lZqLKaSseYAZ2ni+mHU0OKeMASgTOjzZo1TlUFK+MIL7/IoUSpiaUoFKtBj8KA6ZxT3l5b9kHX/va8LnGrgtJl/DiOss72/fYwlveY9eQ5Vg3QjExK5el3RyoeQgf3Wc9PWMfg/YzXJNJaM/J2O0O4vuTiakoKE48PbQCkdK1zzlOWz4MsfhKLAI14JMqYhAVH68jNAo5iEB7tOR9yxQNJKNuPQBvQiNgHcwxKG9fEq7TILFiLIJES2EDC4VNn0uZrXz6Igiflb3GIElotpaOHYqwA341UzDYkXVq4IDd2HUsMb9wioB4iQQIxb61RImWrck10Mj0DEOkVg+vPxN196i0Ag+UMUDVLeF50OpjRVQGimjLGR7KEqx4k5UHuY640R/nJj19vLQ1RQYDmb9RIloKvVivVewbSlqYItcBAJax2xytnsCUL0iQuZ7Kd115aJPA1PwirOYRe8ljFNmlysL+7LgOqKiPTFWc0iYSAwwuywyZ8QqEjgJKxjkdbwuqhF1fJeb/DHwydh8AHwc+j4QjygxHB6QQ2LsTNQVRGpx2xHx7mgvAR0I7kUvL2zFG19I2Yfv3FrHsfFwyNp1sjh9moeN6V4UuL1U+StKmvYgG/V2HGu05nnyyEn1kmOMHF+AiZPy+0iVyX8icrLl7N1QE3LPBg0PjaJUEUII0ADxl8rdOy356EzOsz8ubwI/HD9o5tFzBaojdKYs3jsuBQmrxVUNeYWh4IeQyYonyHtMK3odeHkDTqbEwkYApspq95D7aV949LAaAyQSZLyx8TYo+BbdVtk8t0d8NKqQSUZE1vgOLuQWKlYiy7SlJlR90046t1GTRTT/GZOqcODgEXwMvBtpJLW2o7n7EoMqPxAphyL22olW/xPQ0WQK1dNuU4t0D9by+QrTOpmxMpRb7QvUXj0O53tZyPT+trRbav1KP9Mjx6ui9EyvgNsnbUEQAiUi3Iz7XkywW56QcrArIKhlxSSiVlLDEWuI9pxRGbgqVcKRVsNPQ8dY1z5hL+ghuwCb7EMGxhSd3uVvFXQABWEfuYNpq2UoPZGUOnLDFITbC98zwbQZ7o/miADK2R7hh5iFebVEM8THHQwNcqbgJpxzmaLbnKeryFcbzGnhiQkZSQokUUZwOb7S9rWk+/c60ro+CQVH0g3hsMTk/gj/nycbXeUxttCAd9S/XoFuGWB+Bt86trYy9JBMZwTVApXUET+sWdwLQ/L+hJdDHHzsKO/j/ZFPs2ObT8QvMOfxPzI1IiBJFlPiwb3gMDZCmUX8yR4noQzCebNcp0ARTVzKvHs7RaS4zMxVOYLh/zEisRP1nt5MBs3bMfxcBEfnWsSStApqEtqtKaqWR12iafy13vIAfPKZsy0ltmFyI5i1Mce7xh1OwaxEto3bdZdGYXKxIuWqbVvUDBIMtOlCQZYJRJ1wKVQGkvzGlzJrzsoMmGeBcrD/7sMlyx5u8htUlOx1hGRsnSbztmY+KFnoC67wq0aRINsdfXv1JU2dlOFF27Q4RAw+WP1dbnkYLXCHTgy69RNOEzUia91pYlubbAEDROQ8NHzAuQTLarcqCHDgDvuhGYXDVrRSLuHfIpQ7VjorQt0K7AgnL7yHgYs8Kassk/1DoqncxmM+zwG3/ZiJN66uqrsiyd4NEdp1eD1ELKW7qxBBDHTa/2miStQicXbSZx1SiZ2OHELCQgJZoZx/1M9eO6yg+uMOFYYZMCjUh4hPvWD7vmnpp3sGE0Th29snBkBYC01nDxSUuUtSCD2T9WtGe+xWvBewV/Z0vTHBGKZ2X00uv+TvmFCzXlfr9p26KNP0FBmfX3FnCbUnFFhqT2GryhioqW+QWLoLMz6TcBrgq0JS/QkT+eJy0wYS/oweR4l8xLwRnWz9lHGeNktigVqxVGoz6ejchQ+TQdlYd4xjSd3hG4Ir5bDY8vVs5qASEEQFG76a2OFVuObI44KGpKG+MlSmNN0fULsWWLLbUihSfaxRq540QDmuUEOuyv2k7giNnHgYv+xVJUIOBqXUygnh6wtojDPH7h9S/YTAiJxKPaB1schfz5CgyWZf2RtsRjjd1M5HJhxJwL1fnWN81NHsTZQ99t1+fY7aZ3DrhDbEEXeE0JhSTiFh0zGENxt3sXoov63juAHrKDs08JaB6mZSSBRJxsQbRTe4J5dBrW70n06SNBtTIXKdcS74sMrPpFjL6wZaG0OMlCW+fUfXnI/vK84mrAKmKQ4LAhK7gYC+6VZfvsVRPeDeLVSi/qOtcjdNNNaVWxl/xE2OA8wvnSqGbrN6LLodxOksF9BmyYOPhbyoj5TxDJtuLD7f4jR1hwGs/vA702TSTs+GTDka37jh8Mp/V9Yo6ANnUxjVxX45bRsQc3/+QBZufXb73vDeMXhXoZHmlgTx0uUiXYWxHQhbEhEgi/WOVvfPWfPLvRPqotvSb+59Io+eWtRXlKjVvFWAympQw9jpuN1e56Xi25ADo80e6WECPNP2ohlll/trtKSbWR1FZeESOxIBJgDesJBNJvAzqUAPP78LWaPwT0dojTy9E7kVURsU9kt5CmjIy3cTNotTe+I0Iw4uXgfT6jYzQnfnx0Clw8XUZ2GK6yX1XwxJpRaBeNcBHySzeH6b9ix1edSzcKkymSsHbrgLGQM8+UyJncmDKgJaSp93HNPxrpxq21eA3Ez4ldGObInzm4AEV9ndP2OmwqncdGAbVwrVgGeFR+bvpnFPgjnyzRzoYVdpghy07tilJX+CI/9Si5SBgTUP0f+t/C7SnZKHyga3cfPbyib4pRigCoXkGk2SBhowSTUP05A5nnbm6VtjtOv1kElFWR7hajXIcZVwKu+0q1vJVMwkZCOF1Y+A+cBELMQ34vDA9s8cZLOYz/itm/hcd/NhAS56fNP8huDMGe924Co615YFzR5pssJFBKyl1xBk64FfWJkZjsEUhkZEJvjjcK5LPmbmnqw9lxNfM5anaQRJe+w5BGG+5+7/2aVYi08NQ5+mwbZ0oiGY/NwndHq0WCpnohtdFyJM3zdcajmOyYiVS5pN6IJdCTfuVrnwOz7ggzbrxNioRdFkY4Kv8o2QPquTyRCeEvhOk4054FHqJiUXSBNkZf2OImd0AE7V/XeKULR1CdMgvlT27LlpMabjISATmWu/1ULX1XzPdf4j9T+RqdJBhs67eMygwl1SjHYtiTnzzsrRSzgGrdKEhll2IoD4OiG2jNZAzF826qAcZSqpz1h2VypB7QjBZ8Qs2BwE2iv4Z8VLlbea5u2Bwl3zgHRkRyNx68bi81t/I0R48Xbf22gW2a2UFrpCC5Ls+phDEA2UiTqBa3EKnCd4pOxCAj2yv9qbEo3P/a8lHFygNBKayqataUo797nFJLVHuUJWK90WmeZMTfWl7Q5hXk5uYi0FQswCLBytiU2yAX7i+j2+Bo4TAKhBOpq6iu/iXG1anFmoK7hiOuRuDRB7OjxhvKWc/RANCRoh+c37X609AzrE+tjzKvt3+GrK1kj9tDY2+l3GYjWhMjoDxqcysAZypKPpK+2mcKjgH8sLkdzFNHuLZcJsvcDnZXiR1/Q7Ohcp2wWyIgZSSEtVNOWuSfMAIPTDDQLSyb20FGBffx5j8rsb8kAUVa6hMTI9yVmR8/u8QzGyCnQ39W7D9SJD8KwMrB11Sr0E3JPx/qMax5IOFMWvERlFvBREDgEO+dNWYMCFlbzWMsTkp4rmGKdKU42wbX5+qIuqa7F0Xpfy3OYCzaklcWPhgIK1DeowvR1dZ+0BvCtxbHrnOZpwVKFG08tkMudjRGImUjEmZGd5tFSpqc8nojedAzLOjRMIA8jVpWVnDI/rukS9Jo0Qf1vpigEcXl7bPx36nXEVzmNhHvWL4HuU3fpvQqWF/HASXzelt95fW4D/dfehbFaztZS5EZJjWbk7gIQnNxdybMvJro9qY/JgrLVbnHvpj/j71iQUibFOkXrhJp7KV6UWrdKeLIV7BHYN0MRRNXiss/l6PapSjfMHo6zYCkhHReKuRnbTKJWKfsDzWMoDtL6EVh/R9ITOAZcduYNaNhu9TePwTzMjFd5WcF2yHL4AXYRIyPBz8oasm70M5EQFKDWGJgVivM6RhWY5HizUYxYaLIZUfbAWFTz3xOhQ+Q+TDaVLlSgWmHGbmpmpbG08Nqd0dJyeFVWyQH6VkUe+HklyAVt5L18665LGSxU31uxVaGPJr6K/D8kSF/685YfDke17s5yWiQ2L55tBsdUFpg2df3PphQWzwlqtSVxvNWA5RdCk4VH7uHfqm1fCPAF2WnEsBfGC2rsABsI/+0ipVpSaXqi4yzCabfKhMxfQR2fo3x0FsQFc4ReznZcIk+UZL5mTB4Bkn8I+ZFXnIJFbIjFP3tJ/h4vezqq7WRlZDCLL8AUX1IzMfuTmYn+b7AZEvtrenqW/fKX/T3YXCDPAYNJ3Ay9sDp23USaG+Vp922cL0LY8MfutCF0ieoQJfsDuyb6Ot//HcieWJMOlLkymPoCAbL1zs8w1mzvfYP20csKwsJEJ7WX+AaXXb2YusOlOYJwPHTU6f48S0AYox9qSAiRilZpabSg0eo7IbTINrA6sQAEAiKI0tGuE8KHWKL02SEOmgnqKjkm13sFveKRycYaJRL8oxI40ge1nbDCdFktrbSsmOsYyrdIz9lz2L9GGy29OfN/W1qUqYtYugrn9yYIvLLKlqJwDFmGoXdy6tts/f/TH3Yzc2rYXe+R2p4QFUO1JxU1HzilLQlLOi4OKYXt4H+3J2v5qeqRBzWt0Ko/AAYL8d+Z+c2LqZSDjwm8ewXj4+hiqnHWStgSKnRWGcC7JvUaRVqfJWpeVQGcF+h51AhoRFNy0x+voi5JB4YrnKRwYhXeQv/E1mgKNZ6KPPemu7MDMGQOrJNa8RGpTmXRH6/xbBowV+UFz7xTN6m0DDaBe5xlKMGs6tcAKMluYJmDO/eXNZzj1cqjOqJrGCzrFuLdXQ7nXkSWFBKgPa0V6GBaOubDXK2ncaDRan+Cdzf775nputEIRRrLRD74Jy84r8KbDSbQZ1daXj3I86bInmc/Enre5DWT+VTXvOE82oqXNUfw/8Kw0Do80tBQbfZfyzRQGDKClf9qiQQ15qoYEaI4wwklOHaZ/X9fiXLnMIfnFQSm6ZGpKUGusgdP8g9AzylV2fIfq6hprPHKZ1btgLP8U6TkZ9erPogdEOSp4W9GSaRRLDmsoI3bHylw4rQm1G5CvAvVrdblzXZ+ghJg2TckSN7gUn+4WqDWYTtOlCn6BvQmKWISJGjMcn71peNm5q04otUMIRT0J9BTXy1bwdiAx2fCbGklASTCG7kwDdE5qTKOX1arVWZ7AFjPXHd0z+trSUBsxtokK7PPoQ4QQ/nNgTe+soZYZ2tub1joeOmw0st7htqP0layzOETZov5C3dejzppWzx8RirvLhodww3S1ubEF83QoNVa92AR9tQMtsdhC+ht+2E/K3K4NOc2gByvty6eV/d/egm/LZkDdYJ0zqKk55Q+l7L+sf7T3/IITPED1cEOctgQ8R9XrkpyDhtFVggwRxOU6icJJh9n8pNtJR5mKrquOa9m++Lvie8B4OgtI15KHOzS6W4q0Tv4Tln2TjrlfDd/jhZAz6nMcoyzKf/Ad3Ef3NsFKmvDltI4TAdXdzfimfQRsAOXAyoUssJwQmE9zncSL5zvzRevBoFZbjlfdwBNFBlGAr0gI6GrSU1IZ1QfaPf5+cFu3aKCvGS/PgCu0GT3TNowM+5U9tLwIRDd7z2HOx9I7+YUDizNzN6he8a3tp79oBDh6uptGWyoNp9Yk2nUjzD87aPOIyJ46WBgLQ2KoPm9oyAxUma+CkovJa14yC3o7kub5rw0rU66CZLS9PVhag6A+QZ4gHUJiu5SFKMhRaEl0LqQpcgPRO8JqH48zsq43b9wS8xtJIReG0fIVEcSmE1k71FN0G/CAH5MUbSW/VBtpVAVTaaGHYmmde0m14uJzIjDErajL+PEAPFp0urbMeSsmZ3M3ET/FTrc90vKa9YkfrpNZ6P2l9lqWL+/zUrqYE8EKAkk8c9yBXbZLaMnmNDVdHXeK6r6qA+NUzZFTu41R169LbiUbzy3w6lE7vsiin0O1gfCb1NEEFY3w3QgR4FUQeA/afjbUICOTTXyhVg6tHEN19nuFk2msund7b8ceTOuHGQH25TEF9ShhOTRo/FkU2b965fHpwPps3+e/NDfN07YG7MafpHIhCMSjZHy0iNAnHaOKOb0tjUz4do5bjojjNnS17ZJKXUfFSUsqrH4uEfDDGc9/SnEISeVMFjgI/LI54YInSdK74++ETCjp+/4AVZhGtcn2AVwC2BNeq7RcvhYTW6yd3RidvE89wbtfwfgdYuasC2O8filr1eaPYs65RXTbb8SfmLaidfvCJWNLRXbbEXz/U8lnJHQLI6VKoi+OlWsktKS/lBTe9tdaocq+qZPMOOQEMhn42p9/nggqN518936kyMb8aowt0ENRqpJoWLOuBzJus7mUlqBMg2wMuCKWkPUSW/Nk170ruF1bgEbO34GuA7AcnIS6Q7xcF86W2LIpqNt+69QKbuPXL2vS3KHHvGeKnR0Q8gX0drE7a2ngCWHGjsvEoDHC0RvBk2RFCZELLHwP53ZxtrFOP7MG9uvJ7tZ/D0z/EnLgPlmTaa1WYR9JYxrzaHk7Wwd4at0b72dDaSNUhoZAfwI2QMKeJMq5QUi3sgxF0EsNK8kNw6c4MpxKEjTb+WVcVoErOrxsvngqwXNH1394C7m6wj8VfTh+bsyUtzoe2Wd/DeedgHTa+ZmxEpvcuHw4bSXJQFb8DJZ6ZT6am8fRQYB5B/BZ4ZjFc7fSk4l8HUBg8r/iAoC1z1GZFq8th2kzG1vXc47cOBvELl3Uy/nJttWaJrnPuL/l2sz77xwDvsB+ijyVGpiArqAC02qgxuvpq+B8xwWruFNzMTp7LMpCoR8tOL6vEygnpG5Kt3vJ0WLZ1/FEcPOSMzWLyr9FHGmi2DLQ1kSMNCJawo+j5GHyFprtGRU8k+3VNpcGporOFKSd4xKQZUXc4zhOtj0dVBg5XqIJPNUksnly9T3Jhm5uo8BuxzkemjQ883VZjEBXDqIaWtkz5Cenuqu5EeDWFvoyP2pYP2jT41B1ag22th+Fc+SvxDAsT4EsVAMYjolHu3Tfn6omb4+ZYXg3CFvFgW/TCaRZCF+vfX76SbCuAkmBIU6V/DwYBE9WKZDDxMy0lDk0AYV4j7xz7RvJ6dWkh34yDE/z1lEAdyl4HYCkXwFLpXlfWuESjV2+uN/MKUoVRbtPeknoGSEuQBR+P6l+kpEw7RWPKUrBJOKRAlK9P9UjZ2GefH8rix8HkoO24YURufc3R+pBbg+FTuuxRgXtBirkU6rBGTTr36mjb5yCisGXfQh7S0I31cfStOOn+jMtvUa2X8R2sXTbNq/r4YbYq/IIcbjNw8+Pv8yLvYTkv4I/XIAfS3ewMsToYWbsuBS21pDx7QmtW9dKDAs/Go8u3QINshGyIUWARYjQDXbMFbSsjtLn259ng6l6IgRU/9jv8JIdTCwd3EIo/1PHmi4RhKCpMOUSKPtZgYLakzEO1YR94/6QAZQofVVa3Yy7YxHct/3AIaZSL3UoWyAc5NGODdhgifcQ9a3e8AMqtHGRoth5Ct5zBcJ1oFZjEsh3U4oE295Ksovfuh5bXPdjqsdT1wGLNRhmkzYrMWTQtcUeeWbDuv0fx2VrAT27wge8QI7fu4X6ldn2Mgva7Nn7mV6t8TjbJF4cBTHOx3P71JVWUiZWc49OvBYNbgrD+P4pGnYVGHqGTNSv5DeLz1eIac8nXkZajXWUJ2SY6EJUc7TKQ481Cead6UXeCb5ubO2PuSWvyFfam7BOX8xidnvdYkf14Sd8P/SkHkxRwkVUq/EYV3kPWCbel3sTD7197lXVprF7LqjWebn7a9jBZXCQUSy+uSDiwPBs8wkb5MJy2iZlKdEBqctqns5JBf/HOBvgH9wn4hTsnCRXP4itpNr1LjHd+xse+aN65I+dQohu0oRnOgD3HMz7aJEl8W2Jihj0xRHjVPZOMrn0LQ9823ef5izSqP0ANU+j5FzVk9xxEUUftOjVcSM9I97aUhI1nYcM97yPslhTpBc6SudSZsL1drgJM/gYZDjXR6QJwc94wSzu+zTejrwEWYB/GL9CXLV8MyFDo9K+24g12t5ObjEeIGU05r7fLp+LqrqwfO5RaYaPFFPLyq+FMlMLxHv+JU40H9kG5IMVgM+Q1aNljp2TcLeqB7o8sVXdjLcDHYuaLXy1aCJZVDSGuGeL8hN7qF1JpeT4zQ6jJlolaXNojFBtRJLYuNDYUZS83DTgHlHH7F9Vu785tOuh9OIN6822/Cn+u6ssgMVpu6Ti77EvSYa9ocxUOWuzz4h+Yo+DScFahSbIpCjp9yptRmaYgHM6SLyaZCg0AmQ8l4Ermo+pbs+WUns+zAfc0DjjcvU7UMOon8BJWpjNOmf5s9QYKZkz/49Sz93GJ/IefeEA7Sy9pBbTyfAX/eJpKZlqIoEpXssD7YRSj8wZGkNjfC6Q+vRQI+nnfadJu0Iy6hslQknH/asUHxFt795W0KKCvRjseg7JIIppWF2YkwBGPwqxmSOSQuhECr+mbmcajFD2ytBL1u+/jXBqjgCv8vzXef32c1aAo2J2/k+m2V678RlnjOJiYvoEboH5Wam6xYtRuCTAQ85v7KpTpkJL0UDozAhV58Ao8kDHzEngNEmTy+I4yCfJUDjTNE8naVk756ndBG4qfORHqnCay8u8lHyi4zlyze63mApGTpgkBKTmkF0GAOzEola8PQZHUljmMI60OvZgYDS9vrkxi/XwkgSmBekKaEZCK1/87W3djUdiqSv3IDX7nwqJl1QTLgQ43tUxYkXw4YH5u5LJKQ2hg5Gl1NO3HnZH2xYN9SE+Tku4GfjqccBLAE3ugAWL0nDejLVsjO+7Gzv5QN7p+0DqfxZx0du3hyDnA68IvFiv1U44VNREQFGpim47RioVZhAAerDOn6oxbu9qu3jdk+72g184c1xHQpm0IHUDvFnD+cxGMiipZDO9NZpOVa5zRRGqiOEIZXIpRvUiM/LXa3DdJxyCStHqgD1vmlBImgToe5TlV+7D8DEhhj+7Tb3F5d7rALxFxUWIuKJC5F38wkvzqz81ixb3BPUkHmh3lT/xr3zp1CeBhPwTBLeO28U8oiY9WPeD9CsP3KEkOm/T6bT2lwmFn9VAKzd3Bw8/U4cPeCkkEgs8t8cMBDWbZn6ugDwDmlDfurd12a98SCRqCjFkpvG8g6bYH7fmRQORYiIN+muPsXXPIlzuKwSq6WChedXETuOpTh8yzM6jLuBOwKCpEJESlYAgQuqC15uwUC9ZYB/Ra+qUcWmO8bf9GSsiH6VbnLsqZu1YPE638PDplWTrayFP4+6NwOXlwsACQdOaY8Hn7CwJL9WCNG7duhp4IVS6rmxnIpOT/pl4cbWXOcxNcgny3t0fB9N/QP/ECUWGvJtJAbOUI1O1h1V3Rmj0N41RCWZTVFyr04xbjCUIaT7/1jcBzrHAcYRqjGjX1bT4vzIeh+IGUEBI1Y+qd2ZAI8w0tXt/oKK3G7ed3iClK/Bkq6kMZX7vwF/VqQ7Kk41kdckq/nkbhp8kmVgxfp4likKJwU4T4f9quxHSXobKrFIPEbK6W31L/MRRaPFIpjUBH3HdyNIGNO36N7qRRVGtrJEtL8j//01mQZa9arrKVX1WRGTILgoSDw2naQmDYxCjlVFFUpCI7U/cAxkdcgbiPq7RGZ1SaTUEqyypitgnNgYtQ4XO93DfIISfSGlyUm4EijlvjYibpvT43QPahGNdm/SwqPDItVwLxseP6YS3UqIFYj5N3UQ7IeXphcbltpXP4PPMDzp/wFtrzdM19IXatph+xAr5BtVO1jDWa/+ITEPYwl9a3qvgdi2v0S8XOGmP8wrTqrCAm3QUEEGvDXtrmuSXw7I2bz/Jn7qYe3PFqL7wTGxXvXbvi9q2+3EbqQrsYMZPTRxOn+2xmprcmGe1zB/1BNYVRZeBfj+CBTDVzDmZ7L3ZVoOWMhNBASLVzL826eOdHRkTg3Vrjd28r4UNPr6h+xDK1y5CUc7b98+2WRzRqVV0rqxY6eQggufVXRNtu22J6d2dltyLnrCjtPi6mEn2uSGm5yZGaLm/SB36b0wI5b33yGZBwgr2tq0yMwbqWNN+BXmUaCkwEKnL/a+LhE++9Y8bEKvfNLFItbMAGNv3SdTsRCclzhEoIQWDgA9FGzQ2AtBTZFPJkwZFS6TyuQq4ZGMCVf0DdleL2e1kFS7PO+deuB0uroAc/oHOiVTxNNQVJxwMGS1D5AiNBknK7RxX5I6kBvvA5a5mmrpCKNjT5/600s6I3Wbsbvy5cJuKVubT+zECP1O1xUVouNc0zhq5uBYkpML2A5P1YjdxJCzl2Zxi2NKLBvsOzyE9mgB9hUJOnFLClWl4bHjUe/ZMX1+pqy2Yap/4p6/GvImR3iQBkuEbHACwdl9d3GRST7nb8/c5EKr9G7u8VLINhJJoqIMc90TzsjTGAzdglhIA714WoXHDvI8s+KqlFgAmOjGWAOXdViwgZSuAIMRKacgjxRgiOzqHBTPbdVUWRqyl2VpHWXr35rHrod+eW+BOVyNj/xOp9sQSizfHhk6tJA2YvXzSoKRNtRIka3ov+zCWXXAIEgHPS26gIb4fistOQpcPBeFfq6q0maEoYwpme5EkXJm7CH7rDypIfBBc91fFMCBT+gEAdbLOUlmEgRGhSPwuabeNp35cHMnM/1uhP84qIYVoYcp0bsdSiZqk3+l23Tfuu3Jzq7g4ofkS9E7Il9iy65QQiZdmbOLVvUxE1YFGkHhWj9Xfbkt3DgdiLyjPbEap+guVHvvqvSNEDXoZ3YpqiCSE/v+EdprT8GUDqYem1y5F0XufdtaXfcgSpcUNy+lT1ywQf/cVhpMZIooT0eOmFNs33bS8h9pZiP8IibD6Bf8u+mEchH9MNOHxG0H3sYAyMksSa+EYe+nZFZTg9KmYBWB1XtWBW8lbT3UdhCcuq9fAW63NSlDIMbmlohGU82N62yE1+b1Oq0Z/UWs+LDV57V5w6AASZLWwLnRDk9A3eOTeyAPEuFoB3fr8C9X4eWXU2N7CoWZGrETpetXKXUKjGFHXP5/3G07nodrkAAYHcFJXxbE39Jyo2ICVhujt9cvEZ94wyKoU3AC56r5cX2tIn5MTQZ1ZfA9r0alw3ZnIR5sMtJXzZqng8xf/v9byF0YzLqGhu1E9Fq/sRZehe8f51dxX0s1mozEm9/Wzrh2MzZrEIqyvq9GJ1pn2boLfTIjloTM5vgIl9lejeIKDDAJbBpz8G0BOUY1Xxvl57IigoySrBs8VhqdqRrkQYbIG3nhfOewlCbjmCD+hTfl8kYY+VXKErJrxjAibBDWVMJeLL21o3MzlZVBTzscadc+Ii/iyfrso2lTGTcxUf2vwr+dQACSnjZlTh6udeAWQa0rHp054h5ASnFOwbHQ/UQKygs5hFQq7i3suIIFTdNb9e/rMZ529j8nXlMm65TDejboeq0SUkZDhcw+V+fsHjs9/+QnAGAc+j27CFxs8s42FKlJwjmpfgmwURaqtb5iQY/ON0T2BJuOLzD+KeHRoVVhzKO+l4AsboPuMIQuHmYqxEpWMDheWlPkgJEpTqkrRn3F0Q2XX/GL3JIP85SlkqHInkxNy5q7IRoQ1qSw+ZoZVGqEFZShASFs5UKWI5ssHjHXUSFQWS/CWX4XqHfJ1iwHNM72NFTWwJyivbVIAevFHPxYSvdG/rDLb2n9j54UyXEIiJQaCBFb7cLAvMC8eOfugPQ/TR9ZbJAO85ooKCYf9XDVabwGJ1OGMDPAMR4Jh1gTIP8J//gCPpDa6qXLpPP3FQfmYKTKEXmAvjH/WlvP3GUMr2ZOqGKSINjOlXtftgDJKh98STuIOjwlkXSs7FGNUNSJG08/e/Xk3C2WwKXSP5/+ICyQSBPROwlHDV5o9MvmUJdoEIDql/LDzDyzy/P5LzqNMLzwD1AnvPIwW3bAEuxoSzaXUO6jrqQYvMuOv5A2CuOMbSckMf5OC5x7M1+4wKRVnSi8v4F0r1Z5XngfOQRuxLJ4K/6+AmIAsjr6V7fGxTEjeK7lHWRSTStSuvliqXl+xs+rI24pYd86w2DxrTcZ2O3vgDcBIxdrTwZx6xejmFRC4YXNRI/TYUzFYRnjUR8dnTp3wE+KLulXlNcjHmSo2rYTmmH6i7PX7oNwCRqh6oUT1gIRjhGyGE4gnEGba2Am4eak0SMRN8WLAWzHRAbsI5TKkOfSlRtnmt3Xnb/xfgNTrPvOZHYOhr0sv6jtOi5RC+SrStrUGaQRRCtUGOc9ScZMh0SDSngDDNp2kN4qi3W8KGZty4sFqqn5jKsvp83epkgTouSzpzaQyMQzoyP8GEd5HKJgcXpKVJ/2iEsUdwuN/kF6Lb++T82ak2xA0OWz6Gy2ROkr0VrRzG2k3+tXYy1lyAu58OD6YH1nQNM98hHB1H7S99QdmKu11hnDLqFnF/58zi2OXFQGZ+V7nNNvRtS7EMvMwrUbFOsEsXurkKCzVtQTOWe5pfdd7+MO3CFndpuWX8/M+eCeRxCNpgq8MDZfRyNgtOLI/yagCrUF17UbQlmnmsXpROT5Kysc1yGtzoDrU7LguiJg2urj8V7WwRrnfgt/Rk/cYoFT2xpjkdKNKYUoNhmeYnwG1/QvHVtuyCHPNWufs16k6+HiPVDBdurGPHW1iydX4KGQk56sMsykvz+7+ndXhpH9dXXLJg+8EdpQzz3IBJvfEfVcwObWEy5r613+2ubNv4CoMp46vRzuXYfLLo3H283ooTtLqcwRM0bV4vJYYnHRcwio1ng4SJTfkfNVhmaM7zsKXnxXPwm5sK+ZxiQMdEKgfmB5TgoWgY1laaH3tHihSjkzH3cwgLh0mkHnw2KS5p4oGRSOGe8EYQmQ7EUKx4ZiQTjLhN54d3QmTP+dq4JS/xvJ+IbBItPhqVp6TjSTZu6WEOSkhbihwKnzOGySUiDhOGmeNXO7RYzH/7l+ROU45JRpP/Y/SOoiJ/TYo2JkegeQtra5d2EIqhnchsQsYxneyHBlzUS4bcIHmWDAV7/4F+TXYmNgpWgudpu5Pg478a9JIVU7VaVpkrG5fOmCnIPm89ZCPnimWR/0Vr7aD0qW5IjPRm+HH/NnVPvjPH4YZNu+CN1ALAK6eGmrcyCxGhIp90nyajSq0SG0yBP+hrDSF8MNVFSvMBxRdlFXJckrIB0SylYzEMBEU5AqVr8ZldsFxf5o5tPwtq0D3sqlBFzmVFMROYoSDh+9aAhTNSGAKFUhboZsl0Tul71Fgp4sXfejJzG6qymyGbBkAdzcVkIJIDAK+cv4zQzlKrp/Ji/OKKCaiN2G+4hTUBsFOsaf1+cGkYlImeSGFiG+0oobT+t3ZeuH9fHzegN/iu31yYm5e6/CsV3D5mIyVvd7kPuFurtdMMs/9b0VHR9lAeELnSLSJpjE8jmdq+pnuiJCmJHwgqHP8dFDqW2LoIn2AvRrAYDSyIfotmB0rYhKRvOoUNUI3tG7W9YW2wx402SmirexH+twOljb2nUT1FZ70WxId5OX3M2GMDEY1WfjZLDVlQeph9M0gXZhkmxTJSEJQOy0FFvYppOYVMgZHSdQyfE/lh/cTwIR7rQS2IWcB3mYrzH0nVIXNezQ7SZgqnu8X0WdXS01/cSVpkXr2F9YZc6YqY/PmnOUQkMDcWowTBfOgnRL2k1BVRVs8zC0JsgEJXwGDPGNrhAaRaeEJlnslJbkTXxf+Cj/m8Yv04OEA/MwM6kF55iEMOH6WW2CV5ebVjYQ7eScg8ff2TL/jjzlLeGzmFOn1QFvNkql8nXFS7Lpuip2dZLHMaaqtnzIpg8UDhsGxd6BiXe9oInehIqRHcZ1ksVbWY20BP2ojjWR2L5LbiED4OZ8UIuVvznN6uy+kll+gJSSYlPLvAuHYlQmksXfK5OgjBlQNCP+IQOugxWxaXiUrSeF9H8BD+GEA0akv/pg+eyrXo1C0WiQ3HMioSqqivgHtP5wXLYUBPlGV+JujsMzxjleJmDmr8ALB/byoOMZ7EBmxgcNYhmR6ZxrXMTu3SE1h3fYVPNh8uRmSkACdZRgt+yv7X7s2lTTDvvhbRNYyPsiTPzlY3DugV5v470i6HEc4qbnnCwtDYQVlybX3FwXy9w3/u4MkYTuYn82aYmbDcIqb4Am8wFvEnNPVDvgAE0m75GIpSxXJn7G64F/gZC2yzSjW9f/x35/sW4Sh0Wf91KzcxHZMh83MlTmO2+tI8BnjfPQfuEHEpWD5p9Bn4eW7HOtxPCtB1SlDyDhHZNmlW2yHmpfJ2/PV5+QPDmYm6woPgW7bwmkCXYCcZYHsdfuzZHB6fx3tupeFKmFR80xQbJjAVebv4UmTK3MvXw/kFHJhjnZyC7ANzY6YKkotgOUK8pc0XEq6z3xuEH1UekRXxp08jgrUzZDe3D8Hn7/ypouNMGwv3ySpqluLFirFmYi0yDLlWytodznJBmzdkH10nMYUaZD03kLtaeRKGWyfiOloaRnVPuYy+8WD4GmXISSlY8noCyxDMrbNB8lJvFaIrwBpODYiFWM5+Ayt4osZHWon6y/pwOCV7V9iSxM4lNn7S5HWtcrFE30SDJsxKScP9Sz2Fk76g4SPVJutakh1rt9KakUYkmNcJbKp4Fy7r94mFHlPnL3T/EgFAOE8sG0qg3uNEmY8oLczNI1rnrEtle1ijOoe8jrQoOY1uCFEI2asUDD9uKYnVl/38WTriMM/GqMII6jnn/wYGA3ZmJBT9SR8kem/Rq6qyK/8mkg81EiPcW979JLnPcu56UMvVT9L7gQGhFx0iiT76UPVZSoKVz/4w5sVTXkYMwYdFGyBvqepISkzUox1oCwt0WOaLUv/l4nmE+UTbeuKWkCI1sA6X9tnzPyedgJISrUM0CuqUS3TpdTG0SQNfE1zIwixZGFyTfVSs4RkGpPZys9Jl73ZLwV0+deIJnbOCMsXIj3+zfi642h6yKAsj12qO9gLQ5CWJq4DeUlm3m3yI1CrtXK8CP9y1/kGg1KzvpH4maoWHOSrADFDioqG88J7KIViX/eZ5UfnleMo7J+eLlFx05qMcvZvcQi6cLGy7U3XpI9mUGsWzgBdeJrrV6SaDjlpg/WeLzXf1qGKeMccQAfMCZbevmKX6/4ZSjNnVw65plRFc46rDabhHvV/udTrkf2IkkdzXvRg19gbLtGKrGE9/hK2sZr8l9NDUaMTjfphwmAu79889JI7iUrlKcWvvOzF/JIALGmbXAyirH53nYweiGGdNieJkEadCfwJzSAMz03G956tH18s8bfQMrmXZLSpz4Ob6zrK7iEFYjBcBHX1SNPD3qUyKcSaqiORMfi/Z0yndiUSwgke8kxrvTQTyEsTRxSJedlIitV4vfD71B7T5tm90TgW5g2UvxINMdmtyqFiFpiBYhAM7ANnkqxEc+dt6ReU3+49+tATAHrMyM0ewD3K6fUqnLwWEomjLY6VWWXpKA17onT/aVUMbHWFCSXksW8RkldE+0ezEdtOeMjMBi7ovUIc+Zmzba7SLL2rq7Z4h+/JRdrJ9l5X0KAeNKD1xvrhyG88AP+8ySidkhXVkcc6zkga8EEwwkMeko5s+nEUcOwa1XGPbgHEW4FCKL1hkydqrW04k8+tTQY/qIRoSVUB7qePXUrGvNzQuwEhLHyn401e5kOBrP0D1hjB3vfBKRV00Fy4eQEDTXKkpUJN2Q1UDMzJ+SFu+TJKJ41718fV6nLEruMsfYMNCuTkX9a7z2wwuIqKI5NXts81Q/f5EmDgg3OO4c8zL1uGs7CsO9I97ds83F+mg3xWY5HB15K93qAm+HGhIOfL3maSofNapmSDF3ythEQT9dJu+a49rdlyb3KZWADxa55k/e7G8Afs17GpO/Z8GxjOJYA8rFUyUOF5r7KhhwhuM2l/XeiTzGP+Oe2qbMm66fZpJrHAPeJ1A9mOfYyJAvonzrXy0EbwryawCuEqafGuMiuSG7zACauUczS4OQ6kbflbvhogpM8MjE/37RyTo5lIOCCcHxe3bU8JtLmNTI/4Fe/0JOPy1x3Ff6BtGv0MgnMgjbrwpbVm8laukNnjlRXIWdEKXxfnboYucnXf6L3XUaugVJqlRoounGzCmTG+nBCsOCXj01vF4FhZsabfRayEkV+KyTITAR5yHYImxNlpZeDLG9CzMU13ymDzsfu4PiXhGPyTF90yw5i3/FMOp2/s9i37frqcNHCKvXVSavt/3G+DRkVKYVii7TsflM8GdXWDZXOD+nZXOXhknfgokdvBImIYfR2LcPpt2uhS/dsH8MSamgozzr5DmiCOWTq3/HGcZUgvnWUrMsuvFWRsAL74KUJbnSFep0jthW4YylBAZcvTYZu/rB5ReARI2E1gDYDxuGzZkFTssqGShacP4IozH7F1N8GtYU7XL86IsztAmRVOIbr6Gf4BvefrqK6U1MPVdSYa+YoOP1kjzELQPNXUo0mt0FPSGwXbhV+P5C1AOE+XfhEsYrJxCioNJwnX/qtVi2JvTO8fkhzQJMSNrYW07LgQmqC63jo0sAMjwQNXvemkFzw3ufq35srxqgALk8ml7fMgKROYWIUT+KGm4tPvWL96b1wq9BtsqM3l7rxeou0DZYLUhFOtEfUU+mNNutxljOPqTph/tlxhROtkQvDcdyx0hRGuRDgs0yGmLfn1m5ZwrNkxlK4V11P2tnfaLhV28Js9EwA9WkxGNxRyGRhm44R3Iw43ofqJWT6JW8WPO6Ov+rmW7VfXInYWgUxtgUOFKV9T1uT3zd/aI63FCdknN0kGRIOO0leWL9P6kKMBneZsp2dE6Ah6f2BXi7b4Jqpy62k52E9Ce0smbgivfRRJxx9KEBjEB1gNepWhdmZ8tQbm0NNzYcCEy/nkXwwrNHGaei9gg85ursVoazdrZPspQ4S6Jo/mTIC8wvwz0SGS+qTxduSmXR/4uQhWNLLJvDmhWUFVAwzA2pOeI6Jytn+vyX68WezFXUBMQNYr9GjO2dNjIKBEhQSrX5o02Of4fMWiTS0memlBxqLPlbd3jrMKbHIu1fUvEUuwC9auKSQFN3VtFuNE5uClXAQGAN03DK6dcC3h5D/MFyN6/HFme9IcTIp85FMovs84rDhTbkt2O+/nh824Gk18EqKAc1skee5ijCuS5kKIafZKtzCsp1YFqdUdPVPHahLzOpcaP8apeSIhOL7s+V816TsuivPzXuxV2Qa/S7QSOpg6T9BgtyCZ8Y+ck//VJuKcyA8iADAas7rD4Y2Hh6AQOkaMRsiVrxkuxsvBI8H+1gdm7TK4JOxgxM2SW1+5hUSoBsGifZDaLTJa3ai0y6x9hdvXSzrok6vHhP4g6C4NTOmSbLpd//mECduXcDdnMohoXP+AEXGn5JZMHBqJnQUT4OGKy641BeKs3OMWUx9a1lxbjDebFf5w1Fnjz5Y/IudKRdQXXjO2fVU8ZcP9E0HVVT1kM/jEtLL5dir0ON14jarWGgdru42G7OZfgUDH5NMZ8OC7u/kwMJ4pfLrOr8GGerfR0ThBaG3OZTXurIoUlxaBJhHGhW+K9M2npoZ5DaZ2bSdgQxJcOmjL9g1M08dEWi+6jqVKrmbZ6eZ9H8OOZlXA6PLRMVBpVNwTiwYipmQZWQsMCJI2V5OjkjqIQ59/hk+RxvXlrKMtQaHMFhvYJrWbgEFdJ3aW0L6iOA74d9PojSlXIC7dNYj+hGOq/lSBPW/DjcPRB20WaJ5DzCAHTSi+Sv//BXzsTq2lnSu7Qz0gEtohktSmgmx0LGiloJwlL4LeC3oVjsIxg+vLepfRcuVZNb7479LVzAT+fgzDve2SDrYVeUjGBnS/bFwUvAItgyMyeR7u60CrECdEW22j/Br1C95/Ne7JMF/2L/8l/yNnKRLzUQZFXmHIli34iy/RQGl9WxhBP42W1rAXr8dErUMqM5f+R8Mw++HNlthYnyo10PXYPth2dSCtAloXdoiCa/2+qvAP6cyDaFoUJSsuABzJSM3xhcv/tnLtHgEt4a9yaR1NYrJfkqg1xWrrKpyIzROCpy4mplgU8vGGxLswZQHJJHTnFHX8S8vcJOhBo4OjI/Ps+Q3J46KPUfdnQ0JIAaOekc15JNbzcasF6dDxp/oJD8TYp3IgedwLPn9/X4rFWXHopZxT0op0DjzoIYX/2g5b05QYwAdbVSRdSXcfvIMphx/CbeBLHn8j0pPFkDe1kECkY84zS3BosoYniCAPKCM8x0lWWvk6MviIIFGnz4OHA8Hs42l/wEb8xhe3P6uo7Dfk7ZjCb4crzbJ9r4gqqgikjHjRw8CoIen/bgP4STvpS+ixnR/Pg3/5n9n8ztUNHV2+nhUOESCtZ2YL47XYwgeCktRpxTZSfL+MsmLRcmLoFvMbqg26V4RbnxATUbNcyf6mB18vugIuQ5aLAZEvHAw2Q/7GBOe4CX+RaisBBl9BUI5FYtvC+rjojEQIp0VGaa+IjslzpAZiA/GfQxNQ3JiAz8tlEPnqPHGdq3z7ZhrdUlupmCT1V6U1Xa67BbFpvkWv48lzzC3qdDHECyobkFqMZArc34q0pQJ99e0bEIOqnIHoYHQqp+H7Ah80nCgGFnoUReNt7P3iHIdoZtmJFqdPmCPYKGAUMe1wm6AVfAY3eCAndwavZqZmp/s6xj0UTrPB+bZkLbO7PG8lYKmXHmpegOaW4Iddea1/4kMx2yzYDjojfj1Ow3sFIAkzvnRdwz4bliBQE7p6OrG6dizKVYvbojiVzTBMJkRT9wFY8nP1sG8+VvLREWVTOeQXKJdS5UNBYyMgUf26MqnkyoDfjbJuIpgPGCpDMNWKP1jpzUGwi5+NIJALESwYUDNfWkgl0CtO8wDNjwgw3Hfo2wbafKGs4hJkXCTH2CbWnorH4uiO1vpqCnp5VwgwrhSw9wFUyrNmEDxgQwXBHlBqWjl2BsdMh4E6DhdBst1cGCV4sigUxz181AqL1+LkCPfYOhLFA+7M7pj3UFxluMyYghY/n9SRXUpOCADcIGeWbQ5MQHKS4Y540+9Rzaww91TRh28BNG6IgfjiWNR98ubu1PvaPNhD3JUJ6E8nFPUuLEkrGsHh+qhafQrctpD6ll8O9Ih7ImcRkmwdmqsK9KIXSCdfIxrZXKBMCnPVenMp2gy3uO2NvswKNxvH50Bjf+8RGe2k8vUdtMMJCFVdV/YZFJ+Z4as805pVQRCN6iyS34Dfb/L3AcoKonO3PPxDYQpuBf1PWK1ku1mSyHkPc09w9LgUF9VRGaOwx9qMb+cDb4SJHGdX4YxUoEpplYWwu/l2AXD2JyK+sOCbuFZ6oDj8ujrNU865JdOkn0gPq3s7yJo29Ia02bBXxW9Uts6CGMgzMzeRuLzpdtZzI3U+iGNutr4xjPkbYaN99ePeYxU8XQfKgkC+VT8oyY7D+INA0UpB0eI+8rf/TWCfr5NE7Eltz+6b5eVbzlUDyKki+ALjq7woG6gARwk6SoRmTKpHI0BknajciGINxgGaOjrrHqXqL8QF/wimhNyjfuYHPNMkHT4PzzTAwBJwjPwQKWauCzGBBZJOlfMM/YisX4IwfQtocL/sYn4xCECSLbzuEostuApryejZ+8tSdsoOcwsHvIkm/EXMUfe6+5cq0VOCjO4srxskgLYaHvEj1faYYcAR2mufepEkpprV/81n3wuyWxMyYvrMHGLB3dnu9XsjYkj67XHNoZ+MpDWxIdxzp0tZmca1IlQTM8c2yH/CV9c9zMBzNx9YWEIOxJlYwpH/e2yJ45veLa2TQvMfcDRS89/JvnEnfk9T6gxACiyI2OMY68vyOZVhidjeuQZb6htMhDN0+ldjspIy9Lpxg+G2HABdo+iuaKIzcCbUNsSA22PsHMNZjvdmyqiPT/Wus7VzKpsIhIxMeuthjypF8reqXOVImrqZcTwqMPZVqrntxXcaqdZubTnGXLfG6o7fRvyLZsjT0ju5SnmRUmB/UQqCOcdBKCz6FBEPZBi2wG7Gm5JK0iL4RCQbeCA6LueOA9CIfqYGxSSb2CRe5oEKUFvEUTFVzyi1zl9aOpJZWufTd/1vEP+lfRHbsmQexj1lTK+Hi9xPLIJwp7g/cRei8wjht+1S1i5Tq2qZiHlUGXZsp/j4oSYa0k5R0iJnZkMtzGLRkXqNnOEW2ZAyPymsMfTp17hmKAG1rtml1Y/kWgZBYf/CfpoTGrTz5l6+In3B2N4N6jFcSrjMHVioqmI9zR2fH8+mlSUX1G8MzcTx1ZEqOD97FKsAJIctjmTTFZZWpWnrtm5SvCroLcmdQzcet9Cgg/jnn9+kyQWXCCKACblZSneoNPj8Woh/YmnUVIMmccBXdKa8JDArheAqHifPfDKIf8htFUPR466iKVTfDeKdeH0FIAUGDdWDfhlPOq8hvPZ+fOS48bAtGbe1fiyL/dOkNS1BfiadQp2sMBuQFKqinSdNN8CXOzEUwZ4oeAPrKciFbgPbU2xBAPbvGUjxo26iGLw1t+gy6I2LmMNaNpzpcw+9pKz2crrTgW9V7ZiO94RlWx/po3RdfxqUL8juDw4UrUEptFhhIhqHpwiYb7h+vu8RcmJnkWB82r7p7J/CZMuMK1rDnAd+vZLRy+7bwK2UODRl/8Qpn8xKuWd6xB/h5pVzBCXZSIACModilywKXLu9Dz5g50UCHiJx8eKbaFt1t54WlMT35cp+jyLbpZ1POQ2NFUeTnS8na8n8vHdZEBe9ZWMjWpCJdMCI7a/n5nfOZdsGxzj+4qsePmwfHAXaJ3bE6c43wZcRrtcPoP3ZJEB/bnyQGtBsXemXzUFNoH0K/PESHgvb+ADT4Q1D/dLvuHHcC+lUDOFcxwZQwHaoV0PhWLCTHvegScI/mxcZTbUChE/zuVLxqrda+HJMooArXObXVAFYs377cw3cPeRHw0LiBHWw9tsXadpKviOsLdOvrNkQPkCihl4fdyYvcC0FcoYLBkz3ToxWC5a6FZ6IOBgxpQwTOSjlaELHl7ZMLBKCOP0oT9IEQOx+yK53wFnMgR0DZsD5bRDAFwDVriItgnyY0GAfHOOSGg6/NwD8e3msnzxQybXScMrhHGMQRA67XLRmn+576/9FePuhwA2Nm2dFv8ZOFplGfhAQxniXclzyhfwyxdC1rkr5qV7SQ8/K9vnrroD7sl0WAZH5iYckFU9Ss7EAA2CX5HskKMJvRMTk2l4Y+NaFA5hYPRaf02Nzd7e7dYYt78sIQ/FOJwpARSvLkZQyvvO9gdoeAOUr4oLc95wmo0ky9QGAjvHmctJS+RYrBvFCQYl7/LHGY1MyNE9aWEw+QGWx0rXkS3sdYQowJF9j+s1ps6S+czVWRfCvczJvegn7clTMzDU8kb+WSxa6ssFvU0WMgSfvC3wW0HkaTKkRPTZ31UYrlIZ8Nvi7y6hSnVwqk7R7xswBr447vbqNtxAX3a0Vti5R2RlGTLxMlArzHZNFw6pdy0v3BRlgSJytNYn1Drqn2bfaxBFP032vvmQvvkxxNIZgQS8ZFgtmj4F2GUGlogVY2qOpf8WDKf4UnyKAdtOlUIBVl8ER48cCWjsYzRW3NrAEAvZjjb2O0z/9kJgmVWv5/0xXWu3SleKAjcH3vm+uUQkH/wpAmKzMSZno8J2yDHMGngfbJS22aKgmO9Bkm/SzD2yFwD6E19vkVMq1bnozjFbkiPQXWJcHgiF5qyj1GqyhIJ27xH79ILgcwKqHuQ4HaxVzUcmOaNU8FZsg10PHFBlanl0xQUtPF6eMtaiq5SVELrruyh9YdFtOUKiQNTfaPHAV3X3cVubbMGlYmOSfRVOYGJOLGJN00rnaH+JY93fEDiT+rQZva9wwaHRugMSbDYbjKK7v4YmwH790s/IuCIE3LwR/J3UVX3diq2M1oQxVP3J+HLv7ATUQX+20QksbECXTSjM6kQh7r6ZQtcpl7ZNJGOmHG/i2IoXjSjBS4NNZE1D9OlbdbCSeWkDKZvMLZg+Mk6ahV45irUu25bBGWgmkeY8EqDYMGUigLF7McGcGBzXDxfGrRtCyB4/uCXKZnVujJNRScJFVM9CoqKyTAluV+dJPUzZycL8e3JEoruhgwHLHoqD+1c3X+y28uwSo4/fX/4/QNHL1c58U53T9ihCV9rOmEP5cnSCTvWecS0minWWO4wpeoSpWaEsFRfnCki2rMzJRl+bfYfzxByt1BMlmKoyrWOoYiNu8+tNYAhBt1J14w/t96q9GNwy549a2/fyXZBOsArpyK9RnOA6gUXovYv8/aW7vwqSVVp9CMJYHeMkVloo9lEMCg4KluL0LOuF9WSSpFJpy+gnczgXhxY0ikwFB6Z+6b8GXcepDX4+w9krVLsrnlGG9msbXx4pv2Xhx+MfdKMJLz5cw9PSLaLfTa3otZMF1CdYbcfCmMJeNMaq4Mf4gTY4/2AiYsQ+OgkAkNGoNPWUcJQzrtKqe6p4kgK993QiqtsOaZ0Yuwlnlzpbbr3rCteBczzHbuzE0d7qtCiNSR7A2VJYNKQNKTHdwxRviB99P0BXDJaq+9iaVJytPPZswzbH83aDP5vmUCfNs28F3sN/hl1VpKnav23mv5VZre+ipoKkN018I2bbdt6e5U1go72X8q6aBW+sp9WhYSgkiaAqbP4SvCQrOVPWQ0I6uPUOM2yQzCs1odr4BezLZy1k65Lb8pdtaJ7inAy21sdHK4FAj9++xBE6YP8tTak8pMyoBNFPD0JGyzmAZTyz0IIkKC/UJ00c1w9pVCRQwSE4E4T+NVPakn0TDaQhbZlQeNq482UoeP41AvRBG0msGWc2pxBnwbLIRhM19UF5KX6GxybnpgVyeyFJAnIjxPNG+V87W8g6GsWdg5esWyYN6SsOeu8MbRWTbtLd/8lEDRK98U5gnL7E3uJYmBAbHIgNKqjHtPSTL/jPDjyVJhScaG9H5WssoBjQhPBjxy29nxfCuWqdE+SNx3RuiQkqD6e3dma7L/03K9rw11bP+jccE3bJteZrjJBKfE8l1Bs2QaU9a3IHp6Dlf5JrqP+5G2fq99sof+Obibi7Vul+m41vRa1HZBuHSg9z60idNkhfOfwLtrlXk4mlmnZX0wWzYMJFbMcUcU4fPqMhZmFOet3DBe36v5qFtTQ79QNFTH+Wl6zPGA2xq5HK/8ZW9IstlXtE0fVoLm2r++J5kpXUGS70AsiOIXasvWjOw93GvC1eGzIxu7xeJCjnO6Q8ILGbre/6EB8q5ulwNLYUUQQspqeNThhjdf8Fl4NUb5g4rz0QK+dSFHV5jtCcYK5lEU/aLWVfrzCHTbG0PYbMX0DLtxvYbrqbw1SJQ2zvy5nwVCXGqRjIhNN3k6mIUz6SC5v5Fj139ESOL88ewUlkdez2NjYgYLW7MizaM4QmdyGlCecIBJR0McgjoMEp20MYeiWNHeZPAkktlzOXeq5unKIUz4+P/volGxb1PQw1UQBGyGIHKmrftrvgYB/FYFqiX0f76a0SWmMxYalmocW3hXw6rCOOLVKhGGu6bzaTnqGcu9+BT+i1bawRd94UxoFN0oCY58a3GlSUkO6l9+HOojwU1sZlWKl+TGJyTt1WMTlX5rcVtaDnt/t7dlg1Vk2NzGAyVWPcAhKfhJhhK7TfRTUeOCcI/TjYcOZi5EqZajG9E1eWJdPVEtEBF6SGaeR5Nlbpp80B9CWs18zLCv06y2BkYhPzofnXNHJJzcqNbdTZlEma0VXn0mMNWoASBZzoV8bKe+ZfmabW7tk+ZlHFS4JvvmMcl9UjQ1QLAumFODOlAIeVTGNX7TBUQG2eOmZYAmSW6FreonBHIa1cyUOU/ADGSGvbVBjEYQ5fUJEswn49nk5O5ectXACiXzNOlQgIV8XgaTeQu1cXuscMaX+T0YLSGGLhbC5T5BoU0B2FFuuBDNaGHQpBqPh5hcWb8Hjeibv/0WDmFp5Izn8876dTVTZo2nI9OWKDGeuRSEtJCJstnSRCDCicm9cPuBiif+iql4E37cFfUM3hPWqinfcvm5cZ5VQhpuhXD0uheGYrCsNjgsLuE27FU/pIC5nItHV+whnaSDrYX7P4cjmIph00t/nYWk4yj+uQHIECp1wXFE3mOceDEqRjGlBUMxuDCUn3sFdwZQo2JdBwuUfeHQFlW6zXEb8gXZwsswWOFEescKHXgI5+nkC45syhheSQh5K401gq6Q56HhYeW1VFN0FXW8z/tMCCDL8yALNBjA37zvKyq7H5psAk/OA0+0RYe7eU7y+Eb8nZsQ4qrr9yVmxQVNVtkdPcsiwrsLvw+XZ+Y91ekyCFdyWTOWVlQvPwRcswYMHdi32ARxMZwu0vsxV7geqCOomzm7EMeJM3WQqZ/fB0NKc1nsEnnfFYb+r3SnZpIooOCo5kWHoz0pRRB+WJAmFFMHegm6kXhbV30y9IoenIJjCUtv22Ik3Scy2cs19xQboMeL+RpErii+9eBMMQoLsow0KkjXzqQVmKVV29yNiUkx76OjJY5kqVXzkprUdQydmUfHl2ZubS8YeNr9WbgbHkj4IRLY1TyX1mzU24MmOzay6mdYGgzs+4EFUuahVpG90djwTd+JxTVdpyL61fhx4wbPjj2EEXdN16hpDYrjh0JTVBCL/hE6wxL5ApxY0vzWIwfalFYvNuVWLQYSw9bY8Rh/KzScllU5fA4Pk5NuBNKEGz/8pQiydtcrn1//5voxAqSaf32qT/+5lziyMJjMGTa3q7xTp9KGwK3NiyXIU/Aj0BHE6/VbYRaFz7HrxRG5S6ISpk/Kd8tyBc3sreoxBSL/T7u0Fq3xmTKytwzcIptVX1Zj/HpPJC8pRAOyRDFJYN3rps/R5yN7VLqfVLl63VEWKcpYAUIBS6Cr61aIvVGz7c0Te9cJd7S3MbcLnIa1AADgtAh51eq++Lro2qgGc4xrDrIFnj70rdLh5ac1jSrAFNdH3TO1v7UReI8LieuswDxAMVG4c37kiZZH2cl9tKKQQBxb7Cc3wVy/EqkKyGel/sX1a+rGL1qahs5fc24vELXDr9bevWp0XO0p4OsA17Us9s1VNivRajtweL+FVReQz96h9BzCv/O+zbzqQujk8mJBGX8MQLMk2UDAMi9XsGfDJ1JoIa9gomq/fdJBHkpLXVI9x3fcKlkoQa+OgDxHs/gSaBMhck4Nwy6SK2ZitInyHERuS8ypsQOuz/r7Sfs1HrDpJeTt4DFm2EmY7OczDxvzECkVYUfwVEUuwLAQsR0RVXu9m9bgI1HxgsU/U7H9VSF602mg6GlChKI9tjdDABkj96bdoddaZr8OUH4TrW0KG7IpUkiOljo9v82EgONJDDsgMWovdlYAkyPbUHewmRRz5+Td6y3KFf9kbwfK/m8Do6HiDrRy9f3Sp2hm98dxCM8zYGoPcA/NXaP0lARt66fb6CXazyyxAB1tJtfDA9UuNWTMytzX90yuDctIEuEgCs5SJY62fK4leIfUCY1rW/Efp8b5FoHHzd7V3tL+pif6r+FTT0CHwIhL9BjbtPJpLcLDVts997dWSvEFAUetTS+KbpDRyFRKgSQY+fuZW9jN65cIVJlNGTobLWMfpsouTLNx8Xk1sNtoqWH7Cz3+2RxcelMNt255Ci3+MijhaoDsvCGo9WxXCg/Getl5iy+nlTLAKww/mRqlI2hFyAQu5GOLvJ59o9c3hdWVTRBeU2kxldLhh/g2ONbvB5wuW4k5AypxZ/h5hU4jaBpKUo7dBUZaLB9DsgHOqmuCHlsAMUussfDfOJ5PSJNS+0hn+0FHAwSfZ5Uab5reXLM6ijATnroBaFSi33pFKO85hfxLdxFRduD/fZQZwd8xhdhPvEDJYE8mABGiyQpaILfNWJl9XooZE2OUGnwQN7qG80hRF7xknEwx2+WKbWLSOL+EeaMOWjKDrTcX+HkFi0xCMG6+ZCUUN6h0o+8CwN3WRO8cWq/PNfap5lXc37zs0Jmxe5klkeb1a+oJY90dPMKuaQ/C9s0QteDI5ZGZnx62WLaWRwBuLuX2pflFVywjr7IkZrgq1VBvu6InoyqCMnAfInP2GkZHeBwPA1jGNm9ONvgSCDJ1vwng0Ihc2u4CX14v8lTaXyibLVuHipz2B5UHi8n5uQkDBoBYZPfb26WqJEE7EK1N3DBQqXIjxkqM2I38HiGAqG5pQjf2yjVztHJlISwSskmV1sIx/i11G7aOipHf5FDbSAgxYnYoXUGfbGzzW/0dWOFW6IxSxnQwQfeo4sifbMuNcs4Xi+3LLJQKYwz1yBRIjSQtHxOpK3PLXl0UEEf49jGOFA5IgwNOQ4qD3UfRDn3gj4hBcwB27K5ZAG7w2vzroBT/6WrwCLVCH0FM58vJh0V1tY7ZTfVrm/Vn51IOVNGoMRA6rcJaOGa5fGzJR7hclbrW9ks1y1wownZG6cMnECTtwzN94GB/sD0YaEwYIzGJSPL+eQh1kLulKaxwXTHT5qjSmzuxusdssjtcDU+urf17MrEUON1KBvl21uMgLs7mJyOxMf1EIXgFJYiA72ZYulnkZ2xd57bMWWvZILMVOzDveTfGwSRkbLXXA8WXT5j0kBIUV4yMIerTcGDjF18Gs2B3PFFvSQc9NTK1DuCb+aYryYlK7GqWYr/bgq3Voqc2DwnRxTnFS6/O6JxHqDkjlNenH0MVyrfgA995rqiPRVW+/y7nwHda7ASUG93Dl9s2ZvbDHKGZBcy2FFSu/HWqhKJGI6tqEqFIuOWaMKtmhr039nCTCesf9IKxLDBQzQGAWth2d22W+mGJUIh5JyWUXNBZtCHmxNKQzSvVl67hmZNPvVByaBqGpPwl5uPCfqsUvpe6Dd1SHu4ZgLP4jgPDTNvwyGbMfIkGEAOh/ZQmsIRFcN5pYowatqF4I3egduw1i9Xq15gfmhlljcR8vJLuXJW7wekenBNm4zqSmLLfEAUDWG/tmi4RQyJWm4HoSnteTwqSpKWDhHF+mbAceWOWRplVf/YRGgap1e8Px21Vmi5Pm+aU4nX7ECGJKsX/4ELmQR35m8d1LqbFLX3MI5orLNQR2r02CvtKUQerHFsiNo+oKyJjV0rlfTHo3ImplOW2retFthyLtGjFjeo1cOBipLb+yyRbfSnu26sOe3ktwFwFue5dto+dN3fFOnYEsbQTGbN5ugayKg/FvJFP6w65Jx2r7DNz3ZjXtU0RwPgdjvaysBWmQxgUsgP59qrYKRtRYxRJlMUgDxSPmZMRyFz8YUz9+8KwAisTYW5jYBaONfDkgpvxKovkO9mQcxp6YBPihYqWcKSQWaJoypu4xTENXrILLjpCqCKfWHtQK2pbrALMLfOQnyOhYW8D6gCtweD/PYQGgGakg0UP3oPUOFkXbl8IW+v3nxiJIcZVgl+xaOm879ZvZr8psPn0gNpHx182gbQoh8UX9ZNcRwxaMmbRruVIGqRqLejsPake07Q+VsB7Y9c7hV1uLmXdsMwCHCpqnEI8vekPc8aGwemA4O0J4LJcfIJg+BkEnDyMQl4w/yOyy7l0S+/yy+CshrIgPq3djS6Ts89RMEqmT1kv1uqOr3bZFcMN4vzMkQSQz1VxEY3OMARl9Zj8LrMMJ8vYSXNoiwAx6HMZiA6qq0F9rH50RBGitinJOqvqEv2lloyXKnGnFRFCs7YSU5XYHdHlreR7fSu5SVvKhPqrH3pZnm+D7m2vi+562iQ38cRfYIylytIYWwce6emtsITBtqM5BvwNqxxRm5vDYQXAqaOL/YaQCyVUbZwMxlslTLbWRHhn0z1/07FqpFolyy/egQ+AUKYHboib5ZKnDWS9wnp7TvbNd2hxCSPQX9QybXJx3qtFXJtKWA0Y9rsMB7zNUCkOGiBfkq7xW3JnYg5Fh14+0EWhuGsydCC0m9WmNwqXk8JwwFwsxqRt6917O9QbV4cCrYaumdyMZAuHJZ2OI8KEhyljFkg2aYEoXXSI9194/nHrXwDPq73iAdGNaMfEAEYCwEOf8WO/bHQ/Ub/cSeg/YfpDVx6KoeAnUpqSEH4qIY6n5pgzG2iavLLADw3hbiCan+OSk1LyJG37s9AlK1SkcUSj5NtjbPOCF+BcsMDpSzXtEXVkpL0D9GIkBWF7ueK6S+dmLOsbTtIdRTo8BVG8pzRetRJVRskFTkOiC7voUz866qzGgrvHyCES36V1FCR2gtl0FQ4t1SEkoAokvdIOvWfBk3P50R7uPVGox8SQ8Mbs2NFcPjp7XG9btbNV0lzMnRoxsxKTTJgCbiEMYy5Vjt8/hxzZivNdwsBkunv9PFbMf9twQxuRx/9d+SA1HZOQnkvo1ReTx9PI7/+X6TjrMecsLhTUp2s5YhiB6pauv8wuXfayBSd2uA7t9Mu8+KA1wk4RYxkQkfsyrYRtyin5KciBiK3P5OBWJtrNcEpsCPafgnz6evU6OO2NN2B6RqtNIL32a1pNHfP3YUk5QylYeJKSL/xhKrIHjWBviaVQu9cZb1a+UJ9fSQTqBfp004ijWbTAFAI9LsOXHDMvRbs9IKiQA6GP4p3VoawBa/cpbBk409ZGmPYtk8cPPl8LMWBD2hBAhlBSIkKC2YfajMZsKZrQqwOuPUVTFQlzBqzDVhCkhltgqCh20uZxzZ3Nkbrap1hfXBQjvPLpesIFZNEGQrUR+Pf/+d1KqE81KkA4hq3rERixdV1IpUUwdOj5gnSuviz+RPf2BmN3AMSAC9XiXFyCt5hsiMElVqEturC8IfqXUwIss/pn8ZI1gRDrdNUDPXknZoUGIskMn/3pEfyreYBCMESXOYz875nVTN6mA/A5PibJMwhVENNtpU62OSq9+XkP30+N4VN+FLMkNJgGgUygiBewPWIbMybe3/UvF92yLS1GEwKThDB2U6V6SsP7mcdIhbk9g1pYTbh+ZjvUATV9GXU3t3kiaTvrcFdpmFj7bpD+NbqvOY4w0M0RDRMbIb1b4bBYERjq9oVssTNuQrgUe6af+gYePzftdeJBI+HwlV6r60qXcmf64f5zabcH1xVVb1+Ro2ZAFD4QEt+9AylGTvV1aS/87gM+hjfLpf3QN0pud0u64flrprdmFPoPdX3MCNTqF/uaf32Md36BZje+M+e+N6PHxr6tK+5yD2Tk1Lsc0pHeo1uLYVawTL7pnbKpno/OSlTSPpApR4ULo6ZJ0GgX38M/9mUEio405irHUG9I7xqitSl2o7EijsZtSGNI+qUqn/p0w0dzob3fOxynWrV8GUMGWyOLVRVWOQTffcFfCyKtk0+RPteuWOdWdTZ8k4y+qYNd5SEOjrRSI40L5r8fDfCp0wZbJfz5laFK/rqctvkTK2IulGjRx0g96zTt06TXk1AHHfW5ze81OTsSJy/4Q6PbCT/PE1kFa9YMy16Boa5VtQlQTHzfQYN+Y4J7wDG5vYricht+jHoWUJLE9lfGG/fPt1WzaQ2DrzIOmD0dv/Ru+zXX510DXckvXEYZ35rIQfIAEAgj5+vXGISW9BnpBfTj+i9x+bdyB850K8l0iqXswLgUQnyDxCMxhSXspzkDSFFObqOcbwoBG3XlVu2MXFpdXmbOh2k/wdc44FpCkBCPdpjLpndGXDiX0eW6AWVd/WAYrcvVonLD6Wl95nDASXtqxjuOCDTd8wS/YVBZxfCMzfGzrjshXl36g2WEmhQTiCcutbEC0ZNnZ+fZy3weV06RiiE+iMCrSvzgHhD37ZLbH0i3Qv+tPVlcdMUBWmgY2ohttTMepnNzXMynmjsbFj6Efb0PapWQo599ZhllhCBGJ+jVeAd2FWYqgGd9i/UViG0H7+CHwWr+C4Arb37DOx8vaRKztYvhPLCuVK93evduhZ388ZIvpW2q90oisZ3NdQNfeCjm5/OfptqnJ6BzyLkfsnw6a4+rTWxGK5Hyv5pxOByZe86ycgulGqaI/K1MpH6dOlPmI5uXyCy4JbFClygS5Vm66PT8s3+4BFDNLFBX1iyUFZaNtEeRBZhzg9PykyAQFLMR68enwUBZyM+T9MC3TAgRPK1SiSewjsPX3rI8Smtne0+zcbwGHn0eqmahV7YuCBrlB+7/WNg+UrN81iWdmtoGI2Kq5UenEVHa9WFnw2WoiYkOEu2qt4tFoJN1mckZPEHd7T6OVCe/mynjFF2j/U1Xe2T806gsfXaGXUiohP2lrg3UyvrpzdTImXU/hMXjO5yXy/6dYsNCX32Li0douQgb+FW9JcHbzRJw0nsgMG4C13IixXaH3V3D6cIOZZD1vJ3nlIUWpjsXtHs2qfXIlg9bk2kWz4BkyYJn4mUnlwczfuLEQpNFdl0bGS57YEaw113kBNlriNIlb3dZ9D4K8+dhQhKV4F4f3ML8Td2bHZCFUF2XY/kBmb2lztZIfrICRD0O9e672dRaV8cBGeoraoEpeBeyzu2VdKqBIyr2yHMKK/JXVZwYtbmMfecLorORcKxeX79u/bkWTwQVZjQ7EfjkjkUmW4v34Q4pbijwmxeE5zbw3Av8UoFuuO90jqK+R5k4MzYxazFTBDLRIowMnej1R3lxF6jdZEuy6c40aicah6HiDvb5CoRQes6rokUNsckjh+xhXnLxQQN8tQojlVOIEVZXs6/O0fLu1e6dLz6N9phcvWMRmZOj4ZSjq8ZUoMqpzT36hN5oSwcC6tV4b/5vTCWYnZS99KW+TBdP4BdKCZURM5ZX0UHOlm8X9/hgNzS9CtuO8LhSZBJ6eyEtEH69bOfBDKA8Vr1u7yIhH4O3s6BAe7jUXsFRB/DBXcFgeoUDUwqLaa5RUzddCEcy4ZDEHltBWgVDWthameoCr5eYcRXg/tXan4yJZtTpvZKN2IDc+Eif/P4x48/viCzM9H2dlCbdvPn3owE/1rLMGLkJkVQML5MNfGpLlucNkpqvQP0pRpCTchpnUhd89p9OEjLZrTmXqELx4eEn+oWBUt8/whNZyDSv5BIDKlIkOVMQL+qGRdnnwcgFItD+KxFubYWmllqEI6kvY73BDcXmz6KSAWm/0OecCWMTTai40+wqoz1LIm/tPDJs3vxmgRpuqWzoajlkGbnsS+buKYTDqv4TUtzFJMEm9Obg7iIj3pZpkMPL6cUf++BMGuLMaNl7i6mwENHQI/0fEgEBIZDkb8+p+WONJqs4iBlmnvbbQgjVS+GhBIdhGUBAqm6J2SCrMn6hW4h3wqeZ1dODobOgPZ8nG2yM8GEWO9/m0nDP+OTDTtgwsHp7j6673MxEcFZKPhIeqjCqG2BSA48iLpH7JYy+5s5CQiNVaKTkcIXcOsBIjaSoieYkdzvXj7OaBqqS7vrvNqlW1J3qj1a86QrGZjsOZzBhximamdX2qGIt0ZzaGKmRDY7jgkHcQ7Cu0y6e8BFFwlqsi4fan4s+yUAoy3esdPi6yulTduM02O494TEBcDkeDr8FvUGquYi4zRKzXp4VcW0lOvGvTwlahvLbp/Pp58kuN3m9v0fmMU5dCmtUUs6Qz9Hj79r5o//AEQvEpWVTcGXFpMmN09XZLoERo44waVlPBXt50KxFlpS2uXh8YTQ1bzTeCRXX4L6/DMK9qrNrX6act8C8C4rXWGqLDBDakQr1VabYbKP+bA1cWKBCgLWIZ3wElgWZNbnHV7gQ/7xZHPVIhDRNCRKRltE30JFzYUsZQvnDLibNEx78oIDovGiZnIQ8r4DkBxANxAfHQHxDbj/fUbFOGIXwvHyfMeUSXLVJSQOPsAn6N8BYcP8jqS7HJ2cWU5GaA5zEe5VKJZXv2yzqgt71JVgSvzcKxhgqEPGZgp1S11ay3nzSL15UeWfVrPV7kcZLqNQImmg3YnMWQu8XXbylAijgQHpbjHqwseVUj1tmk6MVUoDKsr5gcOJMcrq+zd2hPj5oRQiNzbwqDQWXPxs02KGxFibrYQgGLGxi0etIaPsIDTU82VwHj1HpsUIy17h/pV4H4IDotSeeyFXf4kSHyaj0fiKNjVhSu2/z8i7jxfh6l3jJeEsKhTHXOyytxnChuTAe5B2fhCm7XP8gk1uZV9hNUDCG0SANtD+AiTnTe3diKvxC5+hzUNTs0zKL9pOq90mY3Izou7+H2IdORUldvPvmQJok+/YXJo1gOuYpnJyIf2Yq7B6jWcySJGCaI/eoCEXjPZS7sHedTt1UWC58Rrdmf4iiWlBYL28PysyLng56yxf6N/gA0vFF5I8xuzuw8aYnxfEC7dYu1l4qKGn1xKf/RdljMU4x8ckwb2MV+HdvTmLTG/nKD862BYWebFm21XNTyXKsODJEPO2NcSgIYDPGekBDW0TKHF3/WqssKrWZI7bWzXMTlwxp9yWrSwgn4nV+drgwtJWtUxN80knipz8tNwm2x4W17sH/TRKvShjISKchJqrJZ6P4apBeg11Bc/jX/dOCiYnuiXgoEqPYpiOmr0LVc3/XF2lvGNQp4iSS7PDn6yFFrypOgelc1TcZzvokPcVg4DSXVAaHINSvn2MUjnQA9QvRMEEMS/wVKMnSXz1WWY+513tjKxJgp/JVmVLBJ+0+EUarx84JQpemmEEkMibIBlB/H+Hb1Gpo2xaGwtiJZIQI0dwedfjO9vS+b32zhvdz/CW3bIGmmoJa0ML/fJRN9XnvVfJLuLTwJRyEaF6+xmEKYgmvQO3roGWmOsaIIvuIlu4WNCng/aPQLT3o4XxfAsxBZ0FZQMRCaJOD7zO9uo1sJvqH8OGDckZMBxR6Fxx7MJ7SX2FbBkxeSFJGU4Ff+xSCQ30sCVe4B4efSaTpLwrJ73kUMWfqPrG/Ds/KtK/4oP8Ke/jK1f796b80qStAc0uVeMt+Rp2edtW5+hGJsHt2eSGhF1ys0X/xyNo0uULcdCxUHX8atTwRHKaGScIJnFPp2d9HfXSzQGNjCEfUUSdj493bo+Dru+LcnTVQfc2MnAg6g23ex5TGrecYhbGwTKghBIL8LRP5cQ8TTs4Lg0sCZW3J39ilL67+LTxKWzbS4WbNmnQV04RwGMPlVdQ9tpF0LmawKcA4A1ZjoTDGUOzjmRzCNoUjTlxvaeQuLMagtdu2spQBh7VBHEBGZJLCBWfwdmV047XQNAKVIxyAoHZtAZGWNwn+7aAXB93b2nQwTZ++VAs8knu0gMYTgAT1dwm54cR70DpPDgA7L9nrbIgmuzF1ZWthnX9+LDDSIEM/XTbEuBjEL0Qf2FSEEKeQ+mY9eyd+QFSf4QMYuMLuUya3m6Q7mGqv6e8UbrfPULrRTpBw1QDq6Pgy+nYLYEbDER0c7pV2Jy/1wC200PVW5jurBAv4p9dzy0habBounvIBJhEEW1rZW3F0QsIor0u4arOid18d9AEwBjpDAYQWcUIIwpsVCPn8s9akEhCkO3YbfJRePm8tVQkOJeLjXb74eamMpwFizG50o6xQD8pL/rO/MwJh493BgnSLtM9waNzMR6K5IKY6yCcRLA41oSmotq7qZ6tbqxWSQz+DF32mhyBbV70OVIN8fHpDrn7mHABRv0ePKvN1A6FWNRndsIXxWViNuzteaw809J3uUl0A4goYONSw/CR5Zn2F4jbb+1IpJ3eogUCXmrLHtqrh47EiBv+Ctv7xY2DnokvV83JjTvpHuMUXNkFA8GKbhR6mS0rhyiZCIarsbdJe7tTKqP47a3xcRJ/SPp7TgoaN2XcyRjocipYngYie4LRJN7zhtVOHA8L8d3ukKbG2lx5Otwb2LguGsLl4aH/XyPK7+bucfu0nTEgHAwC2jH0aLd66P78v7cErZDkjlBIl86RZLVCS6FHYcRP3Rid08yxCYgWzQuSIPfQrhsM0ndCGZsARtTnFWMtXwqbjIrety4YTvs4h8nFbuvA+VdPCdBfCAZugcYT/oHvxx7LOqVLAHuIj5Waipx3US7da8jSOlwLofCirqgATar1mAnsd6vwv9Dg8EHfX7D75+ZmzeZ0D5MgPr46IcqBpLWelHVvKkerZD6dsA0kAFd4vTwv9QwGnUVS2tFaalJzsyiyKtOdwdNSYiS3cNldf9vKjGXLE0Udm4NaK7vXGc2uiPXFiuUO6zsDQoZa6xGqPoJZf+tYgaKKmpaFhjRS8Zs22OFvncDxFDwmMB1iMdCxx/+B9nnYwHW72S6Rzzv9xNk4BuCn++MsNYjMVastWKNCyhDBaSyCuyee7djS1471lwdEpOuuMXTaW1mFhVb3zyL2mjYIbykY7pGuQYEWNmXhR+nB2Z2jIjOIHCCkP+B4a8WCl7RA9NyyY1RXBihTB9zHQeoHVk8I8SUk8CZZ3tCAJb5uITJYwe+MDIKfQ/Xni8MaFbBqnQLNFxPBX8gbvTUvOoyAGa1QJttBN2s4lV1iJPsUbL43rqwfZvBsrxKxoLv9095GlIUmJb2Mu2EY3YLMUHDiO7oYVbhyVP6iGxTsqaxiJsZf9pIa5OFqKmUVR+IreRkikpSmesx4Q8KQYYlVqOGfxGnqRqXUTNi/S3HlMGbS8YdS3TWLFJIDzGS84wyNKXAMtty1I7GHhqc4FtCD+/TsgZaDjGlVw4VYy2nTc/C7fXRAHBwQ6Ak3UW7Sj5MY1AKHKaIKpi4JsLaxvjsscASObgk9BxaD2qiLGgnEi/1L8Ljo/nqsf+FEnYaxolS1S3n1qvu6EpVcCKsyCB4CTYdxpFcFHp94B3BJuVAqWcD9Y/vNKxNvarjQEmlAZXJGoc/EIS5wyFfZ6LdGSraHwupc+VMDTV2z+3RB4QV8T37zaMeuez+lMf8QYelfmLS6JpdnMLGh2fbJmklr1w8tGAau4p5/dd+MMrozcWbp52f/0/lw3r87AMMq79LsHVzBX/XKy6764D8oy5OMQ+NdcgrLbvr/I5G8cEhX5dmkPAgw8TXtiZy7SPawJqvUt7xpje88pkOriF3k9IxpMusqdMyuXpw3KCrNA1K4MazeUd7bFGId0gslqX5q9CoBah3fc65L9qhmI+bJ74i7fGdoNhiWKSoaisQ8UR9RkrXyD+7J3NU/9u5/kYhZoIx6naVBYDqC25mHGrKU1df7rZQu1tdlJav313roi82J7rl0mlUa9dN8HzCvCF6Srd9WCm2Aq0ZHeouu3MAtI+3sJS+AY1Ha8Y6G+xDmTlvQU9PEDBquL+OzyI+7T44uMQeUO1spOJKaSZRrLRl0iaxcp5qQUYuMaNFh3QqttoxhUuSMsv+LIyZdbu4l/HclYDIKlb5cxdQZAdk/1re8JcrHiFp91/Vn817f4tyxrc9QAXSEMnG1MoG1GBKujf/JBwaIu3wC2wPsPcS4Ycr4f4+3jyA0hbxeRsr5fpCjeUoyJT/4HpPhsGWYsOywBVxZuukAiuo80CJszsFNzFCiTovD2tqt1cPN9Jo5he5IE7bki3eLFp17e6OUdnJRDdsRxyfR3LDPjXxJtv9qDCLbvxI+I3VzcrquilfZnP48QJ2uozF09OLOdHBEAkB3App6cPy4MsjUboyAMcix2o+bfuhCd+74/VNbm0WL32F3hKmKxpMuUxLf+pOTn6wUXDF5koGhj0VAJF+Dk2LUehGAGLAS0Xh6Z/obOpsH4EZSb32Pj1CZKMQ6lR3OZ+h65pfUmv+DyLwNnNLmhFSKZNgDVsCNNJm89+xtCOlQy5FeLJ6PHrcQlc1FQvUE4haEC+n2ScxFzaH/BAcW862kILvK29bXJxeSPC96b4blfeMFAhTTdHCfgjmZH+nyRn97SDPmUBO/cdauc/gOP8L8p7xaTwwzrn0KWHfJDD+OtYV50HucokWSdz17KqEYxMkdHdlj9abBhDXjF4qzOJDwDJ3NFP3hMWw2jZtV+inwnvxSjSoYDg+PQ4XOB9McPJ//JPdEHCgjThVveR6SYMpUD1zlI+IrJHtHYjxDC/fUKYAtYG8KGdr6Po5aYmNXG1ucQaUxHOQzbLC5mzupMe7UqV5dnRB3Vr3b8vj+z5VsaZQsAKa9HJgt3OiljIddrn01JUkz10INnVuUnv/O8RyJjaViKaIv45EL7X5gwLxOgjC/2ObY26SYOsQD68DifC0l5rmx9dUfxB9o2UFLjet+NZsz70yYKTAvawAAvr8Va8k/ee3ZCtUwONdIlAbaqrp+ysTFWA0lk6fMEBK+G5N2LGJs/HZ5UCtPctW73TBSTi1yXSBtquBJVJqpgJqCSRBxS84Gw2sUkWrTE/0xHcmzH6SKj5sGYEk+YM2CoqNIn/VhLNjdKKk8mhdrc67LWAiGTMt5WQ/I71ULo8utDBL2npt2ZZOVqXRlgPbqJEGO+i/jPc4qsGFMfJra9sjQtjfR1Kyxw9KbF3a3LMGdkCd3cHHwMauQdbITwSIvZ5DeMSng7G3mQLALs+0hQ03kKkQlzNefnmRpZw/Lt6Q+M6ktA2wrJ0ol/2nt24ejRQwSEvyi4zqitSJs0K6H+oijr1ox9VHOpRGjK1eUQFyByMykpn/Lp5MDWkFjztW2T1khGl7Z4qNvgvm8ZjywNq6n2ltjXuY7C1uCpwNUqm33N6H7BYCYh3i4UWKbeX8y0NDou0c5HPW2Uv24juApWmuHyIeU9u3ClzRA3WvGI985zuWO4RNw0DP7e7E3+v5Ec1UXmySkK/Oh+RwYdSwjY1+AqasKq1Ox3Dwesbr6blFne6oBdvRsJUHh2Hqni23I05lHLqXgBiykwVHnJaQT8fLYQL5olaY81r3VhwMUA+zUZThCZ1T21Pa/1ADTvraI5zvDc3DjtSuvVOYt1ypKF4iQpvzye3jCIq4iPdERcP97Axth8Q6znL7SLD2NVkDGiogn7eBPfBNeGAG8zsWfJ1i6jmfyckfw=="/>
  <p:tag name="MEKKOXMLTAGS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LEFT" val="True"/>
  <p:tag name="BTFPLAYOUTANCHORERIGHT" val="False"/>
  <p:tag name="BTFPLAYOUTANCHORETOP" val="True"/>
  <p:tag name="BTFPLAYOUTANCHOREBOTTOM" val="False"/>
  <p:tag name="BTFPLAYOUTENABLED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6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LEFT" val="True"/>
  <p:tag name="BTFPLAYOUTANCHORERIGHT" val="False"/>
  <p:tag name="BTFPLAYOUTANCHORETOP" val="True"/>
  <p:tag name="BTFPLAYOUTANCHOREBOTTOM" val="False"/>
  <p:tag name="BTFPLAYOUTENABLED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r0lg9IPP9y8umrse/9AoLT5R0GKq+XM9pr/aTyOTf0wptcuHbHxeyqBm9svU01qeeEM1v0hpSHUgirOnAK/wujGqWYA6BjsAEOoBh/sxdjbjOIlqW00QkN1B+POn69dvO2kRCA0fuSBYFoyafyotITGnUIttRWRAKVVUostTOUW4G6tNk/dAa/f5doJqzRe/HmvbAcnAxdWmueMgyzxaX3h3SfB9eHN52y4NT7gk7QJhUqVDBLhrauqypOt1nxLoxoSFI5jPFrBRrZMPDKibYoCySjNoWEPvzPoeB3wepnQfLpSIIbji4P+Ocp5dXeiAZBGey6G4aqXrv9iw1xDEIYxKGYbGtSJ1xLLq7L//82aJrz9HGaeqrIESgDW6QI3mRKqo0Eyh78n86bHw22B/i6ToUeTprQWaYlTkZw3dKeBDe5eZ56KD9ps4nkj+5MF/fDbXJuJ9se3c8zBF+TGDIcCKHxiQgDDGpdWQxIr8Svov2CGTPFMxSuQGkPzP7Tj/HnFYjxZpxFf5j8XQiHxRMMmU+IcjjUP0xuiycYAgNiawl5ilGCxbAV3RIVFOWjdR3cq0Wo+ORKACtwJuEACy7OJb/bkPPP1R3l/hVMv2dbD5YaS8456TLaHg+WOh2VBrbNtCUPehU4MUh2N9MEpsFXLESPZGIDyRfXrXGQtP1md7BPApuO4158sBJQ3HtY5HHnPWgRF/62oJGNqhwk1eEbeN4pnITpsCsYTl4gyMFw9bNAa3NmFhxHn8SjM0HEwJXNUHPKUaYwD9h9oELe4KWpuuJ809LzlLk5SiLIFW6sI6CffymCQVxFAbTpT2tCd9Lcu/JeJQ1GzhW93i7aDDoBdloefkzxkl/ROd/kUkkE88MvPZ4TWo3ojBHC932Qsr6Esx/iIOvJHnfH5YVD/X8pkF14GBcRptTgK8WCEoyKvPo2NVzyO9JmFstDley3Szt4zDQhwGb2rWxzKC+01EhHj0ObJaoaUmvM0hvQpFpi1yMOXvo74GU9aTpFQF9CGY2ANBim7h7I44ltjMb+2OCH2KXWB/aklUBuwsOoqadghlSVozVNXrvoQX+Agy+dJpwhGvzrDm6WnBO5/hfGzbRE8rXQnSCRS0/lIPQswErpBpoCsWiCguKE8XBxj6k7gdsc9y9H0RIU74V/WMLLscdJMSuidIIYAjJW3FEn5FjY7dgdKPcePZqRCtQpEK/48pZejBldNZdsMSWc1YRHTug4dxMR+Gzk9wGRP8FhRnFmdf0eUcLyevAUCG8boElKwfhZ56LWtK7ytFmJpGfddDpDUHpHldEtlRfWPX/5gMVawkU7ygOEJFLaRBpbuMAQRbWrOEYhG1bBS6C4/3TJs8+1hrYodiEJpvvS3vz9afvfsSDbbq6FzgOF5br02Jh3EkEWk+ZtCH+D+GdRFy8oWENevUSNMHaqDZkasTzFL7/q5ewP9hDt2r7RZ9KXpLBxz30KtkDm2J3FM95M/S/s/HB4Wk86tEE825VJaemJ3UBwOYEoULBAK2ghYIuSdVIt+BiY+3hj8QJBcFsCdJqVAIQWTIjNkZQiePLmvfMOEysQFvgHhG1ioyLiWlj/FxXL3MkTvNrTdsW6o7yhMemuCkzhl0rHpSMRXijLiNKf72eQyabY70I6L7UPF6UHJklrV+YJ6wVVb07KRL5X0rOUGSfZLaNJDTs1YtwyY1YkllPTlTvUE+fWiAE8HSekX1OvBB7sT1qN/WZPU9h3HGlijhuTbLtPzIAUcvKip4oJdF+5KTAqpcXt+6cUzkW4eStELa6ajLjLKRHbqcC3JKD/3XfG95jkis/1HbF5aBBd1l/zkQKmDeRev6VQ0Q+dfF+nCUhjnomauWevGr568Ux6oRagdmM+lTm07JyGxHLiQI/CcL8XBPO2qt84e2uNJZbs1zPjWpzg8nMF8XPj7SBXb0Bu1OrISFAsOQEltoyoVIw6Vi8PaWnCk8pScjIiXRqgk3rTURXzlpmp9fxoH4VTrBlu8ZMBo5bnaslHLEEUIhdm+EmDpn8LR1/ORZzPoeR0Nv8ownlxn/gdcp34lfvK6/s1ASN4xqwF2sYjNG7xSgKx2MT5/9ITMaH4zKFfL8T6WLMnREB7FyWNT0dMm3TX9gGTffN58x2phhbuevs2+WIMj+ezdeOEI4ozKXNrDeZVOz2pEttlHZT70SGywGOtmftpXAOs0qbqOA2jbpb0HfpS3JWS4gAd8tfDjyd/I2qCrfa/OQKUSdXjpoZvlhLadjYjMuirz6Y75q0lPj0SRoQiZ1eWWcJ7KJQDePkIxJoV+iiq7rMIRisROdB9OqobHLGytwxvaXMEL9n2p/oSibF7BXBEXcC/hvJ0P3HWptWtD2/SvsJDwYnPg2c1L2ZHxL+mAJiT6ILnFDLu2yHgc9WacwHSXxs3xTpNDbRxaZeZRsXmTLE9RgCYmzt9rGMRCV0Bf3ELLCZIGO2WheMwr6aIS0YxdK4JSKMkYoAypCBeZPVIn6YYZ5k3A/DPDBjjVB/qJuK09YjPY5Q2Mp+KisJnd1z5yJLxELKHTJvNlGS5px3/HUpMaTx4A6+9wXoZV7VlDFeTIN045wNW+aOekFgz8AoAGb3r8nspUKX9dj3NhYP6SN8uF0GSseBsEZ4WK0ahEVAt/MO4UG+vRqmdSQSgaVTy6oPSzKlq9TzsclNYVFV0QQOXGgbVjGhGQTfju+ZfV+Jx0kyfkj/SsIFCS3IT/yQytPWCbQTuAMuxprDd6VbUD3xm8IzsxUW4hb77c1SdmM0FX7qIFMYbCQZHkkQXfoUX9JI8TD7KCu49WkMn5uZT6bhoTNxgFai3M0Xjf3F6F2dtrS0GII8AB6aHZQYam05ulgR/1IqZH7xNINwsuOlSOoc4pmwNrIjcbQyYq+OHkMMqSIooVZqqiXIDoJ2kZ1UXYvzeFOttSSNe6IFBCHxrR0XZeXipYfycFqEJb5qJZ6rMkP0FpY1Wrx/1UsZQLXAbld28qM7mK2mofyP30zW45D6+C3p3qPcP23i9tDXKBf9uJUyL6x73tzCT0sldlK5js7XFDcEq4XKlHE/imzoO6F7IPgcbmC9H+EGYeUdRYM9MF5vVlqVj0wxwt+HxRP921kpHTxPJduKp3sMEs93tN7ne2gURGqEA4FRXlOKetpilsu/gZWP8DVxR6ZvPr4oCNT2QA91ofCqTIhN967Kwb4dLRZc7ehHbd7powpi7s7KJbYLSEaYggTMq2Ze2/ql3yRvTozbWTSq53KkSV+BKXJoKOdVloO+oQvA/4IsZ9Lnxpu7kiLFKThUPsVHvTr7XGgDA7W33F2AcEae3+ukcy5bXL1xhSGKjAQRiFHp/jAYb0E9EbLHJdKDOFlGC0sLf+oH8uzg+B/rZEn9vEwua0sJuR6So+xDsVlpLt4kmOmG7u8KV/lR8H7A8OeSLqrkZxqSFTe0ckvSBVBemCGpfeKtW19nMENXGdugdfv9KlLIteunjLZAqE6Fo8FvGGI8Leuk8c8AASAxdTm4Q5JW0z82ZC550OHwmHqkAUGXRAlS9gQ0I0y7WynxiaMBEJtcSc0SfJOY8JfeoZ+x2ZSpPCgMcrHECaB0+NWSHKhJWdt60C1Nv2545/14I+n/vPvDGVg/W2bM3Zmk+8lDyHqFkCBR1D75HkpaKXoEgkDM3gzhTzCJNn1xHyV++NQaju52W2YOwU6XDeCAW1RI6NWDTMgDaLJe5NHHHpYZHdBcFWKiHYp34+GMLPpdCWjTLng2KFkXdluES1wNDjtKh1mxjSx21QNOZMNVlgwflwVrg5Ej5OCjSO2er9z10LO07v7bJxcXCZYjpZsE7IfAvU9jdRWFJYgteYPySvS6qTNq3op+QUUIp4w1zvc6tY/MZ6NeAFBC85gWEMNjl2F+XiNGa5Y+BsD2w4L1t6DAl6KaWpNjcmnLw4LhVLlUQJB+3WQWT+IwYDhfdrC/KD2r0Nw35B2svTOawMhlHgUcs8se6CqGREN4P1xf/XchBKRlcN9Cj4VBWpgSgRzqFAJLT9iSJj5d6eBfbkNluGvryiLrqxMP6Pr0Kz7rcG5FtnVDoC1hwEiVOMA67UBknHMg7XI/oYbonzYORGBj7CS/y8VFqPHi098wfQaNxqmkQFqF9aZeTrYGA4+wOslsh/woMLqYRpzo2FGKgAjGe+OdXtnsh3MH9M++9qpT38UrrAhMk8Cb2QjLay/aGOwjBGteWCQgsxk0LwoCktgGUwiZ4T1Cjd/BNRILooRRRtaX5x8Kc3niQMiFeJorbs7IT3+Rp0tflGonqja6gL9cse2+H4jS/4uNN1XZ5AiFpDEaO0TxZUfVksQgPKjJijeVMAfhDK3jl0PT9cDxkbyB6bXbnMKmb5CNjuS7b2V+V+bjs7VmexVujeqIrFgYVUyVCh8d/mMgjgXwfi5IzabfuphvqFoclgDbm3VC1FmLO/BbmIVQPjw2+vXjEDW66l17IYO4f9fd5OvYvWTgdcoE8O05G+Rm8EFY8eFjgrtT91UmTFSGCVZdZXZztbUL2i843rAcH35lPDcBrEEaz/jtuiqR/jGb9ZlIAkxWtBo1Ci9O6V5YeeSud7JuBCb79lBJv0gXo0zx81EbACpj36+TLIRo8AFHsIVeR/A3n2u4pKZeHHGTwLk9aPZ9TSyo7Ghi8njdoaKPbxCzlKobaMnMA1SnDcw/t+VPZTpEwUBFESimNmJ0n8bz6Jv9EoNL01mioPinJMCVyFTRRsbySdPZvUq50QaqzZrrPUKYzbyYBv2k2p+FKJzUld/zNQefN0RFcJbPqTLo5/G5cyD5eh5CyZ9Haw3aj9kXG4EULzYS9KIkC7Zz/Z7ZDib5E+ne1hAxbB/94KCCKgMkl+FPF1Hr5+XlAtsuxsT5o+nE8yVplG6LKdvBQCi2neApxBxQTqCA7HxDmV3q+GNihkRLJo/tgKPciKHtI1x5Y1W/ScRvDTPtzZvWZIyIs2QkGen/ALkrzyrwGY22yuHpmrOdEpHkWcrUpRHM8T2Q0j4KLSdu4pSh60BF/8fqqg8BRDJHpXdnIWSqhCVTzYw3LbaLh3YgD3CBPVnQ/WkDZey9CB3PC2bFHSzNRItzIJHklAbOvSnrwAKMXpjSW7Ht+ehlrANkou0sPwBSEhIxYoGqUH8u7Ivns3+pX5HO9oAmo0Jyrtv2hDJlOBkDqmIGd5UznrEDkJMg89WbqQAgkMDAj+omnJ/lFwUFjxa2YgC/TaXLnPm1uEMeJ6mWrbjRvdUsTtQokBwdw4Jhs4yx84MOgHB5Cb5GNJBQ1taQ0NtAnjOONbr5bTMhob7N7iV4Hp90KwGVhp29thI7wQBduiW4Dx9Ad1QGZkhU1vFsKIvLL6l+nDSCVRhEKZBUJ18FKB285B1rj9jmNb33rL2im+FSkKW3Zn/t3c5jRODgE/zE3jE7M4AB7jCjoCku7SorRErYx5gk8RBw9/72lAT6sNZUvnbZRoz9C1GyMsATB1XnJviNZSFXeQ7IvL/0+FGgvTAaYSMFNndOVMmeidgdO2ZDpC6SQxvUlHjGcnP0lliIN14GPXKuf8CyB+xav5snUvIjDh8inGL4DlHx0G9G7ouqZZ97D/XT8c/RLJt5IDVTqox4dsZ32vbngtuHpvO2Scr2FmdbRe0V5+TE1PqWbllionX9Q9/2oeWoQBHk9IDOMi9w6LOAvW7PNvxAGMs/2l7QeXPYpoymDYnRTl2k+pmBPdEltIsXloRijJLtTGY9jwhfd1Y/FdBAcNNGD97fcO31whECkyVTjIlIpEaRP3QviTo+vankZEjIaWN4EmJ5e9WiVfvCTw0u/Ogub0bQzp6wHMcXkbSagpcV+ufzwbGPmHVeiBB5EaCq1fXsQdoSWuZHfiUYdU5dQ1+Rf08HY7prTIlWAu2MsbfJSjGGwS5Y+LOx0kUrMF0NMmuRBfvsTH+PoDHEjF/y23H8xSzvGSWGNyFr3+e7ReqL5XZdie2SYJjgczgT1wLoD8CPoun7YSQfwBfGHYG2fOaTI6jZ2U47+8X7QzfFEbrqtdZPsEkzH5F0wznDEi2LLUMroniWnlPpceJoP3lzS+OS0miaiBD4/N4a++WowkGd3TmjhIlcR8QkldRsHaZWrTN03/1sD/7Tnx0p4sQH60F3mUwyvCBpN0DdU9BPkfnEyFpTMgqFv4u9N9tJaklJZPToMn29hzZzn+IcOMu3anqETF9UVuEdnyTX9h2xzASE6gOjWVPLAcVrvrdMkETKG/1tjg3TuYkg79h7U6fwX0kH0J9+79iCrPsXLAECJNeU/ZzKD7MQ9VWzjJtI95sFLAKbRlZdmLzmUyZfaYixZm1W4vWVJadF5GNSkJ5wYHOjozESq4MWddWoVccWSAFup8sKAHRtXNEnwHUY1fW7xwJtLdJUmj6/9iON+Ouj0sAwBmFwrvux4gazYTmGDLComSmjoJdxxjdUzg9qK7Z6aMlOstoULQNwG3+0dGHz+DFSnf5SdsscQHcyPsZyxeOC+QiQdbw8PiuYeGa0xxy2IUn1+uYGhvKBK+AEgwYqOFA8k0evSyJIm9bMJQBGCSGB6F+10IjFvLilITZYWPhTR7xB86bJliUhZyHAA5ePvaiEX8XdUC+8DeYjnFMwOcK7lW1wp9qWqba66uelxeiW/a9RIzJiaUUWzcK2iICjd5GK8w7hWxiV0/gj1pEFBp20Xv0gdl36SPK1KD0/lsdOKiyX/pjAax5B7JfUqY79raYeYIvNRSgp+j+wFMJ9If26qImfq+lMYcxTZ05HS8sUs5DotEB2Dno410xtZiiRyhqzauBfV2zoGdPQEeOgZ7KmJ2gXbh0l9GYBFDv94YPzBqKapVMnuoGosMFpEd4kami8rs9E/eZk9vc7F/kXQKpdAtlJBoC5zq8OJKfJWnoV+X1cwanxAcZlCfFliwJCfP/CV1peZ8cZheJNnNioWDQHsPfnFXyrv26Hz/4qCThX1EHhvaVTr4eAmF/sWPeqFKw3N1MUDBH+8PEAMWl4bh9C+WfqcuztrmnTT/11x1sTJZ4/Lp5PPNZYgoCdO+9UFp4GJdlDFo4j+WkS2Suzp3KiizvdINpubgtQFUUvIvmmqNV1Ampcaq/PQ4Bdxw/pNmHJieaY0wGjQ4l6dt2ftMdMStHabJCiL6J6DDOecio9yncZ9aostQ9FelwzND8NJEZlVkYgEGeVzR9evHtJlUL+/3o9uyX0SFQvTzQxdN9CXFi0h+MiGm9QGCHTDzQEYB/MoOb0WCKJlU4pwAFS+bAN+3AcrN+62Fp+BqOmaRU9XOILiZsB75UpqAaW3XxmGMbsfSslmfqqt46gkU4/BYJ73kxbH4/aFlUlsm2CV+W7c1hdU+cAJaUCdLurzN8UdtdsPyg62nI2Le53yqTlHBTaC+att6izcqeSApZsITLbDKe9BLyeTXpU1afzpzm6nhj/R2aaDCktX+pmX3Cl6c1OtC1doSFAclGphplaAWa2oi4bf2z9/yrJsiUcpcth2ZDcwcp06PZZn8Bf464Wypc8XxiMtmNYJGgB86j5ojE6fT08WQJbD7GdlF0kTrPvksipa4NIEdsA/0xZRXuDO4lsB2NHuMzFfkiP3//b+chAuEYG//8UP46IHbE3Pd4DAPBd07Bnbr+hecUrIZ6oBn+JmQpCcyZNz3hcf7UmQvSrPhBed3EYbyIpec7LVz9rVlIKF6syyJ9qTPdWi+AxdkgPM8TD0YzaKJ5wQ3qLAHKeiUv+r3BO2DbCCHIcSnX5YnftCJifYuHWi3xd1gLPWpMyhUw6pOHG+F7NUzTXiwww2xhmpO0J54PCLyQHQHzGfDvz8mMzDEHxpJph23/0f39R0MOgbOMYpjpHu6P6tWfn1UyGv7syxmQHyPhWKMVYTk+qKlZ4zPsOBHm36tduKyUJO4yP/RrSH74Dh+7P5rRfrmA8YHSbvae2mtjtSLwXjMLGt4pfLxXYCoMZGfFJMLy2fZa6WLe3BeoDaTnVdIJas85FCACUfjFfrzxuVvKJXBoNgbGoXgALhu+R3Yyi/XFdaQLO8HRPKG0zeS6wYyC+XsyXkCx7OdD9db0/WqwxHrG5N2Q2a2XbYg9wgOj1QAKkkpDN1MuL1YmeecqhiozLkPtltuAINiANPd/rR4kyRx3/q1tEXo9Az+lIrTR3D0HqFFl4EKUZ20vQqvyHHQUdTMbdYOII/lFlTnnBvZvspWu7PrAeXwZxXffq/ss12zMU3SMqy888TqsAq+5nQWmwHNj0d497FzIhEjCY+j4pmCKo3EYdlggnhVb+4yITE32pViRgMdLJKFizIeDjmmjXelWOC3w2iqOxiDOCsQkyIhGsa5TWvxrmcZGGuySTxmnCNeUuwP7kSnHtiWlyFnj3JKgx71K8KHopHXT7JhW29KPhq93d8JpnRStyNqjOxKvi2LmARagGHVZ1TlxpNRAe+n3BHYKxlKcACSJuhD1sxtnI/D/JM0rHgssJG5X70G9FvGTnpKp8JeMhABCrWUvYHYQk7L4EVuOUDg9KY6q+pRJiXvaOI7dYc7RyTqQ5Gh4ww8QbcEYt+QeMwNxPvpQr4eToLjt9Lysrn3Jsy4yP8A1F7OZ/HBSfBH89qM607BuGuWm2PVhM6N2bm4PpByDUqJBCPSSy6A0wP/uyq5n70ijew0w3UQE2ShjQKAJqUn+3TMe9BgW/pMNDpKAO1FSqfz16NS3iV9H2uHvGpED9z9wwSkAt+ZgHH7tpxIdS/X5b1tM9TrhQH4ED6kKUU6Ml2McXwGukT5gdH960c7zgj75jJOgUVTQiyJSG9sqRNroobPlSiwXNZFlKRcqrT4GUPSVyGVDVh2FrrKSxH7lPB4khRWOtxHB89fsrDok49+ieUw3o0lbPbIxmbhKp7T1r8POH1a0m1vPy5yjmzlrNbfULCvPj28H4aC3Y0ID3+foDhYXjVagLIjVZi7gylSuFjJWfzDr40F9upeP8z4Ehwpe3Id3vTxrGjn9v+mzXuOjGM4WbxjIVFFSOMmZy3dnd9+qCTFA0vd+Mh1ZdKwr6BYCSWi691vYps5VsmyC5hKL0udnVY+8mjG9YfrchQsmMbHdnGkbpWGurFbSUGV4q711sCo+jyFz7d47AZoKicrKRo/5b9up+ETL/B72qQI3M0j7D2TS2HS5IR8F21pSiyKVlg6fQjsEbNe3XYh8+EvkAqhnURUd4GqFMRxmEHAtsUQfLk4WE1pr7OOw9c4wvN8Yyc/mxfLv32IWJtT2peeujNRLZ2mt58Lu0SoplOgXBJW1dozAEn0r1M9twLNbYarMAMi7ZTbc+lHw24OwT2VZAwnaWoyUra9vBsNlIUhcf9UMnaQSZlw52YLunPi0PSsaus0/XTkJYZw+WCDjKE0kTKMHPtj3CcrDC1fEGkPNkpxgvR6xVhN7dV+ZK1W8YgO4fJTpmM9A2WITSjI+Wk7MCa1824gluJlgw05Zxo8BLlOxNDcwXde69RhIG281uPDWCO0A+I+JmfnZRiYI7LU3fRlezWZXNUIehQVOrdwJOk74AXOEFCv8SS5iRAh6qRMC9IYBb16NBseKcVvE1xbPWBv+xjAYdS7Fl+jiwAOoVaXDMUN9rKyrwIFKP3EMOzomsguGYVOIxRx8K8j/Ga8KBs6B0utbPDoBo5v9iXBdJpMWdZBW1ihC6F3mARBOFcJpo+249RphknNXlGDFfmIr9Tx0TN7cBaGYwz6wbrHeMy9IjbJS7Ay2WBazJXmdnVe5FrO4Gh//Rl5+lFDTzO+dp6Wnn4EczD1EqfcDhaoiYkC60Ckga1E0+KoUqBGZcbNqKHLmiA8yQENHrjAz7jQqVge6yvr02P7DR10sUpSQqhNv0GRgmZVMh5sq/G3t+bTYcA8WRX460G47tjhpydUogjVA2UWidFKnXjuNoAspzGqDLUPfkLVWRBy2U7YuR2elc4pwpN4Nu209UdNCEzjRmMCMHyp2Goo7xI460dl/xYGA15s+G105ABTN4ERHsUAxdTc/yhdg8BSeMEALf8mxUaMhWjn+HM6MSb0feyZvGKgjkhvahx4gEh14RykPb5NiYJwnMOdf4l60oEmeNNrDCu6lWm2tstgPP8HIaDDAk9ml1ANZvqF1AhM5jSRfOXHvCZWTgtaTMDzzPA+0PPMsKbQIpMf40CTmCQKtuHeNNAPEk6NZ+m96Cfso8jrjUx0ZzVL6/l41upEWimw05BG30G4n7qLedDRKa4mliDXMTxlLTtt+F3F73E1HoJSu3GRbtKntBN/J7/Ru8TRdXFj5Q9DxSCYzD0jt1rNwuBrh1BGseJBj9q23WdRxWNy4dPf46IdIdera1Oa18ss2051Hs/Se5+FZl/3jhK3MmTXIdzSv5qEzLDykwjGlcOzgu8cGsvW9JFYDIfssh9mPpnZfrMYrvKIvjFCTij294bEdhurLNNdh+0bOm7LEfI4Xl08LhYE50MsEiLBrX/lPBCFL2e6MUk9EZar9Gyhyj/EfbHIlgXPv7naaiTgAtVhciBPexJRwL1S1YTrFl1Z/ogy5CehcBXYLgb8P0vAaey3tNt2M3cIPYwa8iqKqE9OmuBl875GLGF9/hgkJwdRFacuY1OxntJEMMeXHwYvDcIjgewDubeIDdnuwjnNEqAjnOWR12OULLxzfwbT+BG4/9+0mgXTOclcJuQZAvpwLIZvTDzH3aNrDrfXj3sr/eyDzzQinB+icnF8b44a7VbdRkacudQdUs1AIXCsdFFHgEZrq+yeLuky/Bbmjw7nDd0famvB5ZzU+zLiP4Vxien06YUi+iANNOzJJ2CeO1vm44Nquqjfv1vYmlG8LOPeJw2WSlU3d/V9BhZPoceID4RtV06whYHQAoXXCmuwyJAHJX4xg4cNmassxX57pQlaBHdml5XUxvl+HzU++bJKANjqV4EV/JnAc9N3WD/9gQT3a2WA9uPESnpp1kcN4vNh2Kw2SJsCDAfCfRFNH6G1M/x+uSf2n7Gwe0g4MXH+iZ5ngeEjvgmXjjE9XPp6GC8o3LYKyNbGtXpNFChZpQ7gju3UlGK8s2Sa2lOpZSaixbu0aQosolRi8Ti0OnsMC/mRxUU6lXiJptkqxSixKnyNUJ2vsyShiURL46y6B3GL7RpIxSUJTdFvYoRkIuxq5C96fHL02IkkLBsLBS8zrafoctcyxebHKi68Vb636ESvksHVu7ax4rFzfoAKniBmBv5EjMdCBVbdxbXQH7I3EaJrGNNC2yyKYkpjvVf/gq86jDDCq5IipzfFuUXsfaS2nyTjmcwGRlHwdFP4wPX/rRU6GeWGCGPtxazlwqCaKDwFmpTseYiM4d87QJDEPokljPB9Dajb9k24abJEbXJfBVcB1ZjnCUwlYzxH51YIwLf8VhNrH6bgOWHqgghp5lbA16pB3pHB6uadBFypl77QTBLwTFu6EZk8c7qyQBPcWM2lIaJ/Uho3IL+b7kWHJZehrhP+HSczcvGs+/sKMjwN4BFYyChm0oSYDSFkcUZXJBv8TrR5FQXZk6OflyRQ+/I5/GuyeNqXYxJvdU54ToMX4Htc5/gm82L7EIeBL0/Um/4lCjomyNl0+NI/+O/EubXD2w+OSHaz9M6nGZf0v7Wi6No/Ff6BwfubboDJ2ZfOPnCSs15iDOu1QEda5zLNe4UpZlYGlyzEaGS4UDhQ3PeRjU4ThOFGO24oCNb2sWR6WQadtRHYHMbigWHEF0R3PjDF1OLT6zUDSN+UEhA/eAgqR4zU6f3p4G9NI6kyt6WDjN7a/8KaK9DFQ0KSv3bKALIu64pDoKGnxXetKom7yPDksUalaM04i/hn2r5pSVzUDINLB7l4E54bLn+8fqDFsYCWE7J+SejVyuW8HbWl1A0gZVWZbPwaXRpJbIPqAP3cPCkn3miQAX+cbmPuW1mqgjk+uWHcGO9eLgR/c4UdlJF/EFIQhC5kQ681zlo3ilh/FczZh0Q2JIHJco8BgpON7XjKnjY3zAAv169aSMV1Wufo9Ta3YE0Q7mgPXqNsrKHPnQnai8JE9NMwN5Y+ko8Kv0kNJ/nxHKrR79C8U+Lx3Jvg3N9g+FGFpxVX4GbiIlMN22wEhMzu4PKxNzmjScJ/zCpmI9sUhmmZI2c65dyQKG28GB/VikCMsvJEBkn9dSKSxj/5R8LJaoiCvGsHbx6JnvU/h2KLUh4KWlfztUoVtg3T7/uJvVAzaNp92SmnwNLrj+YI+qWeaVcBPn6VvXy/RqVnbs5vsrNbwrg47EIfme6n1zR3Rvv11PZLuLw3a0w9Vxg1m0Gug94ZgI7tdMhjjVuYv+fYpT0trOeCwlVj5pGPhz2o++RnDvWAoQww82rySkOWZ4blQw01YOuLvSxuP7g74S3+HnnTSRuieu0LkwBHfICxj1KIoQS+ngRVMcrbXqQYV0AJi9E4Xk/6eOoCtoC/Ut7NJEy8x7oioQigZiJhyuZIRoZ7xDIYkJoKLC8E/saZKnCT1jvphspFSUflcCEWRS0N45BN+SK3MC7aLtpS7GjilWj9l837vp102VINSQQRexM1a5ogbl9UH3ClCVMWP+cIVwQMf0tPO23efc6Mj6mbuQJ9/dH8GmdcIF0g8lpBN2CkLXF/1Un7oBKhF50R7g6Ofrpvw2x9X/cqYJ8XkH5Z04pw9LfbqeR3EwCQF+keVaQ4rPkqCJ6YDnyjHDEvrvlqSInGfMF1pRr/mXJBNkVnJ5jMOCBmbFuIpIBuGHJ2wCQRz14oRh4W/O6I+VlvRSRYyfxmCK91sPCXwUXbgr4jxY4zgpTofmFJLG7ldOmLeVb7DALqlHenrP8H/FLVhVYZDgglSjp4m3TDiJJiD0qf4BSD40nx0/FHj37cIdhJWA4TSPh9AhWmrb+vlOtbfMyJojo/1FCJzh7l0F9nqpflW2218kPVHcUxPmxo7ZxgYe6JQC7v8gdGD/gc/klnG1w59fvc2FMBGJjbFacQ+8z13FL5UPV1ix7duLmk4mGUxD0r2wKPJTc5zMCCUdx7QEG3GnK9dAa8xY+rgvFu0HeNbMDEI/3jMBgRIaUIj5HwQCzSycysw6zvtKITqYvvMeVwyc0+RgUXFr7H8L9/yR6/e6M9FDeqWt2uJ4L9nEceAu03GaEB45XLZEzVS+wwA7P/kr0wth6yP6b2q0QL4PrC9vttFwARlrJNBLzroKIHlCymB4ymgyfDvfd1w2V7DRRyP9pCFoyANK/ZQuWef9Dsz4WTVXKEHEH6eivOmgGmFknB2jGHv27cb4EqIq3HcT9lRPR7Tg5VZLeYwTDId7zO+u99hmvesFxK8zZYyq/0+o+yLEZWZ3IAGaxPeF5vd+cXg8E9W05t6X11xjeYTQ34xVMwS0L/ia07OfAIEthtHy0YQOOgVHuGvgkI4/GeMrJu5LrFwJh9YysvbbDzSbXUhAHSgvEuinywPc4raQpmxSI0J12HDAKRj5rzh29SeIuiifKyJEx5nBps4lopw11xW9B0bDZ8xLEMTiSGRSo1GzesgPr4CPmV5qGjTzgcobsGfs8JkMi1DlFzDH5MvngRQxiixrClKI+8Wm3go5u195zAWkBEBHBWCfORoSe/Eyq7ddXmVnUbbttgb6uAB/PZn8gp4ktYlhPi0Er0Bc0pftyQKSgpfYBBpsC/KMgKn2JggCfjSPufAvDyk7ISb+vYbHKXJVrZ7rG1UoQ93kXHyG7zP0sNtJgZZJ+bSUxvHThhmYBBY3JYIjTiLVQP//Fwm2Iuf0At+/CF9xCOww9hKHb7haeOS3KL/5yD+yp9g8m3alks39vsjzPNv9CqOSox6BkvtU9kBB951tzCXEB8cJgQz46U7bUCB76QYs6OhwQveqaGzf6yGbdZHtQr9xKHXnt+ePYnpqFQ+cjL2Xof/j0gQzHNpPFDNAoq8XtVj0VJxKteVq6gLY+pHzsJdmutTaHH+ZbLNIHuFCmhYwonT3/gQBrihq4zIzQuJiQdxsIPpjkrjikqpnpShMNTaixhABknQrx8dhXUG4IAuTEut992O5wQn1OpQvBW37MsWJTre3k17yRnf9W1Bvh1VaH68R6XWRYQRJCt6zp+eWshgnceJO63HZIPvYajyrFjEb3Sco7q7QOHjHKPFsZXh2qJS9eq5LZN2QCS+dLFRKMj03kNcrFKl3XMA06uwy+p2UAX1dgNeqlEW7UMVh40fJWM0XsKEkRRRgiDnBuo3mkkEn+W1WsEZrTlu7nuyVNj3ZtYebnJv9VLN/V+m7HLYqwAeWMqqq4pTTzleUxCU2uTLaHml1voR8bEJrCAakjKsl8FpluXUn3Tqdf7mZqfXBJ+xTDEUCKe+6TEcT393Xew7rJBknYkE/h6dvPMyvYKjb0kSY61z1ucXdpAO1x//ardaXlf4jbyUDQEgspE0jrk7Nrcbmq0JBSzJvJj7HABEUQouqHB+2wBohjIlIE0Veo7VB7Q09Ao1X8lkc+K3K9fm5O1mq78sDUBfaSh0z18wGwkfyCadJa88eS/zUtY80b1YlujX7RsCkWj38kbztry3DecBJCxP6Xtoe/b1XIQ8d6U5PPCM+nqbZHX9xocKewtIkLNDoh21+skHqdAYxWrMHGRIAYSfFh/J+FxTzp0pryLKQPqUxWluEvhLdzbpKTQuHbHh1JqcYAiuCIXJl80c6+T4bAvcfM0JDQ6y32/PX60dMFzIc1LpWLo/gxs9cWRzCUUBfGubmkAE3wJPknRlg4HZq8ZglhmQeRTjFNR8kkEB7hBMlIxnzTk2eUeQy65XUIvYMdUhsedLEjaacS4pzv7qH9V6UE/BuABc9HAekLzKlY7x2Q/lbqDD+Vfou6R9grNHZMFl7FKjaGMaoSCDh60/J6S+Am+7DesT9KtNbasNmD5M5xUr1Tg3oniDEcvBxo9lOO5lt9DJim7PcdTYmqpdPhAuCypbZo9yEFQtVQ55OyKGj521WfGA7ENFq48/m6OyqxkIjAiv/5P2KxhT9NIRQtK1r+azrg26GA0xzHlk8n3ESaFH3I84g9BWP1xDmQlRR3FmwRWRtrMmMPQq6HsHGZuvZpYl3UTNEZ6DpPgUTmGo+Q+wBS5+QZj5Ds3E9wlkLR9KaFYLtrDYpSJ+CHxmJEwU9dfq12FgHDRNH0a7X8D4tBzwXlRzRdpb8nggs7ZMVvdBvGigW1VL4ddlYrY0xuQQB2Y5BUAj9Ob01yG+Ip5evgzoon5SHK4/ItogPAg3Jl942adgmvomtpr4B0jqiffpfKULJQT1JyG9/PxSNGcODHARrR+DuY845QnPJ73Uf+T1g63nLZe6KZ8yigeXlRqFW0Uf7irbGkxN7fx1gC8/zZo8wM2wP7H/ozOGCueDBDbdcZprL5c2AXEp5In0sMsWlC3MovA90mx8wn9M9VUTzLC0Qqqx2AU79y5LqtbyTtlRlAnESQ7078lfJQs6L3beOov99dJd4FaSBjdTtUMLxQ2OTVzUsX1VgNmxfVk2w2R/fv0AVoOi48e50dFmyIR63+SaeJSO9va+HVXH6tXOMZaNRG2z+eYsGl1aRPooWQUknsnHeSc117k6UkLdpoJIB23S90ZkUDpcBg1Ef4zm2zS9fhEK4nvJmbrQgeuJAs0tt4ak118GA/3lTrh3bsM4upfJQErlQYraduaZiqATIlgshPGV8tTVwjC6SVIqL6DVwbsnPjXU294bef11umQHfv5TMEDAL8rXBjOEsyuIKpdhgspEC4bHpCMh3X+eOC9hqOvQ/1EnWYMzUbqvu7cDTu9fEbYuuPvaNbQRFfebPP4jws1RsOnuMDyQXyaU939k+UsWQ57xSuGjn1CLv+PDiQH456MHXkZu75D8LEP2jRMd7/2FdmrtgFga3dmjpquf7Wbv7LndfPs+RoWDUhXn63UjJGcMd7a5RAvgzgC2TwiOYlwNY4vr57mM3nrKyzo71WniLz+JQh68Ks/AbiSrb79IV6+GWgLk8vmDArnsGep/sJjDAvWAcvgVeOdhvkImXFqeYedY9phYpcvTItUgpwqtc+7oSbCCEf9cnlnJWUkowolvqa54uH2C6C7CduJ8I1cYi8YLKz5zRBfABdKocv00B6uPU1atjL3K5cPTqt8EF19DE+QcUTzE7mF88C7FiuIdvXdg7Ifhnuaq5MS8sSdZ+QO9INzxz2/PV87TUavKxbBjc7VYq7PyT2e6vdC5U9mEN/IyFrHfE6H8KQ+tzecJ86N7QDNyTlEOoY4gG+41Ebe4oQw06puRTOGCm7z/5vVEUqSsUhcchR1eL+bdXf1yV10xMyhVgMBQtGEbmDNSgGEUqbzAdFF8e7C0SYGko2p4+YGt4Zqngxx5xtry2GGY7bB15Q6/8alkwiGhVTJ/XMeNCf0b9Gont3s3Kd9+3HaQKD+3Ebojsjfp01a5kF/T81jZYP3ZBXKhFVGLiMSMI+CDkbJJc0c04rTiCYHSxoNsV+s08wt7St3I7+8hwUpPWVCaOKWsDg1OTGYBQwMBpXxmlBmLYdpkKjiriPuXWzppXIfrCSzcHy8FmtL21KWfVrycG58NJzLWeOPt3m0EHrmdfUxaFLAaBUSvr6vaT29afcmuktWODRa8846HMGjcVChLk6UTZqyD0F9xuVv6N1hiltpNiN6302NdWKQuhRNxxItq3UcdbDLQGULC8/OyCdvgF7fl1czWV1jWPF4z3MrfA69qgIch3zJ15G0XhCfVb4/QDVtF88KqxPxyUr7dhtxiczSABTxe6604VZ0WRavkwZxcDXsc+bOjFRn9LnEfZ/wj7TY9clVt3jg/qqLdZwfRtH6FeHOB7KWVQz0ygwHiwlPU34MYt2FvJg+8Q3x1QlYui+8brAKfkVShury2MyFtAApdQSfdD+LNkisPfhiNwPrGz5XYuB9hIWu1m92GGRvX6JVQ3TOPUkMOJsLujNXt1IKdJH+4TTpx/PINs+Rj10dB2QVGzd9Um8tsZ2fFVvLCej3DKhwgI8s0aLpt45jk5yyos1hfl7X5qViNssw7gO517FAbqNx4tdAOTLYKJviwaZMhd5JpaOlz3EfbeJE50BqPE4dTZQWsynDNGKPg/WHgjeOAn4wZ/jj0Q/mZq6taJfx0OCdQThX/Af7vVMEHOeUtTy8DtVb6MKzB1BSG+TArxFzC0TMaaYGgxBfWsx4GbZyuz3ajMqX7CprIrn3CV9rA5COVM4cz+CIneV+gKpC9MKSnzYQLvz5vwxaulZSYLMD9i7AKzGTuqQeqUWGHjAXVqAteggUM0OGHlCSvvTCPY8odMsPWrhVpqT3ig07tzvgRsuvaYszFE8faG6sLCAE+jrG3zTh5WOyUQlqj6BTsgGmhWokhIlTW8M2LVitQ6yy+ULG2gQubLGmSX8UIyd3/BjGcjrYHs8ajY6jS3XS/aeys0zJJSj6A3GOA3k1DP9MppkTfgH5Ji/dATJ5SvR3GTifbDIl3u+/B1yNI5M3/rqSLmGIM2bKm5F8dCEI3uaSiEY7JReM1sM5XE7N4T2qP8COSdnhmDMmC6MgYZk4uwOFOCSv/XeHtrnc2lJ5v77+MBMdlWF5QTSyNRqedvUTRcO7fI+QDT5deHwL0DXG7FC8+1KYY25HxbG0c+/uXeVUsl0suTl/1GdEL2wZE6TCcfO6O5zDZ5cRj/lIPbKoUY507dnLrfJ8kmghR2ee+IdRyKbStAH8xdJqyqPmtKR9A9Qc9ISE8kreY7lslUIYKeXkTZqV9mcURFDCl/UOBEC3HiNst4X86eCMYaRNRtgAprWZw3JCoQZ+ZHJQa24sBeU77sQQu87Ij98EwEl1yVs2xdRf4bsdXQVrUIEB+JV19B0T/yPi6q6e61en96tapUH38CtBhEfBu1xhzvHjChL4jby25pxbzpkGbYAeUnZhLhkTZlQP/Qzxb3lSE3qv5RGeSZXoYf88LzdI3VOb8O9XmrBBF3xktbklq+D0KpymL86N78O6vF408M8YbPdr7xQd1vDBQtU7G0Nmi6XE6SAmwmYISxxI6vyjfqtKss4XkNSLwH7lXEKcT0Ps8bOlLV0+cNaMoG3Z0MDo5mj5HbdJXA9fpHsFQiGgKL0c7Z13u4AnnCmERdf57qGpH89dQS8KaR6SenpzPW0LoUmFUesYrVAxxI0+mJ+HGtv0Xqte6tGuDlqqAr7WMPctNo6AZnDpecQgE/KKC/yrg3U3S5s22WdeJd0kIN2lcbDjdoKKhG25AaloA5NNrIfUlSlD80Db39QJDFMhh+7488j9SDM0twIT71PZvMHty8wNGwIlfz+ULUfIYrcszQctTGoo5I8DxK7N9sU8cShKEjbRzbzRfjyyG6wffonxfbqVWijkrhwI8fz4c8th681lDpjhGBCdy6yhMf50cBq4GI5NlL2aB4/wQ3A9eW0PEtMUK2JF645CJ8MftCg5TZh+EhMj5SucMU20BD3uT5XY0p9ViZmGTPtEDLl2oOPj4VrD7rPBds4/Vxr4XReCjpODUVzn3ZlEwp8CgNNwC6aIwMQpWZO8eR0aDY2pdKAbj6SxSH22Io4BbBdxINvu55n5CNID/b7VGM2vh3652VQ9paxeq2m2Tqjhs0fWvw1NnK2Ftw9aeNLsT2NjU9PLP3a0yqKfzNqam+PF3Gzb3ciX23EwnHYBuB3uPQ5p5SEh5qF2jLjm5HCD67t7zJWnSQ9fxZMgXLUW5bX1x+KnlD26sD8tRk/SABH5hZ7eu/jvgmfS4K19YNzm0AimogIkXVlhv6kSSBtgy5fw4ifu/VAoExxbU89WjxJgjyTPoH0FJA49CNJzv30OnE5dEzl4ArM9BWPx1dYC9klUrvzUtefET7YYQ3zEk5r9LveAL9C0Um7ZZXWtwAU4fZOBubnbT7P0E523mpNNJzGKNdBiA9Rx00SzCVDWbH1/BpfnulpRP37ajepBX2RPckPiTLH0ndxBFYSLTVCgs7NHwwI7/gkqOR+ZPOZ8qRQeFbxdn/qsTZfHd2gD0glcF9Ff5ZOXqLDg9GJT/hx81/ScRcwjfA1tyibg61G/VqLItiVyYX5mB0CBq0dUa0HaV0LcPCh5/MyWW1O+GMYc9TTPT22SQ0hs1hCLvVbWQ5lrd0ePEPSjIqm9gPjELW9Lf+TRnVeZKHBHhC1jmjtPeCgccagezs4cNwKWQ5k1712C8cYZEoe6bLNXqynlue1nffMK+grGjLzTXDBXiyCTmshNvdAyUOfhbTjEPpEO6sEzQ3IQmGENDhURkWut7wJcMaPVYWA6ONIoEdZxulkHS8DtSbX/eSEXbL32ehSfZF8PMQ9omi5x9XBDlcWiY7Lfs1sDW8fdzklhf7sBKYijyiL2Q7/cLrm0Sd6UTHcPdH7hj7tH6p8WZe4m7qOqaJ+Ya4Xuwf0BFa3rIs+HcoDoec0S8BI4iS6HOzTw3GBKzMHJbTQJwTFM5LG0FOc777lOZLmzUTkExvcRYIj2yGAYBG876p6cIwD7BO412wTvxess02QddFdWiEtXFivguPW91v6F3cldmIMbTOunpjiT1NSSa5sgG8TgPaUdHsBKI2HcFurgxRhP8p613+noXNkpZbPCC4gBBPmr44KUqnFbz/OAgUcl0epX0Gu4IH7rPwdmpfSMeAVOVbXQFk4I/2gIaWkMSMJsjxIXT/QbNVGFuG95cspojhqlNRQ4ZymYA2zIkUqMpuy+c3qOIQ1DWHMG6n2OaBgKXvALVGH8v1hg348473mvSLZ3UOUzrlsrQwuAoBQu75+FUE4Vag9lW/nR/ZZe8yKUT2MwWexOB4OFykqFkWbQhcWIg1UGTRpJ6hDAadW5tWKfvE5cJHzuznVB4RU4bWJ3VsycOuxgEJ3Xe+FR6+KgvNUykUoUWHBRWByjOxO1U+w23jsbuCKviILE8LVhvZ+d4jAS/CVGi22q2k8KDdUQFQzs5sVekzjzdK+ptVtgEoc/8Y2C9JjcL7mQaIARKSGPmNQFzafZ9i798+sdqYl7SdrbQW974eHHa3DyfsH9Hyy/XOGtBaf9Z2/acEbXZm7FYpT3AE73gzTvLNgwz/ls9Jf5jcdXmL8MdhArmIJ/lTv/X1t7fDMBftP2diBhLrV/wA8jDK+GyU27+Bp+7fOtQJmnz6RB+dFyG7SLs8MFR3vt6l8PKk7rjXVRyoBQFCewbo0nAAYU2mcke+A9b36ESzhYDFrKAoU0eAUC0iVXrvtp7x1ldF+/KJtU4ZSnvdGfA2T2bKuUDoMOemYJT0sJNUS/NlroNVtjk+mra2jmUPSXlIRASnvygL1rfeB2VuzrYkCpM2GlyH8s1gdk/Cs2c5H7RRFCzUk/yZ10CwqimKdzlkbeFK2xhGaxTEgLUU8jLB2FOrGAer7m06hVjSXZHfOqJZMGFS1+Szalw5aG1LyAMWAEhk/DlVrigDfBA3ScJX0WJTM9YrFdqKvql1mSwny0wUN/+ZM7hcTzY+/ruVngHeVhI4He7vFctVW5h1m+/7rynxyei1DWEEFVUsfG/15PzuLAhT6NZyquFmS2NuSasQQBe1iOxPcqiCqvnopbPe+kOi2GRalNFBDvMO8D5BKf1ouQt+6Ir2Qda8kTwQ3LnJCSeajYkp26aOUzQP4zEi7E4Z82NSnD8ikf5zHa6gF8duQB4e0vGqZAZqkdf+adlgYIYbBMjZBhYcj89A1h9rLcHiG+TYnAtvI5zg68HlJONCwtnJTqQa7o26Ed9h43LIKv77NWRwbrVsIWa2vX8M55vojB7otHJX6r9mLVIWy4BXDPIwK4elskVV6gaygesgIuG2FcgKPkyvV0kaCPWlKKhUgff3mMTFPBJgF6xUHqAFdbN9swztF1uDv5SgwFq843p5dECYfxiLVbqYPRvj0OrET5NbnltKDlGRp5uaBtvUMDBpUfCH4FX8w+8tOwx3ptMqyQxqWffZGYdc/vCCNqq0QWn/UToUp4iTM3EVHhOuLBJt1w3ZvS7W43MgaPzDdaScpMAuTjFLNQLJK1d4uDT0F38ZL94Wl+/KUh8i5XtI8PJtjD5TuGjV8BJ4SjtXn9uVoIzpXV8LVIXfuYBh8HSUOKNC13U71NYzvgWIqmA+3E1/gFzk+6ue0sGTqqa1WZKgAHGhEnU053335Mv72Yzcb2EWgzZk4gbV3PCFLzQT7eKV/PF7lu04pSCvkjwQ2WKesnXi+dur79mdY7XbMBxoxowA+Zkw2SlHzzsx/IdtEhgvs4Pt1unv0ldfhY/bPb6rzneeEoOQ9PWu/oxjBxYV/HxBY59sHrBPUs3teR6eM91/OJhrypO16KAUpWtICCrZx/HiLwtZR1+A+ywi7CQgKOIgTRMKPmxlXbxG74RPuzEgQfjheQvwLH9286SsXDjEuk4+X24pHuZ5unrNZheBWhseMAFRX77/Y4pAUdy4jX/o0DgXJnfMzHs3cX3HxamfQdl7RZlM9DjeL3IcIuMCE8atSf8tCpz9ePFuU/mshy7/AIjoF65vXIuXNnm2IYU3qb1QirxYgxPyaSAx7//5IjYMgpnVYegCzPMaGAe6ohtD6Yak08Kw84vZoDThkKY1MlqP44WB49AC79Q4LsSDisLP3ZRMKZLcMwGRjTRSXI7FgAqRyAVl+YrQPBHC3MOk8hQ8V+J47K1/eTN+N7t/XT86tqTWUAvJw7TSLXmQnPFn9uUSFLaSMYYIvBKQr6syIo66RA0zs5rVYp9XdL3+R82KzNfkzZW72T98kRZh7ReJ6z1mMxuCL/BoHNPbR2MAGQ6aP6609iywHB84iaXYLycu0LIguhrEtqlCI8rMRnQ54MMKxatRp8UgBh3jFsIm+crFyPkeSURDUOak5NhgkR32QgZWh12JqNtXljZY2KJBzpVAr+R/Cwxz2+DBK3wEorHyLbU+cZg+EcP4L1tElODdPqwU2okxY2huDutvvrLi4FFEL+itDJfyKi97kTCuDdhgWk9DzXDivuoHzA2CJR8sqjxIRqUTAeu9ucq22xSZYrY+lVT7A+pNrjARFfPngtZSsZKou4LMiFViGmHFk4ncx2e9Siby3u+hOzoLFR7YieCllOlexnBILRNx/SlPbD4bQAWBwCvFDgghM4Svjn9Art9X0CBhhPH5tPkPwF9CfXVmuiKq7FKdOdB12vZT8QI5t1RB91zWvUlfs3pl8Js4909LzakdsDmCg26ibuijmk6YZx0bFBM6Xzuy94w2NAE/Lvuadz/lVy+DPeyGngj96qO295kcElvpTL06HvaYVDnGhottZtzWahWE0Y1FXz3ZbmiTN1hZZQs7NtVgFHuGZcrm5yb18vXymrX+AJrkJk0oCkrmpAcBnNEIWSbpYwHMuuh8NcTkbiv05j0gE/h83uOw8wWQ/X/d5HMBYgly5MMMASNiWKzQ4sCQ6BKvh45HSx6aBmAojDoXNjI6hLYyDWXS/P/TdAPOEDDgEaw3MlvsKWlT9KSAYYLY7/wOnpVDx3vrVIz1excjnP+7NdWI4rAB0FsjhW3QWw7JohJ/WG5TnJr+1v7ro7Ex4KtqEAGoh6sD0eSItnn8ShfW24HGQxpM76NcGwOQRz4uv3RvnrtjaNbw05s0G1kRSeacRefxSow38eqy8m3BZJ0ZMDk20JjXIqhvzCTtrR5MZNfGQ5t/MUyhcIz4Y+vUzFM3L7bbqN6GP4oaNME99on9devLEQ676YcZoh/EcvRRIuC5JUJae08uV4cQYcf9XQbKfXJPXltpccZrD7UHY6witGMICQEmXPkjQ1aVDgCeDejH119ak66/yRSrlI6+x6nppveqtgtyuaBs7BlK+onWH2t2qp6Q7C39dTDClefGh7vcSPXYJfYrFYj1yhUg6UqnoqhBQ+sLJDBEaMHFtB4M7W2XG+G93rszsR+97Ie2etRvZDbExYLpjTVLyRmXOk/SHsry6Vhi3QjUhEMdFgRpvVfXvnxChmq4fSy0FMPGIkKFPigzkUoMbCGR6sRpM7ZJLMX3FvhLDbW51GID58qNZ+2w1Wk+WiARSKmb7J0hpY5uk/BqTUy+6sjWm/0ylJor+wlNMc2tiT+MVqszoAT5qhn1bOImt5VLGJd+TrWzkxJaWr7uepzc58imqhPx7vTDsdq2KVUFqCb/BRLPbqw4d4g0upOSNSOFm1ovB078GV+kDYJY2OHd2ZUbqj2YQxsmdOLrOlI6P+r3FapV5FyykrIMDubGWi+4aE6H/dSZBUB2nHRfYfzF3evNd4yeCClPOUPqgjruuyvtmBTTvr65YJ6BMAMugy1HBS8CDsq+wlP5Tmq3WQysFTqNfurFy0esdq/Nxg1M62AWPBFLF1aOBbAzLsiNpVZpuI/n2PWcOGMCbgI6P4uUeJ6TZ4K7na4ROr+CZDDN/0adSrIeuVEkVXn3MeN5C+1upPs4R7bt8PMu862sZ0AFloM9JjcQ1tHR+xpoEAEQ/oVkvd1QYkKCeDzHyfuzOjkK4jWfrgot6Gku2kwAOb4CFiBgSMoS63J0P4E4a6GUfQCpDUh/pLxCQfv7wavYzIdzWZrieaiO8feEo5nT6/ItIg6L2JAHTDIW25jLtgAwG84SBpGyCdWSS/F54JMRuDFs+Q9ak9KosE4LsiaOVNmiQhzd139QYjvi7cxyW1REvY2q3y0CSS5tclLxFDL+XTShAy/oRQ2d/pzLgmCfs4meEj9VYNT12FJI07k3IcTOPu9MrKqoCJu6KntwAJ/zLmf+teozjouuqDLIvCipeyVdWUlZO2OQVCHu7uXW2QX1mlipHskr/8x5gF8jJTzL6ZUaoYudE8xzwZuFTZD94KX6v49m3HnHtinWXf4Ads1ytFshhTNKRkHIcM9Z1xi9QwJKqp/C89X5CL97kHgEaBHHgiM9vq4hw384nGPYoOCg6n4ZYZCdnFyfia3P/wQOA1IYaext9J0AxJ+B3cWOh9qdA7KIiqywCPknlMdzWqgN01e3SbMZFSrvPMe/3aFPyc+ShOlYE+wxRqPUnTzq7Ks6gmgAzsxNUTtujGId7s3yzSPIFw/183NZtF3JrTkz0SUe6dyOB6ewJV7+DpU1m48RCnhizqQ6/AjAYzGd3eF3WYHdyJ+EKUZVqBbsuo28AVEG9/BogN4dQQhzfe+o2n+37bZxTN/Uzar3/GwkY7Why4Lxwe6HvaWMe2xWLyjSytqvTNeU7uXJFem0P8/ZY3j5yzPAy2TN3STkT+A1LGl1lIUJGOcakbIkvInIz9cprzCt3A+DIGrZO6i7OG68g/oTpZDIsdFTmBLVK+Q8DBoOCD3DinxFNAWk2UvMgqIyak3mOj6GiJfQNSn5yT0x3I6wqjBhvxzBXMP4j2FKgSy3UNiSbB3QOcaFk+g4Qhs3j7RxgQdIKFMZvqYhjcB3MWxwp/4EQ1sB4hN1xqAV9xgJ0dJtHtMfIqMBXxUhFUMH/vBx/5kierj7yXyZylKwvyaui3gDGn96p1HVZZoANIsBpoqK6VDnb1p9DxkckqDRWpDwvb4eO/0zm5GYlnSCdQAr9RFx5QQ9rgpxRNXdkdKGGAUjDxAglq3LOIoL+B47UmQQx0BLQ3lLzbrDF43Q524Iq46p1a/9T4nLsoV5l/zksYEUM75dTrmZq3JlSYwFS76DQKIh8mFUdS3HzZ71QGfzEGj1/2XK/g7P0H7DfXcKoFEvrmNAwMcQw+sX0jzxdpVPpTm7pLlAY/dVuUwMZlH3m4xNYtcZPaETlz7FCJpoFQ8kRSZ8OtwslqEo0WX7SLDQRaM2O8F3UgesAzrLyZjrKJEVKNYLhm0hKNfubNdipLKXhwuKikPs1vXve6k8ryOMRoGJ8OoAoxCWt2Cc1cRbrqklUDHqvlC23cfR2ViIh5wt6zOJmqkyHeGbESsgB+1EEDpaYNdGovULZk7sbaEuctHpqp8mNS1+B2DDWmbc3mLlUCJ/8xBSaTkhqvZPgjOk1Rv2yaf3b55yCn8mGNkSfBL5eYrYQ3Vk3WahIx7khBAT6HjymeEjYZuqPfNw42Ovu5wAcNcQU5Mmz1iQUXbppT+Fx0aDC6irFGcQSA8TM92Dc1eeSmeJiCrmTm4jqEtp5YlXGF/J8LwvuTepv//B0cdRkTkOt4U/HhzewbFhZWEZ5o6ZkvvqqDHzXLWXS/ZHNPHnuU7Rf5vV0OBbFj17T04qpFFU1/iFnYRl1YBMlrOeHkfGBGjglPG486Uk74aH/OkEK6LJyXNmQnTj0M7QogLqOxuxMZqPWeEpOAY/flpWsb61LVSDlnvBgzEUPXI5T8JYay2wvOcIXwv6x+YvbUXuvixZlGdpi6u8UpNgKRJdrHbYamDDHGFaELyWXKUBzblLTYChowe5q7caxyD80pVcmIdGYvBu9/8OLNPXtWV2xee8S0tVY/mqy8HmNoBGj2bDs6qy944txnLCc9eF237El8Tc+GWSQSyD9DISsU51WuBqf8gW6psDjt2/yS8aQk8DVKSXcdDovu3gS16cRWh/hfKYw1WSj6WFCcgGplQB+H4VR+qoVvBOC1QVz5bLWrNu4YmeaYqLQlA7lt/ctZGpClsjXwDDch2+MJw2lCzQsHUwWP+2b3YgGriQLoZap/quzlX0WJ0tkOKgDRK8Gf8u3Y9B60CIb1LGTyoXmOVOcOh55szzR15ace7bcgedxEAYC3j1qwYtVmVSFHWkJXVR6bfM3irUn9focxwd1YrwtK2nwlv3cS5fM0Ekhqkm7loY6mYmDtnb0VCZFAre+cYWU4I0hiI5CjyGrhhsadpmH7r3tNKOOSGx40M2YZPaANCh2jlXkxTs4g59WzG4rKo1Inx5UBB7b4rM/kutU6FsK3yyNl1JAquS3nv1xNF8/ro/+HYnGH72YsL4uJ/DJd3ZchfnSMd50raDmEHLUd498n1V94fya2WRi6S8thUaQHtnVe1i0vbwkDlgiF8lEM8CE1NT1Jk8BRUI0y0OjaIboRgoStTI1/eM9ReRdtR8WUnaeaSccjJ7qV7ebNvqa5XATZurf7acxXw1yy/mvDDbR57uAH/1u4dR14Nse93IVAKwG/bqsh3DOKAYy2Iu4k8XMO6+14o80QaYevPzw041zzKowksGkWJNsl7WWN9r7IPBZOSyznjKLQNImr8JyI9z0666BS28mkBDFRpjNkZiivJz6Ej1XS5QIZ0AQfXCIuG/nXaa9+HvRfCihhz7sZrpbaMbsgKvJi4trhVpeZJ0GNvPxmcFf9MbP/KXXd4LpbNQyfsmjkZjtQ364cWZVGcxHpPUdhX7TkRkCh/Cys1GsAna3mSKQ/fMi+6xGY74hMpvT01D/aHUBLMFn41qR37lsrKCcDH9UDFI94iSzw01J0R7lLQFyk1Dz5vuisaInftjLBu5G+04BIRCaMIbAz5hzLGT91Jyno0n94o7/DtWUv91V17BJLL4LnC6GtYZkDkxm6t7kTx6So3EuG+JiSl5rOh66tfIf8MSprl/RcvBBeMiBcqlgPwMaRAbro5vBKTERRJz2JBsfdvwstkwoBYkFDjRKf0gD48/oC458T2rbsR+pSTKhubE/+iiijY1WOXB+i+Yz4ktxInE+P1GhaUu4cj0rtNiCkOcDVjvgtX+B2u5kxSE3Oamy1xLkgmdHB7TzxiomtGxqQgxIhurMmZ7kK+2cu8KiJjZuQPMJO0ZbW0fCYDtAL1shvMX5XCDr3LtghJ35u1PQhy+ZSS/VGifBtuOk+fNzDEQ3t0JHLhAp6saQu8fVggoshT4DnKmQPFaoR9p0qSN30CJJyAkp8OftGbFmi+Yb7GGt5XeKGmtF+qH6BjAjMAhTjLUuZi5lhOP0bLJjQV1JuBH71zMibCZira89kOquirkkJ+frI5cTPDQlm7zWo71RB/g166ad9vrct8o20biezu+pyaoyKSpiJoBhm3feQ1go5eaq0fgKobeMArRMr9mbSuRNOuNUeCsrXI3oaXGVf06FyxFf9lP/AmQ2pgSpPAjOwVIO9c6+1bd0KCWod9S1/iJOX5IOrjO4jkQpHBcCL2rVYTDv555TtmhC1SlWNJhktkKrx+UQ5Aw2BoMAAzzciKCm9S1TgS5oyMiOIsuCy7b6hBh0+4IibPksOvAKAANsGA61dvS6SIqWkEqpN9ZTfxH4wW7UV3CO3oIIqw0JYZ+m+d7trnHDFPV0rr7wrwkoQI0PKPepAjbsUgvOLxERI54rSxIUBiSADpyKZdEOPa2ARDwTYDIYdtbs0qh8sjs9WZoqV6WIu1FDWuCG4AWVZjxP3ij5clcsxWNn6rECXPmskTYe8u//zevTkQRj8guAf8YIEOtPV/3tytwTl1DwILakgzqrcrpKlrio7EA/8XDv0w5X5CO+Y9oqPrvWGM15wTTjiOAVrXB0hgxHs5wt5GeO8nJsXkyZWRIjoPz9kydlNNZ7sLpnXwV12KMisa4XxKHutaQmXFL22xJsw8a+iNpQ/yJwsx8JhQHd/KiRHDexJFaLDn/JA6oCA3Y6PymYKsNp5fpk0Z/dOBfNA+xL+V5naRYmOjgEavyS3jLYD+WDFG5zhNdwwWcAAw0Hd+TdldPmr/BdclE/n8Rzg4u9VbA0UUjAqB1Zs5rDqwzkCsBDilQg/0o2i5XcubjLPzvoU20/6mFSzWDkC9atQePXWAm4hFnqOZF0lL3ToEjdBB9sqzsAayWySWD9Pn41A6ftoRNjhJvcW3Y6Lyj7OmEz6eU0CrSzxEqjv/UvVHkuqW102tRuA7mM1/jPmyrxebQ6avJUN2hGADCVgW4pwuh6dl5L5t6xZ99pXq6TpAjea+293WaguAHIIY2afh3vZv9T/qrh/187Ys6hSRcNp1Dgwf62eUbETHPX8h98+V4GAet8r0dZcZ3B+/Ij2smAFiDUB8p+UKKM3yM2kX6E5Ydqcwq1pC4gJFZkhJHSoJjwnL7Iz7WNOnFmNrM6iOzs2hf7kLtYKayKH6U8jQ6g6McQq/83BMRlvNIQ0CCvmiQMuHh6TJWAzELfdJTrtuEsyfDt0ajJPZuKKQ1ZS5SGMz5UlRnRR7xwJY0qCioJ8yYDHEYXXCCEtEB1hV59vfBsAfSGVcPfrQSW5Mg9SfpzfBTpU+Gs2DeK27jCtRM4xGY67i93zA21RGQeW/+1rbOhnxMjeZj6U3umNi9t8+LwBzGegsy3dgxaYBIxg3Bu6hU77rTH1gzhAF8GI+pjEnOKk4Z288KPmWAagfPREn79byUwgs0bjLC+xgrZTsmG5h+WMCTLLlD8fMBdVL9ujE72rMvnRNd8U5qJXgywgko2vL8nvfIqD7j7QUNzqt2aA3pS5J5Rt6793yNmATaWXotecMwkB7cG+Bh43cNUd5hGcDOLCgDVwpbmoHBDRu+9M6GP0ucc9+tWZPryeFxVjVnumiG6lo4TTfyqGOp/gTlkA3a5TY7i06LSAjAmJvOvZRerMQFR2YYCo5ov39qJJA/qwsmAVyac4F5aY4a2MGLd+43TryJPLalReARDORVvbwdqA7Ygyi55nkDPqbObQoEY+FBwdm6rpM5hUdI4bumK7OV3511TAGnstIENFQiYmVkxXVNghByULDYMEzdrRHpVN2tZhkDgYDYDKIvqvGRbkOXYE9kJA5I+qLRQxNchVoE4pIn/o7M09c/tUtmXInuDwlOukwFhm7bjzdieaoG6OcEFE7HaTIGjNBKtk2IlYvXtHFHbccTogr0ZLCR11ixIDQGI9T2MGjuMJMMH1HtymmowBE29925/j9+Z/E8mvHlh82bHTpAf18Ama/k7G+QNiPFwfxNXrpEUJs53Exx8uzkRhwQDzVTdBr6mQ6pR/W5oFDAN/41stZ9fvLieO+AWJ74mnsp9xisikVLdV/HA/knMXn7jpDig7gV+1A1yqiCdXR85xvUNcTiqBNS87dhoZDQBaNCPdjBWtlDGwAXEKUnuBE0UsFWRJhaHy3R6vL9SFmKORKOEYEuOBF6ffMpRLrR6VN7+fvhZ0IJFegz5IsUSEsnuLdL4xh8Df+Cfn1To7erso+ZVb1ggPz7vlx/4wTtTeakwtDhsBVJxumieSAMsnJMh+gz1/pFuOUlKJ9YhTWDn9/ihstvKNGAN88ZObvFQtW8RRzVE5OlYINSu7+NYc/99Rd0vwBFHowtnDXpjWihYA5RuhCtlmcLZ8ZW/Ks+7+9ZtgIU3JLWRB100Tjl4UWYg7vDcPhrK3rhC3Z9OaDCfMU7v3rdp3lB5XwTojTQE7+Rn1/rgHlJROei/IrD2PHHI4dVt2+m+MWOeWpquCbTuzJAydiWb/OLeilqmXC8hSPY8rbQoLvwa4RNkUBDIJHkmZQ3XMshGXlEgud1/hma3vWJLXnkPy1H5tr08tuj4YqVj/nydjHk66GmcmfhfpFsxd/EpaUMiyDkPVc6oOg4OcnEyupHvw6Vyz8s2qHO221upPhIpjtBCtKMIUNhPzRzb0+6LoQwHV0omWfMbv5m19D4l+D21fXgWJzUJnj8qTM8naKDkrozVzK8025cA0MzwEx/YWyoEoOUFN0K8KxtFSHrTKQ9zudhom3ZGTvXrX7loKEI+inAi5noCJTASMnubCjv+uQD3Jcg7dkgxPJFu3HBeQZ+ys0PtU/FRwt6cBFKwZqsAaTfmwe3pU8YS0+w/EI7F77b19dtkoMVRecsDEAxYx14lrtokHQOgbfpPKNtunv4SvLZVdVy4tWdK2mkt/hzOFHcOYfxwZTL4MolwM2jF+OY4omhbdtwfhDp1aTfp/2bZG7yZY9B85rFae82rmgel+pnhfYrIVQ9LRdLDZMNRjm9N4jagSOeNmqQirO7PKJphZX/QFXWETvaOtdHvGttUCniy0sQFx1+yK4ThKyXk6oIPSQTMYP5DjENneJKRuDvPiuKNhZk0BVtxTHlWaAv+BDA6HiCCUtHFrp8mSnng8qtqghbxutNSpN1NL/MAdGdWn2dN29nlvN0oz95d0iIZ2u88Idmj61wwXLC4iiiclxoGs/jBGf26jWeD58E1GQ/Oz5GvjxL+H4Qi9x8fdzIgiNba0DLqefCbp7V3jXw9HFVBIipVWVFNlA8Mok3nn9bBuygtRhSe6OpEtTF2h6s7QRQxiBAK1eS8iuNAk1/S8hDv/1ZbV3PpEjUwFun5dHYE2PL3yd9sUlNB3rAmaR0qvJj3sWtqDjG2r4pxcRy4QNvDT8dP0mEbVXer2XJwRH+HkAgM50ZonBd1BfKvAbYGrPhmNola5YysxVJoBADBocNoXh9T5GWW3Ggnv+i/QcfrxjlkvC+BX09Rb8fqMJOXHQ7WnLxhKRiWFT9flQ+bd7zRRkxAyxEBkFIBsy2TzYSPBn/9sXvAI4AbioeauOxzAICRF9gquqTUUa0CH/VTQk3Qr9EbBNN0ITOVay2NALEh1DDODtRIN1dtsp4ebbRn0d0wSHkWbqd6/hdu84tNt9mlWblvnMLZQF69gKw7u+NJ3Shjg392ZNDmEbvQfnKx2DAOdrQ0cFZHK4y8vSXE7N5ofqN8PABLcnucG7N/DvlEdMrJD2ncm2WnLJD4ySzrvyVDnoyxIR+QcpsJ4QlhTIcL/ogePknHDWJ088DdeUR9ayKXEGmTDQ830Dnh8qbDwOqK95evb19HgXlKIaI/+xp9lDlZNa3N2+HOkISZeicIAYHI6PsbNrg9SSqoG3A23R4zC5zZwVRD9GQkVjlb09xvP6YdErB+7rM8buyCKCQ5gT30vhBgmAF1HUE2VYSkyL2RyZUbZfCIGRybNXYw5u4sS8kZbPi3S69FqkBgzcu+YfJtBj73FikUrSja8uZAU2Q7WicNMiy+Pfms5EjC9Ej4rTJ6Ar83Dju7fXQVLCdeKiZMukgRzb9ydsej35psxrZEqytodx9FTz5Ofwk8biG17PiNi0CXY5iOPEveSCQnXVNgfGU3UWF5DCPzXWcMjiD9QKya495Ia4NHb1PDogDMrK6mi05FI/p1Plz3WBk8pdayqBoe/zMQx66L81j9pWF4opBAmauHy2ykqZ43CMrrZHGoaGRtZNCubwWm0IJ/MHgw7drLg3Tk/KIElMVF+FBheDTyPNLnfdMIb41BqIBSfiqf5AXAq30vZhrqtPIltKz52aB53xr8vsfVALWuBjp/mZrMB+Vke2u0APfY93jmoBD0UAlJMQ8lBST/bR/dDHO322invuyBcir/BcdFScttJiWzSk752uQgH8R2fFN8DxO5Q/a9sTllbTg50kaJG4lEjci4QZjTpKpLomhJi6238YFWfmbfjF5fyR0ymb1Jy2U85qBmB9htEJ97dNrkUvonpfLNn1hccyj34G3YcKmBQRAGG5S+8I+OutmRd4gXoymZeaEi+8tf4rBNlm/w6R+10bxTerYeMKYk66kQl05yZA8ZbdFYfh+Yaarc0Gihlw7+Bnek2EOZXr1ldQpWK/RAlfJvuc0vjU9fUvbIYa8xcdE1o+Pu/WY+FW+6xeTL/M1QdR29/f9lnnR9Ybekj8JjIsV9ALCcnNGnipyqXv7otiaBtkSn++j2jYiLHJGucltKuEQj+u+UgWZpaTsyrTkzuSFYJjbHCq+BO0islq3u0wsrCsU9uB71RdY+tgiFiEpV/Hmv0Gyt8LFGeLV/q3yfijPTp4AghbuogyGZeB6wgYHkoU8Xk8voPoyUYNGGDPXgM7mcRs3RuQXfUF3CzpG4yxqxyOBFvM+Gq7goOtIm2hTweqhTY2E5xcMsanGNZnmOb1oWqlFPUzzvqTJtGZjWXpC4oCiH0JTQ3YhUcNssDwx0tQBV44Qip2hvAR0vbu+uCnWxY4JGzRj8g2GW3X5+Bl9BSvo52UvK2NCttOGJYXIhpLOGMX+sImFRSznymo+HB7ci6qvpHyvOr09E+nOGEdtS7/FKyV2vNJb3NzlSrskEkEJpkHeBw/Bni1FATQEtPonXO/Q+fFZeh21eB4A5I3H83eo71c5dA/cBDzUohMLcljPjYxyEBYynKy6WVy8rYPG466ulY/Wp9V2vbtreRSKMfAYwz/zBbrvGDdJg3YmVtAF54PjUz3p+JuMgdYE6dgUDTqBDEXJzByJ+OmExMhf/aE0tNb9IgDPY9T7kKhB8zNI3Oz+gXxbkpR5hu5sRBpALyCjIY/9sG4CiyR+V/DpH/bAF/PAPKhGCQ6U6HjuWslZAk56XU38Mwn70tvDd06U2gzWo1zLF6g5irFWNBOipsbJ6ctqtASf0zjbF/2O6UEmRhAT95vsiiy+X78jv8ZSOhPUoYCzR+VNI1AAKaDO3sFWO+n9SIpjrheX08xHe6fa0JFjmIvoAUSsnUVK8dZEVTlo8HEMlkmK26y9MXmPn+BFKPI0S5/FIObj1V5rqwJbbgrNzF42eCUG8dO4F1BxC9BTtKFxBQOhCQSoQACYiUgDO2wYxJ1tR0gxCBkH5xgEX6uN/Askixpoi6/VjPpigqIWmenEmmN/RhR9Jve3ynk56Rv63agnXQdm//IRRLO4cbO1H1PTw+x90LbKR5W7MT6byD6RxeR5L+bz9hLChOIRkIIeAkzSAe3StGQt3eKxLE50FdasDpeYIw7hR0KKdPxtXxsND/YgI6L1qaIwXGUucem5nw38fDEwVvBud019Z9tLP6t+KAcDvKMYYmq1PxvjgRy3vedJEzt+MB79XF88UUAlWpNuqlR4PO6AR0BUdNMDIS1365mszxK/scuecdaO+U4sN3dAnKOICJxGqNGhzak8PagQClEyTyIjm+Vv4L6lsK1ECEvqNu6jN3wnzqEOQgI6wH06RGgSr2m1nv3afy96/lFVJmPi+C5meSMPsY+P19RdvAeQv2FHLLKb0jvLi1gkie+AVvS5iYSt5XYAxz7z8lt9s0qH9nNvYFt/vmkjvAZBiBCunugqvTGaCElsLzznxwYEFObmcTB44S1vf9RkMcsRgUe43THTHWXEjmyVmFAK1MQjLlPDuPKdqc+RFU2bw2SwVpDxjEmGx1Kpzrz/sVzwzshtxjwDXHLB+MawRAJPxuRDE1QOUqaV1CH3ob2SqyPJbc2v5uf7DexLhyCgIMe26zixh+KQmJmatxfcv9/rkmPacs6X126hvASqrNfjkpySPqErGFaBI9B1UOYVydyaRRpLUNwyCoMryNHjGEWQor4ei0MiELgHvBgX609BlXDwd6d3N+kii2Dn6gUcUvFFLcBAusZyW+Sj0gxXOZG9Yk745zGDmVIB4oaT2useoSx/PYWmfIRc5hZ806vB2hg9ZVAu91PfJ2pmV8uMar7LtSUOdYaIgABgWI3fJDMd2OoG8Fk9lvh9E1hqgAyMSJsJDOU40aTOtVT2+TUCDS8OGqeKntv/ztlv7sB4959tJGKxs4PWs87DSiFY61pf2hotw2MTQ4Cflsq0Vbc98LzMkF5YFDcz7+Zi+HYQYZ1LACooxlpTT96ANvHhedIqL7LyIhq/9Z5CscFZfltKuLDkQ43q7thaGbbt/SAwc72QawRkQ0QPLFei5mR5YYj2rQTnA31GqbJckyn225+ElUpAdv9ooffkY2QDv3TFCwi2u0NeX4gE+tfYSTJEWsFKbjN57tSler6YqcLeWyi7w3p6dPwTqMYZMfHlMK4lEhfya4KzCu+1xC/fg81r/ob+OX3JYDlxUQmGtbHoJTiW+0BrwELVUXIIYun3lv9ZoKf+hGssGHhPbeFivkKHQQTeK24V0Z5BYLVfcoMAk4SNthiYald8vWRAVmmX6OCpnN9ElDOGRulzLrqRUPFd7lqPZGzXiO5qjziqDhvlQ0sGfhoxS2K80hISmiFpfINL8hh9TAcqjKq0ffXRVnWz0ZdIw1+kJyHV0z2MXmxR8jWLQTrQNrq+jiiHoHJvBHp/VZx97+taA/v+KY1OtK8VCnfcnlV8SitGFN6Wr2zlgfcvhdasXaBsEEhaTxGSLwOmYL35FQspBP/zjIjQFeDZfALWI7VpmhccjIvW/n5SCE0IAkZAdaP8R2k/Jb7TXopLczjJ9FAErCEgn558a2t4keIb2X8Rs7iaaJplxJbnMr8jCzHTpx7kYZAaX9D/JXXRqT2pBQounvIRL7QaYNVDNwLEGRR9SEN0b5+NuCUxCMqnmsCo6Nt2keRWraVjJ1eWDg9fWE/LAUbyiEPXmFON47hlgspwSy/C1EIruVkNDuxXcZRiwsdOE/ExQ8zVTiYECCCXXP/CMS0hFR6hY7M8m8yVX07DLZMbACytkfD8nfMEEC3anb1XXlo3WiipYksGLNdykYaqYSlaUNrNAnfCSETY+Fuy1HxBsTTgxZZPe1Ag8JpsjJ1Zo0lwrAxf5oKYKYK/vLpYmnn4bvbejO5+IrzbNwV+pTv22jB+WEgsWxnFj5TfgJEtWu8+hrYZOP9gP/4BKP7nzEsKGnZsVYAb9KGpxTA8/Ynp2S9l05oOD8nyT/mWYm7nEWc8FjzlF9644a46BfcSY+IiubyWGPVyueOdVMgISGANzcmyMjxiaar+XhCh8Heah8GnDo+7I1gJkUOhHzZThL3jvtOznJbeBAGKzMtuzIJ9MaT5+PffTfCAto8mBmYwWxKE4NWnpHgx8Q7UbypE1ZenvvLvpNtbgbCmGCLmpK/NgJFCpee9AvrGtoTu7XuqkZns81SPsX+B6u1GC9m8yq0IxSp+VFGWJh3h+rxMfYzt5JJmIF/q1kXbPIOmIeOZUZRo0E2//JxfPRAhtIPEhPfzPGKAnsnyOCdNGL3XtOPyHjd3SsADtUQH8mwBeQ3JzdaXUXxhI/ic7JvyP2MN+StbZn5ZEcxcK1PjJ9fn0yeBEKc4NQXxUHlvm/r/RlE7A24EDQ3uovY+FCPpr/YQjsha0TPe/DtVraKm0E48EgpPnM4otG76CMX/RKIe/m2ZIwf00F3maHN3l4DTagfQ0NY4En+0datuwPOopyBlv4pDFNBMpRiqMOnbtU33svWPmsUdXgYVD5QlzJAVYCPwDbO4GrQiDn3yyIiWHkTQZJG3ldOPoR4z/Ln51+0DZ+tkZkdd/UljEdE27TjBSNtb8UjY9ntSnoc+3G5cNJbkHf0d3vkeAInrYlmdTK7qAXLomGlrjrxH5L4q9AOFwj/AGXp5LNmZ2xuDBDwUxTexPTJUYPCnkUMHIFZrPQqvWUBi2je34m5W2HFKzMcODT6OAY31euJSwsquS6sGw2Y45UbLUHEdembm+yQ4/H1HrWn733tzU+IzrgtQ7i+Zh4sQSmBHEkpanDf5fG2ViWsPZ8kHAk7EcnBBSHDNQYwYJOSFVjrYEcw9x748MBjzGi4Ij9wmM0phbK9Q/WCoba/+HzbdPTSq0Qj/Kzmr+5EOqlz8/6T76Ox6k0YMZnNodbX3akeJ70OrZjfj0VMtKtbibH7EwAugsBczTVuK9169m7+E4Pfv/XWpxPKHkX1dQfY4hMBaKsMhp9pYTV4Ot13s+FStag9FtVD7sw3K1WKlRGLGzjAdrDOyxV63wUn67Mho9YC3QngCNLEXlSwrtnMrwdMAHK9JJAE5IbkdgSZHcI07D4u7WGLB7OpepKNy9DCEqt0cQ95OPLBkbw0tb1fQK3zrSfOatjdUMjPgtw8+FaAkMlukvzTU0vzaCZNCjrov3VjlocKUvZZmIOI2D0QtrYGlTquQADcZgulKAZ7woZpGNLWKoeJ2TcvuSyfTB/uDVeMO58IEmOBogNxgKTz50Ea5jfDYvjDWzIIF4wKY9o8zoDDoqQqucmHvG+8+T/LIpcUAFyDHouM9Bj0mZRjxK1EHNgQB71V4McGlLKFwEf9dXVQD0pZ//t1qLdzMXWzyS/EFkIvXefrIMvfEw8HckytAE/lf08mWx5r7+M/jualJlTTZQNDcc4JBIRkstR2G3/48aVlQo7iuCjcEWslGBxsQrSS0ronLWNbyFGejPPQ3LjWfwotHIwbBfaIvTcim1nwqCBDxbylf/hON5yt+K/dDNjQxPMszrZhVTvkoRPcdRkVvMqXY8FYQiBU9K//zg+mxS8qwWzRmr5Oic8T9XNwJP79Wivh3Yb8mfJvyIq/AuyEARKdqpu6mZUVm+tFVaU81oPXEAiK7C6wWB610BXVvap5We9A/PzFNqJ9Jr1O7abiCp/VKD+H2MWzMUJi/VuVipndu9f+xuwhl6LSL6n9htQc1CHG5QZpJv1abLxXMCA9TfAZcNYSY5Lw31dVxmqS0RjrSzDu6oMa347FZrA2Rna8nOaihbBqOrM2aeBRKouVKIQk5gvgRwI9fbiiBB0I5uLKGhQW2a9wEBdVbSodAepePcMeIIpQwcEum2B82MJ3J5BCxXVm4/egfIsoql9NDYV4rsCwKrsJyw0y+52DSs2LWCzFYvmuz7BTdm0rXMG0IZx9hbIk3IRtKWZZpIc9QOz633M6KCJUPQkxzsPRSB4nF9bcSRoT9MIndor+HOOYVHkGeyftLySmXbgrtAu+natHlMNIxsnfBRk35uh6O3j+0i77BV2TjxH2vuujt18XSo9pc+ykkAKjNauDzsMKnKD5x6iEZlo0wjd7/SArk786zKJdcdcX4aSo13T74AGDS3RKoO1sIDl66V3+MWPpv7GgL8LPkUIC7TKb18k1ddtZILQ+Wst0YBC9Apfp+wJ8qNDgOXmitLkjCpsy7RLC+03QzvnJ6sWdWh6onCiPYTLOdRD0TYfGZQv2lDFPM8Fye6UhlDwUW9x/jhBp6LRWP/XbYj8aJZs6JMlEY0JNzVbDIAJy0CiK/YnID10evyw6jLAWuJXnHfYmOOc8jPHWgq8Uu2m7Z1Gdk/EKRi+8QnCzFCYerrsMTnrsSsJgtLO2Q1DZD2/DSjMN62woDnlOEgOYJ1DcKxg2nWOJpu7YvivwlzPaTgGD4LeC9C//jY683H8PyccrenejKrqozsA4Rsf4jzEJZr0U1yZIjO4vfE9WIpf5bz3eG6Ks107pK3YLcDZ0oBIy5xe0DU0s6BgBNaE6HGfHv7X9hECbMdI3k7SqvKWXsRFyaRqwom//nHsNqRQNfeQVcW1AbMejiatyeat0EDROChbAxKz9hN7+Cgpkw0+A3mnPtGUoci0vSQoDtErSROHcG4W7Q4xu/5whsJ75AqROcuHGZta4FECdbxalFgx1nvc2KiOnMY2NnhdzDeRt9TyStiivO9hFwaFrnZZ2yJuY+yIeuV/6+d4LlLWVnq4pBZ6VLDtWLxOVP9Mpgxjak5b5Gn9Kq93fWLAX05xyL8f+Epwn9h5ZdvM8oQ769ygRUX0rIqBRUTVu9hPkOOQ8rmfK7TJo4XjfXFETXe+HnOTVvWjUFJ42HNIUvl2sp9ycd1leg7rnjQeNYZjmtdyGTVvY01Jrt73kfSWaLKN0neEfbuNBuaJOM4b18l+94EpkojN/6G5BxDECX0cLHoVSjJrQnOiQjvfX72ftHMkUamkaoSwDiUpyh69HrpL6wyTa7onCsBMVQWI++L+XlG4VX1NghRFbwWPzCBr2C49FQrMRFn7jcKHDdv+1QgNyR82jsnnsu8MO19TYBvqclBkMDBHlwo2jZJV8qafQ6CHHIIPcBm0T2f9FVaiZTE6IMkPA2qad0CvJu/yGh5coQY6IKmoMYOCU7vo1YVytupb4TV7WbZeK7D8kwYpcMiiGPbKsTlL5RX5rse9AW5DvRdpC3TjbEEyBDGcCEa2/wUKgB+ZsqTlEcgAfkL5QN1+B4mCePzBBIeSjkNHAGFxtjMTN+f5qw1lJtTj1bP34Aju+9nDgV7XsWjPOqaV34i1s3TbYGx16Gt0/E/pJCNHElFh9cgigb1AEZQDHj2sCK3m+FBIl95uri2fzX9XMSKzeE9v8pNd5plxzqySgtyctn5E9E0IuzcfrHjFVjTX+NNP0KJBfysvKkP0qtsSm3T8P+OCDQOXLThPP77IQwZg0/cuvp+VFz+Fah1k0tk3FZAIVjnDGS6dmZPgEvVRn6eIeDpwsGnm1a6+J3kaJUC05tBvP6ZtUqg1VRlSfcglMHZypNuvoBKvyqiuJRyleWHNYFqIgkg5QmdqBkJEUT9YCbiA86+CPtgfjVB369PioMecch/gNRpcXATAk5bN7FJde9qRnVBL3sb46WW7i+kpbBBSMEJSprXOqvsy/OTB50kTY+P1p6BdM7nmWwLo+yRdmpc8LjNwrwf9ovabcHIQr4tbC7hi6iTIKdyd5kOUipECfzhBhI4DVbK9BiYOvhjTvtGJ2fG4MFE+63uxBw0fCEz7PkKtFmdlZ1omc6/KTwi8SzcRDhrXyS4zq+XRhw/IhlBHSe5AWAAP1yppqSnqvjiAQlRTQ+odlSwPqV78FxIPjLj2VH7+U4AwBOQQO0ugcGFtmjFhMhM1+FFlweM90bPsYF0HpbarIT5HWx/2OzpPa3EDDkRklFdvEzw+GzKswMTmA6A+KE+2jIf4CGyJGd8Ea1rXujTb+k63x3sdMSOl+/v+uAPe0S0lzteYgKx70IBcqtDlWxzcQGdla3mt5Zu4pAv5rido9tsYA9/0X1QZxZJNmX7F7a/rX4jave4nv8MK8GtaWdFdfr+6pfQaNHsCZeEMY22MbnMpX48R6IQ8Tkbaeb3y2aGbXC5taTz+6uQ90b9Z5BPwhgL6ZN8GtWeoQRYigEYpe1Gi9HgyZp3mr5ncp215XbxcVDQvtdLN1bsGClGpmdW6t0mz8h3S2TOCEslnQUOG2S3PZ9snBUGdILNblPep50RpMc7ZG4MPN7mBFeTMHzMCPf7jhq1YtWLCORbF03nG3VRo5W9SNQ8txlLqWRXtvsjBu+SVe1i65HJv+HWf7gUUwpGM5U+SLAm1cy4ql1f46Kle6IxV0QT0u5j0alz/clJH/g3PmPiQWTGdt4QT7P4mfh5ZKky14rrK0AdPo99wuDKjqog1dWRyNxTZff7d6qbfLQHslOm13x2UTgr8usjj6ol1WQNRIDP7/+yDI0bfaCbk5msHS6XDH8+BQq1vC8d8G4WHiV3PJSZ0nePS7WMNXy08pJ2TqSI8CniAsO6PHcTVOuAHCqGYKCx4MB7CR/GeHhyIQ3AZBZfqqE2GI8LTAO6ZJyo5LYkDy6k6z3+BRbzBKtXGy8nHvMMdjO7Rk6EcBj9HySMoN+S32EsTNBtPt2yAMBQQU1zneNp+vkccsqXEIMxQPLsttmVhrzZvlppEeGywtcgvgd/JIB8MENurHO7AAswZ2zzJ2G8QCKE3dJORIGT8u3rOiHcTHF10zPN+yvpE2QxZ0BrQ3UJLqqsj1j9hQeRn67V2hO074k+Fq9h42Q9XZq456SHfkrNOzZH6bTQN5Q9QNid7pk2ed8M203bA8a0acX+H+M28m0dGStLpD5JyNS2zMcs9mMIXRQwbwmcbIny6dvMP29WkAVAqtRcQrB6oXv4wjo+iMbzxHoHOtmLVHQSO7T2xu397zhp2Jcyn4NwQFes+hIXuozcoZnovrmB+PznLp+DVMfOjDGd1a8SEMUaUKNGH0fmDiP+AvniOnKoeawy3eS4ZHIA0fLhHKfIPHG51BVM5WJ2qDcBPaKGVQOs1XaY2zkTzF8axXkLa59NciJhUNuRz6ph7fKbZJ/fRJpF49EBTiHsKeYTcrZdZxig4kA+CtFsdrnOHuRwJrytStwBedfOl7z8Nx/amk+CPSdfluDoY0idt3EhcUsZNsZyknGhytg8nLOHhRO+yumT72kEkuBs/0kXzFKWzcE6wk1jiYWh4MedPh4O0a7CsT2gd/rrI7zE7S33zOskr1dNQljIrXFj4rTBhyqoU/H9/v/+IJsvzcAP7EodLEcgVzzErQZdPdX1s+31dJlO57qBcdlck6pIcLG5qvorPVup+rWSjXWGAa75H99SeDYv4kYzk84CydPsTP6oszac9IeIYiUBRxaw346yKrzhKLuFCQ5mTKAzgNYMk4Detw64kfV5Q+gs2fFC0Jugt7SVxdIKgVqDDEE0VZGZerNQOxWwmIy+tZo/5PM/TvqGiviAQZdlFKHsTZyhCgGaxT/enOARBeTni8Rm52Zyqv7CxTms7rv8eDUflxkdB21xSDCcyY0DVFF5KMRfV+GRmfn+Jk45KsLXCD/BPIiFmXht8Gnjj/k5mlYDDm3kO4+YD+7qamMDxRz1OB5mracrjnKm75aSqtShZUZyQl56vFxlUt6mC2psizyvmNQQs6Gl0+8gR73HMsGpNxqDdcA8MXbMSwZAXvZR7lTWC4xefSCDWxlL0YSNBm9CwICFHdQjOffM4d7NoqzNw0IafCBFklbXCZNBK7oIx9CNesLwY7eWFwC5BMXUtkMWTJB6wqJvZRl5OTyqzbHaBqnpP9MNK6BoPaVO16T3/0tHw3F8iaEqXrqHu+na23VQxP0lMmFXDqU5FZI6q8NC2eC1/YFJbPHjs38CJX509o6k01KGBrI8GNzVtMJojX2SufvQ+fcvJJnVkagTfpO0xTZourW0D2Y7+9voEW4WqIBGR51qPV2+zgjh7l7dpqQ1S6Ybi14edEw8uPZ0gJOhU9uf5LQu2c1n0IOlzBNPV7X5zAk7et7rgw10/ehdRx6VvKxBtQ2/lDj2dMwNxw6M/HtSXjkfHhv/p3ZBXTfvKZ7+5hqSyuOPC+9ZtRC9I2sKYNA4vnabuKvUz/Ynuq4e5cwKwUPvS3uQeaHglgOLCPzo/6cq6v4H2SswzpboVvVSPC/q6/fz7xJ7JQtRQ45hQh23EKjIDZSMPPXEkNelGjq9u2QznrdbiliP0dOrb921MzpOf3ica6Uco/ir6y+bLEOA9IIraL/bzpWEo1Yk5PQ93kKIHsPUAKAk70NBPze0szhIJDuX636Pbg0xnpTYinUooTkInNAClXoyY73eOtREwoGWP2BEOFheMxeyZTCqAoZYS2PKwFn3Y/GN8IpjZdINv2DVGFu3mZKRjI9RhJC5xNUJgF0orZ0E1JPBGPcpeEur9Af1L3zdNPpgALa3ytDpi7KDzsJYZwL7JsZ3B7lOXd218xVtTIcGfnUZX81MxIFzOfHK0vLjCHuQ6lAfk06fLe9B8L732lSEfYjqwgp0/xR8KedvhriNg7Ya+f0vD6LViNUbLApPiBhCMylrsHJFlBjZAc2RcjJQu2/CS7Wxlsvvbd1VQFgGSCmG9uP56tV0XXMCcK06TE+kp+ijxHQCSHAnlXy3qAN+HTRMdFVZmQM76nFyWwdZ3xpBSphYLRY5ixKzk3AhH1fY3tHBpV+BhRQOT0ksbgmOfvJ53l0zo8iXMG574rmzi+EFqll6L7jcYORpAsinFAhyZFAFLK+56nup/GBtiae0FoRu4u1hEKHEoZimKHTM/LrV4x9WZZHKADSHIr0/5g7wrE2apwuQeN3maB82L2p/SrTv+YAAMhm39g/Q0NitEqMqvRlSWVm9SrNG2Ldi758WIZKN7LZ+Cdzwlbq+NNGC7HDHPyN5Ddq56HOsZ02jaTvkcLV53zxnCTtcwhGUM3DsQU+0WtDAmUkmYX4w2IyWJ8NQYUjtozE9RJ1y5vEKdMwU8CFRKd7lv4IhoUViq+4NrU6ojfnXQjrYNkZz3uIK6HNbN7OWQslwDmisbHbGbeONtqhlyZ7L5/kLGnbBuJCm1c5zyS44KGI1TiNF3PtdhOdTLYe1+9eQ1ZX9rdzhPUtrJ2XZWzzZFbGbTbr5/UYOHx2QgzAzbii9eujboqN3T6r5n1oWGOn3jAOwRjidzz3KE5XqMSVb9DN/SgS6sQ5HPfI2a1aJuADQWVvOwRvWBZw+ZuoYrMgQSPeaweE1txds6h+dk2gmmlNrxL+0yJr2UPj+l/7y6fNSLEPZnvSQiVRu9GI1vDHEodObO5t3cvRnfbavwHqiD9xu/WzdNVl53U38fDNtZ7vHw2kQikcgTTQVPK486k4FUeMqUR8CrvXRvewuKfPmHT/4RZm3+djLE/KXFYHKUc8XXFdhAKgaCYzfKcmdpa9VhH8+WPbm/hwBeSl7h/2rKxnENent5H79swguMjs83xDLhKvbGk/sjGLEkfooTW48m3wjU2JlNCaT8SIoP9Ol3dua1Pxz7UJowIrl6zlWhhumGUVnGkIbElFLefxrbn6xPlbu9jPFrRzkR3CB3JzvgUTxdnabQq4s/F3ne/MfMFJ7asKU6BEjzB6UFHDuwt2mOaTLaCKrP9D+MK0papvKuwl6MY5aNktq6lJGlnzCo9iTfuGwEof/h6w+beKsUrelkXHbgIfHwE+hBBh4MRNWjc9rymHvqtcmiVPaMU8Y+af1uIYrfE5cLMpK8dNZFRbFT3ER9pC8TZat+NVC9ZacLYAajx5YjjiJSdq1dmJq7LAep/nJKZaPAd0jIGoRDNZVb2UVS1QVtOXhkRH3RdYU4ar+Qs0kRJFLGvRbihXoDUzoDqVBfVCUGwuJn/pTbNE2lXw9iw278081CjBTW662nemvr0e5g2mWiAmbNy0ulY/UdszM760iCs3zPZS+fed4teO+zTp1BtX/uC+4nEz23intj3Cr92CPYbv9QXw7c9uFjysOZRHkGhOuKwVTy4sBDOfhAu2glqwxnz3sSdlAYotb/SBmImeRP/pEjomjaFbDOaenSDf8jy1BQbAvsK3nOQ3kFwzxB90ZpRgq12wMFQypg8kW4U5nEFsw6ouN5pOVckbvIAwOs9l2azvhOg4mStR4A1ft+CC+C1gmt2QqaIoaADLK3Qh0sumFKOQilW+82GYiq7mOCeJZsyIkoCDI92/ZA6qIuQqwNgHvMYEnwQk+ZmoMOkrMlbxyf0S972Ndc7cbS4GdC1HtSUkt4LH81ttQ+3a1xH+AQua4HFc2AeQuID6YTSo/SdOZlTlNZ8ryxq1ncQJS69I/lil/WseGxWNF1hpPDV6tES0R8RTydkJDBBxNIW0+C/u2BOIfxPjqTQgndWnjEs3Ormo1JcjDlaDcoIE/WHSE4Rc5YsS61qElKJFimQhiB3Pv7jkfegvkO3poKgHJmNzeYmDoRKqyogLsTplz0d+cOn8rU9Zpkc2VkjQ356BI2+IeEHhR6ftYRi1w1lsTXHhQk5CD/ZFqBX5x/xivo85DwfH01RPiDeyxRxVq0gGDgGepQOyqIp7wqBbTiLr9PT3fB9AfpQVD4GytlHpUMn59+aP9qQ6YIw3r12/4GwRCHPtVteb8ZyC0AmmZQ20VGHLq0adfBB0ZOMXHjNggxBb45QyDU1cRr1DYPtxrGIcanViU8jFub3rSloyRc3Py/Iyv+vB3O9E+Av4Zz8fpb44Ua6+R+HbA5YGk2y6cOXiK58e7DnbSuc1Vz/5yt5kq2uc3p78ZeKGdW9Cg/821YqIkonJ/MD3qvC3qProrncpx8nYJsLYEHTzCTzqHNXKZqwN3yc3958lGV1vKHVBM8dYdy57j5Ur2rniKMpF6z8SCRKkHmCho36nXiuHmm07DZV0bnv4Gdc5KpxXTS6Ea1nIncJmNb8tPs4q3+yg5GxD14SVLrn2X2FaBh/rcP2Vjy5587j5hEjAVDMw6TnJtU7NWwE2/xmqAdJ4WS1KiEjGCL3LVE4KMRattQixxItVbIb19VD1KVtO0JmaUthA06nTBbLnWFBHhN3Vvm2P2U7oUhuvXID+UtBossb8VROcVx5/q5R7SxKln2FyHsE7RdthEUJCyBumt2fE/GBIzb4lJaiT7LmAQEg6WiyKS4bmAuj1gw1ArL2AE/zlzGG8OIZQrcEzWZF7DbQL5wvmNPvKfQuUJ0eSISG78QNkzi5lntGeJBPFuHzGXBh4aMvV20XnGsS6JxN2WjwJN2XGS7DQEN/hmC+hrDKM97AOKXLjJf+4WEChVj9f4jKcsEaM6g83rI6xeoLp5DtpJAkbAacOx9CB5povAFGVF3ScCdbCn8lUXrQm+yG+ND+bXbzY+c73gp5NaX8H9CxmLcyQavufcGaykvUeL3GH1J7CtaHKgNcWKJOAxmCX+g5zJonYcrOzR27gBNjMX76K2e3FSxvRTFEF2JqTR3l/6RiCZ19IHDxF5VP6dXjCwcXhdekDcBTR4JS6qJr75x6NHi1J/GT4iYfl/6un9+ShuQU4ReALw6H1DYQWh3mx+lGU27h4ro7dAWCEFKrF3Vafr1ux82gSD+HMiN4tg5aOm58DJGkPfdUkesL5k1vZamyaPkci6NGSe2oc7fEouIaCflA83KejX9uePEsMgsYqd77ae57P7zdbY7PSCYLd0WGLYoerZwBXG+Np8hfPkFlWhKhs6pDi2PgTeIXX5tXQIvkq8TDmSbuGYX5S9HSfw7W46tlUwL3XsgLYOBc0wqOqhZMdfmopg1vC21SHeviDz5dMkPtRDfR7U7Qo00v/1cQNRPWFo1AnJQS8kHgnYWj1ZzMOoMV/kC951yngycWPeLW23Mb+qGFQ71xOzXFQ0qL0CrBGhRFFc/TN64rCUaCUnghYoubI00mnnqad7WaiTK9CilupWVY+BzLBYEJeJTG2TB4LP0+ATvgn2tQ4qa78LzYhpvEid/aPVx5YAFfCE4JcVKv17Qg1GJ1Sy64/lG6weUQC9MmmAR+rXK+docYTj8axevTxIK3uyyRtQqkQCy4VhE24O9UpcNaWmjTgRUVjGpg08GOjIjh9BlH+Ba49ICqXlhf0AL0nLKSqWkgB95tUhJ9my8zczSD0y/lgMpyIi6rMyEh6ck6rS5jQrfmggJJgkyrHqBw8iW7ojhklJLyPduniWZ6IRI7eb2tYgMQjNl0aQ2YZHO/+gAdzxlsequfluryj9NS9YLEB79d7Iq4KBVjhpssFqz6OC1tPVh7SLjE5YYYJqKd3p5JBLF5HvajsjBu6Br0ZKt+die7tpiloEYmWRPVDMzVYs26YcAKqWA4nbZL0Fq64oevMmNM8hRO+kCvo2FREZuO3n2vlT8tKKCbfIb5mULCxoOkNPpFBIijKCkkpOVDWth+YWomNtZvc+Sy/R1P4c8yLvPJqwGKg4IpeeEEPH8Ia9jV30YR4cgZjDyr6j75Y+LThzgbM+kLdpS3hNZJFRwP6/LBkW+tuKxDogGB9RDWg3PRRSVvQZG+GdKOvLjuaf8yepxdhswWmULVbyUHoVxgZzHL1ZfTcVdazDer+F9U2DrIc1tEFx2iL1FGeZYkEoQJojzSQN9hJUmbHIkE9815FbjjQfp5TaPUmYP0hue4HnExsSoLNf0lXaxGjNrFLlz/zD55JmkzhsVwDC7lYeffmVckf1RP+7Guv0Lq4Ijzf8af8m7vOITw6POMFE60cz9yilpFh/iU1XtKAzN7gdFSa23ebtnIgHePEPSDUEf0LuppQS6Rpq/1Lr0XR1Q43uLUIGUEf+6/Ga2vXX/5dCtinBVPzjp/WCH0FFHZ6GoMFwtMUjiNXkwC+p+bf5OCuss/ByB2t8ON43rgAAlbazFlq0VjtZH3KDVCUAfjO6FrD3ou7WlxngJWfOkX02icn801q5+ZOrp61hZbWINCO8BZB21yfF2EqS+nqGBmDM22AynKv6EWW8RJGQreaXJ/in3mtYvItLUSL3afMgk5yI0jmIOyxGbDzc3YiBd4oGykkvt48QruOHUtfCDbU4seLiL4TR5oxnh2QS7QFpUYC7A7ycbd5XSt1TyX8RPT+S45YEycehymfdqJgS0OWX7uolZy/Fr349FyvFV6tqiID9CoNaMAa6wRns9oKdeAvBQrhn0xxBM87nZPO6I+M/E5o4RCO1mAYNej/8yyRnVfAdWhFs0AIf6j84wihzlb/WfLsk2X51hPvKynfqyx7bNq6T4DI+aV9osLlTuoEfa2KKyC070ZhULHVTYB4eW7zgyah9ISxoFVP0SMm6+4nWtAo+Y/uTqJRUXIMurQxea0QsUTbcyAhZkkIlZLAPFSxtWYjIkyo4ZaotH6fq2Az/PhEcIinM+cjRY5qjLCw/yzborCh0yVzty6AxcC7tKacR/oZ45AO/h2XiQZKyjn7RbJHjKmNIzQrdo0CWykqSMV0ph83UL/k5x+TlQ+QTszJYypXqyvTpgejFYNM+a3qYG0SoS/J1z9ZjYPTOfJP7dZrLNgxJHaK996ZwPC5wTHBQmxgl6OLGkDb3vTj7cTGd6gFaFPhzyzdIZJNbq3Wxd6PbkU/k0Dxm23QtOu08RGxqJcXV9VbP0wT5YPYZ6FJONUdcVdwsnBGPkpuxHOKNAJrwi9TS5qGL46fnAAXXMeMCFuxU08F1YBB2hgvFZr3Dx9GFd9/hsfmfeG5XX4Nbkr0NSGiccwtovXr7xVPbwJnINz9mRwzZWyLKPtmPz0/MpH3/aVvEbQkjq3wuj4OFxzFksc1Pw8JS6jiz3onUUHQ6lewpAqdEIQUAnbJyQbhluS634B3yg1iAiTuCBU3+LVub/xG7i1cZJf8NRcBkTXKVKOhS+4ldNgi7krE02is+Q36lZKZK0EUQPL53qzhiXAWckJvKiJlqc/L8HoyEcH9ndOYdk6oflcxPd+qiHEyX0dJrbhKUxSySM13cGAGYhRwxtz/cfzcdj6IGQEq3tyvzE8nDmGtaT14hGiYQ5yRy1thbB5mHy96hSdubCgsuxI9Nvg91H7g4we14njwmFGg/Spct8HnZ4AMND9zqUTcptPKnq/44/rWWomu54eadhwI9EFQEpCNB0rsfFByVoAhKyVuQwv6ih1DWP9U4Wj7Rgkvgl+bpPvNGaV7ag7QINURygsanW3/qd5AwZ5dKykYMG9B+MPojue/IdjGe3cQa3UQ4bsEEvyEuDkjnaR560dyqG/gn3GylQvOoak2nKe/x1iUqYMrnXUSWee4Cs1AyeVBdZZ8QD62EIJAtn1kCi/H4sNePlnqU+n4HiwbdwlLNDYB57yzxn8ljku5f6+fmyvf0Y10qcLeakDcdiqI1GKxi2T+oDE2zBLTpg+mrpqhTdT/GqVIu8Ua1VzkIFBkVGrtrxBL25C5mdQhgQ92qnARAaFLOIO/mA35uk09952Jz458pOQZUlNa0ehXSGcWVhgNkkfjWmpTtERFqthC1N1GmcxSZuWEflN1YmD452yEXZT+Ryy2X6NzCtT+4X73EgO+GgwLSY++jxEUjiy3xOuHbaDxXhshJh7XA6PWWNU3jOeWK5GQK73E5WDGm6s5PS0kyCfCp+PacWhzspufAnEH8orA4Kg1QB4GaSZRrDRyF9K6lULdqFiBY/rYvR2B+kPGaUJ55lU31iIrUAcdUCbnEe9CNMA2W8ho6lxNgZRatoPvMBMjA7oGAUzi69ScwuDFDRwzjkyo9C3hVgLhIifLGdCzUGeNWbA43NVhSQZ8LSlRusfChQ9eZi/sld0PS2OMq6nZcVFmH8VPjsUY4ktv02d5YC6Kaf1XsTbPXxsTJPQaLWjxhylZLPuVlmwny5YK0U06yox2LEB9ZxgW6C167hmXzwnYvJy4JJxP6K5bzZp6T8BOFaehNlr78ix0o/7IoozHPheDz9q0JxgVyPbKA/TU3kKvRnNGKfYQ0CwWUsZvmByuGKAW6gScqwa2xsdvzEPoFYr1QO4k6hOb6vT3bsksiDQRazGjqOXFI6YY+GsfN/VMsoqDNX6eRuItItMwJ59ovUFlWNagk8mZtff+cxhPwY+Uao0f+5FE8nzuhY9lr6NMgMkWdkH1L83xCVyPi1KiKP8A6Eb+0goQ0jqAYK5MKWW2TeFquD2M1lbTxxYeqnnP8lh0WaWHUFlN02rKXGBdOBNROOJE+KFg35dHtzIg7rVJlnGu6iHMUffkW7i2bUDnC+TGpsBKXNYjbioGzJ4vhl2dxblaaVG0fd7QLf4JyvCGMy8ld3btWn2RPPuFUJAeDLZhyFNKPma9QbaXshV6Hmh5vsW9hgwMwbA7pCM4I8J8lm9AwKfKM4kx8YRvK8CEfn00COwigg8x2Nnz3Xt+47bkrXo+j1+9tmIXdGgG9cVWtLZt7QzixtYKninlWuyP9hseiv2JEJrzLByDKfpEzY128nBlNrZ1ANZ3rJGSUXpzuul+z4E2KZfT3ScwM/ke0vt9L9FzjynePCfrsz+bWlXkPmy8at6xofETLpm4wXHNRq96asebN5v2FRft6E4iHq8zxX8gfG6T2SXKnL9IuAd/+HuwTVn+0zRlVxPRcoCfhHURttCjn7SExeA4QrQ/snqRSBocHGwVraubg1H9O5Re4o/GZOx0cLclUCOCt8LvIxfcerHqx3VpEM2ikWkTuAdnF5Qak9eYTgcSzQ/pJrwGZgTf1pi9A83+Yvs2774AMZCw+pTCQeI0u9uHrvegRxQHo6vcoEgfufeXOnkoVlVJcglVZMnOQvkqX2C9+7t7lDVezw9KuyRbgYGirj+MHpgcKw8AjKBiqR5XSHvV6QlRveZDPvncXuYX9hBfPyZgHJoqcnXLrjkoK/oDVEmV87KpWhppJT3+JcorBXuH4q2n25Q51GRwyeHXTJefBdL+r5w+ohTW+SRy4fImmpCtAlA1R24x1ZAzjw5ZKRg7rpyFI+dx+nJ5NwOmOKDrKmaM8FsiUhmDcDGCI5+krAZYhmOTMT06PXobOZrvAh1Hi9JmV7V8tMb3/+Y9IbYj80P16Pd8Hl3WCLgrIdoOFbkPxv+fEGJ7QGep6WeqaiN7QWSru8HX058cTei02qGUgo/DeMBSKeGB5cuEtllC7l5cZprTIKaOUZukMRXJOvOM/71mOvlcmwshFqXxhQ6C/XFTd7z+PyrAsh2HA+goxEv+bKFKvz9W+JL9j9+wypebZHXIToPCfYsk/62oKcMbhJRE0otYGgo0zFyU6RMjxiFkzo2uZIP7f4IBuLU0Da1A4t4mWl2j5yMuaeDzH3B+fEYet8C/4TxK/8l7PYO7iFtuj41dILGMOV2ArUrEeKOBSwob5VAXSu2gw7qriUcEZR8O0Wmj9qJprLQGfNfqoeEwBVGmGTDBGlbczSEkzMQD3UpLcKTMqc3p8p1GwpHu1IvRJ49NrMkNBkJIttINflmvCgujGcLcbfd69xlvsVWA0T1+H2NsI7/QErdmUyElJmRPfp/V4Zg042UdnYSnqC2bBB2rEhAWdJ5m2ZiBA79cRxhIwUdl98SzB9ui2YyaFlqZmnI6UJrW7241yVAPg9ywi+1YcOjf1ZFdor/3SMwkMlqSj3FcTbuL6514CM19rs4SHIcl8iBa0ZMTpq6jHAhvZXrWAdrYQha5BTot1iUG6KEqp+6kTCOTmSJe4IbX+V22ejMQhcrA9da1FNLeqTLMol0R9ecMSGmUuBz9wZqtYMN0oO5IsKO2usG+p29ePyEGMfnIoxiwnbg09QmfAfPNnhvpko4JEG1qmFKPqK00we422lBt8++IJm+hdxzz1db8h4USTW9LqTmjAPV3NvNfgBveza55zXjkNuQY07ZGVtipXZQRnkd/dGa1lf2VVlgdob4eZTRYEshsLMd1+qBcDf7R7+T2t215JqAUZJgKyis7LvzlOqyVNP8pZc8gq6L0SPtzE32G4ijAS9tZ776YSa6BORrAhCFEoOrrMQLbxWsr5tmI/HSWbjOjejEkf3NeToyTSZPzxkFPBenJWr+j7StMA7EGl+XzPNV633bYyQPVZhw/NC77fiVhPaqxNggLb2v/DyTF/j6VJVA0sylelB0DdM8JmYYN422S+6CrCb1OMPcixeydoZSV7nsQdfCj9kY8zUaUOYkSonLqerzr4ZLWLUzUwUVleDvyC9osBfcArI+ukQPJaXiLY8czwZgM8u5/ca9fKfUDrlZkdr1D8gXlf8kHyeGK2rFsGbOo+JJwZyECUVGogj2pH9ni/5ioowd+FVldiL2ftXnLQo1O8bNSG6Skq/AqaCFykHvEiceUM8RitHnbmx4IFB4DAGAcorpXBWLFFR4CoXgGfoHTCZBg3FJSnT0QxJ/iDCBvNjBorkW7LJEyrsT0enWwjbFKbryc3u1JO38xDedhhr295Mu30jCVebt3wA9LCAgDJAtdedAS+oWV4jLjSCoYcj/KI7aMV7b11lLAWd4myalgUCFCFmPgGzmEXHIZd5f2zcUu93y7mIiozrDrNi7np/f4GL9u6Avocs5IaiNVpdm/rDBbhvZviMQlpQtoG+wnJkLQO1tYwZBXVh98Bt3xyr6UMQ9/LLgWxeZwDcGOpWY0Cj/vMOcP1GIULFy7Ar2uf9DEpWR3SzLwXPrjkctm722G+spsDeoxbv0ZSW+GsILN0Yo/wnwMuejLuEy/2RJQIdOmxa01f6e2UjygRIlB17rP6RW8RJv8i4XBYubsjZkhy1R6HQoM7gVoU4QfO4fxi1/yvLrYnr3Dcda1n7E79TQlmSqEHDbLL2sBH6D6sV3LMwsOf9F4Waq3Kgp9wjITahasK5TfLSW0pTbOMrDhdUlPLURjWA9te+KW15m0UBJ2u61qIaZqnAfTkRsk6nTZBzswFey77sB9o4gbvs1WxmVuv0mHeUz6XwZJfBwhnlMuTQc0Vr3DWFg6CpJz0yBI3RRlwJ6ijY6zg1FQ2s0ZLcFYDEPHKLFSuqPrqZPgQd9MTu3VjyQRCyEZJbPio4j1XFnMb/3N8eWN6O75jiP5x3xxySq16vrjKHdufuXwlzXrJSOAjTzCNMMs0Iujpjcxabz5EKySUrkrfB4jjT/6oqxeUyxj9godWJ1vdwEjase8b2I8WoEKl904LqXjY3BpfyG7mJD/rW2nTGcBPjO5KuNO1Knx42IRIi1kxaLJ6jTRoVGJg1MfXhKSr21ZD43kA7kS8BJQKty0a7/qxTgB+vfIwlgARd15bSe5tSCZEvANl9EuS0XWX4oQt7xnDVc1YBfnbmnyoQcLOzS9rwdnwMz6zWbjaKYNJy8b6GMbX0KcIs5GH4jro3syiCZk8fOmcn8lvHfjA/BG/7OLapej8RVBm3PxnmYYUPRV09qIPDNaRd/xORnTh/upNFrLrEHPNcdE5X4nEy1B+55kMtF4qcVIu2+qfsfjrsiPC2b20g0J2dA4FQt5yuGaHvrW+NTCC3msFzo2+fZlpL4eQU9RkO+Xox/0ylseeiXkSZs9w+SFezickbTq41LGsE/Bf4NzlIgy8wE9baeqLWcpJCr35FHlDlZghMl+POGKLBx2JT5bjCqD0HOBWxM8H/t9I1S5PdaQPOb8ZZI0e6MqsUDDlcQGDRlCQayxB3p00u/P7ecguGg5bR2K6JTl4guuPYnKHuNyDTfth/z5FOp4waSa+AIH4PWkOKQdOKSPy0otuMQ9BneuqnxiDQesHG/eXgy8CFrdeOgInJgVgRONWL7fkFWdfeGWQqZ9GUzlEed/Rr45XZ8/aSWAR2gCwXiy+40BG4hz64hP4LRrY+tp1rVK+48/s+kZGhSud78KaTZSW5ygzf8dYypOXusix5fdCBg1yfPxymrthzlhJ6/VnFLnD/EXjl7gdgc60py6JE72/GaCFieB1kSSReNXsi6J9hRc0PQfInFdURXesMcTUR+Y6hCPyNbfqlp3k3yjqPbXaS+DLMlBDmOVe3M7mciFgAfuz/DFv37BLS02MVHxVwIiZV3U3UT1DG4GzdrDXquki+YjRrLJuVQ4Cu8dze8vbXQFYT31DQJ7CDrMkmRH8Be25PByu1TpAkAV/6FUkQmdsliz8Ul/jBDR9Vao2cXnK1YQ4ZdYhIWRremQE8wvEohreUNr7UvI5IpkXKcA0TuVz0z8NStqc/IxxUuOCyJvu29Z5cjpRgBaP025uBUjBQnK9o1XjfZlBcYhNT3kZk77uvNjxSko4K5uRAI3FuOxvmjmZqDLG4GcFXXmZHdcsapj7TvYRhXvz2GpFmGKH8kHivnoPvzkUCo5ou4+msIqObX5NWjtnwYTvs5KDBS1DAtL8xPGJwwQErXcw3TmTcOMmYDj8I3+RHpZSgHeaXJqsGqcqjSGrVf4oy6/4spzrZz2LgPJT3W7IpiEGkzLAyXnesJMTFP5s7TdtOsfj5zJghJMr5z+gXEHdHTJFDCLnh/L9nMSm6dt5nxfemSmshrMk+/QixEP8APGAXxjWJzMXerxbVmALcYR3+O+5BT94lGddlOW9xHNoNRyPl0kmF6co+0TztO1D/QLBk8xYeIYBp89uV5T31KfDXhIxp2RZizs/Prakz8oKY0B56SQiFQ+uinT3eElxqykif4Khkp9lhpKvt/b/UhCoRAFq2omutyUiHAAqkOG1zmHvHtDCuVkq6U/Wk+OeoD6qQzMXU1BkK1izCIesi330x51y/DpK2q6rJpRJZXicaWQEzNC7ef9fpHypUHYG2IDIoICJsHhqJpSILvpam2kY3X1DceS3bkHs56dNlVSmq5SsbHzoltOmdqvbSBXbGl3yCGwn4kEQ9mnZeIygBwWYZFimUslauZVCoNDl6V5erx9TUbNedOeRKrZWjuODppLxCJFw+21rTt64zZuaSUSyQic2B2zlOJT4LgQ/xM+cZ82dckn4GUBpZucbmHPDUUjW1GRcEl4t7Xl+ec23O3EgtcW+ed/fYMRhsrR08jAVqcxBWoOpQuvpEM2eoT2KQTjtoDfgvKy6s84F5sdlXOn8FXrj+Cs/s+8R2NqkJt0yTYbaaqfwEzokvBYSYnosDTaLGla5IKWJZDmBhhs9hGuVQSuxjaV+kZzYGW3NAou45O/0dncaaoTJDUBY7zQI74yMiobblTvXh+aCPv+PozNkLETVRRG+gBgFmFDpRCRRgJNf5ZzXYcAS60Tj+UnMIhuLMifW6j8HnnaEQobhgRL8beOstKMKFZt87n8T3EgpsZ22yxNB+Gx0/brGvsO03hiuttIR4SS5o4xcUChCAqwbo9xEfpOYUia3sGQ+FJhLBExCJFKGxSOpUO7RRIJ5pYRURtSKO49l92eyPIixPYbOIY0xVRgBz1rsJXPnDEogPq5rw2Z0/FJVVw5YZOWqWqWPTQdAJbEa4sxsCeaGYxCfEgXVWVNHuweQl2mdBdm2esDGAolYex3bIqmgFGmd2vyvoo9a41JVreou+0yla0JXXUU1GlsYwOktZvNegQQwinlQOZwvxrWqpJs4g48yY8D/f2j0xxcmkFTAEBcF38xr2QlRErhYx7Bp2G6q3wNswPcBCCJxHXM3ogS8zuheP4/rOLM1DBvKJQA88HaE+7IrkbV0Q2Bga98W667FPHY3n1yDcElKEno2aUN4YmJ6J0a9fG2tbelLZNpjoEBXrs52gIFAd0X8qqTbqCB2zpYz1bPMNMJeI6m+IM3bXNisQiY93tjsCBMhVtRT4NTVhyG/qdLz5G8mLMj5+rDv/F8F5GIhhitbPiU3oWwAoX3CRxjPnpnVDCGGmCNZ+o8439S9Lsp+C9kOE+vjdUi/sKMlYaiSTB93ztQp/jlphCbIL8wW3GcMSu42gxlt5LzkMFmtIxON3n51AEXq6/90gFVhmYvjslnrCX5nd/RRF8GJiqLxUCpsmdKuk0uOs3FnVErwrCcTaLvuPJNlM4NBxVIOeT4amrx9uIQLn1PIHTULTwc6fbu9aWMSzONBKAGSYmVuWV9j6eGOVPTrEAkmpdV/u97fa6iv1A/8tWjNjmBkFWDDI+/LdK38IW4nnDp/m1CVY2kHvI+2ox8zb8/UC5RspetVJYtrpno/PBMwIpNO4cYT/V5li3NK9k7GdOIBBhNgjfwWn+00kbq50IgBRG97bnxzgPLs1GOJPstqXl9A9rtq+oiu+5IAx6yI9qP+5EQ1pOLVdtc/6oMcVlaWb6lf8uKlNkOIs3bFiTokVNRPsLC/3KGyz5bouuPl7ln1S8GDF+1INQwJGPbhMTPlnVgrJF9pKC/2/0XLZQF4GdPuAyROnENwX2IkM5jVS+DBChBQe/JXS5PWQMlNFb7X9DYidI6GSp0FqDb9ZmCuM4hzVh59qR4YcYlXgw0cKpb9TRZSrXwxZwV2Y9K9+kWsX1f52j8Mwt5b0A5lb7100EQW1VF/AJ0bpGI46eHEbgCNyZ72tBPSYJpVHrYqIRJqj1cJCCDnBC57ZMbHOGzU1Dw2oPk0vbWTX/dL52vUtTgOMJsUuMA4x1KqFrdb0DRRpCc+YVJkjxGY6D0bblve5tk7LdOHriHF0nfJ0J9zIlJdWCDVHiuODJLuDTVbPC/l38QJufYberm3W0fH8TlLeF56hn6BP0GXTiTYJw7H68DReVeg2aKVWUjnqcQTTBfUo2kV9iCTu7EwGyuHOalI5DfT9C8Yj8GUpeB+YT4HI2qOP45lvEKwbDrSs1GndS4Xg7h5d7HI49MRMG9U3VMkSge/SNEgliyFrbYRsSRugerFazEb3rpiXNO1KaU24GaIq6rPmtBtVZW/Zh+fGoAGW3+ah9nd4+aDXFb7YKyNCjrmP0TobbWlafVtAf/1p3jwKmv8yu1ad1qHQdW/8g5x50kHZrk/u6Xm/bxpWaj/07rwHJNJY8IOMYeugr1bnsqoLJhW46ZeyxymxurM5J/z5MtIh0/lb6gMYErGTOPEMNK6pD9FuJnbBXBhCi/WyfSPcPfo0NIuCqSKwqhenxnC/6Ukr/GSZ2726tV6Fa2syVymO917HwHvrEYdrzN+2QwURDGALnFahD50Ko41hWh1BfE0O/xZYgD/fkcVfW0MRaz5ez/WQuBNl6LOd/YfuGwRFjqxwlMjN3rZ4XxfpeJqZxGPYp+AOmhjee3qLdyWj2h3vgeVWhJjwmkDioIOevG9tzV2uJz1s5PTrSl9cF6fBQkXZZPXrXti6sPR+7Ct6oy7uus1/ebON+3My+v1TmrMYs1T5Q4r0vgUUvnSVEWhT41ZI9uvOlGv2snMJGjRRC1Y+Uhk0GqjL9tgQake5LnkRPtXUtqhH3kciqFrCRNvoUIx3//RJ1SiSgZIISfWgf/nLM+zlodi4NHIJbDc0Ar+6P7/IUPIen+yKqtkkMieA1baXwG6udFGqauZF5VZvDhSSqMA09rCElYlhVWFhhyW60zvHixG9PLjUQ48rwFZ4O4xUY80nY2oOIah/XruwytZbrR+aIfFQPcwRxrL5CAVZTnhu+2pbc0CjcYmu7IFcnBeavlgGrCkU6qw94jeIuToXhg6ysnMWNEG2roFySyWvTlHfv6a8HAgVIs2RCd9w0hhYjNd2eaEcYgeaaSCokx31JkSgzQpJQbIkAB12SghXitNv9ptr2OEALrNr7MoyMMYT/jwRHrRCXlShn2OQuV1WfPDCKSMOx402RjOq0QKy6dDzoXnQcVSbxElkxtRttiw7h291p4KKRNrQTUNn8+42CpQLpzbVzyjAC7SCs+oC1jqSltHvyYgIxOfFDrYv/YkchN094rxofuU+3HtdXPQ2sh2n6q8ZmBeXEeNeP8bYUdLzpzJDvX5NfkhpJHTIarRopYfOBXVZKt3LeBij4sW7h6qRNKtSdWkL8VX1hGISjsD2uJ7XRyRahbNnJzVEfVilZiPKVV0pTsnm8dut4sSrCwI5E1Z0XEvcaDVSUvK8V0AT2qHvhLXVJU1Q6ogWYjZ5CVJc7pK0nsHzq6M9vj+xxPRWrd3FB2mPaDsF8mgX56/HoP/ah5ryty5wqv5ndWoylND0IC+cb0hTmvOclVFJ6qIuuUCZ6XjUjqdJjyxSSSb2b5Lx5gzAB6FHVdfVZBZYIW54PeY7lET9G9dQ2vIkHZg4YIypGLZCRLaq2F9ZrfqGoWXfTDFaUExtYOqmOoeb7fzy4BlGuiZ+oFq/6wMQnH+RQUCuAltW4YVDhckjxKx9FDfPqjjEv7OZ0osT4hhNJTeba0cseNj5drJNXoHAk0eeM4WuC8li5sKC2GB4AVjV58Ol2zp5lx89tiVFNY/58+eQeVMlvKMUz5b6jyNL6UyoYwYQTgQOs8OQf9BE3JzgYrWAzJjA0rDT/RX7WmtbfDK0ioHkyvLvVC/XCLbXX2Rh91fnKlQS2EQBPwespABdze2hEo4YZ0IWFCKTG5Sqo8vky05z+TKXZNNL7h+L6ycUgro/8erhdQuV/A477T1OdrgEd+Jn794hC6HwXNNH8ocv3SofyljIGFrPvTRVQQYgnKb2/ng7EWyM5J6137OwyoKOd8G/IDSD0AB67NzZeYOcdmnPnY6K69PXguHQOQa/na853WOC8Xoz06P46ScWJquVyinO96JODYi/u0jU59w4WDl5pckxDoywy6GUuPLGE7xH0cxOycc8AqpdhhIvIEJyPKqShkIYPi8REo/QDKsU0R1EMECrbuikN0dza6Th4MrIkwYk8GSK3PbYWltPQ3wlaVDT/PVSH2bvXP3BcK5ZTWjE07Y1ffA4jLJtmblDgAYIIiTufJSZ37HyO/HAKIn7rMuS4RkuwTBOZzCa+qVj5r6v1gzDqFTmppwCyQ8zVuvcnxpMc2tIDU3JUUxILpVebHXstX+mFoFH94VfLz+az+rGTA6IzVjFBJW42cIMHp8gfmnCqTX+VivHdTvA4UXPKV70J9E8SzStH3wifLaA6baZ1z1V/G9eNR5LntUhu/iXH4Quql5R9QQbtuAoN0mlAkNSQgvaIxT9qKfDAfSDDRPnuyX7u50YFYH9MThrgsgMtB90RAR/6g90tlaOAWMM0QS7MEwlfWhbq3ZVpwLBcmXCaMPZtmweAJLJzVh7eaxzKWDKbPQj1dcL6UxNgeQp7WCbRFcKqE+c0Vll8AXqLF9DhAM5JzN7WisAVXfWU+N4XPL6MhLOvA9tkp8a9KOP1tBIz98+9+uSQr/lhZSoVlPZQ1UAhhS12cEML5+8K+Bzj2Sam0JSxP9fSreo75XKQhWMWx77uzak8DGxIO348eAw3eZUscIfVKcb0k77CvM2PYmFdmnLM18/DnfUnazsh3zBtSU1j54BNTFKU6fEDHG6MY9prdSQbvxOXGAfbjeelKzNl6gNqdCAqKSjZXJRel8PcpkgZhniQ8Zruaa5G1LQop4ADa1sFAFc6b4vtIoygxuqFcJAOC0TbDo9rrGJNL+6mxTilo6EQOE3LijCukqrukYYb1hUFJ+OQ8+mmka5Xt6shWw2+/W4QkuRkc5ELd0E6pNGabXMUvIETjeMc7qsTPpM6kh9XHyBBxn2TK+vSHujnXHc5z1bzSr2JD+roeKyWfS6SMuVnCklO1FoulsbgHYL+ASZ3uegyGaw+GVOg/8vSnnHMv9KGK2YkxNl78OfklKmNaOhNwOlY6HWHm7E8d2im7jB2kuv1H9icovtWP+DtGdxgXSN9HS2bbdJg2ARNNGcp2K5LBWMGb6HURInSBRNltGM5c5Bdf1waUCwgB7pKyodBik852qAaGyTWRaUATDZu1+bLspXP5FVsMgsjGjgy7CmDwoglhNS2iSbwIKwpO4H88+P27SShCCCbpVa/IeKY4vmr59v7/Cjw3N2ExzHXXVhzbTtn/7Cga8jpysN6nFkNdH7IRyoOOjuZh6BO5iOMsVYOmFD+bgypM+U+ggGpF2vYfBaJ092YUqq7c9p3JTSqH3LogWCKyL8TuOGOq8XpQMVElLZqpXLbDWjUO6MmG6B+vpUfnbGXfeImzY/H80szipFoFd+8RH05MSTuwAWWI/DyzZB5jX2nUhGf7/RQxCssj1AvPvYzSFMx5SISohFG6Nttn1V0xdLmcDzmGWzzyjN/GZmBbARVMzLhIR4O+xJR/KOCncYb89mA4+f0Snxc7V3in7rc/nZ66ZCS/kGDTzIB5p+QmsqNcjYeM/gA/slp5500AmWPewN9s104pzuCNWgqw+Sj0lS/dF9t0LwiaiYtEjkqEbuzl3GuP5rwn+MQKYPkKZlWepbJjk61tnNgy+G7wu/PGd+wMRQFfDgoVkNfZCTU552Rs2v+ryfbq3AXvD7bJdna+Ejwdqset9gsyzpPUOj07NIDgZQn9aHFCQ99eUwL3uto5UIkgLnYN/CQsQalXUIwtICfbwA2vtANl3JdgutJrbaD0LYGRn2KZEV8joC+J26Hq1hjGmUmAeH0m/hyWU3LzkNATofcfvrGVAU8D746xSV/rLvjsG9WSja73zISlMOixzW8IAf+eQB2QG0eIdOUpdf3fxgLtl+KgW/sbWj6dSrpaZeNVu3E0zF3bQtrBO2Oah3NPv5Qo3OQ4Gl+ADh+Ua7y26LukBUXJEbSdxXSMQXr9UwxZ8x6iF6wFjwxRIoQ3B5Llgr09UackPLO+pG8gCVZo9oM+QZxZFsXa2HMzYZcrHpEjuQprLvxOPqauWuswQgPWJ1Q3Mp7RfkaHVKPvIaaMT6QVHQHaC35KlY+7bQ2q24wwvvolb3d/T9BJW4sRYl6fc7gRJmb8kvhfHhN6aDm7TF9x+q9yqn18AumOEBcoPdN6owu0934r2LuGNvT4eKhz6lXHseXOqUT70QI9LqVhiMwn9Iz8nH9iVwuIZuvW85NTkrqvAY8AF+Z6/EYmcwJDv16UkXZsRHSGS8PTNfnd4pHpaoZ73QbApf7tEktKG3vPLnZLINEnCpHwUMJ63jnJvJre6yHBDV0AxavddGXFV3Gcy0LFChlaS62Djzs2z9/gOeLK88Yv9dtQalzsy3ggk5FC/ueg7Dxi0DUxZPQzCoZJIlYAqnKYVBAVK1K5GkvWylDRUxu3McbwAtH4FJQL5IbM0tAQsUcuEl3fZRYeWuQTLyH8RQXYR15js6wEj6GKxNV/F3jDL4/CUW7o/yuTPgUmesMObZxBby1QgedP9tha+mzny+kfR0HWI0xwZlBvlZswF8PCig7vi0d+Z6jbJY85H6oAwuPFcdUXA7Ic5BfbmkOwDF+1zGb51hJc1f7NN7tQ8S6YkAwpMZniRNmFtJClEORxoDAYC5NQ+cH9LV05tsB+hUUQobv0eDXz49Zv2z6YMu1JT8+v/U97WZ0v04HyZnnSoZlTsZ0Frp8D9UqMy849yD7thYPcQOQibyzzm3i8DCRM4NGCAs+V5Uk81X5oj+KdwPvqQz7TmVAOQXjm7sluCC6CnHbvdGKBLPduJnZ+o0iCvH+o7nPf4wnEwrErpdx+pKPXWK+rpM6YRj2BIfTiOpHXbZPMYXgl3RzvWzylqi8Inh6hVjPxz3YDrTJhtrQAH+gvlYE12MPHgPNN90FgYuxKKU1xQIgW944IngifUWw+bsedJS75EKouY6H9MUhTu41V8DGQlwVBlbHry1PHYojSOku6UA5/nxsN1QLXFLviJNcIoYfv5zrtrTighioldC5xrVdRtXTEnO3KiPCZAZE9qydx+EC/2sLgFBO+QxhNOGhN/Dx/chZV9tVPTq3itQQ+nSJr7Dadr8lm6a61VeHUIninVM7vv7SgO3FPS8YUV3xs43UG0dXMiCG3dSmy1gfJMDmlFEgsL/uA4jKCzO0EAsqQBaNJUHqRLRluNdjsRA8j/oOF8qRucAbIQ86wkJ+h3lr1soirVumF+IgmrSd13l4bDQBmPhwOiKswVJtafepvfeDX8wB9BO/7b4teoctUChcjxM4AGtTNrX54AANtRfy/kUHe/X2FygxV+fg6SreAWj2S6mNbuyL5ZJbgOTLqvg6YRRD8SKimiMsx3eLwuVW8SxIGTg0ULIGSokLiuERo2j3Urjyf7Q2DYmcX0Ko9z3g2PnCAXMPUUQMTt1O4T4VzFBgTy9FqsyNGJ0phB0y913M42bl3locQCG4nzYEKRBWSzh2e1lsoThP1fXy/RIYleGJ9ochiA+3QEFsVfFB7PoXTBTXwy/I0IUe3cye72YpfKzH3O3h5tU3lzLL6rxZX32SBJz0QBjjcGpXXATCUUF2kmRHQzU/ZGaXltQAAZSXjtNjeEU14L1CLZ9fiq8wDOI6KVCkYJ41A8hYQoyHrWw+67+Ac51a3Bqv4Uzaa3dRwSpR5W9wP6ZObRw60iaDBUxXIBIqhUP2AOJ369mQU27gtUC0yxcTRS3KtnmipEZ5hS1+HCfwcmvJIHMr3gfooKXeQIJhOs2pqdw4J1SkVapUWruEMEqAVKKgh/JKyFrUrhoN0IfXCDIbSFtn+6HnyvDCoB2TnC6n7NoNBUJJuzfz0NPXk5xJp/Xkv7sVXxEWpnxAa+UcLY1IYSd3ZcxXMIDGO33SQ6tf14XMkqiV9rEbxBXGh8s+ElXEZgGm5crEeJK7qZSkMpPTrSa1cL2NXaxRKW1ClADjrXKNNZu3KPswmg8r9bv0zM3yMif8OzxbNqv5fhGOS0lREmg7gxd7lM6NhKWoweNRNA2IWG0pcFf5BME7DInOLP00ooyFvHcMtjsLxMZMzdr0CXMXRWkomiEVNWLguXgGMd404A8MbTtlK4+Fxq0nLQ+UUeMs5+hjm+xzVH1LM5eYL/4q98BE52FExKdVbyL7cv+bH/tdjrFoHXG2dMjetnO/XN9HchkOLaNez45+4DgMG7PB3GDVRmbBq2wZPxORjbpMs6JRmm62f4Cz6POVvn0a/gotClnaIggQ8Fji5n0uXWPp1R0NRAjXeAozVErP8GwpEEilyrqHD6iqmYNLqMP2JHKCemfd4aONogOnFP5/61YdYGJZ6IjASKQpRcvHkuW0MZmWvdpbMU4kpKoHCC5/1Klrzw0knO8w88XGQCeJy9xlflVUGVYRQYYW/TqTnvclX8UOhgWLD7F11L3LkE4sJM9p/vsmWOkTtz8UM9c7Op1vv+iDWKlY6uHmndctK6BQmbu1M5MLj/qWihcn8PnmduSYyEgcYRFpwiQjrPUvJJlL3E6wZw21MvoPKxiP2LsfwPx7unc9q+NkbGQTOp+Qs/IUdAVLvnYQgkG3q8wsWqqaZ8AElhzKfKs7/1O4Rx6GH34iV/jwq4KzeQ5L7NFU6muqs+so56F5hYrxVOtFVnoPPdsyUWliz1wtxzS3lRpubNIhJHOht6L9yE8EONxA3+sYdFiAXSnOeBpRoGCmLOFKp3ac9i3okl5hdH8yssOrh3uBGpT7YezZ6+2QOwPAKyVHBMIqsadKn9eSFWWeoN+6nBQRnbVySmFkKLNuutEwUJeYN39uVJhjIDy4ldnkuAOD2sTLylLpoJKWbtGLKepg3rXYAtpChA1Qqnx5cLB2MC22BpzUcqpWmm6ht4n8PD9gdHAH3+Pc7gbFqnrNBz+nFoHWemlAL4MxgxV94tFHTKyiO8kSOnsU4zdp4Xi2TIOk1tBT42sEjVL5aYt96ccyLvxYpGllcVUYzVm13ltlabd8pWr4J0xI8SFAPqPWls2j/6q+d5kyILDej25KqNvFJ0N3um5SkBiJy0NBUafErwkH0Gm7waELBvO0TSDFYUqp2G1nD8lgfZriyDbasy1+xXofa1HKJ/kF+9GhM6oo3YqFgqH8f4KuoQg2dM5hFvikxcTUEgnT//ZgOlp28A20mLrwh2eseKO9wZXG7llB4zsmTAE393cnoJ77INoyNd/fjm/qeod87FMhDZQVD0oP5NKMcm/Rlz8WlyZjoKE0Iv9nuQxH+vNWbKSCpnOCoTVwnlxn9QWeJyQN6K2CZZM+6NEEfIp7QTE0StvSM7bk/0LZSgqgk5VHQgkYqwu0LQKI879XByTAeciso0mSfasWpep9tum2wdFT44pzvxj7haQGQtTmsyOlqZU3FyUs8ZEEDD/o1lvVwcQvbVXGOTtzXMLK7vYl8A6ctRr8lpf8re7C+A2oxw6zVyRRX7S4RJusPD1Wt+H/IQl1EX3eGSg7feslIQe7fvNPCBL49/4ajhvclxO7qRc9KriWT7DJrCc78klb+ChQPUnAKRq22XQX68Sei17aZBQoekTn4ilAM++ukp7juld9K9xmbFkiJzPjM681fpuYiN69bNAUvQl0Wyu3lQAywKpY0iE5y2CorU+SzuUlakpZ2iQIOsYbONtQP1rLiKRBg3K6BxKm+xrrFt9f13ldpUHjYUEYXr+VPkerT+6H6tzG47c9Xky3kPmK+Jjp1qHXOyUcPMrM9fwFzqE1p4Ag3utVJZ4vq+azNBikXfYaExWVysvT1N2SJAmnYzh3sAZGGpves8ZQ3Cq8WUR7ktfQLMRSDi1K4c6AM420vX3MaD8jY69Ahq6+oJT3IWW2DHTlmpyVB/TARX/DHzp9B3ge5KZFXkM/c628U4stIWOOavgLNR4CnMeXKy4P9c5Z+b+lFBmV5R34QlAICZf/pTAA8IPdeK2rjB9QICJFQH4YOQ7QolP3C1kTOL3/HJ7ej+iwwpFcoJ7SObT9qxmals5Cf0IQiHKPibYXUSNWffSd0skdCfV4xob21pt7TUTrandgaJsaQQwCK62DtOVWu80oce8Cougat2CD7GkYr8SKkRqw1sTz1Bzy4BiVlWbuKa2cw1auG2UoN7mBEZuZVet4lzTy/feJITPFrfdQHbusqAY68gjHQjZbFI9VNp9sfw4AaPjTjJr40OG7SQGmMBFS26qNWOdbnLYXg6+22unkKNaAl/3lp2+C3ZcsW/jpEXfZWJLtXHqYlyn910iV9hRqW8DMKMer8TrXL8ZbXs79GpB3RWqRtC+0baaWZUTEzZ3bAYNTVm2WeyxaZ3o2uZpggASIn7UUIhqbgr8EJtnERaf9EzR7NXkb3gZ/3r9sVl8edRysOgxSCNc4G2+DJXQp7IQG0ZfhOierhYEIa1V6Y2fcCrOhFZce/vMai8K9bBUY4F0T2kvAEzaNfvKtFeBirjKAHSgoBQA0QwNG8rsmtTMdX2Pz/5zIwV7vjzDhtxisrmL8YrOQbzMVPgYRkCsjfijv/Fej0HGMk+z4d6TQx9hAXwUlQDdyQ+HKHJdmE4qoEIjcZfaZO1MqUAE+q/7kFRMWgDG9ULYdheacry40quYpOh5IUCxiH3s7WBTXaZM6wA5tzjAuZ2K9m1/BmTcImSlZmxJ1VTpNbhuZ4W1M4MmdCkSrPHdFNRQCbE7LnX8X5nnFASOqU43ro89vJfrItxnXTHn0kggOc7qBKx70774KNGNt+al/gscgI8tIipXD25X/IS6+gRGPhihesvyHwUH/p4d43f/pyDhjgwLkoYLM37KHuhHKnjqOYXOLSWXauTboA91hNzP9Xicdf/6iPUiKfn8RqzsVd1sLy6udpYDJOz/Z65FXIVNk1sF13WjCWNnMzy1lkBxTcI7aYSVl6CxvlHDHM3JUb8ZnoADvZC432mMOwk6ah4WU4WajD6b27/52/itwdBo8BXUsjlNbXT/laRAUs2rH5RcvUWA7EsHiKMp1UhrhUDxQznM37zslTzC+TvjP1HDd/9oJc34dWJw3279dUaoY5P63yfk0epCPO7o2x2VEHVfMZtgyexCqMgIHjj3xL93nfSb7ATZ9S2VfnVWWQMGU8J4QunmLulO2jg9Kc9ta8S8yJdiLYvsSCc7TJyJi04dH+y+Xe1xt/0zQgjo9ko92tDd/ZX3VhBeCOZSYHrtV84Lvh/UuSTzaKoSSPjLh+yPOAfpDvNRwDexBVARJ2wxCXNAhSyxm+3QnySBedaQ1waXQPxtuyQJ/A4VxDiRaxAwacn22Yby7ReIFJ5+rdhkVG6k+/+ES58Pi6dQjFX6ArWVT+1CVqZd9aRrOarJ0blS1vWuzAaT02dLNm/cn+1zzM3qX7frPhXGnN3B76ylDB9E4Vs5lNUhm8pGrO+i+5yZxh/48JVuaDZ1DeKDOgiGXvmT5p12PbSMUFKoi72MgPxGecaG3t9BkcBX/R90ENzZZnZve+b4omaONSXLwUP1lbuIvyfXnigF51a2GI5Ew4MHfKo3RgBZQXslg9UZdqQU6coQ2nEPUt8JxpOQlBbmS9GqhKFxjU5/iiCbuh3itJXmfccyUDdtfYC7PTyWXT9TcgEWCkcZrZsnfVqwwIVoqN7SRIc+VK3QhPl/MVsIIC0BfQp7zebOzBdTmcKky5/oxil0/rrvfY/cpPUSdOR1/VU0DrAkGkvxs5r+yyq7az3bLRLrU9kavNZ+hMZDNMV+rPNko9/1z1E7oIS33mGr+XKR0QRhXTWgfOzTVSQzvSYZKhuCNUjtOBYk0ciyl5OZ23iHqnELdp49JDerr6lWi6okN2u2BnxApG5E60xkKGI9/JRuIqPC4FruU95yzlQ62dpS8rM5mx8jUN3yeKah2hvFG7C1eSbaZG8sJb2uGMzjhEcM7MR3/Ko1ACehrWEJuJAvUuwEETyAACheQIj8/G+4gbjb+nd6+kEAmeEVo3z7ItOkIAZpVPHqED7IRFI2vh2OoDqnTaP9MrjP4i7XerDVQ6D/hdWGDdrcwW3aVvBADwxReYKwcTnPMn898cEomxl5nXh5p+86h8ABY8FcSKEaUfA5pxGlU0AgjU0KBL2GhzjNtGJGpSEHTSExZZfyDn3FGX1MirVweGJIQxHnjA7uSi2hqD7RnyHNcAe229mALQch5EpnQq7AOoriRBu+rQ1Ghpw5ZcGEEfayxFJjvpAuFghCsBkzCNNZ6KCfKs4porTtQSiirhZVn0KpMfPU9+bwrO7T5KfD8SYDt1ZNBHwAKPk14QNqx7GoBYfH1sgyzqNTVS8NcTTgvdwDTfZQ+x6c+u7xQwebxj6Vv9yui2PywKu6259fQxMME/B8EKcWh92ML5koRnSF3GcVVkXe/6JfP0k29ECrY1mn9IZG0jVqW2J0FkD5Yt8AEe+FBDWJsHtCbkUNKdgaFEwS9sUWYbhGDnCI99MWcZNmq396HsLMZ2UItX/gsjg00R/Go1LCPj2VPuNmPzP9fAwLp1WrLebLCxuCdhB0v8XssD/W7A9cqPZe8cutM0RN2hcDxDS0Hqv+M2Q7XYECSz5o6+WtxwBq68TJEDcBX10tK58wXd5YqzKhKdjPbDOWh84lpvuDDwlfp7zea/spXcXBFaVME5nHh06ertxMWVgei38XiFCDWgDMPb6SRTgunDcVLJMMgaaT0j5ENAkM27auDD++IgURZsFjvZZ5EMVmHXH7rd2uJyerns6BXZ4PaypzJz/BolE5oGPujr7ibP0qslp42ChBoQ4N28yK9lTYihYuokEeIq/srrcxo5pU9IKrrGa75c0KH3/HrNrDrs6zrPnL2lKHEPgeHXCoUNAruimF3gg7rCwjPX+fHPrx841Kbyr9prZ1X7HPLoY/NxSKiOYKu8KNADfn0TpCFmHSt4Z86bJQT94tMZ/HudYN21Zm9B+XFSpambfT6HdZkS4p5E60b4Jm1TxLJ/cVFo2naQhzgTjEdHtBFrMqXiBz9J+ioc+wVl5Hiz9CpCvOJhVFnYFQ/UMRODY47HhgQb2ZWWupTq1F/EBMqeVSV11HPfZyf8Z9hhKUjppi2CbBDPPkNbjym71LWew6cKjoGkX5dQfkygQYTCBEWc61ZXH3eyarzv4Dii1o7BOrt+lCjJWkqkf0cTmx5vDJ0B9SOQ686WmrEKkzLUc4VR9LmJVDq9IZNW9rngEYjQ9oefCiCt3mfRuoVnl80Ivdzlt2reEvF4iBhyS2F/RIkCD1Ic3PRE98IEdkhO939klMt8EsqVe6qJdh38WDZPshhmzoLlktSr8sqhxz15gRXbVwMs8FIsrybl5+gbMC41G8gJgGU4T3XzlPiilniutyCxndwZY4QzI9qsJn2QgiSJqwIJ3E2g1mWlPs1/+bTm92piXdo017IzsPctPpv1/C+Ikzh/wLT+GTNxc2nNG2CECw56Aek2rhBX7VUXkan4ZbG+MAIUMfJRfUy3HIL+6J8MjoKVrQ1M7x1XpRynhVJxThAMg1tHtuOa5ngk3dmOyPNd+PTh9bDDf+MevTKAXkcEvWe2S9h+Ze8G4PS2lJFyjJO5DqTQCPuBmy8tUB8F3Ou3XVtAPs91VoLBQiNc5m8Bh7FTVMH5suS9daz+Bizoku9Tcrt7sFmRV68KQTiTcT3uM9W8po9yqzb/FPtAy0WlVLjHKBE6eofY4AaguoeNqlCfNduT9x0knDVtspjR2wc9sE36eATVj94sNg12oC0E5ofhA4iyigCRakb7VmtXbguCahaTqAuyWyjEIYoXNiHPAF6pGjges6mZuOJmdOT4HSJ+H74pZ8icRiE47p2hpwbx9mXDqeyuMvPdkP9Izu9SFBimjWhB7IlDlkAWfJxD7j8p1Z/CWUmZQM7h6eoDa8nJAp3c58iGoJjadCq9tcDCTvrxltyxR5Jhahz4780nj0RWh58/8oFwBE+FbifwNmC+6+zs+cOOcWe5MsWiX1kTaMBwn0kLRrNdmIGEu+G9+nEC3bWSH8RpY5iDdylAvcElarnCQBiiEBb8ZFjo9XtjVIe+0HrVA4Sh2GKcN9KXzxMYDqf8whvXLezf7/FASZCRxaqIkzBjRjDwWT2nRLouaq+7PCiTu7WQ33lqKgkE1Y3DWUeGYzP5XHu1tb4XmH5zhQNcgfvEeEKhyt6XyArlj32AX1Yr6xJ2RIcHD3Liq9EYy5acucjIDm6SrLzilD2oBsgufZno0nTE+jQHgyLRvHn+HH0lVh1zt16ZbSI/mUFfzFQWlUEHVCmbmiIZDXd8UBzkzCoXTn0hE5MED4PvSG8UzZRMLflqr75QyCPQplVnFboIxf2fz1Mw/sPikjtOjxUxVM9J8BJ29tOV4tgcwV3sklztctAHiMBOUz8yW152Ooz5/fYt09Xj7DrGpeJ58EELfJbgL/7S1yX8ZHi2VYXH+OQ4y6DNM+2swmwK39YV8EAa5Q89Kjlfq4Q4IKjqW8HICpqPtnESGQA7LHkjiTf0jbgsuOvF+LrkGTYmHeD7RnFeLcoZWyHdoD4RL5DnjQn2u12T+umLtYyMuh6Q+nksGtsCKWlLgVXo8fGxdA9O0lmlGtOjyNGrOKb6tqOqygO9hOCyr4KBdCm7zh5nXNfqIIMDZXjmsuwJ/hpjSSeeEhOTbJP7R4Gi88DY7nz5qTMn5zLIaVr5aS2MJh/qFozGQ+tTo43WygC0Ydhgu2T0U14eawmHNfKtjZK3W81uhS2Z71fpiEDwJx7ZF2/z1RWqiVn/EbfaNAdw2W7TGZswOFf77MrAuEc87voWkaPal4LTsKZ9znqrjHdpwGZmE83rNs+YgsvugTfB5JkbGaDKWCQDlcxs4o8cD8hzzKvGne88S+8SFqyRnEHl5kX4MZ56zgoUpz6G25yzVDix4sh/+1VdHcAJ0x/P8lDoCrhJXqgejecdUMzRx7hjJYJsLjLQ3A0Eo19pnulL416DDc2BMy4lnZr6LGKkgQbnSjJ0blAHJc4uxvHyVURehdFKYCVFQVRZGkiDOwABs68W02eISJnXZakBCt/Gik43W+zfuabSa4nn34wA8dGZa5nIDKqk9DXdqEDmh57uObWOvJjOjCyaiIUl5M2Vrr8eOyIbmXiOa3mqF7L15OJ6m0ILNiu1kQguIDXCugklcG3014Ihfvn+Nxa2fySsNhvIdcEAIo4/vkfVY87Kj6MC9Zy9zzd28phpZ4nLCVPw3Tmj7if1Mw+7/LWXHbiVu7weMKTJmebqiq963dM79YdG0vHa9718Qt2t8s29cT/28QPqZtypZDg9yqU/OYACOKGIAaDrH1ukTIGEJMhqk3j6muwDgqJchODviesv3oMvt1QruypCOcHFz/Icf4uh1BORTHcVhdtXRoFRLNxHq1Zz/2v490fOWF82lCSp672pJsT/KX4k7mUOWTOgbmRBRm1e4eOVKDktHMvM5M94OZph1o8c87a0xQCNvDxKKHBISWm0AbyD2yr9sont6wQadcb6FjSKFutSRBmLgCaWxDMqLNghivdJerPnkFANeafOKssRWE1oYkMZ9jMZj4zZn4U4khcpkEMqEFulCPpHTEsnjetV9OdTiw9xmwVYlF/Jk9ux7xlxaSP8WJczW7OfI+FRv6EEewAG9FZHbuUz0Q9oeWOUHhjzfH8Um1yKecHuRKrAqwLrba6TH999/1jUdL1UUh35PycbwBDwwSTQ7thvKvnMgbIlUs7kUgzhmMZ14Wllgtw1CnlPpE2vKAk7K1oLvXLGl0KwBTQyBZrsZz8BWByKv6gjbvngB+F+HexG4KcMXhwXt0UZDHPgfq40Ie35nN86iv6SMzfAkGZHhv32HXw38jHmrnDd623gcirA36D+ubTi3KXh14e2HcTuDDx55jLXEmaTcwhWDitRJJ77fdwA7SzwasIlIzZlYzjI/LiPjeRCx0x946XOOM64BJB5Tioehpc4+ST/kLnZwU/a8M9rLVL3C2qc1IzmkrI9X4M3yxpxEpKbVVtKx1tKmLr2GGnY2lfDKoxjs9ggaiK4QrecudAs1RUe5qBhUqPrzqqjjBPLXbIkWtVlWe8KBQClXRz9hx54VvJ9D5XMDEf5HcLHUDiINN2VRtK/mwq6O1iR5E6D1FbZ3eGTjP+4N1VVQf0DbgKphfmRUxkmdIcHA6pFmzaM/UDm+puQeFFuPtS1KwHopCljnxXJ/mbyWWVi2JkOPi8oCwoV2cecEcJdWaq355OB1DBLmBOHNiCrVn17sjjCIPWP0CRsBRSfVR5F1GgvZ33fNLNoYmQUY1SZ2UjzlUMccZoBanLTjwnj5bffjFTS6Xpxc15LQ+Q3MgXLQoG4cxaicc2XUahemfnoJKoLWy3ienQPeT7QR/FLxCRC4vo+tepMbyvxxlO5qFVOLjYxEtMJLLtqdshaixLHJ6mC92r+g35Or1UW52/EcgBP83Dgd3BYFKWhtcp921NqXhDwuvdCmuvjFjG3Mk+COYQwWd/OIDj+RjcxdbLPdbzGgfvqgVqgzdrn7VOnLQPLnZWYQZzfbV6aepsPAns8VLvqRWzYRsztDEvQSqJSJvTCqAFbs7VP7/92DNLFLPl8dVy8dY1DmklxWwdyYlEMouwAfAsMzKyUDxMTefCdXWbG6FrkmKxg22nsxzr0asuhLe195hbrl9wR50IBWlvWBzukyJHTFRfDRtBbHRyDLR+QD3ufZaXdnJ3/JrliG3882Dvr7z1E5uueLtrw2dDaweHSZUugUc1HMntZfiNZ6fUeHGu/P47RJHqFSsZWu2WyWeG+G7uNjstnEnz88jJFABhcZZh1oa1T3YOEoOtmG3LhhgfyzIdDZEk7vME5VsI6U3V1OaKKJu3ITC52f33SXzoogBCK+94ADeCNsX7n8xsm65PGLSGkwHlfJK6aVyiGfuiYOxCEcR01EjBtIb+gMm9Z6sTNlJbCNJeEFbMANdtGj2b//BXpAb80GlIisZtire25rCcA/MkwSDkAxo2OpsumpTRwtmKFH6er5hnCk/DU4y7fGYz1/WpuMVb5vuTHAZ5JfDVIcEql1QI+OqoFfCQyUP7ycpwvl/w0NOXPkH+3h9SS0kXerc2vH/0EWPo9saXCL4+wRZ8Y554gMqPQfzDIlA5vd6ZwdO+q99U+8Ipv+okXkf+B0SnPVJTUwP5JCOcSjpArKgFyyUDhQf/gg=="/>
  <p:tag name="MEKKOXMLTAGS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r0lg9IPP9y8umrse/9AoLT5R0GKq+XM9pr/aTyOTf0wptcuHbHxeyqBm9svU01qeeEM1v0hpSHUgirOnAK/wujGqWYA6BjsAEOoBh/sxdjbjOIlqW00QkN1B+POn69dvO2kRCA0fuSBYFoyafyotITGnUIttRWRAKVVUostTOUW4G6tNk/dAa/f5doJqzRe/HmvbAcnAxdWmueMgyzxaX3h3SfB9eHN52y4NT7gk7QJhUqVDBLhrauqypOt1nxLoxoSFI5jPFrBRrZMPDKibYoCySjNoWEPvzPoeB3wepnQfLpSIIbji4P+Ocp5dXeiAZBGey6G4aqXrv9iw1xDEIYxKGYbGtSJ1xLLq7L//82aJrz9HGaeqrIESgDW6QI3mRKqo0Eyh78n86bHw22B/ix/FFPg0bowTFkD4vP4D+EhVADp2gqF2YNc0ux9sOawDMPzhUaCJyg4bS811x1WHEhgO7v9914Rjb4WCIRwclGP3cUMgt+Y5TfG7ozmQFlN6z/RFblSY5RpG1+VRU9rqAL4rncYFGpS7EShrTEg/2zGhuhc3rsdJ9N2z/W5nDNrx4Lvha+7zXJsQ1a0Vs+Y+SirOCG1hMW3TGYz9/QNyCdWJbqomtWcR/Y6loD/BIuhZL63AMeMQtDqucE4a4eWrWp8BpX8qJ0iIQ0LVMSekiF8MKb2rIyAsGDADRpfbx5OKHD7JJLy0n+Y+YOm+6B+jSSdFlCVPvDjOCMzYpk6oqyj9ijw/EDgPJbHk/fHGBoiS4gLobaFIM/4StQR+Uh1be0BapvN4V4JlaqFcem3dXcIfUvaDwFyeAJRsb2MIecmLnd9utGKCiPBHNlBv5yTxCX827O4XqH5E6zA163pOA8l1p87HoF443Q4R/3ImehWnAJ3udNnicYfnAcxSVbmpTYjZ9kyXlOYIOcgt/IPoGUn708ffqnjc05CteV/l/M4oS+opI6TyF/iCo4HwAok5MhiiqBwSvCwXJ4ZbNXFo8H4/yXK/Zvu7txElwPg0HnjeQpCZLglbNLiugahk1mvgCWMLAAfIBMFKTOXXAu/9LiBVGvxr9gWRm36iLoiwUVUOIQe/cVBGPKhCUtG9QoHywa44JYy/sAKgUnydr0y/agzb3qIfqPV8/Y0lObtTKNjut9/gbTWUqZ7O8teIuTUvb9Jh/MSXuEXocjRdmwdoU3VWguk1MJtAN2T9GebUuo1WJcmq6k71EWGpgfyQydYPn/ZUMnexxXRl4RxLgZjgHu7QXNE27YSI/MVCJWYI/gdJSPn0RQsLWh95Yfwm69xmGHDqurIuR2ungrO08CYq0peMjrKCiurWEuO0CWQJyqT6nqCiwSUQ01qsf38BCzQj8GnO2fH9a7N8UXiwkniW0sfKUdkp10D2XewlY2/8HHtX0cgqOdv8Ke0ALE/yFi4jmoprySzvowilypWFhmxYUGAhoLTYuwCWOwgDDH0a5Z0JPLEZGzyvWeH45kTlIfYdCB6t9kbpw550+Bxr6/tFYFk3xuHvfy4vjPrl1/jgTvdcNATY5T6l64zPt82q+gvsgso9/bJvtx2vdfvqRK3VTkFqF2CyTIecO4q7vH7hMuUNyKKKQ+9LlKCRdxQdkmqX9bt9gQW9xtTXW4MbF1gNUQR+cKfrweCxx4ImPe4BvDgLl087S6yqxrJFwp2jO0N0g4otShY4E1mK8CVllmIafQLfmbXlKPVpN0e58AIHAkuvCELakhFzHWpJWcW54OFifgo668GF1VUW/eSS8NINirp0pepUASS4C1yoJBCzgo+r9HTfsWWsk2qzGfi5bZlqGXoflDkUmemjmva9mSsakacJwdFVtV8wsAxq2HISddHZaDiqI+hW1gBJIP+Y5nrBA5wTNJ/Uvypej3QNDTTbADhQwSB/Z+wJSXx5VvGX06Ty/elnEfgYgnpkPBQB64bw9hPN8N3iKA5IwAYTlpAAtNw/IHaYjHvVWqe33I5NxKhYHOEb8EmtNN/gTwKMKElPPc+XI4nBKZDbEETkG9lsmkq/U88dkT2Wwq+nHDYatFzNuWBzZCya3+bfUY51rH63Qx0tch/LJUPzCQS+z6qcZD9yW3DInnplguLQoaguaUulAMLEwTVLfYY4gQH04k85bTw4Zbx5NuiSql6fD5Z1+G04SPs/Xfol1akt0DS1ZoGe0MiX4zXFXDgKwr50fJo11UZJxqRAr/Ml4FFPndhKSGjjuyqiioKZVGuC5C/ZAtDTMxNcooEjfxEh1E1X0whoh8Mj2d3EarUczgOwiIPCTKBPbzWFSHN1pdvXjpf79gDrkyz7RbeHAxnnBLhqii+kyyZpaTaaArsWsq2ZeX+UyRj+6DbrhhFLA96XxEvjYIJOsEKqpPOOB9GoPZOVMncZWzsjISBudldbKkuhhgK7UHqZddxpIZiq04uYOZW5151U20ZzJf0Nh/B9xXnx96oPaUaBILCs44Qeajd9OpZnNK0LDgukcOsEo+NGJssoI8BMNO3nQ1Qei//cCHKAM08a5aCwl4N5BX85U+gpj/zwHBnSjIJIbVcXqtv8go7eHIXQTGOlDby4dXXJeEdntR9E/ShIaEnnxvWTS89WpKF354xe28imXdWtaB4M0DeeLrzcYBIyTNS36VEO4AG0Wh7SZWkSURWyhl+cUtvogmHElktbC0GuBfnNgmLmKrqXwcKqDCEY6adgboAfoeBTOyPvwowy9iFtvgcg0lFwXsFL2gk+aoRNw+lghX8Hwuxv0SS7yjaa3R2A28djcGcYL65XqSkZXUIwuWGzN9mq5yvNhYmi4+Qyxiw01YVh9/rfjZF8Ju7gbCozZh7kEiF8UbORtAlJ+EsEfTocZzchi0efEOjAW9nXozKLjIm3dH9zQN9epwaWnTGXkzzxcOlSkpozy34WfngQnrCJ1s5As2kV7b+x8zltX3hNTzT+wUkENskLnqOWgYFZn7uK8CKNmIT4k9BpWL+hSz3BQ3DT1tJpSaDKZLuRLU9Wsf3sdfRMSozE9oHbbPlo1IOtAhZVU03NJ5kFw2Noixb5Z1AOrj917Sre4PoHF6ZmNItgN5kWL0gvMZ7+IxZqXgeuGJrQ+o+RqCWKnqtH+UX7qjZDy+h6n2IoZIhWD2jHyZ0xT5OVxunJk72EzcIaOO7P8rbV5OPCQ0yrO9z4u1XL9RlyFsLzv1MnWAB4QANTA8ns61SCqnyro3kmfxwl0vC3A4xsL6N+8zgKD8NI6A6QhSQppoK/ha1598rhpf43fHa4KavI5lEDcJX8Ck+y10kJzQXiJ2jF2DeaUFSwOBplh+5BwLkC2PEappOGYwAUEGnRf7asd9cHwXT6C8mPW9I5BnoSPSwN5jiWhRjNjO+vB/SPbTBoFDE5fM/EVPwgsqeIWBenXcExSy+Q7C0y1IOS04SFSYrPJwq5wv34YE5FL0X8HFTycHuCSAuHKtDKXUyTkQwfNBCgoO5X5jb4rZpL/sFq3pjoYon7x3goBK39RYoYoyjm0lP5+V5oXVYERo3CKPHMtGblsD+Gg33tQwN3LvLHNSXdPBb9ShbV9xEndKo71myQPDep7PPV4x5lv/pnJ9lnwnwe+h6POSuEJcduU2ajfTBZX1boHZ4hqN6MWJSbjTs2z/s1srLxn1qnZphtqXeXYhHRiDNcYZJEhZrpGJNM79rl7vyFRIG6lCljTQ1Aq8eaeTwFi/QxRXdlEsknOJVwRCqB71RavjkYcx85yaLmw6MUpORktGoN7I/Q3RK6RfMj9P2AXpaA76aI3oSLd7+Iqh61Y2Ah5r1kVGabr4hW+sYo6Ila9VCQ1mNV/59wN6X3IPLWmYmqYWAfAtsL0vxkxu8I3n5GDUD4Wq3N+rizOSe6iN9lsQtt0NEFtJ24P+VsbcThZCoHyv+Pjzi/psSgUzrG5K4ZTlbWsj0cjhltJ83RRwHMewJj1HWWnL2IVhD16AGAtVvpK25uYVX1NoRqAPGVXk3TM4noh9xFauzVK/9MRwfSgnH+7RlWZmSakqOdDlTtVNsYfP3FLX0Xjt2r3OmyGzZweMwOcXwjArY7l2i4RtcIaAuutBiYKh8FrR255xRtyXoZoLFyG89oK60IQ8p00xcAoVj7FUYnQSQnrhIz4mx5XUEGAzjg9HB2rwDptvgjUJ1qyEXG0plCcRzCxOaMpd4DM/bUa5mxkVes+CJXb0b4UNhrKLR+PvS2CguTjI+7oD/UFk1LclHtoODLYJvNhlgr0adLbC514a/Myy/8rncO7HI8aijClgkrK8160phcoBMfbMnFaSDHciZrPWeiMkcqMbUyMZiDrHEVNcO/Va5CkpT/WPYOA5EM9RSv/TTD091B9avV/q5JjRzQd2u93TPJ5iv91dclxB4UYsx3+2An3p67vpbRiB838Ni8XpG3Ktfi7tiz6rb+JDZ/8SdUgNdc0H+VdWd+V9oZKaRYxYUv3//dubR9T857Hi15f3MKYirPqbt684j/DZ0JsHJJoeXl0ujF09UlzydLy5cV6WwYqFrycNrbiVlxaOMn6E7rkyZze8NhtsgiHymmhdUDPGZm4EgAsYF9PrgeBD+4DON8C0QS5Ppx3xPO0aaNs7tlXWHYg/idCi17y1IDJ82ECTTa8nMHagHyu4bFR/b+bMbvUHh2IC3ZWH3xc9zekRLtyF4agTkmHMrrPh6tYS2U3cLQg0PKV9cDyYlnoSp6RjhVIkO0w9iyC8ClWRsuu2XpOzvJ4Jm2ZzrFAOKtVwgITensyFHUowYl8mFc/vflsw8ae1uidHWnL+1CRaqxWRrf6Ea4mh/zevnslUQwcQbR0SSh+fi92EujtF+dMb9vek2oIjF2kD+TxsZkkAy9nzz/od6yOt+Aiz+vd/O8Bc4F5zJLrM9OjKZsvqIdWDSJUWWJIhm3ZRzZ9aTKYmpYLh7HrA3KxVQV6w8htIg4BKNAbC2FI3Eri46L4AJO4JLPG8Vi07uKTRsgwMF7HELpLd6WUsTT7c4YWCGyvrDL3Yd8z3Nuc4/PS69Gp3DV582atu5MTcpcMmnHwYIgzzIFfzX6B83z85P/h4qIw4rezaXFIBJ2OWXmq1A4ByoSHpUffPonAEqNdRjDGL4yhtLctfrC5v2hcZ5AJVhLnH3mThqfFKpt9eNVxBz7/JNjJWl/CNDyP1lEgbKUKBuZN8LVIfHfZfLi2WpSRRpY7XWLA7GROrdB6Av93YYIesCZma+bXKnvW1oq4uBpf0Q9nYRLWeZe7xX2fFAPfTaQAaolrEthojEgkBoTDGSc+5CNWo00bJSinUP293WbWV1Pbm5niQi3hWpkHvjgougFKfUZkdtG9UOY8KYm5VHzH/iTG8vKjRL1johuXdQV0uVuYTG3s5a9uJmwZ2saBZF2i0qsnItJ1uKnX/eOE8ZDab2RgZuBHPRJ388LIh7kQnvkkVyVVi8IGa2lw8BuggbO7kUgo1kjlyo0aaOO05KK/Lia0D30OLqjWgx7+YGD10HKoGgfD3v11Y6Q7uCd1PLmBM6Fnp+md+gyw9bHtkO4YvcJbpDeu3YTe+PToH71wlPKaqsOc8zTUF29j/Jw+9vHRDzcHE1P8bzOYrrJ+JTLqZ1UTon7y4ecRf50mm62+p+UV9p5QZN0QSOeYJGTrFOUMBv0SMpS5q/g26zJUwtypgU35zmH0hUc5RFtCGCkJY2saof8T4UNqpjGZ1Mx/5H25FWWZOYERLsyzy9fTeMaqWOq3S8ctYJaKvope0zr9J+NhlfflkuZKd5XmcsxKSNDfEaW+CiUkTveMCpAZ6zabCTiCt25KRJ08TDOwOgzkbPM+w8kpP8i5NvLcaekqHigqopXDjXiN6IzoLkTLoHdEZfJOuR959pia1YQ8w44Oh99eoUy/GIRWLjZEQFKkNu3zCWwQkZDzV5jgeuBZFTkOvUM5EYPiBeWekqYNjw44AzIhijQQ182s+RVKHS2RslXict24mlPY2TOpOnWIN4bRBzcBY8cH1bQwjwFWtc7coN9eUEaPOATI5LF3s6xnI2S0JbzGdrHnexcErfxxTOKpoyX5xu6q7hdIu5RM1ChHlFp3E8CJRGLAZKwP9oRMZ6p65QAQw4q856Rlgmwjxpyp2tIbElbptb9zUZUCGo/T3U9YhCTZehUrSR81KfPyFscbrLRJPSBQaiduatc9ugoIeewrcaT0zoL9ooix3jsRRRQPQO84jw4BDt30xZaQnlCdz0QkQvzVahIwWIi3EfI/hHWMp/GMzM8SOG3hW2MaFJhzoUjmBlLnukfKyELmnbpnu+OWxHFSzQcnQh9l+3RjrwZCJx+BYE3DEE88Q8yPnA+al8cAEEnMj4x7eYNefgToYJMwtDxLiscjKSUzMIr4HYKxL6pnKV+mpI+Q1PZpiUh7gFj6m4E+RVXsM7dspBwBCw337QUN/2FYJdocXUid1PcSsMPUaAWfjBoFOlBgYDT3OihY11K8l99nClT5jRyneXeOWXLLen8SHzDbNTjf+YyIGI1ec1SHtrscm+6M5BQf82Yt/AungcnDSNSDeqvI4s/uJKuRqQSTDbIQCo6DLDBEm+XcrejS3qAeHUMB+74CeVn3XiZMDeTlT/+rVbzEGfYE0Ih9JTLhI0z2Iyz8xtZ8hnEm1dan79atGe07yaW/B/mgYgxgeUhKvEQOGfSjWEXEatPVev2jXG4ZYyEYTIj1HzgXZdR+cj1cMuJ6OuD8Q9PSCwxke6WhV3bKbCQ95OlPMyMja0W9yVnXV6Ne8sdV3kDMbtMPbG31uE7VDsqB0Cpl1eaqQ6lI3XGn1OA06Nrq3HSXC60EXpM3PNxs1Ur4yRV8WYKUCrqnLmWyqLxIUAElgz44XLII43FVo96rm67DGWt9KvsenxsC4JKICL/aEihnvWcnVCuhj2s/Z89wduT36OJLH8400unBvdHioyuSf8qAwn9ZJxVks/6DknztZxmJHzTTpZnXaBFCWFdJeCgf6wrklZNbjQkqkujylEIm2RFd5XCN+R7h9ysL8Gua+uEJqu3xLHErdRbxfg+FPnw5o8kMiZrE0wIk+jshUQPsDLTfcqksV4O5wPJasnsGXKolQsucDvi5cQ3gayMoH4L1ugPyVlxmRqAuG/gII8bKkhvXYWcuZ/OT+qmkYVVpvQ77T741GgTBF8cIZ6p9a87nXX9azqeDqFFiCOjFtsV5zomTh7i5G17ZP65Lg/lVC7aDXPm9QBb8rWhIstL4KE+njeN/mw77JdOUl3zf+QUNcXpY1Xje/huzLAtQ4vygobR4ll95YRLJIC0zOg9LmVTlD/+d/adC6N90OwdBmjMtlILXMxIi9mklnHdnTM/48utMjAXe5/Mjj99Nxwg9eSGkLpm3dgd/OW5nUse0gDWLw8DQ5hH6fRXhzJmJ91eY7gMtNFCikf1xtv8jMb6ZQoV1UUxaSgAUlX+hUrTaKVwn9dT6a5b3m2rVheDBuW0K3Euv2hbmhrZIj00+uCyKIO2O7AydSXebYrfncyU2buwYJu1f3KGSj9ylQE3o3rh0t00ho+lHA2TA6XjWYRUb6Sdv32LnddGfiqsEtJ2pU4yKpTuuEF9hld7r83FhbfCwWnSXrY1SbjdOj551UtvnqPyjb+Rm3329IE9tHJHODGtwFHQc4M5dC4WRvx11GGk5bqXGNfvO4MOyHtY2lbQl5sFrTtqWu6kPr3822sGptHjf0zUZRmiyxLh5J7+eo1jo8P4mGuoWAjy+yQ6Azzk+X2Yp9WWchow+a6IdUoEwRFYeLlrzamRsXEI+rg7lj0g9ZC+UlmdGbPRDdkY1adcTPj9YYmoEfsGDiHiQPKLhO8e8C+6+fytcavjv3Hw6rsVxbPqYyo1J9eg9vdhL4c28PahFrMm52RG5QJjI3QJGhHosLQjut6OX4RT9lpJSCXsfNAVbrU7tS2mFnLJhi0EVuraVvDKmrWMhe43YiW6X1P3lSjff8vOlDLfkyav/qrUkjBfC5+f6MyB3W//Ei55UTW5FdyQkgOejT06L5sQerl7iDT121Jx5pqziGmkGalPAAZeKKPcEt57ta2C9cwkTUeFsDBi+5hcUb4K2R7IGR/SaD10GZotBiqLDmPV4eEUuezBEFOjk4t8S6r0RVcdHglTmeXdVn0+jRHNBOAsD0ORqAYrnBjgBzdIB7CfFI3dn3qsVX88hRe5A99EtwdRoIaduk2rU7eEes+Ny0wI1qIuz4pRr8lODwroeJSVN+TJMenmSHAjTTzsu7j85+CXuCrmiAfgw8U+7QAtZzCRRL4KrsKo2kOcNXKCXKFp72GulL0y5of8vAX3g5VOKc//V94Oh03AXKtUrhm0fugHnYv2lVylUctFPKy9uuF9wc+jNdYG/UUuFTEWSv98llkcosnQd0JG1r0YEuNOHs87PFjNX/E3/eJ0iMuSE9boXc59NmrV23t7YCEFSxYDmcR1DGVMqxsjWIqsL/57QAkv6jFqcwrf0c6iXFZC/nEK6z4YY9yZd4tRnyyzjd2QzfjDUjayltbiy6OsHvyyRi3bE8seM76TLBy6iUF9E3IoiTSMpSqTy35r8DsqGdl8kGuIahRDr2XJljYSHYCQqlyddpYfRDmtTwuXFx1hTtY2SYmK8R3Q2uXu1F4/q8hQJTLzmLhrw3YuzzfMCn3DcpMPhP0msD8x5yOw27qK2eJ/ipBJJNuwkhmtWuUnwWVtcrej6nXVaIOMqakVKlO4WmP0uluh7WZTN0ACFrf/DLvdMzxC7ZfbggFfdDvoz676jQs62blGKGxeJtW8RxwtHz7PgoADKLFEQBe1QVZnn/VeRz4sIKLPGyEVd9Cm3fPozlUS5Fgz6TpBJ3GufbNrJBW9abM8ErZ73AQAM9Htoi3R8SE3d567LTEuaq8TwK2e6yCso7BCACym2pmvFAX8dtBD5wqiWnaXXPee9dUZpR8I8L5iet8VpVgkaTNI4oKwmf9SchU6s60LTZW2ywcDXgu/H6bd4YqE6X/GTdSLEm5tmWMwYNZHDaVXMGAWucMBp06lBDQfgdywVCsOOkCmn/Q6QKHkAvrGyLXzbrjC8M18xFbvk93mXXU7PLQxxyhwkVa6w/1e308cbSjvwl7kxDuAlhVHJC7xpPz4DzIXT0khifW+krHvwZsY2NVQZwm+BHWgU7fDs00PsOCelOm/858P/aa1fuXzc0EYCAln2fIVl5BZttlNuyW7F7O75UYLV51ninuZyOkLQnPkuA7bBY+zGj9a5ECubQv6UzXU3tK7XD9RFNYNL4qRiRALtf6ExlloaWNML3fI/uE1zmKbzWtXS5LYFaGRVJx8SN+gNpi5ZJ8+6ib3y73cAMzr9a3/p373+x0LV5TNhkcbBbDfPNtywaWWIkcPElHUN8tmITKIc4bQMZS8YIYXsUUJL8IXnhxw9cI/GgGst5cF2l32WQVMUPfwXQVjFQKz3Be/dEvZmpt5fXHoof8jwoezWb7WkFncrP2HkEDhkFyn5ayeJImVaeF57E2XowC5uWLKbO1LN4/dKqQRqDG9aUW3jEolszmJ6AVsKNTk6dj12+wJkcs2t1CVlJmce4ainlDOuvohgR0s9kZ2c6yaFhcwQOp3h+AvhZk8VOMCPq0zvW760l/aZBMHn7S/6Ox1l+tqz/gOYaSr7lFYTuITpYm/XlXIVglvethW+dMOpz4QchZe3hx9I4Qko+M0Xrh1SOTIriVMXOKIkuEFZlb96+gsG7bdJf4roXgzr6SxTiJu7h6q2Z2iJycRru+7G+kv915I7A/gfZZu/e/RMPGGZAutLmXVaPin/7NobNTVEo3M/MJDZBMoxjdnS4D6XYZYPy4TlM0a13Dxzyu41nLX6HmDCqoDdfE0fFf31m9jyjstf97w/zjRdObI8RaltnIH7vtiMhr/ve5GH8YY+2rlY/Q9WNc9+I+FfbumEdip9C+MICC1JHCdxLoLMG8T/pqQqhZVklS4GvnVhI5nw5c3XgKE3rAIbYxkPGx1ip9vxnbVFv1ETy/NrWB2+8SMTC8xJb5iZhwHcvixzCJ9UhHp1tToe4SGyw3/sjO9NZQp0MVSYLiNMeE0m42tLytchMRvgmNtwLQgBjwG8eKkw8rwoGdXGJNqkyFQqnEYFxYLQk1bw5uOzq8JPbmtsrpseZXWOQh07ZyfbsW4TWQjr2jzcJzNyFd+It+RzQeXY2lhro2qoOGe5YPuu3S6Klle3rCqcdjkInXRv4IjQ6MiUT82FNlNvMMT4JKtHAD4lVSzooYElF9WpSqy5wWqF4ZLVFi3x8dCy/pIVOxRcl7MB7RfBaupS8qIYwYX1JGYtpfsefR3LY8DjVStlmI2O90KTdou52PsbjbKh/X8VoKuYa3zHdffHabUcTAUuuaayTrTNZxzhUJs0GHOvjbyojw6YBZI9qmMep0oGrSAWnNaBzaiqTFbJyGLOo040NEHQxnr5tQ8CGw/M9XwyZ4M8bXaxqRDpjH1IQThTbfvYDxZxClP39jN7Qp0goF+UmJUru3T6njrGy4DbWwrMDO3EpwNLDJv4fi7LxO5fOq9Bj40pELI4gtf2jzAk2ayfiuXFXNtI17xDetooHFIri+yHokB0nlgsfx7QvGWq21MPjcsIJkctR7s0mQDDtjrgNuia+tOplLavYYHB/R+LD1quoLrR6EF/bBKcKM+hww9Tylv8xQ6ZtNScyM0orlwV8Jm+BoBdJdobyNtZE/l4tmcrk/18siACj+2uUAL7WjPWV8GurPoSWw6ZREJUGY/hCbWMCrEG2brK3GGyQLbn/M+LXkG4sYEnuvalskLfJCI5jwZuw9hNqjW04SVDbJB4yEiphrGH+PG+Vk2PUGBoPjtN76KWiAh+ldKUqUV6WnQuGyTMf9vHZNnVk6aDXt9W0LPd57DSxjoPfNPJjhQGPWD16OAzf+g5k3ip4eMeRAXJk4T+J4kA0Sr+BuLQ9BqqX7aD38J5PT2GgmPTtxS6BxnRIdkZaxbwPanCdTODVOxoRnezm9dORvLJMemL2rzudlg+Z45rxaAxPHxA2QuneTmjeHmlJQnIr6Xy8r+WC8n01PQi0Li9pweP+uBeDHCQDBbvIVpr1MqzfVFKQH4LL/URZiSnhy2A5/kZmNKQ1cLxbcO1NoYPeFgxCLCPFGrdYpULZTYBSUtMhWgZH8fr5/aKN3xv40+ppmTBXBwdYXT5MoYWb1ghsnZDVECLI3BLprqj0CkA12hdOGH4PZAjmZz7FEnwjdgjQkJu/4W2BDAUK0GRUYaLRmfuF0Y4LNGZIHKat6E42d9kIemhsOOE+8GU1a0zWYf3NbK0P+oeAh3/a4TXSIRfxd3Et57cNyb9ep51NcEOkNbQRVg+ho7nz7R8JxPVyiSkQ8vQHpRA5aolt2Q/JV+3qQbLng6qcbiQkYU/sOw8Ard4EIpf00HOMrhfoAhnES/PJrswOoMOEh3P9ShRb88mDCmiXAoc/mOEruI+kT/EiM1K87FPrXGySGxq9ATTVsDBm/k6HyMr8ONt2L177ZPunJByOaROYwvWsDp2dmqhvxY0QMgx46NzDOjOOGNTm+CWbjGgM2swhUbedi+teT9rVf6vAhGi8NU7pk6wcwNv31/9g6IjqtDq+LwZ9wdwvL8qoYAJ+m5y8+tiUEbpIzSnCIf5cSJ1KyEpkp0V+12xKD/a0DK9UNJAe7JpVqpc1DZo2cIJ0ANcs0FHChG+n9xJWmXDfWwyXWfXiiOafsjT72aDe9bCrN71GeBf1Z4Re8QNG2bqzsKYRLI4MIl8OpEYtsTt5AnvVrToRGHkbSDG0qFCULbp/OgzXEXdbrfvq8fRjpJmmRHBBGOiLQXi7L0Sz7IQGZ3vsTGDU5L3RcpmtnZ4Fe7uvaTK38tB2SRvJv1sV9MsrkW0YqKiMHuk6rkVA6S6Dd6LT2q1VRN8gXEBoNCmR1phveqhnnCDCMOSeYczrvzG66uIZb84Raqt8lqNZCYSkePj2hBj45ka0ifLZ5LSbQ3/iUvme8iGvGBpxyjmbgQJlCXZfG1JBKXou2mTNgrheWOjtL9HbA5wSPs9AuOJWvdKXGLJ8ode9MAGW0Fi+0EOuEsEWFTXE7whTNR/2+PrEZ0CUV+eUB/+OiOmGy8CeCbaE6nWt0f09b0jMCTxr/CyqIQz1G8u4JcS/iQ/ptkHEjPIC0gk6Q+pG38Vs5XmsbHxBAm3llOWd7aQ8VkxF4fHSlP5+8qs3nxw+RrAk3tfrZtkQkVG0PA/YPnHv6DDG8ufR3jR6/v5foNAyveTWDQJIxFx9RwfjdbGeLThbHLAWQyqOTzUnSTFRz3sL0V71fcuFeI4vZ293toUlJS1xCMKaPHDU26LRd7czk1q/ZCbm78CmqHM0A6NjRz0mYm/gOzNp0WbIxBFvbyM9sPIWrvkdSjHbxrlPe7dyIOGKFrNsfv1eACdGJI3qfQHLC3KP7nuu2FsLM/7k0II3wpHekCoJQRHqhRzZZ2mp5dF/XUk1tQ9SYwGMavHwFbnYAQOpzr03Bp9Cqy3jL5UoNoTQ8cSppfQPS/FzynOpEA49A0vCQDmSOX1RUKlcx5C75/v8I5w4jyRg7TfsxzoUHplhJyVKCR3u8JMd5yHmcJg465bwaEvZ5VO5bA/BVFrJKJigRgnll9AJkHo/vMepyJamkxAp4V8bOIt3ryQLgDPZXoDovsqBw2woBYQyJg08QHZFJnCF/8tWAHt9QDzSdF9Bg6cD3VVnRf7Afrfh9y/tJmigjvGycQsvNcyNBLUX/CgqhB8T8ofiMf9dgBaeAAi941QlAA32ksJMxilBWXNODlkpdnO4lsBkpM0njfP14L25S+d4tsVBQLX2fertCU/9g7cP7Ut7WxNvvY/r7cZfW+mibyFHvTRUui9t5dsBTj8ZvlXsrynh8MpmMhE+yD2g06QCAMwBfF4m98axDT/PdeiOt0p7eGVbwRqQwV7ceOhBMbK8EMGVM/2fzry9irUwpl1N9D9TiJnOBMz9FIqJcMyqtRHkjaqVcQ8rSZaRb9bCf3j39nLOQyuLI+f6S9K0WuLtxeLDusI3NMmIZfif795auywBos2hzAImWgaej5cgfRUgSBD147I72cUprgc45/I/4J9HUBE7t9zMK+3vuwbZxq2KqRCpyS4lMGElb4pYpVVHy5iwEEt7RPvXEFTC/RW2MURGLYFP74JTKd+RDBh/gngYsdq0rsq5lqrXrFGTGaXmaDgA5cpWt6L4eiD4QFP2vAu+Q2VT8TJ7OHkssrB+gVvxwApWjUIy0Rnt3OkhXcV4fL/u5JdsZaC64JDmNeeuczCLWA7qfAzaHtEDUT6AFf8Ip/eao0LtqIzXwCbzvt+R3JwvegHkgGA7ZaMGTKVzF8HPJ0WDdVDOhghcnhd+YzK+S9byocVWuBws4Ep5MqXdMxhVzp07KMbF+KvM4BvVH0F1H0Mw2KrDn3+aoixG5YXXKZwn9lQBtY/w5HZOUiBxwzD2JQ/QbW2DijfKZvmMSep2tpubEYayxHPjbxXQy5ovlaQW3JFT+0RkRc8mfH+/99amAyKtA6jFzpe532mtIVCrmLZ7nsk3mvdVUOtO3AFLmg3k5ymTtskECUqNcSVyLSGUQKQDdFfiWrvt89INBJ5vN5ECuutAbAceaYqD7x95RSDjwgf93Il4Z2CQCZvNVfRiCwPEMvh2JuJuHv20cz+JMTNGvlRiTrQUqA9spBhWjvAlWROLR7b53DDGj8gJMaBupXVuY0yN+WNmuKKRjFZJF8T8oWKvMr5zu6jMla6fZZGXfBcZvUcK+PfKBG0DBQyf8Gt66gBcPeOM1D6jm7PjoMAj3+guPIhwKVq1AP8amPEiCmhsBQOfYlc3z1rGBuCeHGR9zOGD+aeKoyqlcDq0xjf9yY+6TfXqd2auicsIZ7+tegcoCP4ucSxlovhaPSDKrm9eQMHkWZl9+8tG55sJ5+7SX8jeiSJOuiKDe3OMrNwpWnpB4xnQti6Ozm24KwDhv3M6Nho9AH25eeps9+UJ+YtqSo2Wa5VMATfHe16oPnKzN85xetXVJpqYal45F6D4V8Ie+W4d1ggK47HMMzCE8IQTK/GeyzBGc2wOFyBxY8RBGl9mLBaifiBeZJeuOvnTRf7rZsGqvanHlUskJ7UlyP4QaqiJr+ygBumUGX2BmAJCbCqZdTwVbMEOfJO/eInG+b+jHkVavje7KBx/uImXmSbQ5N9eiUMadKlQcC/CI54umOiQllET5ihv9riE4H9KD2QX+wYtuj1fy4/B90RHKE+qW7qTcHUI1nrbpEfR4FfVcRDDbiOxydIJWjKou/uSS0OkPlDsN8jJFr5SpMK5mdgaUncfHDzcnrM1iUcx4u/cmndsyqkjQ6+OpbcoM2OS/DOONA99WEmDOBdEYv8GlOHUzCLlx3885RTrq21caM8dHH0eU1dFvPJK0LtKPxFY4/42oRtyW4WgMuPgHH3GpWvUbw9MGQbStm6VjIjxH5y7AeisT8O7d8oKYOUMNH5SvQE1GbJEJqZt80qSVLVlSEC7bd+VMdUF/gWluZRfMWAv6UzatBc1e53D4JuNttZq+CZztg8dXHj6t3fBagLHjrjKeplXYewP2s5rZhi5KTZnsET3K5cYA91mhyZyUe1yhYqjY/7xisvup4FyDa554WfDhJbgcCTTmtDPZxT6zhCQlkmn9IqfcEYTfiF5Xpk4SLYQYYiZwypD1KGguQf1/9i0XjaE8J56hXKMzAos6WBDkYHJnfZsPc6XLXaiGiVPmT6g+E+kSkVSmlDccPvlpaPugKCsE+k37oA5q0WLtPX7QIXhzvzl1HmUxy3TmlQ1fuOR7DksUxL3gO5tci58kMqHMZ020/t3jZBC5qOwz4znJGgWwy3/ZaJardoVmPH1Afl3FKJO6RKrDhl6xDuavxYyqGGkYztndLhA8+dIP4L3+wV4UbG1ciIbYq3xUxo3i73ZL1HqvZAdznBBVXaLtTQ9kyouaGoS/KWNATAAEExzeR+MyVOr5xhbCY1rPuT2bgjH2sT3X0FzoY7BZikcVQhS9aeWgdfqWBC2lnqjhMygu2qWcYxZ8ZGPoAORvH8MKIRfie0UZNO0HLbv110fMGihIxq74kt5fOylIARaz1J1QHNOfrUeH4ipD/NJFAauwrXYMGYPbfzKqwYVB2P9J+ljtnoJFRRgCQ58RLZEAov9DJye1EQK77mlX7deIt9eRgcoYgHHEz0TdxdOxCC/pKxRggBASZcZlWRI5K0oImC8BDHnz99ty7TFv72eE02TwUETgxYOlMKwAvAv05PsC2clG34ojNGuq8DtNI5XGqS6Mok3NTJFe+Nboo59RSL6novR2O04VCu8SQSXdHl6iiIEtXam1YT0Cd/T6viVuDuLSmg77SuIVEKJEc6JNzsn+at2QtfrLZZwqw8zPzsosfE6c0MSm7Pe0CjAveL9rKtZsNSl7NDgUEbtfcDbM66fFXRnS8+fkpB6B1VTQyhzu8v96189SVYA9OAXH8CKnrannUG0oMiSVdoxBXSc0pH9ls+W2N4IINoEXtnkHvaS9nLYf66KCX1wFFgXqIujvTQVrxdctxvdhSV2XnVevnrLPVa4uotgFRnynz/B5ddRe+nld0S16tUq9EOgsRAtiryautpVznuXkQfSPkGbCJH3tCbQW5ndXzYc37fUXMxABHGfRu7lt+75Tlt9ZlELdbKzPFnAVEyzxTqfP+oTJDKJVg4U4TItZi9QgD4jOgun0dlkSMefq40EsPigOPsrg6Vnu1+eDgOyTmr6CgmFeJ+k1F7TLrvGDf1QJs4YHSbJVu0sxWyL+IDdqRJ0vXOu//Fw+7Rs9qVolPJUqysSkYcnGfyqojVP9eAQ/xHkZUVY/9FQdEl+uMqjKkjVwbxOnr/+7O1Z29QCZimxnIdoWTtLJ467JRbi2SoM2LTrBU1Xv98UuZ7+WLVr9o4XDmu1XHtGF6X0sx8cpbiJTVP3cagi62eEDTPSXOkB6eNyvOVkcV3mR6eFOXHyps7w0LHpD6X0HdekUkm4xYCw7cp25GnX4BLPZzrtzrE4m8cRnrLJGX23qhxDkYtxIRDHFm/Wz4aCgIpmmwJ/7P6ge+eDO3o8jpHcfnXlvrUpXKfpSRyS7tNjDYS9OS1pjkOigtdGcbo8vP8zuqBDFdYL5ku8UFFgnhKCiWzK/ecPxCE+XomyPxlo/UVkqDXRUa74ANOr3HaCTc5CaWPrG1RV3+p5CuejSX5LFSWFkOu0JcAkS2kc3rmZjIhMgPf7m5JdyI1ZN2IfLAdRRfv7Xzn9fY78vRNpWJJb6sQy0NgtLAxn/lH8qWSV+YICliRJW5y+PJthcJBZBk+9JgvqEFMu2RokzE92owRbxcDUickEHRbS6JUylhdnbLBdtzWDun0LfWzW8sF5gccwiZ5xq1xHo21zlqmechUgnBUR9EG8NFzb2xBt/B3VAVjTydDzsfg7Cb7lR01Tida0/BkndPFPRUt/Cuxt2Czc8ZmfuqacHsJF88uXapcB16DeawwlLOXImsHCR/rVvFuA55XU0e+apPadeZk1zNoP73SXpxIdJEi2OCHPue4IVjTgjMGfobk2Zo0dXaKYEFf1A4BgUDyK50c4dh1jJySPCYphhSnQ/UR0spnB8+Bn6x4sr4h65T5El+rtnjbx9IuZut92wyIYu7T096qRHVx4Raidj1AXBo/TABevlxl7U5FiHg0xDGBgKpb85amU8C3BduUKbJ3SmE1O++CO0oLz14hl8s6Oq2emhWCJN5PuE3KnESNwile+n615UGhvQvY38CLCe+HyntL/uKZcSvGs6mZCNmwrbq6PUSJquMICigASNz+ft7vT9LDi0q/2uufFeimvoxZ0yY8n9ao6xITD4i4c1zOGDClFX+lUIsKT7TvswgDgNjGSjrUC+5CWLuTDaEaZZRKACZMqCaZIxCAUN7tUfcI+VzT2FVbC2PnyXCHcEc1PBEkEnjV43WjO+6c6Ksjh+wuTVmzwofiKRdaZPh0km94QbQ/TplsxXxr0yKgv4RDIVMj7a72z6gnX6hHJsVNoJy7W651BlbwNRpMgpI3E5+KAYAPgQKmHb/cgbBJRzPuQVDAtrGnC29EVj1pGvJuvv9cjO2Rh1pio02tD9z5zQJDTGJa/bzoIGPiZuHwCRO16dA3SQOs3Y05DeJIL6rZNiNNoHHTTDiNO1um4SEZtImey8FqlbtDGncIP4gpkoIw1k6efkUYIIVUbNTy2IUnlN8NnisCgW3DGAAXI5pc8n5NgbMY3i8cr3dxmVIoKX3jcyIHgb8aW/2uj0hjqn5TB++jK+EVXPqbTHeRfZs10vWiY5WVNEjw/E9QER3LIV50c1SKZp+nBUgt/OzWmOB2PMqNwFyBj84R99xqdWP71jKby8eQvjfCIzKjUiE0HyWSujo12zynsB6sUxn2eumLaAzW6YRU/tFIKyHTIPX+SDMsheesdeo8zCtF0Pp2+Bwi7/L+JwU8i9lDtoR5Kh99uJkvoYz8NBXJFDN42i+vvIppa6wD0h3pA49sVa+sHhjT6mVk2eFSggpzLptURU1xmDBFy0vJ4TnccMJdvptuNcqMKDLKBoHcjh7jMOUnoYbSdvUA8wUBvKB9xwOMujhzUljGxnG6PZJVAlJg5wucoxdre2YmXLIaCx6q9lh/91cFFrN8nU4yJ5hav3mZsqrkkbpuOS+6PnlsR3lLFB2YY8sqSxPS9F4f14C1DM0XPqBV8uvmLj6FQLQyVWwI3kKtIr/YSbfWyOMY4Z0QGxk4lZoiijajB6vDuqj5uwnO1oIsl4dQIIu8bGSxRqZLrI+We7fc7nDIpOajUGUlEQ8YTHPrG27q2zAU8vgPV+sNH21GyMXLXMoa0jccg51ijBIdGfFRqx51jiuKHN3ezkKgmy7ySF8H8Wv1NdYker4Mfm6DHsyQC+2jawGOG0OA4EAU1sLT1tYVYQXhh5JDIJZKTG+xj85qK5LMqSAdhuD3hVhvYrulVa9HaF0oOJAgBvHmVH5TbH0Q7ygS1RQjyZLN3TNvZUWcdHvT/RiaNlM9azRpqnb0mab6/mqLmmMZgg7Id0fHVNSGTHtoIpuROygC/r5diq59ZPd6/u6Yrvk+E5+XdNnNRxdupMtD7SA0ZofDsK2D3yI4vWM7RFt3GyzT24JmbZW4Dx8WPF1pEtISVFVVjoEX0LDiI7ZORRKKsaCMoZvbYmTLTCIMtnIYLsn+aoq8Zxgg2ExADaalCKxI/7dqNgMscUg5eu0lNoLmZEiCet7aWmzgkNfgg4YLOaVoVEuHAenG1/3Unt09Yw/BoN9Jwn0iKom1SpzBLBDWUbNG20vkvKifAHVEN7j3yqPmTYtuVXNxTgvsU+rRLW4DPAwZjIEmnVrlDfyiHXLAn/Hit6iMO3r6KIrpyIxCHyyiFceAZQ4wb31aTen2F0qj5szHCSdMlEoZpLEm0dP0VMrXgHAHdX7GzwAnTq6qd7xzG4kM0x+yE6ywXBI8GY9qPHoDTne22tY990r3WHAqiRPxw9+oEcXDurMVM0Nucbf5iLeHqTXQQwjY/fE301MayxdueB6YQmwHIE+NhcJJ8+/jrWH6K9+8quXkX80dQZ3Icq8cuSyMYnfdlhnvySexmSxdCSuTNP+OfOXYK6rvI00svl8PC1RCj4bL5NHDDZZUU78+kykXpvn9b93/CgF5GyN5tUs0TP9a5gOUGPnGU22HvAmIOi157nprYbTcyOk1jD+zpCVa4ACam6WlOwHNAVskmYbLPs039tLGGxRnlMm5PeT30LK4y+ar912E4W73BxC35Y+zUa6qMlrgkFiPxdzthw8x7Z+EwDx7rqhhoDsAo2AARJy+T/rnZIvNV4bU4eB243EM44nFiriKNLpS+pbFmQq+Lsu+EGwXq+Cq9jgfHAJ8m8i1Uk+MxC51Pr103GLwpoX5+lLEmjZxZjpHnYORCZZJLQMxeNDm/fifDUmLB/HqKgiLe2JTTOJDNRlKE5NMW+tN4XCAHXQs1YYPnSIRlZUXkX7lKn9HVubs3hrZztGYbYpqy4rCatHYRf2pf4DObQo7gLM45tWH3a/nVMekgzKOfwzPBah9dmQnPiUZghgwqXMG11omxX+Tmw9inNv1MzrinYdo6Jf/4mM2sQAiuUWzGGUaCGvjl/dSmnOIGuM2znfi7lv4dkM6+dbNpQABaCaNAAMRXjRDXalGiJ1l/f5m26J5jNac6GL8lqefksFx0NZxsMO8AH8rvTcvpbtn+6+5VdUU5KNHqY17hm9jBLJKzrerCH4LEHgD0LubUfTFjA9n5wVppB2R2nij9eTU4+3j402VRVGqwTRMDXyndttTx2s2pUxPZJ4bJOG1r5Y8n/pURB0pPLZErMgnVGMtMTYN0MWM8L1AxRS1KDD2Do5hPsKdcQxfzieCR6lwy7c+jIB0dSCzZxkNQWeqVkkpTO6L0Zp1mcuow1VlqY8nAsfzgFAX/U4htoFFUaZXUMCEcmn3s/Hp3Upm5L5E74ZKoFqM8faoAHADInDaB0LBQHDcd9Syh8Gh7c+A3OygI0D/SyAlONlDQlKcEFascxkYEaq7px8kKGmc9LVqeNGL9Kqu7gpk5Yc3/5sfjw0//4IiDKkNI5JBEwMMvamYJMtk6azaKux2i6OL5fqMeyWZuCtw8JpSwBBn2zOK2aO/SnB1l1guhW1MHX/106pPQCIn7QgEAUPuUGbtz4LrvQteUxajqVA7R2MN8T2/bey1uno+sutCOiKi9MyRLTRrgPbiWnC+nhlLcAqjLxEnUEG5lGNHHQuGla0ueOjjixBOU2lTPcUfflXUUM/ZeTdh65baZYdJ40LHfBXX5HJEypQ8P6U/PB0nlzCDK8ZUHLNIoGEmEVGJVYXlVW3vd3eR9X8fSfyixGIqNZUi5+5nI7jtHs2sLA8iIFaARvs5iIEaQmGf7Y8m1+zUuDsT4egnygJWy5Ec5Ur63d+fO06XQd0nQc/0p5ujZGQdVVxCv2Nk1N8aUekASomdpCRU1fSZ9QqwEpbEt0Sky0YkyPRrB2UT0vFFsmhMRq0oIPBLuM2rgiicUqdtWBv/iAK7ncyH+lRclB8LgynZXpfmKesyVb7JllAVmmSZao4LYb6F0Cfvd/JinqFb32tCEJQXqAKjgdX+tFsrUbQlvT8D1sOlJYdzQQn6S8VTJgGaxG7nUAsMNDhtvx9YAIK8vPQirujsK7uCSWUL5RRfQ49+vvRSUx3bcYgJ9M8Q4CszqDif9covLXG48aS7IIaJQBf1fuhOFJZZxULdp7bBqf7aVYQIV2GOc/W+T1TjHV/xFekapCcF1HqvkFz7KDykgCb1Dftt3LLsM8Z8cDUZv7/jXL2b884DFL4tCdzu23p+GBUoHoeN48Em1e7gmTNgWqgjWThVbGGZp8NKvvQXIH45xtE+CC3Xsm0oOvwb+oTCVbNr5Ja6Z1sbMHaebhT/EXWfQ7PXi1F0u8+tVW17tOe1rD6zjlYOAjxbYJOQcDneS/zGgMhppJ9w2d2nBvzHn2hM77FZktIfScaZns0rjU7lQqc1oef4oovoRUK+Aene/e/8SbvJML/0hOPTdxt5UAx0oHjgEF5WYJFeA2nSm90ReJ1oN23Mt4Z+Rcpdd9n56/RN8WjRsZucSmF9CK6XffTjvFWvLtz1C4bFSR4GJoKAjnMSYmQcZnMHMBiTc+Gx5J1Zbvrr0y4oSRd0PbEp1vUxNmn4bUFdLedbE0mgDxfzbIG8bdbYgxS1WnvyLe6lfft8y1DJyz38Ppcfyjd5lNtpePjjOI0Kp40408QIc1ug0U5hqIwznb8LeTgDjC6rDrzY/A4xvhz0Zgq5rIrSfz6IdkIW4LM+sdlITRAHEIIOqnr3QrIvREVG3eU2tdH7MMk1O5WP2uQrIMlAQPMW5Vu4MqASX5EyDcNXNK1q12CGZ0tf4Z5lpNOoXrQSGfdKPv333tfeJIPJy2u+9nqsK0Dia5FKS9OxJF2d1qf1KA7wFdTPa1/FtLv0b1kvy7ltTO3AxqCve1U9z+NX4fMlju/cj4tYghU31rqfyicYmDC/LW3vonZyQyYXo0TmjA0CxJYAcmHZWvhidB0+/FY9zAlt2acXmE6jht2cmV7Jk6bp/iZB9JOMWGr5CKTNLW6MPZmYLPZNbmaDxMWEux3bBMsiyolPpPxJIWTqO7XT0nyeXLuB3FTcncZboOematXxTjDs0zepleLf4Xbfu0YWTQeV8KVnTActJue3WipXdv8wLEj9YAD4GEKC0AUl9AhHGEeVkmbs1MZHVVyaVSEppZ/35/HWNkp+E2deoB6/8qSdfURP90XC9jXfQOeZ7JvFja42VFvpSCZcEKyWtDt0OtTAyr5e4/gRaP78x9BrOCImi2uf9B2hndCLndVvYgdl7wcWwz9VUCak/+ozCD13tlvKysCTVQOVaLBxU3MHMuTvs1R1SZwHuFt/l0q521vh+I7zL7IBv5vzjq52kr+xOoHYxvxWtCs4D3APnIGTHXGUzka0FF35M53CHj+nrY21ktgv5KUdYstO6Fio33g806YR1cSDUK/L28yDut5Q3AwOdcOjZ3YUL3nJga/bejRMsCRz/IDZ4kG4h8WXmr50Ovmoe6pj9OarJ8DHA//8FT1i9oRGjxE+otUjHbOKhBgpSBI3ag20jMuOzf908mVQL2oC6f9kWhPeMX5222RWJ5aIEDIoVSR7wQBRaw5TkUH8mZb+fWMk/9eH3ritccCENioP+cyE4eJFA2Xg5j6+xNs+aZ4RxqmWRMPiU2TAavc7g4wcnj5THyTowptrKR2As8PRDAJ+MYiPD4L1Krv6DE1otOqP4jb7NGSdoH0FejoLmrm2nttNvNKgnaDVFVfg3NYguyd6pvp4M0UGlVtCnc30rODyfvT7m63+ztUUwtJcQVNeGVU7He2NTTSudOpznxnEF1C06RWNwLJEIzHjnBdR4haekblVYzMo9n0OkYXagpegr4IVYUD1T0KEtphrk1ZxRwc0s6OTus9ZOjMkCmRXRZv98dxevhr7OPxiyFCdyvi9zc7SkTI98Hw5goC0raga/zZKK3tVTLqYONTyW6eGSau4MNzdZNh0bTIIQRbqcFZNINN34v9yqLxwC76Orqpd00ExAmh0vXLtyJp/1W77hO08HzMJfg4dMZvaaoXDRayy6EqlxWEgY5i0SxIUqVd3i3Vfyb0y4xxZ2piW1/l0nNzrsrSmecQpNKX5HKRKNdUJb2B3haePmKA0kpeaI19HzTeFggdPICo/6pXQmJX8+DOOecrK817jBQgNFNEDDjQJYb1b8RVr/QboDKcIEENBZc6OEgT+N1BH1H1rO9mr1IkoLM3C/BtplGKcUoRwwmN7nm0URNzLQiJOhHJRG48WhA9JHWHAur28HE2e0orZC1HqQOVlDsLQFm86Owomj841zpnsOxS/PpBbZ5gjX8FHXL05CrL2VL6xavF/YFQa8X9EJA3nKInGHpLQXT7m5D+CsIXp1R699A8NV3J3PanLogs+J1Sce2AvYy95nJgJOTisGOdqzHAiLjxXcTRidT9cK/1KeNU7xQC2TvaEa/9n5a90R1mi/RvmQheO8cQO+boaSsbiQlofJHFRgEP2yskDmjBfYKYXr4yGA9/RMQojC0zxs84VK8d79SLs9nbo7+FM/WviiTYZBhDMrihhUTee78rdk2PATlsSIAacHM111SlQPUwpCbzr2VmqxDs1xsVUBp+gpAYXGi571/Qg+vPlIbQ21VESiUF9NlARr6nc10He3GNJkWOlGp+FFe00iAX9WuRVo20MmOrFrbQEBuu6RCKlTtkckVJQKG/Jb12j3A+RxxzpzQw62U2KDfXE9l5nL57A97p19eork/AtjvTs7WmsqWIWZsZXWOOqbl12ckfEokLzpIIoUZI1AnKo9mP2z+5iimqxXDDjgMD+2RIkKWZbAfODArP6ji3sBRlqjeNueJSRhHF9+xY5eCnS53l18y02fruO8bBgDw3kSQAN9yrBLj6llUqU0ml//pzNS/IAu00rFqaHdlEGBsgKUyrYaLdxMJrnOBMMnbXpiOh9NP9YVzAUE78ysp7VoB9DnU85XHYgEeikFaogToaOjc/UQ1mZKxJxfy4NovZf7cmqpnEO9SsmvbKoItD98yIoPV70R9Sz2VrHHHf7S0D0JbLY9bX+XnXrMCbAMBZIfnUaRDkJ0KtF3BU2mTYP3If0nTnJJjKVKFFOHp4ecboSW6RpKQKUkIfYPcxPkr1BNjbVv8zvVP3JZAwwBuO0APr0+ImX5OC3bVFB73djKZgBsI9JFfwuiQOHsAb6PN60QLAyN1cYn9O9P1h8UU5KuV5ESbydFUqliLtyHQiqVoBG+7LWfS9pzd+0MYrAwmiBCOYkYQVmhD8Ha0I/CQGRRAvsOoGlADL9fH+dJ8PikbyrPGFAirVJo5FZHm9YalO79gWQmwYquiEAWrlyUFFCNOHXzypfanpCH66H5E7L4gHtgQiygpsg1tzlDDLKVLWroHfxngwjQqpCg/6//JYq00CB3K7lYs5D8j6ptlZPdYwGNOTb1/r0PsEpQv2mAJR9dlPirWPElFL9ieFY3+UKX8ny+xf1RTvm2TpEARsK+OSvniLZV+B6Q3WiiFV1m8S4XOGlVEl4AUtpLrpHUKueTqGI2/VNPnNbCnJNgT3zDEqDDZ9jwZTCw1AqSWbW+ElTbnGL+YV2a342ET+tRnXq74020q+kJHyt3Xc8W8shFPR8TmUqteN7S2nKtTa/ZO91rbLUruq/EXX+MaXYmG5l2lHwgHjACB2yBcX8M8fHyUplMpfksi2Wzia9WkMBPuGR4/00XCYaZrUawQX4918HTNHMcMxVo1yzq/6wE124b9UmBtKlHo9Zcc/NWELkL8XVnZ2X7RN3/Fe6sE8ZItiA1lVw+6f5pax3ijq7NHJmvev/xVoOUpGoa0EFDrezi55w2U6GoH7oyD9cOuZQ/RCuwkRACmhh83P7eShsFbh/20au06y0DwA4lkfTfSaoPIavhxyMbj6v7AWd6L+cd4GjgxenESj3JEqUA/Zb0sjAZpEm0uTDRrFLS3nOwAmjwwTjUhNNVmKSaweGulZghULfYa7yc1Dd4qWgHlgbYnHNYlj2WzzPBrd/bemIRpi9KG1gFx8Vfr0c4leDLO8/Jv4+vlOeQqFkrixPbdxqn82z4S139TMuyI4sKGNtK0Onxcj9PRWoG5ECx1CqXkRcnv4KXViY1/BfNmOcbIV1TV6QYI3bEyWmCqSB4IjL3HsIsd/dyORmUXx+ikxNG3GN+fuyWA7rhj5OJ2wp9seQv3rFGgIX0tsGHBNUEAI+qSLlN1M7KgqwvXqOBI9euSX+V75JVBcX0KtD2yWAgJ1MYEAbDY/5IhMsVDIrBO8j/EFYwtMoJDUaXz207HQQOy0bhTqzGk9R4Q5oy5Pm735WlOKTXoCjmBTy7kR/ML/z3/A2g2yGElDSGrxHSFuiyH+xlypNrpF91tkxOGokauyYFwAa2sTTbHa6RzY5ZXb9Ft2chR+AW+zwI5+JXuYrc7n/mHx+9M/B2vTmB3y1hnVfeYx8qVc3T81P4hCIAXFUI2xSCkU5Oc6/qlx6x0L69IvPPs+2JptwwKePLfxbIm2/S3k0pC5lWfFVHr7BLEilXXuK74RBhR0jx7DbjB0EToBSqq/Db/Pgsm2H/U72ksNWKcVaj3xyN/t/AhBN3MnxYlJTDnFY+aVheOrExHLjYQb7pFPzeylXpQ1EDMpbU9sQLnVLgGcJs2ec/wI1oAVnL+54riHeK79g821fueUdWVcYu9B1VDnfjU0L6uuCSj4cxMUAx9LUHr+Zevo2/kakroCsbgD8SntCr+ilr5Z0qMkTJfT6SJT10IL80bp9kOG1dFO9WgMc2qGl5bFyprMiRW4yd2ZEjKOwDXptiW/9cXd1zUJES7NMVE55qpA/OxgTV6R9WrQuCsqMobVMCaIPXaHDrxHnxoteMZFjjQHrx3Vy/XuqXv54eB/WkBEFDmmTCcjmxjBzdD1rWQEQKVlwCVFgBAfrnyb+XyKbbxdxoxhhO+1WXOATkh3svRwgjnN0WDiQ6FpmPHV3zPqXwEOFHIqGetrj1FtTf4BBExqqnDcfHgyEr9MaPennvhj1cqsFBNxnE8GsHcmRaFdNFQ6Y7+vaJBMt0fprZr3YiIwvkLqYMFStfb18BVDz9UTcTHNMfap9WpjCskfRqAIl24ngamVvq3pU7aZCU2ae+TPveWyMZ8ZpGElDS+gwxnSDvHbBSMzlRSZZdZi49msjTirUl3cHdU07R81tUglqk1poPmjxQRd/I2RBuN3NmNyBN7GAdqHj5Gd3fJyBsWEz0m/QQc4GP7dU5BhJDqnRdQVcSQGMWLcrjLTIucQ9zj2icwsai2Oc9DG1rsP3Fq9gGr08PEXTPEzIC2WNuer/e6RaFbyAPr5mN9w0VT6mCkNX78EUKeZIo5xQElqde9Cecg7TiaMuBHv7/AqfMPHtqsd8tlYJy6t1TXFE2rtIfjabsjuwZjpNJD6re5tlnIigLB9P10iyeEFUH6/XwyU1u0F6+oJ0qJdaxFJtC2jRWFBQyVy7oTwZeyJOcc7vWcyraYCf4n2h95QjzXVTJAOgI1QvqBl+nfDwRpINlmpSuy/TIND7eGTihPJPVTayc2Y8lMrlb/ivhpa9Y8901nKyut8qLFBHh/eVt2IoyH64O9pFgrEaewqXR4m8Vko7arBMfVasofI1fcn+HTdu4tvwwcf2YP9ymWg73TMkXj+2oxkOyUEBQnlyizdhpm9Y1TeqIARzW654dtfpTusyZHfN5gJ/DThx30XobucoqchW8k5hriTGsohGcMEFa9GZfY9KNf1qQ+OJsyc+T+BLHuaTXsxEoJ7uCDzx9E+MoP8MHhXgKSLXKZATLMvp5HRlXAtzMsmPdqaWGVNNY3e2QHvdx8Rwkb8X6FSlh4BsGVHsNsH9cfZnIkbyahxRXvSXuKIyaaoQS+dFYpl5QLqCCxjZhEh3ERXDJGHdy2dxds7XqdzzDjeIoqy+2WeZxd0x3W6mP3W2H/GemAONqCKmIuwl8F9tiRRbWT3G443xti9b996/8xugZwiwJc/WP3O/Z6Zm7sZG+Zu9mtEpXrKGgHc/AaQHdS/OcDS0pIEP/2V0ILzLqkREP6zacv/1I/jOMa+lhEkamZT/O/19GG24K2jNNoyHdca5SJZAKk/njY0RnHKIbFMzMmeI7489QvODCcbY+RzZlt4t7rZj9e7yRr8Gh6cxRdy2RXULrshgnwCQr5tCnKTAIWf213XtKD67cX5tS3h/oI6aqWzJHctKN2eOZfu+j4t8HvsFYUZDfZTkse1qcV6S1l8xk1wAO9WSi5oU/+vPUWwaxHY9FFr3afZ0NGGR7ROWD26E8p58St8/36aJWOJK1GGDchTEQhkerzH5vcaP/wdHYsTLHYRQJw65mIMZhYev0mkipcAPk1JtuDGBHYsZZqrbuiDUbhOIs3cV9jbTGBUBoKqx3QasbV6W8RXDU/MsScmAXo8GBPT2g6JqeVK/a4fhM5mBQ16TOwftFWiqy3WdFjdSg4QxxU5OUtJBhN4GaNZrzhdZG02VZjqZ2OV33cpbmqzrkDQl5BEy/CapryBDvLKCEhs8zMnT9B/73aPkDKDyMNm11zyHL8WDBIrl6xFtj29i1gcv16mGeDA3fnuZgh4xoBcxXytExkd6veo8MN0UZYg80Xi/hCKyI7TqgU0RmjjvA/s0wx/3hrDBQzcvtgXMaXBM3XbX3hzX1VSgfTpoua15SXlTWc8LEGyBQjFhjHgX6VJiFsOLHkVc1bhuMzb0q9LF/dyXp/cYDJorjizvAtUJiKjyclumqL+RTuaSpfm4BF1Av2SQGVt7bwrZv5gs6Q0ZxffhdEVBaFNFJ9hQZ1+EWX5yfNA4LCZEoAEjnzgd+Qc0ewWD2BvP3934KkPMcIi4sNaRNPHl0h41D1OMUt+STcgzOtA80CwElvlKXB4cyhKO2ne12D4i3yXZv4cNNCv0uHoAv1NQGr5CrOfXNxyc6LZyv8NgjXDKj7K4EMbAoNSw7HI+5KMlJs7oesbfBma/XdHOcvTADvW68+AtyazkAaQiNq31yadBWKzWbz+Z9lJmAKPPdCROoJKVNjUIkcmwydl0Mt9ynU1AcfCVCzbkoCEdpwKQOQCluegim4K4SYrOwHwTXhhNBZcG5jd1KOTpN1gJo0qPmtCwD3QyUiHDMIVjECGrHUOI6qkVrDTf81RfTVBAPISGm1RGdYYK0zzW73/PGf5+REHAfTbcgJMK7PxalYCTL+RbL85tLJcLkDxfxNxtzC+0XqSeRF04n+2Wd+ksNsqVJlGICENr3U2P8cQ7r0eBubKb+AHNbcNK/+cVtXY96uv/ftV2jVfarQ+zA0OsQt0rmKE4XRsBGRZ/tVKqw7znaOfMPcAARP9CKx13dKA8Z5ftSdBjC6IaD3h7ocziy3SZI++D0A/DnphLjLo/eoGMFepAKCPqaXyS62bfBvldBdlg1og8E8quaxz9luXWxAHogRSFdl4BiL+aor/dmBSuPZaXVufWPAvjCKpg7rXDRMYFbeR0mlH4dV9LTRJVuKx+lKoK6n+M4oVYeuXUDqwmDRuByCDp3mwe3P3FBTB2ui2oBURUJ9MuFWjQdg4cWOvtL7TdjwFL9jhaukP5VFdyJjtBu7YfT6PUfthHMyEWz7p47vacRIKqyWBTx52FgfC0jEX4F9xcSibXKC0UW4weZ6EOc4ZX5LIOr36QqkJjZ4KzsVBPFzaj3RvttAledAZevdCg5qmc1IB0bXRb7M2WSWRJUwZQpjAGe5Nm3ZI6JCVLhAUQHfeaR5ZJq9ev/xTYsWZbFbBdpsvlwpqR84fPXO0vmF2zhFSAuyFdpcryeP1f0o3tYyoeGF/V1ZHOnse/YVL73mi/r+jjTX6cCv44LeSsJGBBfwr9+g4i2F4rx/6pJ6YkN8/1I4z5kJjBOQkpuIDUnINW60KelRVtBLTHaAWQOa8LPIl+3/WZwXTPw6lGFBm0r2TN4HdbXUogJywUnZizrkxrXkWkBJ7uqLrUtLjKn4CvKw0EabejsK3MRqd3DOOmQE20usX8ZHHlVEHVsCyNUJVvEdjnD+oOL1j8pNV4aBJD6+pHnDq1EFzUbQDK8qG8L4NsiSxtn2GZRYu9oc9Bq06O3UjFq22x95hFv4EpPJFcQMkJHDCgTuO4Et/WkKjwBq6BbJi7brU1wlVYsdeIoAyaDsolUEERyIg1zNIaIAwRLEcaeipjGtsKKvndDOqNFCl0OzDYu8ULewzFmy5Ud05aJ+HHSlcakLGMPwMIObl6aWE6BbHVKZMf3OmrvvNmH4GTy67McQhtYONmjZJ4P/ZNadOP5/onMvCKeHcBvhGzdnCNjK5+qzJ48M4SPGMBCIDPLtbKvJfLwj97jdblZSr9Sb0LC1hDnf7OCtMPcaMNQEdRqfV7C72WHXjP3FXf0GB2cxCZ7rXD0b537vwIEjg5pWhleBYK9zqb1fEF6uxE4pGlY/gKu7pfP+rui9uLoSQcaJIerha/LL48GPDgQKYEEBn0M9NoOj0uCa56DREOVs4o/kCJUT4PhIFXSKxGHL9fmwGfrr5X/tU7MOws19dumR7O8iPYPR5wVIkmdvbx81N7pe165zrDS/u/f/Ycx/oqNUhlwET7DNq8/fD6PYoaZ+SCqS6bazgFbRlRBDvYkePsEgC+1IV+mZ48TK7j2ip6+qWKHZctrRbgPIxmWb7mylicVrmGYja3B9SN6/bVsuOeTw6MPbGOODTYSKbMxEGB1XjhLZ8C11nyP6NxidkO2zzSnJ61nJT/f7OFXSIHX0E1vWBZ07gK7M/2ttEPuNTqgB+ToO3fUNGudMFtp/1fPpieR6j3A7+/1AWTFClqBPXYEPZ8rtpRFFPkeWKpLZdGEYCXeYKqhYQOLmmfmlwj3o0IL2ivWzaMqejKfqVxNricKX5Cz+IIRM2vzkMgcYI4LpRYZy6GKEBSp6SxxgUkPAXr4g/j6YppVAjYrXa1nFcQ2c/KPwZ4QjJ/2r7XgFIjFnJ6ENODEyw3K+4ICDQjDWAB+PpIKHe1+2LTQ7PY985RGfrw6cRvfGn0LsJCNhD5ARqo/T2fd6ueAI2g6aF9GLQEteAW2tpp57ONMrGNwv7hBm6eTNHjQ1n5ryMrxcj27hM6ggHTi7gKsB9Oz5kSekeGd/8Y5yOqn1ggpsctJzBxEntSI5yfSxulZesM77Y35Zrc8eqYecTaAGjVzuHO/60hpXreryPqDFj68EeQ21Z+84mRRBdVEAAugkPKoCv9W/Mny078x647Rouu5J8I8e7hYfxm7fpkUthFsOJy45vWUVlvvciwv8BC3keEN4khUcbNWS9s4iv/bFprsvWV46S4YPa2kzG67Lt5Appz+8qIw2F/ep484PkHHmPo5lUFOna08YDF7v9FEkZ+VG7MtHjCPNvmCLB5/KlWgUk3vVq3FuI5XgjWIOKtQnZZV1HX6Xe3qTokHce9Mi2IlVt3nlCcXM7/OgBiCBqJyHl2bRKHPU848l/xuvRuFD9sJxkL0mU2biRwuzJiucbuihkcabgBINjghl++cQuhdcjamDJrhZ11c2hwhrNJcsxcE0m6U3k/EJGab3x2XP9g5JnfoqA4gtNezCRY/73eQDCYrgD0Ubt1rK/7sI5iQRZ6B8ylNsH60pb2UZA7+JalGNW33q1c85Jqb63LhEHPR9OBuef9s+ysm7genCWkR22DuHYmxhMOf7iY0y2b0tgJQVXOD+DCRQm5NHIFscRlTzAnAoMJ5IGQhtGWwuA2inloIrTV/6lyTGPx1Y0OVqlpMc8R3JMFaJHLcpFk+/mqXIunfiFnr5LpQIz9Ms3mbCHyO1p2tCWx1nqxvGRI5mh2h/mp5Bv/rs2PrtsnRkX8igTZwnfA1pr+V1ywvbaRh8Fx5oaQ0/lSIlJOVIDteqS+YVp6cqWJwnKl9oeLvcnJOc4Fhi8hUo87RPRLrSoaHQwy09upi7TZD5jtkitzIt14mJ9PBfjtGnNtV7gvcJapDS98xYvwCYjvaprpbjzH10My7sEmjM7EPcisYrfF1lszzqb9V3KIezz0Z8b4zRPwVqH3sdClKyuQRAh8b7Brkb3acwnJJMnzISFVCR8kxQwSvGF/8e0e+VXHq8QU0OiS5QcDZBmU2mpPijVlgmOMORCbC+vGfG5ahu1AmKQ60s47OPATnHFR6l7zhlnM/CG/amjvBBXo5istOlg0ykKmNX5nfnDwQbOpt/YTQwyVX7F/32QeSQqUEZlx70o+EQR8SYysLBfOBQszk5T6JWCy9RLvHU94fDv56SP0YPcETfLMbTZrjzeuFEtqvpx6nCxmrB53n2yM4C6vCqU86PI5R/QBtb4H8iursko3tdHTPUYBqcwEYqYyrni4ZUdZXgxsjIQnpEMrpxsJd7XHHucM/5NUX633b16rkTYM9FmugjfqtwSs/+MHtZy7EZc11lY4/RzLRIWTL+g4OcQHqd6O0tA5OE9wmvdaY6DgJgNoNINBGZmQT9xmhzwyG0FX1cEwMygF6oCwTypV3ENb9QBicvbwXjAbeiFQTzeMQ4Dj0OeqwB1ipIaBQdxBbxzOAo/d24H9lfQISswcWPfaHyUCArA3IDg4sdf+qWmcWkWCDiWe0h/ZiTSrWe94xYRrmtOe2+KhSWUv3PQwimPvw1dUlMGIm/9VPFOb1232wluFBkv94+99JWtXTo/ANu0V6XLbvap7awSKDS94nTszYi8V4Hg/J2EkLiih8Ud7pid/y7/xnFJvv8HJ0aAGbAbDFLEN5m0VmwaAVYVho8U9PSEy31ZD5V18/S5dflF2v4FM4cy4ltUhAMt6ICtZ0XTuGhCD78A1IDSDLctS+ZN69Nej0arCPYHWXmgYrsyKgmlmav8Qr8Me9jwf9B6JHlbhwKyONSArH6kLxgVeC0jcKfz0aAAQf+p+gkgkL6v0mT9PzrE2ZQZqx31zQtRnzAjBV7W6t0M5Bsm8S9Z3ZcII+TAQAESjsrMLxLBIj6NV3PyYr89TVlixGNvRSW+4gMk6guZnrxU3tDBhT1apPGSxab6VNGOSrTBoRWlQ4S+jf0C+zFpdq8auvsvAn8D572RzNyqF3bPzvZSdVVozfNehrxSlDOHZ+1XPVt9D1T48FURxJf2C1EChDXNwtAGS5aQaOSggM26CHmMat1+LIbDmpeoMKK06WYtrLjYrSMFLa3S03M2t2mzfP3tNl3igx5XG4bx1wbhS5fjKKS+EaXwTysnELD0ZqNJ+hIBopLWQg1BfSoHD23hZZ5L2w4g767F/cIKgd8Z3vePJbwUlpG70LVIyUxB2N6MZIkdz3BpUKp/gy2ytXIxPVchKAM/vC8hlJzHPvvgppzbYr2AtBPZuMPERY3IimmyBmLqTTSPCcpF5YLuOMjBgTw+cgz7NLZ3zoCSyI7B7JAg92SVOGpI+vR9RN1qnECCEjlon+e+pADAgmbgDR9ECIKeA1fOd7gsHxYYllnqy04nXwn3OzM/pxXMo2VLsCKc1iDYUwEVuXgOjIvaG/V4uHvTeqbqgMFGMluK2Fq/+DYREv4KDh4edJXtm2ryTO46OORGbbbATJb4my1nQT6lXB9uR07Uuo7YRRI1pVNFZk7PP4t7nVY5ontDcVN85OQzpQrA+3pT/AYd2PhZKW51FNzOUrchAWcP4Lvt2SMABzjSXVhlO9XCKmL4GD+CwlMSfVsZFbiG7oYt51JeVUCHYBLDQ4odBGOkBiwmEdObjTyRnt84rfiuVYsmD24BaetiftGYyspt4oYzpzOwJKDj7C65g0W2N/5rUeYaLaxv15qrLcPOTmgxu83JaaNu/VsGCMYOUDQjUSLSJDxo5AD+w0alxwp41Kvkz8mZ024YP9gd4r3Dox0gZqHd4hpGCiDwKTPOKN3jlD8ITe8CZNFngf2ehy7iOcGuAgk8yto8YTcyE07G61IeQPFbrDlxv99YDHxY2YYPwRBoeEzQ2Cr7iG+59LQ/L7kx2PXTMc/0wNRXguBAnuQQHoOHzcqwn1+QH25u3ebSQ81GnnH2ozV+9ohM4wJoc1yzQCKl4GKtM2CYbwhSER1aj++JNlGSe04hXfQ39SuauQgKfuPWsktzhAl8lZp2Ev1Z1iIuq0jL+c67BPdzAHpoFdeBRPk7FF7oVBlkgAR3EkWZ0+EM2YuqUFGJgmzFtWqXr+uvtz302/aehkh4gtZ6atVhbsgECm6YNEYKpoWigHfAiDrwqQHpPTi5gumzu6XS5op4FyqNLVIjPU20NbSLU8/Z8OVH4VLjM+6V2idlMWn33qUTt5t1n3W5IbqxcHzzCgUp8NmPAnwYL8so/zIbnV3E73c+nkCMC4jjICGmZCDZJp+F+41aSbae8rsFDzlAc5IgUKml40vB1NvMrz1tAhQ2u3L5fQRSllyEGzGYxXEtPHKPXicmK3CKc3jGOaIC1w+RYGCWKBVprwA6rtL9gAm9cYSsW9jHnspEZC5x4AOMBOyBD8cc+qZOiFzyWCwLUuiknO88sKYjPv69EDeGzVXXba9ABTO262r5ukkELNYKypmQdqm3UGpt2GCy5VCkfQgh7ecYTP0p8v78v79veAycthOeUl5mzE8A3V0AfclqWDIiokKILg5d2X+fDcSF+xK+hcwQT7J4eOTv3XL/FVCuqJ9lo3c2g3f/V4sTd8Uk+Dq4D8KcCGvKyxLVLfnJH7N/b8gajyt+QbqYZAYQo1DdVM8YqoxN3xpd2kYkk2T4Kz9DQjY2UG/BcLHzzqwL1mxs/nblq0AZA6Ry8CGz3MYUZvHtzM+ouMez+VPvCIqSHsdj0WQMM81Kjyk3GiyOQuI9xBImHN4AnJLxDLXoQg+2gYlN1P+wj1Y+MHJeWcId5Sp+DR+FNQxgJ0TLRJ5Tfi0Tbt+tNtykClq3/L5DwrcNjJWlsFa7SbUhuNwPbBTMCiLa0V9XLxFJJi0t810zOvFohqLt5ZaG4zcwJKryJ7KTaq5JTGdagVeSMZhD2Aqm6uGdLZKA5bf3M4ZQPLc/mmG1+3/DFTD3VKy08nCTkKfVtZ8GxP5WmbhonRzudY/DRwqs2RmEaYAzazfr3I9Oh4+DRv+g4hzxzryUPrH7j5Uu7ZrEkLIEgw0lRbusCAIVpha3pQLk8ImPcIOYTXWYg7/hI07pTOObp+6jMX8YrW00I9dFVBf3bQ+HG39nQRRqpVrs0esrFSnjpWV+7vHiWdafyaNCutZfGIpeVeeFKCwKGaoHfKhPsEZ8Bb2bHQHqFi+kT2Ih6/wy5S7buo20tC6qfihGZ/QNRPL90T1Sw63YTekM+enaV7USUD8PmVta2/XpceEtE30oMPPht9SNrhs1UiEWRmUYZPo28wsciOpA7LknC/NlRSfeWNkJ5BkMBeItOSxv/sILuZLRU7aZaAlqgrYO+dnvnIfJawOi1x1USKOJg1IXjfCvsGeAsYGY734suNJrL58R0IM4FZ2+K9cONoBMDXQuhTolqSDBtrrz81kXU+TLjMq9F764oAbedlt7nERFLyWTNugRXc5EKy0IcTYcWFKy2FIn78k2MI3IvDjQS5EcWNXWfgnIr3r+5KDnzNivx9+VNZmikXKpZoYA7n4AEF4rrESvvCaXGbV4ON/IQ7Yyh4U8J6Kx9iIwwvS0VxAWLq0GNGedSf2x3yqGCZmzsadmkBuB06akLoaDD0kb9Q6OkrafRkAl5wfOWa42bEF4EV3VR9qWQMA9fpWe5ACHSdiBTObmp/2ugPg9u8L1KQMRJSuNEZdDeHDOFgE4VcHyPCsS/xB5XaTLiNAsvDHBEToxkOVJU3pTvTJLLWwI9+2EX6qqvFuc0FDnxasgf7UlUHZP55eVSeCQM0ynSX73Hoq6rnajzoLvgxuA7p1PKqeFfKC9VCASFuMfvkXt2Eb+8AqYQzM79dgk7y6SSOx7hzAcjsyMbYI5uZ+y/qBrUEUQZj2zmUlO4CP0b59Pm1zssT5fap+eWU83/FN0be5pCttwUmIDXRF56JonA3BwBS+EmJgNc/G4FFv3URFq6K5XI2wEgqgB3WW6IqYA/Vc+FeQ9xuye6+2Y/YrKGExvB13vWvaJ9lZsGUXNYHKn/y80Z67zOG06FP2cMPQxjtkPGPa++0ChtbuCNweorojMhWg4AKo83uLVZlRjBbXj9ScFlzpnuNE8R8bjWgpJhLjgFO2jMw/nC0SPUN2C5RhCDZYMcWr2nsvD4YJMScbr7NVeyZm4VjT9F0zwq46rnFFzNIkvvN921CbfSP4xBcol22MLoWXcOfKpYmQa/1RJRuQ5k1dYlghx3miiVyITX7ridVwPplFWHwZiCdOxsoYgYtP3AOidRfOoBZrfglKRMMp/WCzgrFo8XSA+GsY0AiETRq7XBB6gXBGXHZ+4jwtqV90LsgzwnJkaeUkJwlV2/WTB+V8JnDbkI+ibnb75sXrKIoH2wDb6gn98DIE6I4gFhMq+Ytr/FGlBAgu3fna02qQo0xP+IYGEOGz7+bBpdfousHtCNfQPyQkgvGiQlazPtlFAe8P3SqYS2TRnSplLuBJORq3URZCcNl42BsoD7JiWgQqPeylPj5iCGwdHFzbDijJIJJ/yYa3yiHnzGQcRfigzlRA0uRlSoAj4wGaYL2TD5nhGF/fprZPhalCwguYwjRWdKQ/6kNUBCNCibh5JvolwWYmdYjjut71XxpwwulZkqlacS9KpSI50VDVKTglBle8GRrafNsvljVoJZd65FozehQdEieILzb/fQICtumBny5LhwvQ4vRZNfU7/7K/jNXR/A9Dc1soSsuhxHKFR2Gnr4cQE3kPXOr7AIU6YttzPvVH5BfcK8TdjpizjXokBCru/1DGXJtUiU2MsX5qCP35NDBpdVfmxttJ9BTmjgKdPvl9LEOmjMjoFmlxQyk9dRoq8bR8EZmuWtKZwxJXkMUWRwv2+LlcTjp/CWpipg6sJDkTLL04JJml0IC0hopGCH0zEiA51DzkMdo2WrjCab61mmdrNWrvK6hriqN1i9bvW4g+wS8HNrX9k0RwwO82YLaGitZisJwYXD84J6cwfnag2t5WW1TOtY+ZN9xGHAq/+yWSkJBcy4Uw1NyYRw8v+lm8faR6XiHxWj/DF8FUip7noj5w8Hhn4E7F6/JNoAhnNfXoC0Oe6+Ovoa09jnZN278GA/2hdddenVe3F3Y4HvauNCh+7nC9AELw7x7XYIUrdPvTJ6U2Pc2uS7z0YgrPpg7jme6eBwJyhPIsM3qTS3LQnt14GEc2RR7kY7VeHBcSvcT4VNPDPqItGJ9gJJA67bWgkuww0YQJu5POPDSKqiStj70vWWddk+zB2Cs6hjnEZgWv19rzRQ/3zvByImb4jobGkh4yuwPO9NEZ+Znd7QHzUe1RZdzegbX0rQ5AZC8SUVhV3RIVbXMliYBnSHBvMrQZ+W5OVyUeReza/lhCBXNYIY1fD8XpgASMPZidBThnvqmUpszh1oKSTpB7pQ+Czy5boPJeohwElELysx/C8OTTjBZn6NDQp7RtAHyIVI1I84S/Tq+cAhfIz5SFaiASx5wuunJMoHB6x8kVxLtxoSRI7uCPIeNY912Qvg5z/SdQOMyBKwySVOc/BIlfXCbLsaH48F7OWg7ZAu5dSSYZtac23wLEKTV+WyeQk771TIJ45Z8BssVd4556rdB0aDwmhJ5JlmmyRXAecl7g1DbuWu+EXOClXejkc4EY/Genvos2hfOoMVdv7DIEwPgnvx8R/m7FVelsjI6j/cF2UREU+RFg+8g5HZlgRYGq7dVZZWHB90Ke7ltlPhOXoalBfsOYY8OkQqnJClRJbx2qGme3XzkRav/BdkfCdRq4KEYk9mXiNx1ay57pzYJyPf3O99ktF8HGTkMOOFOsb1M8IjosHuDT6DjgYOrDyy68Hgues0LIdAUL9SFUhYoGm/wbQJpQ/21ZnMt66ob8UtzSb469egRWRImVjPno2Pnpaie/VGpba5XFEBQ0zjUOuMrQsFgRVsOr6krPTMBECAorOIBoli5v2dHi/CTTQcYT8wSTgca4LjRzn406XrNIHDYPLNjXjnu+y8mxX1fj+9mlyLqIunNoOEvcBwNJY8vB1y1PeHy92d+ZW4zKteQVSOLwdF+eh3WTmrtUXPqMho2RW1eVz9LCyCw9xmlJqniOVGGEkHLJY+hrDMwvpEcxQ40wqGXx0CMPzy6azWMtUG4MqCywMJ2KKQyFzPBhvwB7QFZ8Q3aso7jqpUVW8yZJHhvcle/ylkJ0U1wPTCOHHnJ/AHUzWD11IqM5MngWnQnAZR1VzIgURzg/4rieoprNtpq4sGhEOZpExxD+AEXNfAe4UP4iY8e98s0pRVmquT9SBX5A/P8wfD1YEZa11w7JQQNQ27iKRmKnc3jhG61o9lBOBhZNwHd8e60z8xawS8nu69E0Hj/AH4rrNk2kbjNZG29fsyWA1bE/LF8Kbn0K/uyIbl6HZ+ziUlWrAgK+xO/DbaaGyq1QfVs2666GNgtf+viaV54xFC72ozR39MftaMT36S4OBG4Fgk5EgI1McQi/7h9Z+7ViCHC5DLMi8uf6fYdSRbwSGsfc+Xa7zkce1v6er0Jxh6jf9Kmfdko00DvoGdRfzqIwB/C9Qfj5P+lN1e2A8VuWdAKMTpwD7UsE7G2CV+6pxxfehKKtsox20QUXBTioTJwPcuBy1LSGilfVIYR7GdkFphmkAVW7eocF9JnYVskNy29xlESp4ZqjdiPZEhQef/0MlcHSUNdQkEBZ4lF4TkMLC5VIV3AiZpg2qs1RZhnWzDUDDXm/vOEWWflFn573cZFgb+aaYem1U/FflNbmUIkotWcq/S6jndvTojaYAvP6Tpbtk9hlurgZK3s7G3fR8NwMgnMJk3+FXnxgiAYJ/NejPt1mD4xYaM4/qJ/Po7iv3FW6mCdgpgVzyVMmy6knhptBPYGSW1bVWasCO34D9n0L4dlT1EKadXPDQVJ/JUoHzcuCJI6mcpYW0CRPNsYNk8v0KWQBDiZOZlt5MquLdd+/jpIW6xSgdGKOzFXqxD1/hQgLpYcyqupL+HgQD3BrMGHtd0U/z3fUF0eSeNmMlbYZBMsC2k5w2wmL9/+ncJ9+GkR/rjhjn/4mPqXscT2VgVzIvKwjVxEqPjnfRIhKJK1DKCSL2VuIVkmHM739WA8XuINyZzjt3JWF8jMD/67JlVSW327J+0vpfd9Rd0sI9OGL2OfMNnX/LNLxPwZh1CkYkgW2R7xlU/vI7E3JJkjduzJMzoBTlVkCx2vZ8XH6FGMgZx00rjFIckrwJ8fEJ6oLBCIEuepREbIDo5Sw6v1c7ouX7SZM3LYJO+VLvsyWmDROXNc4lOXzu07goupM53sXQmPV3Z2KbIHsEmCFmfTWR0j8gUOr74itMKWhPUIHSlcWRZA7gXdL/oBwjnfEHWk0GnWkVtlLHMCEIT/WFRk1QADnAxp87R6HgKYMvcgSTX8xFPk4B8bzCnIaGJca3EfRpO6Q8adVyL9noWS9OBtR0BhOYPK556072Z5ATrF6y0zWa/ZAUX3VQGljAK8s5Y29Qq0gxMdPZR3zHwIkNmt3BXHFkaR6hxBzraOGVD0PxbQIMXBgNMIoOpGbE98aljUvmxZfaGs0r6tfXrUkmfxqAEbS6umqupczepttwqgexAJtAV+d38FiDGmdR+IfJXwlcMsiaPsQD5I6JUUXWEtzaEdWT91ujOIdOuYtL4Y36vuoJRAyWUtH8ZQ6hc8IEcZSbIEKOYhfPrsGktD/KiT78dKvyEv86O0ySaEvQ0kxhhnoToitjGYq9z1XUaobpvGPHZ/mfteYRaS+qzv436XnjUBE9N/nOoFcOdBb6HaHiNQb2AZQw0LdFMhzi5JJuu9cIb+6s9dqFkVTdKvnO2ZCNP+voIvxsmEX2UOayTg9Nu5GwRdoY7Lbz+fxA0Oku5hXr7DbccUX0BXmQPDD3dnV80Ut7yHNnbXM4mVXEc+b/jfSnzsbBDbXTZg0q1Hi/UxcW9CCg+lJfSEUbsEVPt7EqtFQm1UasADfBL7AJA/KXVLT4c5ol/q+3zb2B2+VmQn6kusa8PxdbMbz9AoLtk/37/C51hFvjbtCBxVyAQMzQU4vz0NOirEOPCs2/xVd8loC9gS5TfDqcFF4OVG6mAWSY0rY39E4Q0biv2rixgbEtuqxh6S3zFkV0Q7cHJxrvBI/zkgM0wE+VksBQ2TTk34iTdhHkmmn8irgg73HpEisld//IPV/36auGkyEen8eo5xinGTNB9MFJxbVbkynPOMYLlB+eR+gMUy+Djwj6Uom3PVf86L+Mp8m/kZBzyJLBSPqvXJNEX8v1+2UkAM+XbYOBkJblmgwuJaDU5J95544VOAMZUZX6WtB4Y5R5BgmSU3/CdOMpJXwezg403fwlxPL1tMUh/h0rYWcb70w2tKGyNMdozklTtglc2HqjTk6GbHq4mvRKPx/Bv+kMCSY5Gde3uDOs7vxCYjDJPgVPCJx53/tAVPQSQxzazfwWniAze75OgBaoCwaBTloFIa9COhExulDCh0vBoxyqF/X1Wd45bAsJpDyPm/bvoRuMi105TyJayZMMJOA/2UUyFQCUVEOJJrpa68EfUG94pw8qGrtdQiTCoifYpa5sdi4ht9/9Sj/UP8GaJZulE9pzFByfQDshguct+nHpAVWjhUGqaXWChf0SptDT124EQY02yx6KETgTAPXAG7XAztFKeNcsjhuGe2kbf+b9JSI7oSbtUuCk6imcGfKlU26R07GkZ/hq64Akjb1EEZXeobvx/3F612KO28HhCp2daTZBTt/ZWd/uoMy1yLu/Hu/WuMJ9EI2b9h43Sxr1HhgwJzi2bTUZV9S6L5MRoOgtXn3YtXzQrVth7v4pYYFwB8I9OXFTGdecl0ldwVPOgXRGR+jQb+snK4cZ78+gaWHXd/Tj3DszaFuJ0ark+POs0yvVIw339hDdmvwqsYv9/sgD4wwC599PqcPaO8nn/VsmnzIW3rZ722IpU4q78fQdkzMkDtaDm5wbAm+ZLS6DGMDkS4iVBg9dNe7U/QUN6VBvB3X8MH5pjgCbHpfelNYzl08Rqcw5JojU21V+r7NVE0bg7wQ3tjpAfGLEEwsIfQnrGaMCRzNV18+lW6MEKUqdsBTZ7b5Qen50UBl4/r7iAa+hYmcyKHaFSmY+78ajgH7l7IG1rCytRHNqQ9vqqoLuonccFii3i77VRCpygLb+SPkL14S/bhUJVsNW7T4yXs10P+iQNxgDJz3DO9rZmB7qbrloB3zVks+/uHlEyTKllPaARBnv4H/S5E9YR3wbQsRu2B5vR+8DXwJoniSoKQVDKSeLDwOZ1ApnFLPMIZf/BD6pgYjD19Bd4LXfwTIKIoJGaMpA/rV39nEfiFTdVb+vDDwUjYVRXDenqQPy/57fBQKJ4Hxsv/CLvdn94Ue3783oRjM2tMt1e7QZO5bh7kGWZDx6JEGrV37NL7cbm+pc2moFNLnoIHOWDmrynh4Nua2Xn1hJBVv5dyNxPIz1h2BMVt1AMApKUCfMFEh2aY9hvu2qBOvlDx12WZcgN9FB9BrgiHJwEaEViVvknXrp/eWOd5N6vkst6Xz+at8Aa5ImkMIBXBZ0KheF2jIkI/SlTF2tIIiJJ9LbjKDMp6OkiTqymEpAb+ls/PBmZ2zxU7kBDmRE5EsiLMQiqKZg9ZUK4uhL9G4mphV1Xwiu8NrzngtXlOfTi8hgXMUqFH25HquS6gynvJMx6T0boxcf40r5MHHCcJ0GLNHJjHv/fOVqnx2X89NllpFVWP4ne1U6C63iLF2/HeUnmv4ylnoMGjxJGnJDQvuAKS4Aw8uF2+4XTX4wmSOWYWnNoK8jBP02gXfW1UFXTcCMMbITBMTr3/FUjgh3Rjpt4LxTsTIDFzIgrd0sF2kvSKU8FfvGcF+cMxS9QdqufEaJ5yHwRefoi9j1qaLUBVS+e4eSQ0q+1CPvNMEmkj2cIudabny1ws9le6FjPD6iYIOozitnd/Og1bZ9OpAVUCpP0fmp8ChI/nN7tfxWnY9c7oL4x3xxIVedi7DW0XQyrzMgLbKW4hip3lCFfjuATb+oBkXtslC1HOPa/qTCd8aeRsDZR3mnmRrtjs9aiLM095xuvVcWlcuDU/mLPYXlbxrnHsACAUTvxcuntzgB/gVKf1nGFbHS7X055NUAQn1vf3gbW0nsj65gDELA8TOIzQS/a91XQKi4RyxNQ7hpMaUI0nJDzUQugE1fANG6ifoN+jPRuSW4aprjUo8YKljG14NT8AthYGIvgOogRCSxI3dZo+mXOWiFYoL4Mb5C5l00wI1U8QVmNN28RLS7/J6X1ru7zroxZmf6hkVJEdTrVs4N2YntXage9uEaOMuSyQZbOYPLqafdzNRr9bMB/eNR3/F7NBj4THFJQx04LxRUpfW5GwFQM3rzqC1P5En6rFUftNHH0aM1bGv6jeH4ldflzaOvIRrTJDXTQfa6XevygbYyWBHL20KMz2Z3AcpTFD3rryTPBZP5fdsAAxwj4AOtx9/yHUOogP0XUm/GOSdfqRa6MTjXEE6XMioE1bYoz7Lhp+D0F3TyE+dE49+cVSMq8UxxGfNi1dMg3sd+Cj176ojlnGbw1jTx7CL8XVOJDgycGuA9iVsPLApYdpyutkA540Quy2sRGBTelNnD8sYqC/+QJNzXX1jNVirGV50IM9K0Kgrz+VvG/OzM/6eFvN+yaIEXkKyrQHKdELW9aQFnZJgEGS004Up9HSfqy2EuXzzJRINqSX5T5JKawrtMkPqy8sH3J6xyYMsc0Yf9GNW5ZGELbTx78M9ami5fE48SMdG1keyY325Q5dnRXIDaKzLi6feyhcD5VV+D2mvKWABUXhbAO7Wy+lpYiIg2722Ro9QmTcIgePMwWCkWHMkmQwrY8zyHL26V14ExgqA6QykURyB8pRdzRNWHfZCSicTi0046WK0ZjpsvUVknpSJUiOQfXPMBsCuPTgLZcaVKgE5MCBl1fNJitDyX3KaX3uq+2a1ubHHy8h1odkRGoY4HddH2+IpwDJTANU1peDHgZI2nlRSk83hzBGVTLbk1ebf8zFC87Z8UqOGSOs3Puw2JHHQ2PBeHxcjhJiudRKXCUTDwox1ee6gbU6srze1sipPdrk4IdlIE7bGdsI6+siKg68Bop4/D7dhmBJm3+iDku0Iz1skIkzj6G8lbOC2dYHm63HkuOWZ9Z80a7UinGX9ERbUjwf2J6fwyhtyNydnzC/acpapcf+47o6hDbi4D2ZzL0CfFileCHBfoBKXP0MO1uilQ9RV0bps8ETNv47ldSUF46O5ACj8Dr9W6NRuD6DrsSyCpYZM8zb10sTE37EydKpL7SsIlPlrS1uyGezLnqiqVp9v4euPsp984Ob1K0x6r9K/lUUvbefr3ABrGHEyCwqYxi88ikD9uwMc9aVZcp16H1guR36D46mngySrHATGwxxVC5kbmvIXj9CHEDMxxRTEaRg7/7hRY7pE6czMS/WvOZe4Mssx+pk38KUAeI8v3y1kNfTb+nBGqktQqKGH/hPyexRqo50uNAkNTVewd3LQ6mOGnJ7toLNCwF8FbFdUjZPmlZwjrV2oOe15hkm1z7jMVCNMpNTCIG1B5JB4kIQXmpg70Q5wWXO95rGlV99xjrxZX5rC8+0QjjThiGJ2bxkNNJX+CW+yexjsUOT0Zf5o5TeUhvpAKcitO4N1Ds/gBRIdidHthrhQ7KWJHRcmekGqtGbkX2sFmV3wxtmaVn75h829AHNpeQ/H70kNhZMwUDqopqV2FBW1reLSl0nsB7uTtr1nFTIie02j1IC76Jz+nT1/pchrgbjQP5AvvWxJ7CAEp61A9qn0gAszCHER2EZL3Q8rb6r5fXZ6atW6c7YU3k6dTcet8k28TQDLMsITrK4H6+BiwWHRIC9L3xyxI6CYrawdQZvae+3x91zqBXX738bx4mFzdd/y6CrDwbI7f5Y8AWmBzxfW7tA8QVZupx153LD+5aLerSbPsRD7ACdf/IIy0r/XhKwF+R/7JYGHr/d4/igUqcz0ASi4qtEIIMmJAvr5XPotqUX/yMH/Fl+ChUIqu+EpqQUrPYWIzqFJ5S/Pc4hoNCZ0Dpg+GC5cwejZiaPygKkU15bVEKsJHbIlykkI/EY7eGD8OBAEUlYk526eahfrXXXPLUZ/JEggnRMyp/oWFePYTQc7AkoTGs8cuwL/3KSMRX7J6Eq6zJzgmdNFmQrvp1THJ1iVoYEbrpIzxsr/NuoYdx4P1m/yJ18sjUVtiIdRpacAmJK2R7ua8N6jebUdaFPtJVw4oJyxB3KdnH9aYAeM2nai5fdwjbm0qhYZTOhdDpYfBdSy/pEVmqeOEvBClxxwpUkRFExdOTjE/BjaIRTrjRcuL0Oad6SdEPwkXCkaAsO07SuKYaEKDRIOYc1I+yOLZiLhiv3u5NhFhXuk6yxaKBIVi3CD9VJR7a8GHF298nt1HaP7qJ8uJ7XGPHjUIyGAZPEPA2/wP+Oo/20xBUAlq2VzmLd4RdC3TJVyFVTk+W+IJBpIDnpkKdUjCp8cx2xWwVGui9nJJCOtprJ02IdXm0QT49R09epRP/KAClXUKCEmuZKEEcmUtu3zq4HRyJvRlBN9gjA30jATfXIiCQ6WyH8DlwbA6dkvJypozbe+5kpVyoBFRLnD44J1BRliimgnbezRWq0Tk99cwVJ3XEbUCrrb9+7ljHl0BDNEofna0BsA3dUzA892nLXux2QX8Y9fe+ju9zWI8te03KgM1ODf6I8FO3qm8NEp+gzxKRe4pp7dDZWg1+7uU/epYTzckTGMUOHvR2ZknLd+RbMTQVOYCEhh8Yr7id3GZLkNiCbVDGAPaNJpqouMEDXkC5gZ6OBmTxF1C42ELP1EavXCfCdFi2txO11tdNIoqDP7iPPqrbew9CaZJDgu3UamfWOroG3T1yYbz78fC5jd6XElxkpvZ4ASkAEyxPXzAPJbm1rS2cnYyCN7rmJ1zURlw1xdtXgBQQEl7os3KVcEvkt7cts8i+Yau7fwxrfCvookBFZqEFsHRPIL7VTJQoFY5606K3HZtlnbl+YG36kcBWMfDhUrGj0jWEZtcSloZjx1CJ770NHXxCR9FdXUhE6TDzYai4LsUCJHYk2Cg1Verwr+0ZKZKGoyEvEidK+idLjeHvK5ud39UnCXBQDkBwSe9p8njEcHvnOHbibdWsnVDa8DlspMY2VKftfmY+TqIi2+4zuDrSuERIz/EUgjkgKFWYw+X7URSVnDbpV9PJ1qyx9yE5RCVL/dC6H7vkmFgX1EDTi7/i5QCj9WMlZNYTO2Km7FWyrzyyK+FF6IMYPrZyHkLUmKaRtlSpx4yUGIoYQJThcHDhIu6nnxSx2L3Ley04d7r3MVjx6jUk1Xm181XtytFSrEUnipRryEpoeIc1jegGgqJCw/WIskROD/8S5v0gkcC/9Rn0vPfjRS2RdpWWVbsRaojvTg0FA12PWNk7HYF0nz8ZmNKYy3jvNGKQTaBkgMU+GkFe7c7TSmtf5ouyXFpwnsNzJfqdZnWFjBQ9VJGkumUPuEnFfWq9g/nKO4NxOraZ7fSR5UY+PnwicolXR3N5EiXTjrmgPI9OKjTS1iSSUldcXA+4Na1XShR8DgvdCuvCDjSUCmVIFj18u3jJdP6UYYcTTWrH6bD7myIY+sQSB2j8KXEiN9xthnw12L6bHF/UK7dnvijxo6gn1FVmU7SvIWil0EH0Mae/XXtHFAgls09vyoo5tO46CGR0luvdqdNaPe+UIOl3EbckzAEGYy76BjTK5COLzPRjjaWcxs36MtlHL7W9EIyTPEJojW9zdArmvivnJeS/75EIdSHSJ12hRR3oc40CBpnvOQdg18xkKdz4d8JNeG7mpIeu6/6k22GixHulO8g5wIm5nno5E6/puOaF9d9JHcFKkiD26bZVKomovKeoaf33XgbvEI9UXaB5gUes4W7f+8GMz3w8jGLEWjG9c7lLFTZeHGo/xFRP3jaakogk1fokSayr0tg/AKDHYu2EpcP/hTEYZzByBa73BNdb3YC5TTAbTys3Ys/SUzYfDM66FFDj1wDjk15KmpEtv+y06LfOMAF5IbQDNGXAGUckyKJer3/sq3eefOFHaN2T/GHSQN37j4jPGIFYID+on/2RFwmYnMDCr/5O20A4s8K5ZaYNmj2o61EEiD7Ov1rB2TCo4LmJDHbn+XUp58ze2HUXQUnRfgJd8W6w81AY3CdZ1vi/XcwVM34TXf7vHSA0kTwFtOs4Ru6QqW4C2L1Vj24Gop/dw/TqvJugXw4t4M0eMum0tS9TdaOfeuaXxL5uDJ1RbYzrIcZWzx61teI7Wz5eyNzoivjcVzJzUjF5i0O3n1fKjlimXx881E+duZj1gPnkpc9p/W+hbz+IJsbZDLc7XCnXQG0WMm95EtxPT9COQdMzCK8rGx2FtOxGt+kuBsSZakogVlv1k020uW0sbMb0K4c58fxrD0cRXBdrYuLyir84KQPEhhippvVGO5ssoJ9qHlMNCluqAzC6HlfFturGJnqbQg91pNb85FSFH4JIV3d4ZHEGJg5wmEY8vRwOmKoNMZ/7LMSyOeQJ67L8VaU3uAcptphvCjM4KAHfbtqWFbJdunzspfwObc2CLYMJZjDWCghp1YSEj0IsdW6aYYp3839LpaSySZvkIaXhBX9huHOfAADnxuYc2kOIr4yQi9mnIN1kzjLCOS+MT3artK/CzyPhSj4cDjM4VAGfeOS6jYW0r5Ks5lY1WTwpaR3e9A+pXbpmWyrNzBrrInAfb0uhW/75GaH7WlXw8pWypQJvJqqlkAyCQKHD5TzF0A3qXwIscOM2BHvmcRY0AKjSh1zkaWuRJaZWbNt4GfYU0FY1fBaCB3KnfwNv0qeDR1kinDF3vuHxyIh/CtVXYUHwlxLogITMlS8TYS8DRw98mteECknzTzxdV/zdrwe62TWF06rg8j3KisgEWzmWLrCKSd3GLvnifII9UjGOWdaRraKiZ6UptSInzvpHtpR2dgiG5dHQ//ALQxI/TQoknIo9o5a3cLZhGyJcp7hpvBPvjXG7dTTMjiLhVYpl4SJCoNzUc1uZm0CLHNE8zC3Xc5wLt5AOEnbOhQD/Vsnv3wEL2eqKGfun//YrMZikQL50SMb2yXik9Qutq4rDStzUeOLmJTYWfXDF0w/miAWQSp0AeX7ZFYPEkJgZIMhhzErSemLE/hNGTM5Q362CGUI2N3UnaqqOpM7dEpi26ps1m246TXrVPbJsA1XHwxfliXmJBCTn1jUsNJL2zRk5De2F/sfT27kka/Crzp6uYCCPVQPinBX2CEZ+6mNmQeDU2dLHDO2tkt+hPxTM3hLnNGVLgQ1skKNq1xiUwaJq0d/mHq3HmzlJN8KvTxn7wr8ubSeLtC3y+9KgTKlZk8I+x4y2QE+Pqr3LrBOYKQc0r+s2xm3UO2p0YrlDsS3BwW8J+4jgbAPRw5oN1JJCq5jsWoCxJbKuuLGb+IcRWqen2bzhBcEC/iqQLx/ldXL+Xi6zxBMt8pdNB4zATekGwrwyDRfuwzx9n3wiVOHxtkMvuJSTljEqDGr54Dx9fQ86/CyxlBHGS95+Qk3zoQKnOSCWFAwS5rF9U49AvNKXpkBJaaKCjp/DPLKnaQ2IyrBxHDRCobbPtqshWDzaCtMzbvIJLlry6sLx29wPZZDWGwrz6bBUtcJ5YZAvOzAQQdcu5fZbJHCPJPcYiHXUqms15hkHxRbtIiE95b5CzUXGuhVstbGxj3yyUA+qh23K4+rHhcfFPLz5TkkjC7ZBY+OmJ99BYpQ7i7kzajBAZMJGilxlUPpuo+T48dDUS6I6V439vLDiHT1pjQ7n1z6PXa3BkwkRtNCS1JKSiDGiQ9NPx0d6Wfe7AMbxUHD+mVKil++RAPNE7umQ+b883xAmyvDvPIzUMuMCFB7pKr5HISsDLxtvGprOaPKdRUkyn0w4n7SWGvOw8+04Num0SQ4zTNro90vDQR8BOARsv5BMHhO0nguuvGXMhcwg3c0h0y3UFt0zVtv8SqZwYTO+uLhmwKk3dvJBsjzEkjLDZyhhYVOJlt+SJesdOX7OAesDtLT6RmH2FsobQd5RR/2QrAeGkMf+2YNje5sReeD3W0rFYhU8ATAnp5lBIg8TqAX8NiWlxIHJZWBQB6OyNs/K87CJqOYJYLS/MniGqeN8lJx5NC2oergzuYJfzSYGvR68PUrA3Ddodj5oO/3O8T9rD6vopx+AeozQDhLrlDOkKK2qK0vExvgtHLOw+9r785avxSMK95aJ4I6u9M3n4pUkLXBDKgAOMJqnp+FRh/SAEYPP8MhTxRz/A5k+Fsv8rG3CxsKyZiwE5q/YrstIejzhoJOK+CJzOhEES2XHasAt+SPSipyRg7Dfaqh2HazRusF7uAyVDogt+HjsvOrYAMdD7MB9ovNSwOofT+cVAZGmdnMK3gABikaP4cOPilczeUpfF9/skLklZqDfxeHLMG/CGSQbuf5ysMOwyjTPThh9KmY2Q6EMJdGhrXRrvfo3/hbdhEOTXm0ERE1qIg+na7I6gODJijHOaAVdyB6Lse6tYTXioewMHXc8mr2dQJD/1mb44xYhFTDjO/bYVQXxIkBcVeaq1C0+VflQR0sWI8wZx1TxgQKPerjjdPue+qfEJxtuveOKXpZOXmEzD1F730EbVxTeElnHPR/Tozj4SKqb/UgDILyMdi3wrc8PgCMAMdzIJqXNACmrG96UoAORqpe2HpXx+MyntlJXfYaKArCwaJ6mMtwObC3sz8ywsn9ltJyMAbGnSFS+rdyEZA3zXOr1fcRZvfJZDVS05Jy45t8dUvJhwsRY0In5Ojk5+ZsZs+AUwadomD5gBfAehvPIEYJ2mIoGnRRSpVnt9uzHzOHEZAUmt+fqP7AkiFVNpdaBEr+B9BfI0GFNSZMPNpKMJodm4Fv4od/gT6vXQeWYoKR19H1k0ABzBL9HqFQQOaK2ym+LxzqDd7xuqEJhh8dtc+yj3FAvzXegzpK5DSKkKOU5OPGBYjrzhaxSldx/WCcrxwUYnGCL7WtTzeB23X3OmnDhbiUIXIw04SYCkmRlKi7IEMbwsy70k2Cf2UX7b8DdFumHQQjrnNbrCppi/FCXC2dvnHyYytUfhgRR7xvdv0tpBHxwhv9wo3h82xTE/AENs/1+zorVk9Zg4owqcIyzS3GCXNAQH7CrIiB8l8VXltEPT05sHV8jrSHirMnFq8W9fZilTSMrggPgdgb5RjmJXEc/qjB+sQjkULaSSnPqf+C0wphizmq9jWCk5lJiVR04b+AAHzEWezz7avwKmAnK7noqS5s3XaHB/emaemwBzTKY1TqAtgrMqlcmFotE5XP4hr8P2nI0jqtbBcb22iUPuZBQ62vKS4zF34uWLCATx8+kPdH2hhRWpJ8FKE8Ol8bixPAaUqH3PcZTg7bFIY3A/g6iCWzKctiBb9jGv4Y/D1VMGkqn5NJpbi2lMZjeUzsIiIbDoD72wJdu98M0duDf/y8BsIdQFG8LFBEXL5NU6tDn6t7tLFr9HFzQ1nK8Qh+0K6B8q2qLfifLGMFaBsicHl4Cpg6RW3rxWFoptz5JknnaDDk9Woyfqjy0QgmmM60nPVlKFIoQibgDZ3jY+282UbmMxrcPQb1SjkVOXvDSEdPyX/MmcPPubjoomPM7l+63Pd295CdBIXHdykA7qOfWvl+w3P3KE2+fYmxnio1P2WBBrRR/Ir6l5irsW4Sffsr4w25ycdE/ARIyApOfad19+icnRvGRYavzV265A3ibsGWTWZ4Z6Fq8sodfEODdYmh/toHwVoy8TlAqgVWXtf/F1EyIJfxvaLyKzCPd29eeTWMg80+xshuaIJdLoDL5l3NGIT457/safiV6rgbB0lmEEjwf37eh23eMq0ap4y/oaAo9dwH2ZnuKhLvd1DzU92SD55qZxF59t96EHi5W4B5t1j8XXvSZaViPzodkUjGG8gTTiCpJy3pyQivlfTptIVgh7Jq4XQSyeZzyh/tKY6zpjc2xGuBozHRyCdHgKrvPowu8d6fhCgbkJgS9jt8TRh8ZSdVcLnjrTEesRCxjjAfsN9vPVEAqKuazyAHGlC7bxsTfRba6orbijgG038kVqA7oKoG6oNAapJLQuY3XHIqVUgnI+utqc9w/sOg07mOjiKUmacjuLLOb97pM+s40cKd5GTG6Z9Mn1PIq5SYpMx418yZA8FoUYTDdSWoLd3qOz9bhW1QfmKdmV9Mbve5r56QaH6rw/SJNFaBqbVToXDg8LxuHMre9Qmk/dOvJbwA3+7aP5UQLmvyzb0H6dMMKFIKJOqBXBC9FXrf5PFwfLYpvyFmVC8sWSm/xD/w2w6amLSNCM2JF6l4Eo1ck/LLpzYWJ+Rnkn91F0+axJXl/nVDHrZ5xacbv400DFqsOBqpxglKvfvVM6jEH99yJujRNWwFO+27njU7SNgCl6jzYb2iuj/2p/3rzqyoweJBec2UgXcepEjUjdPz+Knx45s2R3vRY7YQw4L9NMOWHNqBkfjwdYF2TzeKRMRtjcDohRoZ0ySOxzB8y7B4TiFfIGgrXD6JagtXikEcEDIf4eLKE6g8KiXWj/IJVmLA/84GiAh0pT2gd0TMGGfqumxY7QvJNI6WkLwzFGSyX+4rSrZUqXrLBw2ov90TsQbumzKt8Zu3G3HS/Z4Ft614X+ydnAwafpDWis+XL8fRDo1j6f98l+6pY6KOIYP2b8fyJgUyJYfRuy4c8lUmezYdYcmKfmdrYJq5wvm5Moo2jZwwZpzECSpVMstOduaQFYPZAe9H8ojIjawtltdarLZLGTPoIOg6hKfvzIXx2OwESx9i5RHXax47cg8M62g2jvmDqf7efLVuRCkiKaEcvlpmGuThAKpI2/f7mhmTXvrXJg8QK5DbnCxT40okJhlvTNn7A0h2OK+ZsrqIOtMQIlZleyq2NNubzCsjmjjfIbCV27Vgo+cBdCAkp6UeGXtKSR/9Bzf4xiCdfH3sO0H+K5tqHSmtpHGWCje28P+rHTrrezQQF1p/PXsMSWyTMpRkGQwoTGaBzptU9h9uFHg/cFyDlA7kJC5hmU1uZRF/TXD8t1IpH9a8gGzi289WYr2hP+ILYGlc8fqzQ6pCuJhnXsREhr0rE0A1j/ukHyjctXXI0AZ14gRfSsXyCysnyjZyfADJMwLWTi0yf0TMcsskryPjIPh5YjmtG1xbF8j45vYL9Ei3NFIxuW7xJ8Kx0WfHVYj6h+llK+0kJbU/BAbrouPzyM+CRpd4N2QCuMin2mqfVBR1fuwh/UT9wemWMGQeXQO9l/sOHtDiYOeyOpv1H5hBEoH3JaZeUOw/mpYwXiMvI4Quw2AQVyBm+H+5+jMXJg+woRqEELSSgk6n74lYo5yttYFM/e1uOQyvD2BAbPmQBWy3ejPzTH2ksh5zZzLzYdqTS+9BiZCAKxPutK/wRcHEy2SpYXwSbA2YvsQrXJUmfJqdFPjzS0ErstPW7Y9p3+2rBV5RGBwbQIBjaF8q5zqc7ile38vJ3fmfPeqpfSHahB1Wakc/xJhrhy5ehm9IZCoQA2v7Y1zPjKfJ0MYwcMmKSiVdws3RJpa6VOBcqkSSqQXw7nDDvY7NbpzdDBiDRS9pkIz6OjiCoWhduJekYQGjz59tgZkmKq/DyjL1F81yv9/PPWP8qpeBNcQB7vtD3O8b2X1pFPGYpLsKV67FnO69h93EB+1thdC0MJymeG6xmToO7CKHDVCvEKPn08YashMYyKpPAVKaqQYOjRJnBOgpdxs3OAY2st1WOU7XhSST2lu9e+7tjW+o4wxWdfpW5RwU2V+XR7agdwA94eUZfnwT6HI52fIh3nCrNGDEM3ZBSlSYnhSd82hzaYMKCdyytuDTJm67tkHW0fgR+gtwS/X9cJIPung0XTmhwlvofwbXWiW7g1KlDcLCABoeXiOHW1JNpTaGtcScmvDPGDo6h1R/VB/pprLgFqRxqJA+40YDfM0xSl6SkT+Uw/c3RaXpDvImQcsqOlu5V6/b6OQ4g6zhRRG1I/CVy+8fAChxFqCDuTUmqGHCDcqWOMpYI5FD6QvYQ3vjqww1llwYn4AF15+ZQhyLZ8TWsv+nfw/PRDCuKjv2HellMhQynUBeDBTNCYbbeleSgxCd23OYDnvvpbPFkZH8ar6f0RDszprP/gdt/WmuwnhL4df7fFbSLcwg7DUcSH8Xbiiw/5GKQXf4V7C2NJVPZ/j22+ViGVrv1QVinNOB7L1NhF1c4HPtXKjiS0/NoU1ACMoZ0RGchqAVpmgIUMtmE0pfjwSLxi6JH3WbyIw3kuhMAU1xyhex+JxWMXhjgftG2zumMjIqP6K9e9keaGFjnTE2meJofBZOUA/Y3WLXO6MSkEilb5wMRKbguZ/g4Mh9h/2Q0YONcLQXa3K+eHE4gI3uiRGItxCV6K5jSAuS38skaDMQYGBW9XLJWIEpkqnUFYRzK+Gy3omE6aSY4cV3qE2poSw2aa85MWGN0x1/GqMz7rsj6YoBVov6oPaaX6PLBqnMuTGivWrS+/ZnXBTAfKmhA82LZN94BIdNxga8GvNW0j7VBRt1OmFlUmHr2ipbpzUWke7vaGQCrpUhnUmEYLglYmh8TUjoUSJdN3E0QTWTfTOJPoSCs4kmJ830YxZ08nVtwco3StdK7ynleCo4VpUYUxd6e5uM4UoOdBI4HTk2SPkd2pv9RonwxhqOg0bw9zKyaLBjx06rkUaqCX0LA58s7L7HZApF0+yY4PgEXTbnUY+wxPzYYX6ivuBTtb8/pjB1YLrylhgzRJpNjjtFYNA10zpGBhDVhe8eeEA64HeEyf+LMFgJdIJwsADly5LJy6AwJ50UxVnducRoO5Un5bBoDuZ/1DJQZYrLGP4nN7/uWkxyLxHgpUqHRsXkqaZyzkvJeo/0ssLQLei4kNJWuDbkEAfVeCZDrMqUQ+DR8ENIUwLQbOrWHtaaGsDu+Tt6FR4afJSAR6UzfkMvxWV/K9cpPK9UvulTBYNfbLebIkOeMxegWaJLMC2AdLcEFd4v2hRivY/MBAeXsY1ySNOWs9Vf1/S1r1hK1XAZX5Rpa5Z3XWgGsElQwy5NFfZ5T110v16l+ePbiUrQS1Q6jq0dh/oGkGzVDMYAwmrgMj5u57G91/4ZqiWcHPxP5UVG+jBr3kj9gQYTEA7xb0qRMyhRKE+0Tj4Mg1Vsa3daNFxuzcnGj+BIxoPD2j7WPWGm7UC95rlF/Wrpm7MPl6+WTZ6KRDsqyWPrr9fo1heB/pzT//iXOSdO4wxYWQuppV9bCvISbg1dCGwWAMEPikYQwmwBf6eIMG3R/BCl6AZqFox4o5h2jp3flv24CEbXmuK/dVRiAxDBPTfk4QQ9jI7z4YWki+qVivq9Sv2BHdiwlzMYMylDjF8KSxJ9Eu3PsmZ+XnqTBljyWEP6aAuy1rnb8h5/sGPiaVqR4r7KoYo2aAwbGEIhmSQXWA8F/kuoJiDc23tHMkyjInHykZKXXEDqpD+0drZ4UfdbbYAgGj1NaMHrZOjAlXpgXxOO8QG//E7nMfyPkyf4VVsI678fnZ1oogo8jLoreDdg2dLNS2KXeJbv4GYCrN1V8r2xZH4zYQMeF95LO91t7z6hpunY34q1IuCZs2KTLgmk1RZcyrpCdg+e5FEIuRmP6GqgE+TlC8Y53h6uq/8Fy345WjxTmTQuLUH2Logj0BpECGnSxDh2k2YPkEJjvS2LaH+fSKCqKCY9ItPmYcWX9QphoCLKsbbEs7eIbY6ZlnTK5AppcxDdOC0+U82gxZkrmPy/VSbNaDa5X/FgEsEWcYQpoIvk7035mRqDiy02xj13Di6pm5GxxzLbXc4sZFxNNFttRo5o6gRxa5rDNLTdRndrWJviZf04dEhayZjhmOz8vlIPmjOt2JEGYkBH/mN3HYyAbyKqhfVeWGpE+J75C2wC8Bg1APG2irMpjj82LyCAjMBhJo7kEzriN0cGNVhSW+C663WQ7gBeydnyg8I9wS9+owyu4L39P9dwRFUfTftkW//3Y5CKELEfx8P26shkrX+Z9OVWYpN88z0caVxkVKPXb2DQZxBCTtkGDZS4cPJAIQJwkxQS77SEpe/yQJznM4YGh7sDGerp77yZgNJ1Y9m/PjC5oMGvk6DK/Sahtv4GnB+/25c1coI7zTE6wRhD7ke2ne+7wUfWTow+D9v1i3S++pXwck9mfkuce4x3xk96a5JpvgjBuQrwQpRGKwc9u1DlE4z17ArY8gFs4vH9qYEmkL4i4/mlkg/99HXKGQL/W1wwB8yvo01VL9l0RtlfiBt4RVFhuUVMOeSNVruxXUEoxBkOMNr7om0VT3/ZICVXgfywdVRWz34aaf/z3MwsJcK61eJr3BcLuREAmQjpWFXTnym9Fm3DGmvcFRXeIoWwX/bLtR9SNFsxJ6kyNk8ruWyytcENqlfvJeHJNDaYpPqovMW6UA1Ix3DISqGrNAfT9vdTkxNbCLtoiIMKM+VL7xGFljj3IgoXATX++AEHQ61dSTdBQBDkdgjgbxZFpiQg/FE68O83SRCQ00EsbWloW9mRRww7aAC8JX16jVK/eUsVtLKK5c7/fczbdvtyQUGmdxDNZONSALxFW3a4SAKS8jWj2B4bFcZKMYQ9B8h7JgsbwlO0Vzk/A0N/6kJAsAW80Dr/O3cDsLTHURPbNV2aUDLKiKebjyeFLJo2XAtKHpTGyhDOrXtQCSxWgCS9SB5NNBBBaH7hbcQa9S9xUnAn9Zgb2KTaZJlv/1xK+OB0Q47ksYbxu1mu+IgoZkExrcT1f5O9jgDHnCJdweunFNoy4N56UHetN7EZw5P96eBHfJZ163tS70KuibAueCx5wRF5snPekbeq45XqmSqIqEglbJYmxeHApQDmmjGXb/wysDyIwtoIFCQbrj1x3Uoy+zActW02SkLgOUoYwIlLMxyCNjp5zd4G7XeTVPNulT6D3gPc6A5Q4exPndzsYkUjhP2i61Cx13VI8v1ENTMI6fkmO9K52Pe+WZWKgqQOrl6CFpkag9DrP+qa/qeL513KSxI89zbTg+j6QLm6MqMVyGmNsZ7f3z2P/+ppR3rhc4zMhQDLbHSFFCA0iwLgGI1zVOTdqYPNWagCql1UvBOdtZGp/AzD6wulCEVeqv/IOnhB7Ozg3qV9NjQzqRqxXs39C8SMp/KFpGb1qVnVfw003+F5UK6sIFtQZuaMsyKFMLKX5k9Qr2MUyJRk/tQ92RziXoFfYIZFG0kO3WxhLGhfoGAzeExM55/VPutmI6w7J5jfi0brbQzjAIC7qXuBD3/RTj3kIV3MSe4Ap9/IZSgXzy1K2xmzqFjGRTLQ5TzFp8V1E8OE/qJCW+5yiOfO+8Lp4BOzRGOJ7mhovRpYDYvKGnEyFAeR8QstaU4hKyCh9jjjEJHnptdQNcmr7cXLM17ngehn860Zs4gBCqWcmVQTikJ4Rtug0YdRIBuYqw6DVk25v2GGAWm/LeQVu3LuVeSnvuIDr/uabGxW7ObqdXYL1v58HwpQTH6oX/gjJjRErJ6f6pYvOCVjmwZBgmuttlvDYhkCYhCubV0g4w909IeCeag92rgI6ux4V+7AVX/63Rg9PDxnLvBmQIPAhSJf9/DmTkVjwaO5KYO426Q+el0mZ5ap76m+JN3UD2rput0MEZHv+6Na7HwBbTh0mDsx43qkMMO1qiGYMGfm+IWMIzIhjEyUSsHV+83KgzId6me7Nz5sS4izDvgw8AjDPfgN3KzvE6oAUcIlMkn65GEdlg2hf/ajAmKh7bY9QsHpzjldHP0Ds+ipCL8Md3gd4x1+yoSPW91Eh3pr6BTSvGsEwhCTz74unJzKuiryk6W0dZu6E+fAcM3FOlO8c7I5M9Y2wceABuFmFBYOcxMePGczWPljpllSG5uIMb8CyVjr5E2E0/4Lim9tfX3qrmAg+4s/gMpBYP4MKHBUN5peMs2lbzu1lZ1zc8o3Mbt7QMbe8W5SswJCFGaAA74Gpm6tX/d6NplmNXMPNHvIL1Zi0OpERM2HHIfXeVktvXmlf2iDyftnl37XCouPQuuIl5UxAFMusCpAbXezUqRw71/9m5pLK82d6U0Q6XOXSL+jJCoePL9+BfPyBeVDanTJNlhIvGsSNE5GXm77tQzCjw8bXrTrS4OrcwPSNrcKDm1eFCMmrs/lslWMg5k3toUMlROUzlo3zUpT0F7u1jEm/cy56IVUVXatsGJ7974h8bOu/vi+lpu+72CHRq4exgevkamtSdZzI2F2GGaaC/kFJsS6w+R+JymA6kJ15xM7A8Ac8Azcq7SUotUXIErNBfkhtbBOKVcAfIyXAoXdsAvXCMrJeqzXxOJRrNUr7l0ICIao5n2NIBxz/xHvtau8tO+/vfJJUIWC9PFi81qy5lJmZIONKDg5Nd6DuN+BkTc0XZniLCQTUaMtgt09ks+uVS3GipN8zpZi8JIrjCMYmY7rvpqXfDCHFOJnMcUY7THkHc8jcbgQWObkfnbBE6nB/waLSgjVirYI790mjYWXON9mCo0/rgcaGuNWa/XxG77BWZT7HFrJl8FtB4WYhjPjY8TqWTCygbVTf0yAz2E0nLVtZhgwQDmQe28SxSmDTXrVfxduo+t8iSmpLhCG1qZya3grg7urfxoTwmvhFfvHjuWQRvN7hMQePH9KkkEqHQIsICpGuNnbzm0SXS9sSxxlrAAvE/DiCgLHeopk3x+Pg4UCUFvNvKFjKfdFYRZcG4+P6TMUo1BfQ3Zrk4D4AoLZd6E4oPPGA2OOJ7vXzGp9BihGPeR22l0Kbgyg7zru4a82QuBsP5ZcTkErpDBRK6yQxHOUQzxgTP/MtNSzepsbA3YxQnSbWRVdJEQGdqnPiMstALYLA/qvm1Sv4PQwvJzFHjTdfS9xOSHsX7Hv2FWy/mbfpztdwuXQ4IvRN0r+GBp/h635RVIDrZmkGHmanyHK7RS+xpHwRuX+VJlRvdcuLUIflnUX5IkLFUf1wS+7g0220aCL/TStVlpSkcNpPealW9fjfHzpQ7gUhgzwLm514UtSk8qVuUbthv2MER15cJs4Tt1oChovPMKwaaz/ZyzOUMNy58TDaSHKowXaI1iqM8TcouEaOAkwcTnY0qozIwtqfCC6Hbmx2NGiiBlLHm2sjvUkFsEqow3D21MQox73VChuRYCOrGfcsQ7xJ4b7TVDxWeclQFioOHBUTTn8lbJ6XuZdYfWfxrY/6dp7CibmPcGDHXV4HdyORgqdfu1rKWQn38HCj2ZVngbahpUkOmH43GYyzmNv8306OxPSJ6nMFPupaf/2xOWCp2giXQNyImyoyZU+q7toOdSic0PtmWHZc0ebfXaz0tf2tRkzedMpZjIsPu5Gn3llazY20m70qXa/AbMbOoqlTx3mhwDPL7k5lfU0cleuV5X1WdXw6IuVYpOax+90m36KohELmIycp2EHdIg/0gWUMUFm3LoeWNAkNPdnk1oJVLIWGYI9FamZCPk8PAmmOPKimwqAVvvnMeSclfFNxXwseQJqWWqhzH4b7RwWCzAaoa+EF4wuem0/wgqbfsyYxg1UUihjqbBLqGXXHGEz6OXRn0j/R5lDg2KC/ZV/1Ki+jI9Z4U2hyXpcXKhkAVL0Mvju5a98HegkWMw0ULyrop5BgBp8hnW/GApNgGOlkyG1/gawnRU9ZGqcondE0Y5LnwBd0NDopLvbCWHfDHuSLyE6O/xu+THDNAQZZwkSqwvJn/DBITYBiVXCiZr8efuHaGsLv/TdjpGliXp5qHbLtoOv2G5zCdPKpb1TgB500k30vYXOZSWbEqMMccPaaj1xCSqPJIP+10dZKiQCKUGZ8xeWnG54l2vjyeakm1BWgOy9iXbJnqL5LtXaAvLUf78zYthX2T+jdiByEeY+lSklWWqcgyUyVSJp3vlZq7UQRU/TELSTqb8FVhUTe84ZYc09xQiAJr9MtEMAnWgYxOiZt/4BtwfnqIzLJ6YwY7y7Zb2tEb6hFrq2mIx+m+eEQr+143aYXgQqEXOFaVxCldk2ogc7E/6NwrCIii32RvmcOzYj9wdzN3g2agcrJ/vJKsNXvuafROoMo9ymKcIyuiCiMeeHQRoNf8CWS2ukXfthuf9MzQKBwCvbO1bQfY1fPwqIN8q+WXqlRyKzifgp9IYoAn4/ccOOeC5Q4n7cKiOLcUhK5kaR/0iASyy91M30jfl1bprD2FPOLYtIqAuC3Ihd/2HT9yimP3zR7hUgYZ1ZpU/Y/HCu9iPxVLLaLD7VxizyFnyf0bE/Mh1NRtSGurgXR04u+sZsRl7auSQ1Fn+npO4XQ19OSzjXywFpTEAv7pZTkzoNvgO3qpJYQUpTNf9yNPZy4LEx4Y92BKCpZ49mr95jHOdAhUGvOa0cbfDy4EroU/ovXo/3IHTyE+DY2ZJmKFBzvvQCdeypCHgTwMIzU2EWYIISYMzJjvItrfQ7/8l910sxYLVLTqSapBYQgdcmv+5bDxvBVwbN9KonRAqZ8edf1V/+lfbvrNjtxoILOhL5mdRzqhs6MaWLVn3Km0tUjUXBUfDS3QWLnOgnl9qAznlpWTMT688nZt8i4eaKashEXYiPErBWmXfmUosF3um5nvm+MpnALqG6H1OiKUssWSrExkfHHhvMSd6aWhluzISSu3bhZvvpo9TntCJlI4SnSKCtsSll34c1HGwIa6eP/7fLhidLQKWIkW/3UrHMj9iMr52EAY0E0LLNIU5nFwqNLzwnz7CeyQRTZDbFrY9ky16J2CfbyVRJIKdTQMwJQZPBnatvO9W1bAvFubE+J2N49LdcRyEJZEI4DWfMM9FZkZUQNMlj73nliWHhk0MOtubmrVMkPQzXkQCRB4u58TxTAnTq022+q6r2W6UauiMJz8+iioziXaB7F8lkK50CsenzzkH5ZXAx5rJw7r3VO9Att86YeUgk1kG1wJ3SD1GZLJXtg7fZQ5IHCWaOE/9vD0/6yJ62GR8fkgPYul+7qkcBud/aQf29ap3UQAQZwM/hbR6Irenx9e0e44mSomQjxsPOhkJlbI/rzGDi3AxxxUEED1da/RGqfL8NK6HbiaEEFoMpSqlndrvjJof/a/73VTrxMUrQ2z6+6mLYJEMU56LccYIlrE4gpIBPC1njMxsJ2acAHe5qyK/Kl0z4Lr6sDy+FsTGAnY0Def9SS0wLbS28ijibYePTedW7ZHNo8bnyBa4KqnSRj1QC6WsRC2Ocqvfxxo03yUIpSuLpwHwNRWb30SVZs/KmVXiLBgaNsK4yHWEyNP8rlqWZLpg6sP7NhQXTQ9cymSraUOMEqGjGd59cT7V4EVrhATX3Yz29r8TXrGuX0vdeyZhhULFTlViewMbHwXLBUcOwxZ7QTxROTCRYN+MULG4aXQEP+bA4EKt0X5cBoQSDK72IJXonbUQ6lNK7Ma6o1KZL1BNNgM0oyV9nKvBNeK6SHwGxecDm16/8dFQMhFzkT6/9sL0u4cLmKD06Omjhje4Xy+WBvNqygy7VwY/LVpu3HgllIZCjTOyEAxSDcw2jyoH20XSeGqzj1ow1xbC8g1/n+MaVqFhSFjmkZIncIvb4T5e3tEwZMQ3es/2YCUebOfZB7dDQDoXCdpTNPDwe/PwihvUIYYrtksUXgsLxzdWp1CU/oeRlbG8SDAoa6d8E7aZEbtFgq1KcqvIvSs82gJ3UZS9gEvjUhFXcvkUuNoWyT0kpFtqVpPNk+d8kAFi8Gb0UtdluG7VG70xVufYzqWRMdxytAEgynKP9oNWltqIRNe46Ty/xObWCxWfqNAW3HfdC/jwr2EWvdykOJTVRE1nWpTMyH5J8iTF0IpIAI6j+5z/w1fLP9wyTvw5oF0J8UyH9wK1cby2FLYhc46NvX6cLrERDJrGtwbXeXArHK9HD1PW7xzYcaj4K1ILiR6ioyFfhmYcUcKLXonIRXGdQS0Tb2SNAR22IpprGO9IiTGeX/REutJobN/DKF7GzEkEbK3R6qCiONiXDwZdgEVCEj/EcDWS6O4ydRBn0RtsXIROHokhLY2yTNVlat4D47RuFMWkPuIdUZ3MRVJ7RgsV1szqy4pfthvCSZ5Bb0VXn9jTvwnULoZHt0c/rx/U/sMaOCvV3Lf3WE4SqXWfqJfoKPY9Zb1gTf3lMQjOmQ9e42qqIiPNYE3ypMYP2laUv7b5TuvcbWjHZY3uOnNg/XbaHDZA+XwT2UcVE7UrjcTix7RJdZWZtY2OgNOMxfOTzIxrK0Q5FxJ+tiNq3spEN208QarHuJW9mRMLpJX34Q5Z86hVcD1AR9WqZ5pxTLJzy0dYH4sbvL1FrNHhAX/fyolhSroy+fB+sDiyFZ8Qimescvbrrfr681Ur62D1NL04R52B8Pq9n8vmXqu+2fgqFeuiwuYgTi9XcS92UCyAxL2GVU9e05klnqpzQ2mfpPDamcL5W42bWmH6mi2MIN04TmYHOQZPDGIsABbHW9rdSoZCIqpb/ntDY4GTdJkju+DPWU8yC4kfC4XcL7S8+wyfItIHb6NYJ5tnJB1NNr9kmcmnNrcRDDH/MGzjoLu/C7m2buZkJkN6o/mKJUpCNfTtY1ktsvRCNJfghN4uM2R89tJh2RwjUUszg6UQvxEYhLzbPitNNq9p2XeQjxIDc7OT+dVdBF72qxFOZYP5mnUlbLGpXiDNPM8KeHyiQnoEzTwiZhZjI+LN9Hk3lWh+BmULd68qi4GbXFFfOqeTEiG4bE+zc4XivRaumlQnb3YiHbKwVBmoMRVhre4hRJjP2sPLzXpT5bWbz3aCh5rKzFI9w4MRmYQDV1LWwjBnl5dYS2VkXx0F0cgMVf2+q7MOr0xltokNDSvzn4YXayUEbydzgG1aAhNi/QGE/854Gp55MzVlTIWpAfxK1lpjYq+Tu6OhhYIY6jKz4W5WVEbxYmKh75LHj80hLNEapEuKGyjB34VtAjzUiNsisZlDqDoJ/BBl0W4aSbnqmPYGTFHZMbF4+KXfbNkv/VBRuV4jzue02bj1RoZE/7m4/4mms99VQURbK0SvuSTQ+MJdO6dJz/liU1n79kBm07l1sP39QBp38yFsmjft43A50YqLDYzBDVi3/xeU0xDZTsFhZ3Ykcsn+uHlqllhEflyNG/6C3VuCmC2Uf+yicznqj+sBvmeSiWhyXKqzalxyf8rnG6EIf/JpAmggIeXhVNILzcDDpfg5qOeZuP771gfvV12Il8tVFOJs5v2+zGolj3Uv8xJElnLrkBnDGEwpctLUsxdmcLXKLH+xdT9s/3h51vnTWqnzdG65CJpx4m3PS8BUTC3QvPwbbOSmrtHZP/0c0sGs91CW18YUv1ff+JkknqewxakjEvN3Um0Eetpx9MSIRtVE3A2C8YZ+zWOCDogw93GoyaMHXsFEniT5dFwxxauFrQjcZ1aNY6DJtUUOyqfswqkrYZ1mg+7Aunmv9nIxjx/KIxpb1SfRMyZ9h9vuIeLvtdkOEYcYdU/X72aZeoX0nWlissJpjZrBCFZD3kcpRgcqVuujpF70F9ZwlpzCvRf2Wn/bSz884I+0TJK9pEZg4JTnGgQPIiUCo+tkzxAiCd1FaVyzoA+vNYn1YrwoRx9Pl53/UxmBO3nhWLkaKM2bjXR6dQFa75cvc+Y8DSPSDBVXoV0bBZNLJezIHa9VmVhCw9WZoIv+OdG1EECdaWmwaLCUY64DL/E2i9cocZiq1R+en0scRA5gYUmdPUtDmm2+Ap6AHqtKbvwxcUp6xXsizMbffi8ylhkNc1xY8eO9Q2qEDoknRyqTSbzYgJO614lwDUSGjkEEHdAuDGbzOzFdMoJXv5ta2GQS2rtUOuMvyMMNck+ALlvyumS0EI7nPA9p+nrF13ae35wJW06774cCLO0tYFTK9nAF1MIdsMIGu9aT9mbsZZkBTh5k7KP38TSBchEqrI32CoK8DjExC8+j12BV29HLao+PL3a+yl+G7XOCLurOoh4eRakMOhS5Fr/a44N5iudN6HLZMM5MgNbjSy7Mish/HKsVLIiko8EKoFlqfXvCaxuRzUQ1IXSjFExq83Bf1URYypA6taQPQ7YBcTNNMV8NY1HeG6gvZzKnieRJ3vu1T3q4LDFAsltqE97wYJStKA5ijMsHQ45M9SzsB2Rt5yw3z760AX6Mzc9+7/8rSkma97yeBAxpgnsApnrdHfBUASqtMnIBhq0I2SNjoZf6uEK/3NeCQcStUgW6jtasrBwyzYxNwVfR61FzDknLfVK8i5wVBhBcHFvF8hfuO9pr2+xtdG/xWAJfLg+p5qCY0HJhxZrZ16FoiWYWdbEnkjPs2c/AD3jf3/1J0EhKQg9v5dQ/Iw00nA00anxcv5seAEH7EYhPBkIMY1MHa+WnNoqovAMCZb1WvqTJOr1YPff9Ay4sFOhze0eUxgrBmdVBm2JNKT0+AhNckKk3qnfP1qXgfaeMXTEoCA7/2Wqeage9droabLep/jerwWMlpI08oCrPn4BfWHIPySlDmlxYOS5x2X8Q30jL8HsrPMqQF+d7WT3s5+u7POqXqiaoa1lVUI3/Kzb/cqFjgYLEKS+oe/ut2fW17WidAF73FvwJQUC2bHpG+ZdIfwAa+/+7Fw+JCEoPVI4sIBScAiCYs9YN4LWGHqIWKwcZdHg4+EYNbEfqDaIXBglZ6xc+uCQ+bT2vNFuBP9jIfJr1m2r4qmVku2bJzzGyVGJp34ZRJHuVRmld3dcTmhQw1VeSp66cUg26rlDqvooZdPNFzpTCPcLYWCBBti0+UNRefk2sFPdaeaYppZ870ehe0okFDUyuU5eMQWPn52coXg+Rwj5c6vDB9l8oc8rRKCUIWPKZZfLH6ScFpy+1v130G/eup/VjpohZGOSazAHK7MvA9wvTRlhWVKrBufXF4uXuAMn9O3GQpfBzU2u/GxIo19xZMPGMt1KlOqjfL+zspL6NCIwTjDVhbWRxZaovW3PVFJojf5JExvUJjeglhA5YsUT1ikyyywWWvTBKf+HoZW+CKpkZ9XippVW1vwxUkUGEu+8V7Q1drFtU0cUzpXbkfr3+3Wd3ZnSvzngeksDiBopwijj9iZWRw/R46Oa+He4hPFwvU96NDQV/yWKLD8JWO76Ejf04tEU5vJ777H612Up5aMdH/Kz7RmhTjJS9YRjZGJHm74h6gPFtlCUe7LBqeadFIqP/fjP8m7fPNzv7O1o5TRpDTvH0ZVeBsvlpghinDlhuWx7FKedkXdfKfje3i5kt5tu4yly8HNDQ7IRbUzHG6lSVDe8kyXV74ThDJKUNV600j3j9VDrzHX0h8RAc6nEviqcutxw0ZP0Wa53j25CJIffhUfuOEZbIVvmmtbnIA50dYRVUTA7u4qEIqGPL5RY1whBgmIv8qKfFNVw8dXdQx1yHJZQNLJ7KPTiA0qE6nR6jPocYPv6jVT9AC1sDbJ7z6BuPcwCxqG42rrX8QkgPWVJ3nyTQyq5eSNd7DelWQgDlfg79LI8DceoIpIRhUNpwXdu/W2YBriqrnLkBSGvuC/EvExuER9Z292bgK0aKd2xpVLE+9UyY6BOvhSrcWogbKDINyR3PjPhKPY2ikQ9lhPP/BmrLq5veRU4B1d0EvkLao/gCYtEnJmutPz6jv5rX5lnNT7vGNeWOFGEHhmJabT676YTOlQ/RAVoG9w52Sw3FI1G7EnauQxmSOEMw2nRtWG25+guFxymOjtWhMki1P7xUgvgbwJ8uvqi3ElFZo31UbEsD0hp0mIlGXYQAANcPjQASiwDBMNO86tlRrwLvVbDqjkjbq8zTToCSgAyJqiY7Te1H7WTQiNo2kLf/Moo80xq0b/f8dotZPIi/oJj2KH/FioeUxQgSZuh4iS92xba0BEjy76ypjUUQXT0jGLNKOqG8IF4nlGTCAgB8T1LcVAiilUUZzWV2a0xKLC+TFTuKD6+5CN5eNaqiXahl+t/jITZvwhX12GqTUVf3rTQVIDRz9U1vSeZd36n225T9qFKTspc1iF7KQw6VsF6CfmBwo+bLixbU22TqTwJdB7WKFMBVws/XPCvdKnGrDF0sVQ+Kr/6+2IAM/HnvzRMYRYhvWIy6FQGsESZ970w6R5IkPgjtvSK+xc3gHec/mw4adipfZxJS41U9T5g7EeDMxm46lsOT89Epzz6ZTjuWKnijqpc4mYvoOq3/tsOfyYQFFlKJOQjMKvtycMRRRPJdaFSWcw/i0RMuBYJQxwWS9RfOW3f78IFybgNB7BmCs7ouGMIqoSfN0G7HK2jS8yHS7kNADtaSxLzhPYfoodoeND0IBNuVy398iCbY5UgXsZouC7o0lkPkKIMC2mx7OfFlG9afetAhhd0ymSinDjGcfl2eqajj2L+3hH0By47dv/aAPAIvV8AI/QXpQGk0miWhLV/BM92GWT59NhJq7ATZ1zLMh44JJFAtFMDxqflZICpCqzcbGuM2TuZayKyftdiwepp1qBV9/tAdBrKyVt82yqrdQ3ArM8Pl3zhmzPt8jbFweceXZPPGW0NSKFEmZi2QkWcSmoCTy+tUwtgBMz20dPf09cxJ0FC2ojTkqz++2emOEmfRKVT0x0vnbXVDtiBETGC5+1WH90dojfkTEcdFLbhYJ5DLM9rPkbDULV33Kz9FfQfIchdr9jAVk/PkryJyQsyd2ibkNA1SRiGWsjCt9YzX6ET4NSnoiMgDMLE8ljy1YT9aa6hmyAOtC8LgEDZdgJUb81v3v9SxIzslVtfJOnS3h3a2yQDxNw3YLlPbY308LV7wKbS1UqnV6BKZrf5X9xpKwV4BeFFiGmDgmSTIJ/lZFIFnbzfAc/Rgb/6yZM7NFyscN9JNKPvq5NfFW6rY9cdFZnTYCTimjSEI5eHiAmAjPztAS15LndEsVsKILkJCL9yPvK40eYLewRVOX0bDSJVwIHqQm5A7A7FlA8fnJxq29mVlwgTBewTaT4W1LdRa7XGfQV/B8o+W1dJC0jtTcCfZlI+D4OI8qyUhHeg4f5SLbtYF0yXbeMEggEMAEqX8b6U/A9rj6cKCFIquqDxYIMpOTYQClHB5YKCuNOrZbnBdCPiH/aEDKhMvReZzKhhX1x95srAE2TdD5ND4K2ce04I9BgJTI735PmW1wW2YboQKKGfWi9CKuiB5uXgMpnQlV9B7O9z+UxlujWxS8kylt+QnZqB1tQrV7eXLAxwlW0hJExEuq7fWG3E6LuyTreEJcXMNeHgsIxQo+ECX2f0xx/PUflCuOBraTTZIlULeyjuyptdNLS6Qn1wvu/Nr8UYtsCBDC/uIm2PMkPvz+x5YRLOBKE5XaveWgnR0Bv/NnDjxh0sqyGAiU0pUHYdke7oYXEF6UJ+4ee9stKeG73K4T7y0rvt5P1C5CAZr0U/ivRzDVUI4Wt0glEa2kwlGofuKF7/2hFGQ7xrq4EGRMzXGtdhCtrU+dqcOFkg/uysVZVXSnuzX8k9xcezzS2lpavZkTsjKmsZHlTeKZGUzu9drX2cUJtzyXxWEks/6kQXlF9sFxvGa+L07mimlnP4G5SG2XjQfcpDk4dFXVE7d9B6Arn0+EsL4Qcgtb/TY/2cm/Gf4fCpiPwWRsSqjKzb9W64DF6roGJ7M1F1PwMPnide56+LgWsC6jhcD3P82fKMlUXnY2YM3peROXQmy7SDdzuUoqdFodHgubWZGetRjaAXzYgm37qzTdR2XTXshIAMHxpFmd2+hyZgyLpfw/6xv6MsVzL/GP+tek9ZnVkargCWkHPrNO11aJaycST+/pbadXy7OwBpnDJnLY1coFQsz3H1QiXeil7SMctBVFahEm/OsnGhWzGI0Xxdbq5eSF1Nz4GIiI8nmJLTzLroNcwC1vM4xfLsWxV5BTI29aox7+LALKYt+qzshbhD24ujtn/hfQ9vJKqgtKELbz+RvrF1XOlrAN9gBbvWKMY94gtuS6+ZQpOgLFD5l4n/7phkDv1g0/tt7VD9LCkQ+swgqHv0w/+CjzcPIaqyBETi4t91cT+HXzRkeEAoKHix2yvwKePDg4b+g0HKdOXzJ7cvwvXhzX+jvT6EaBskvb/hVnTp3aLSzOScnVNygnjbymStrakUrlBzMjlkRDE5+FsR4fJxek8tLGb4Sbqt/ydv/2BnY7KkX2E4DZQ9u4LylLEtGzE2MCqNu6bTT7J4/CgMlvWb8OwVV57mVuT3NwlpnosdsUdcfgmzgoYx+b8DvKYjfopviEaQ/RsUGLdddlSwE9Pz9tBYRW8EI6qIQLPF3qecqd60OU2O1ftpR71jENR998P83Vs9Ybf4mpuFy9FdS61LwOwGiKqIs8svH9vY7wBdy2GRR/sZdafuifA/bXkGoU2WJMOGiwIEcDyzrh9yDMFn99TmJpW0Kx4pTDAjSAxSxxxj3QrLw1BZtL5Nwx9CKrJ/K0GMxsfPDzP4SUc0qq4PszjHuucj9x0xbNLbF757U4C9FiaCi3oIv9wBk3LbdtBZiiv8QrPMP2Z73YksJLBRdYW3k2qLSukpuf4QR6hivB7AcLtL0kkYUrtjYhENFHgsw7fyyf7aERPEYvUFxfthOf6D1wO0syttdkXoWaCWG3rrVEBaXnuFL1MqrF6wPB50LPAi/Kw9iyaGkmm7TD1Qm0HMSaO7yjvYBYUeS5EXAU8yuxSFsxQMlvDcLESlUDXQjUThNvG9JJe42u0NFqEI0sxaMSYCYzF34jWAzwCLTr/1e+wu8fjBB0chJUr74aLQX5P/UqGl6SF/G04DmMSUv5o/Tr1juSwUGS0TT+9OYI889YTXO6XmK8ab1w8xtCUqxCeuX/mEDwOQVP9eP49qYBH2PE1FTz5qQcjqLWjFjZCEePnW3f3Db8uflhbF9WS9+OptamO1EGHIfArrIiGDenHX+4gIAzREkkqt8lAeTiXWz3W7Bf5wocvqJm5ciqmeCap7O6vjb38lr+5gEzfwrWmXJlA7jQ/PupVP1KmSmu9ougOeZJntNlm1tg6i0FAFKqj8x4F7QXToQDnxhO13/bh3u7EG1pdcZC5HEIir5AbJFf6Xp20bPp8in25AnQ8Eq8HG4iCAUru31ctoh4d19ivbPL8oib2jVAsdZtivWJ3LLBiBFzpZl8YFasQtGwwRCQo2oVqGryXHcnCddsYz3HNICNy1rB8v2h3nRZJcIS5qLMJdPsW1VYuUHu8yXW4ij7s+cLzi2vFaLzdyVJ1AOfxxROHWC/FSNjbaHHHzlh8nrY9Wj/sjp9uS1v7ICy2Sln9wqoKfF67VLldRWMUDJ1fe3J0fL4x5QYL16xxOWpirbf7hujetfzFON3azP0/snMwNK8YQyWZ5nijYWrd0D2CpXlo4PmpCKpofIbP5o8av0AeyvPRK+TlwofXlbjGquux/zCif7iat++WXJm515jHTQAJmNXkGSp7F+8x+2ZYNYQO0PPfaiEgO2SblEKqEAGFVB/t83evDGa4lUX8IG6BWZiYs05TS82Kudgxg7bizxO09MWiWuIFtUS9VePvQekVp0JB07gyWIVbggGJfwSxE6AErMFWPB2/k2wSGtbdbr3iNNpy//lZVen6jFLiQqU0TrfOih6dhGJnwpzVxcy3+aVgA3MP9lyH4ZC9HDRjkyE3/SVs7CSxSTeDw5ywbLoUD/bbkQM6C9Kf1LaAzZfhe9nWmI8iJR62sUxuA6lNQgQWQJTQijup6Tpry7yEuUJ0WFT+1lJbrbPrXINoM0Ips9g7CmHTsVNodGrMQfrEuR8dHkEotrq6v29nguWZsoiA/aJqKm+j/wdvI9QLnZzHlOjf2u/T+81Vz5tzBJdkt3Z7+RJVepZ1CAEHlf/Bava/hA0VpJ+qy+dCo2O0wclYYJkyCoF48VTRfUpHJxvVCvtzOk2YObI/tVVNMEV2xqoX6fVUwWCUEBWybW+E9oEiFsyCms0ynR3ucY+ov4OYEAxTPe0ljXyB1BADYKZk7T26ioTgWpJNVVf7Lmgl6L/VGs7Yc1xi06bNFqhzT4U39WoJYD906nKqxUDkuZ+o3iTD0L+JMNWgo+zndZBxX6Tu77UTVA0M28dQjwXhuplV7+4q5H40Z+wa6MA8uKTl8PjBiPJWdo2EviSlDYNLL0jEHYdnPSJL56dRuLgHV3toFUszJItWIRI+Lb5ef3GD0AMhku86JIBLZj+tn3EAl9Sx7iQL7aOteR+IYCOCUlLYk+f2YyyTMnlyRs5rVcet8L7bKMH+6qYj/zWNk2XgzIFIKBLvaiuSRGbHrpXSwtwe3upfx1/mDh9nVYuKIcfl0dNBKV7yiKMMiEEqXCH2O0HMiS6KXJfgWr8Z8NZue/NTWr2zaJFhspeKrz3IjalgK7wFl6fTS7wJigZ2mA6cfOAvbQZ7b2/hK5sDhU7ZtGVK3RtvSjQMfIkQm1AYRW4HHBlVBHB1r8Kd20wcbHVWh5q/l/DVBzqJvP2bSxYeWryq2b6IVxNR/Er4liJCfbplLtzjT/jzukVb07FddKamEs2B1t1/AtW/YzkhOP/m2Eghy/+CBxwvJpUI6EJuXOHeYnGzxV8EkYAngpJNc525l9qvZTPiOjVpAEAqQpb2NgxDabZwAg6fHAjShYUvzoHYZTrEcUNSxE/ZEMhUIkjH+xgeUQ5HUg5pibOMQ7DOBSZz5W14Nx7NZY1FlglshEjkcoZEH6MZPAjgDcwz/ZXe9L7zsY12veMnS+FdIH4yo+gefukNs4Uch9jr8hkqPKUedlLD/cJsVJyPje14k2UvrS1QaaivysDX0Phz1y1G1JNEg7xXU1qVZn4ibGxgg9YMVnInwzjiyWxlGz1/In9do1EthGarvK7xaURVwGYGIhMgiwjfo9dIczQvVRr1OwVuYvsu3WwAbhaG1rVdsvYkepl9bNNzlT/KvSMF5REiMcMwwJTdMiglDWczz78bGMwQT54YWjJHCfBPO/t8ZPsSnWw4/S2NtEas5rRMO18Sv+xd2uNz1AtHC6TFDf+KB+oS9RZ4tGsxFOmdvwXj2/YlQnW2iKpRyHNXd8PFbo7L0qkdr8AS/nn/F5Am6ST2ZKt7gTTluatG6tvpbN0Rl7N+/kGwxUc4Ur7j6UynxVf9wK0u09MBeULJ2sIY1/klQOpzMYwRoH0wESy6/CLkJYnPAf+o5LmL/1gxArBg31E7tAaecAnbc7etj6l64OKV81LsZasYpWbB2E04XxH2pJvU09GH5vzGk+N1JQRXrl5yIxqt3W/KgqlYz4wMSjUDoyeH5S/rKDBIw9JIQhybIezalQcfXQnBoZZF2/SwIzat/7QFQzlm3zXy10QC5NF5bqMRYKOlhLPQPH2/bGL50Jq1CoZom+4MNyqqPjXoFSZyyMCvXOkHC6/HO+2+K/depX55/hf4j/Ru29ZNlX/We30oZ0Rfb3HpTiDqGhS5EiLcBKSxrHM4Z7w60mZRX4cd5wA9WZHyGgWEAi1tDnro7z5BgOkrkd7jgd1Voyx3o/DOi04s0mSDCZZFjcfaMs/oSSWeeSNX2JSF5QDlbzRGsalHKsU6+H6HxlmuSQaxPCqb4S7LD3ywesKlibG0FA6FdmWEtpAuiKQywYYTTDsSTPRY2ZZAziKt402MWMMxoQ+CkSDsbkqQVo16b8vt+vykk0kQz2WlMxqxTPH2QvxMMBvdRcZcCZC+mKS6JEwNTjsrblM3g0dOD/ChU6U3mCUzYgYTkq9KGZCKmz4eJuuuZgJSc7GTPTy8bGH3W34WFWyrhejq961OUqZRN9GdkAjytaxM8lRj0MSeJZdfkLaPkXAltRYd8x/+ENY81jYrNEnXpUePjKb486GRKBnMQiZfj+w/YSWAWyNQC8mxuT7jLf4xYusJELfT/hNkoU3rvacS9NHz+T9fHtgb0YDin+DXmzfcR2FWSfHmUkP9Km95rplWhFb8z1IiSI9d6qx2pV+usumRdyi4zM0UReEt6ur11nIdVp7Cnh8iG6px04gu1oumIQM1CPB6qSIY99AhfRKg/sg85VIf+5VGWnyNvTUPjbCwRjoWMWqndtuZ1zw3yokGMOMudyGwbqbcwpgDEpCInRMVY/Z751PZ1pAeMh5C+u5Vjx2KlTIzYb17W+7oSgYBLsupA2N+h1OcMy4HEBkqA0TkyCqyuidYehDjHRI8Op3e7cICoMXuHhHVFMixJCFFdbxWu3mvHfGapDGwRGMkggWP688bxeR4pPD91P30WdaMTnHXvGld1wJuMTh9J700Lb/Rq43uMorQbVpI4KNQwPH0xSb9bgKMmyobHkkTk8dWBbz0+C/ag9D7F0jiAhnjXajWSPE8YozxnB+yFeTpkFjCK54fQrRd+c+DN/Prto2pK7FrMbx3MNQdqf8IyQj91ryk8/yEK5XV6i+WB1gmLi5QugSQ5S8AbkO0wSo1b9HZgJPcuIWkkhieGlpyNF6wV0LaZoRh8vRvFHQpf4LJcDpqj9GE/AoEQMas8tpiQg30a+A/xH4tn0sdJ1kbf/kaeZW92MpQCmmkhC4PccC/RLZ2un7E/IESGO3eXpaOA6OZkjuW4n84WjN777hKYAY62J226LjgRZCSJ1BMazss3bvhjKUf46AEVCX4puuPbfC/fbJslq/l43z2DpyfsnF29hGZH+UMSaL8af3k3N0KRCTG34Tn+2jtNFy75dkqncaDtjv1iGl43dPGTX1S4cCmZoQZ7WGziFbQ8iY36Pd0ZeTBTsj2e3Ou+GutmHuJVZO2s+CnRKODNQJmNUk7smPCVjEbGY4ts1GaVhnOXZAa8LWp/RH8kOSfK39hounmwpwNOGvSl/5I56x8hZuzYf6mxsdNcQaVmhwXEyXnkBn+b7H6GmniNfJ9bW0RhzfdcZGpzFaBxjaMl+w6qpyNMkdnKTmZ27UXxCntKhDshG47O3l1OmXk7lVquJAgKroewMhQY4nZ5K+Hdg4shSBVtJV2e9+OkB5nxFpPaNjzebrmkvkQP3Xdh64oR2FnT7ErxoFvdKYEypF+MjB7ClSVHo2dPQolqOltRKF89zUwDWNUKqmg8jp1AuB7ZjRpcsPeXkSkBXkd8LlRuNFQe0ydm9EwQ9uEjokeotRxgqij4VzbHuZ881k842stpJZCiAKmq6gU3k9WzydwfGaK3os7+2T0MYopKgks/2+vkn3hB/A4eAw8Nv8jjPtPqQts3x+iYbWTGrA+evzmC4iXTAZpWfyWiz/ve+Y82fFjaWx+jE4LGPSX2xvFSB7qfdyxAmY1kluefhu9nejSTInELzaR/iKmgD40wwaycKqnB7dHoHEDShBMwPcfdFJmgb5NcR8ww7pL13X0fTjHUUgo3LEtruKqdUQrSkEw6xrI0NfBGk1RVz2L4sxSfyqA8RurH7zfjCx1KBbrsAqY4sXm/ypUaupah6z0Z0LtRWkIojGF3DcmELZS1m7k6/oQjfj1THdM5UaVQJUv+Kbh6ZW4iLamOyqplbqW3zw0tZ1BpGDbPTJhCOZ0+bH0lDNX/zEez4d0iYRT55qoN2PypoBDeAfuLktbgYmODqg+oQmR7j6SshF/Dzj8GfGAI9Y9ahGju2nAsja9UhSHtIZ2trvWv77HuV8a13ZXXLjv7N5bCn/LkETylthCbO1WClrcdcOPXtEbIuk1I0d3cgBv8vhCkhWGTx6bFzkRywqq3S3BGLleT0Y3HGrkZEb3npNG9Q4IJBA9v4q9WbOafntDI4fDr64Je+xeiLkcR6xqNf9kyamMYvQvkm8w65KmU8zA/V/K/7ohGLRiGoCGaRj7r5n8psEKuAWyQgdPiv8N5dHADC303VGCiePd5G+nlTdZOPnK/dzYjnvW25hafc2YXXZ56uu3z1Rojs2HtbeFJwgSH621ax9YZCbtnqZgdh4xL0rLh5csm+CNzTb5FLutoUay/1USn6UMKCvY7iFXcf9++5xJX2N/H1CUIR+kDOekGbIbRgYVAxvGRfK2x6NWB5+YDv3/iDlWCn8ccpnYiQw+/qTH07CFMQmeoLcQw6P5K6Ii/N8kVpGr3vxc6MqPmTDHeV/k0nzSkliMylDppGE+BDJ3pGYjYbllYgLgo0H0uY9tyyZyWhCoIJueeg/GFIUoikbyXuxjOgbzVHDG/p30wd27RfttV5gsnOos5ZyCAkZdGqqEQlQuDmg7jMHREhrDwvyKiKj1FTrQ9kBbvTy2iur4HZOwE6IOJzPTkFdBFaYs6VZ11uvhT2vk7V9Uhw+tc7xaDQJXF9iU00Mp6/EkJ1r1P02RrnvJB67emSIEy7i0u5My+qLI4Wk6wf5bHckQ072gnWWx2hKr0Q0PB+nq+cy7sWUkw/NZw0ogNIIYSlodujSaGQ95RmksfjMP9ek7kCAP2EthbHqKEecTagdRig6KP4p0vO33lm2FHrXdGVC1XjDclCaE52F4x3N85bJHaKRIuNEwqxFTHz3sGDp0SrnCUjaEM1odGXzDFvu5fWv77fQ95eZzYR43214bV90WRHWuasG4eAaR+prGGDh2pBTpDJiPUWzH630wRtPHTGjAWARJ+WMyNbw70B0L5bSRomPQ2tufixK5fp0GXXX0hUq0YoAFk59Yq4nNRIKBZWlnU3NEH8KdX6KfEes2/fEeaEng09cvrCBprkqVZrLPK7I2F5yu89yz+kRgeR6uu9NQFtWlfjnXSIBBXpU4MlMNhrgRHp56fzdRnd0XzIjOTMK55+JAenFOIqwikNRRP/uj7WhI4nhEQtNs2yOmHhMBqKSspnpY7eTCNv/dDeLXVskAWgoC1Auy2kiocGKvBd5jt6jOdfn+VXVqsKPBr/p0JZGF0mWwSiiFQ2zio1A8ZmSGlGMX3DISHmPLFnwID5QBbx2HzMNIeAFTCgvB1dGLdHuAeZ7L6Mgxxo2xDQY0AzFzvoXWtkETvb99miJ7LzpbIhpHXaQF7lwL5K1wXAEchhF5rgQLVGBx8Egw190NzKHjOApmvyywAJ8vljWxZrkdE2XrKUwytQKOnWr74eg/9+iXgi3nVwJZnhc6edfsJPFP6mY3Mv7bng6orqN502CO3+PmKygo6PEMrXCNONdbNw36LwG+MOKtcEII4MfzZI3kl5Hcg6jBqz8SCamZAGZ13fiV6rAGAdKFIe9hp8vWoV1d/D8NSc1TYjssCqi2u5OzPvxHwkuiBmJgyXI1ansR1lo4X6p8ictgK2E8h0F0vKs+pAIMmfkwqPD5/k+W8pb3UXmq3Bc3WOAl7cP86JjgWyTt6sfh/08nt6oxLsayiW098jKBhm5O7tOudxXJn63W8F+/QguVCig2E3729D87+6cqnrKIRh/Dwae5s7+D0Mme02h7V0rUXb9+ayGdak0EN8OlU8T6SQi1olPF/EDwSYVoQhAJiUkbuBjAnPpaJ+15ggiDRbqQHbbBwhKC619aa0PgaAXywoDje18l5V1dbddgnW6fd9no2Bfd57R+F01IleMT2gA4YiW4QjcBCgxEEwDx2j9nbhoLOyvMRni58kXHT1MUEGtSOBmDJ/GP6gJqkZe+dJ/rSR3ju6rBXowo8fuytdJURVbtLKU5iNRU9fg23WhdlSCmJCBH0kBeL5QmVtsNJaKLGEgubhDoj+W9P401HX4jaL1j1MS039kX3hiJwup1xKNM0TVgNz5BkbAuGEiG0l/A82QJw3J+lGRlbaZZsDwN3SGoHmOwzmobP5CrFUbCKjE/0hO1sXXxGUwQ22Z5W3OFKvIIo4g6AdCqVtb8cL+VBM2akKQ1CxJ4usHI/c8wYJxOfEhv4S2YaGz3Stm+KTqOOboZDIR6W/IavB8Wwujp7naJU1ucCi7haXmnYpjO13VmorYisH3CbxxzZV94KJFB/Z4jp/2rVyEfArp5H2oafFxEcAnpZ2odFzAv6sm1/NxB7zhucFv7c876J05vKVSVN9Cm3JM4jfd6w9H79zPoyQ5IrOjorG3hfKMHeb/oXP1nyQ2YqWlUiU38KZoG0Et9hKFSTFAdpAczHgeKT5gYH6mjL67S3lT2hd2x0j8BeT1Yhe1vdRFtBDNwXWDkDy6w9BFG3oITTIVp1CpAZ7dN6TdvtF2rLKkkO5yn75GuH+KCCwqCfwkmrcP81otBBFIiDJ7ZWw4OXRRJII+f6z/UqoIWINFZbdLSvckDqIK1nkaZBJx5bcDkgGFNzinDhE45TFcGzevfBuEdSKeyNBjw7rQtM7WppbQl0zG+cbZooL46QPZ++/+kxykBJlTfAcLN4GUyxY0VWiSNEnoj4KKVDHhbLxWAM7urgcL2gDSK4fjaZ27845RZ2v9WSAoh6jQgkffEIOGyMYo4rY7nBykg1MFFn1e6VOpE7RN3+KRSExr9rV2bvsb9HJaw/uGKELp/hdvdwAKyDEJfk8fo0KnYNXslwKmLAiR8aFmVrIWVA2/17K8Lf+0IMTY6zIC7RgfdW0ipf1a3uA4GCBMh1oNZUagJ27zHVrIyQGfx1SX8rEwkLST8JPB3zACyuTZRbe94bMpEZsCN1PexE11nCMjVQ5kI2vX1G61tHUcw06lHRuosxNyigcINIC1Ny8ebRkeot6JOGm0T9xTArdMX53lNKbNv/IpMVIHBOh3qDSKomYSyPvFgbsinoDF+AYWHYbhVtOQfY5BL4lsFZS1TTTTA/YKBT+rW5STZ9/1VsHKM/ubtC8c0niQzxC7T/0ZuDQJAE0pDWWYTSKxxRDWcekAlJgM+jqp1Xy9N0SpqJITmNPVxFRTjE9IYWi5pTQvZSHwrIhzp2vAT1y6ywnueqKR8/fUKW4eXSHLawqv5EqPA4SbNF4HuIjDODbYwSbVcYnugqh92UoakovWPTMRMI2RuwUOv9FG2u1IZoXRvkTW8W/Ch5BuH8oVgP6Czi3mEAJV8F+43+Ecfi9D7ckmoq6XABJcB02wEGXd1Vvyug+BvEBvHGsqW54ZolzIJ/EIma50FYjiodoE8UZ4IkLUl8XE0ffCvaCprrzbywGAPyq7d/2n6FMpEWbJELkhYI2z/2gRJ2GPG/wOnGKmW/VpiIOO0U9RuwP0eyGX7vrL9ZY/abUuYOoG65x1Fk9qMxXXjaXXL8Jq61ey1lQEmJ6HmC0XZ5ly5F6eZsvxN7hnFU6qrY9Ryf++wN2nslqvfvFM/rBFK53jro1I0CPG4kN7eZEnTIBFv4SStUjuS/c2e3ZxWLkntFMyeBr0Fd5x6NJqSn5wj1kh5dNBgdevGqL9Q8FmpYaI7L8cf3yPAdUKHCZdtEtkp+1VZDtUroUssGwLUzvlOQAG08RNHPiaoKDZAtCRL0tGj2Dox9+PpqPrmv4cvk/Z5XuDoZ9ak0jV+hDM9FCEme46u7bNiBtUzTvfYrpqS8HE2jUHxJGm9e/aXg6rCFJUXPuhh+fUkaTE8LtY1tTMzlhRFid0dlrc674QMKncroE5FoiDzBe9X12Ym0rkw1DRPJBHazHSVn5ZV87z9/dS5MAyKfwk49IoqWeLkvN4IbALAc1hDPiFRsl19sKkYS7fEsd8PTrUgH68H4BZ2TGWRkTpbsHR9DPXmoNHf7XaJxA0dDX3Yes7KXQEjF38wDHanNhiUQu5v/d55f05/qsDiAnsE1vwdNbL3W5Hf+GIuH4ia48YPxKK97HJxrokinnb3vfdSNBuEUSEIq7uAf9qyJ/XZGhkFK9TyfuHCS1NCwtXlkdHt/eY/U1sHnurLbUNyWzYU2nPTMnOEqNVNaA4ys+nv56zNHPC7hTx0kdPdWkdXIK/MQ0VXLUfxl+bCOwxXWTcwhy9NgoToKKToqg6XSUxjuDcDj7OADCcOXKx5BBADAw4b4gRSbL6MLgGD476eYoTki1icRs0oMk0/m0SAzXdudO0zq3Yt9+m3PXOo/VWHfQAFACmcaGKHbtQCYhAcwFKccPjsS2CBihbwj9uWdYlqHMp3gNbA6elHMEg0lNP2ZH3QReohptCZW6fWE+YG7eceY52WKvGKRprXe161zhWzpIN25gxOr/UqauBtb+ahpc/kF2MHqkNMk6wy2XxK7hcBxBmnWTokYBy2aVIKCXST6xf8fAA1U/v/v7U2+3GHHuPIpY0p4/Pvnh4rfrjNy15NlQXrAOW/+Up2gMwaazkr8uqiyLW4p7iXIiZTmRnD/veohJrBgRaJo9ZBMiBSUsx70RxctuGnJdHcyCt1O6W47/A0ImXSDLZtmmA8fFBfbzLEtGWEfPmDtfsCNIaQdFcmBYmGLp7cuipUMtqsRwByE6xUxeyCSt42+wVGmVzKFqYHbCdxxMlDkbqvYv6cNaYZ6bqiMY6R2RErgxr2+anLO1UVZfvlV+d89yBJMHPM7qMt9up1FWrVICdtCvI3t9gBAr9iAhBRW2l0TK5vy34JweyxE083W8t3bdKQ23XM4HVwoOJYsipj3GsM2MBBHyqDrhgcYsxxjCMIUC0az7BYQdVg3dgo30chXewFK9iw9ClwALksvxcXPgTH7n9N+oIGzapYyFadX3xh8RBJcxQZjxyP4+M5Ioe9PxISGlHbYP9n/0EIR7GluYBxbW9S3Ihl4fPWCDW3xizC5fX71M/6Qe/TilosSFNPDpBQObgFtTtKdyXOP1z2mI7dSF5l/fMwHnILEZGmwek6mnlVmxtvgUKs39YlgpbthRYugtbiEWrCajnrvLiI/p9GdqtZtCm3R7AUCE1fZckU2HHPs9xuscrMZ5+fkxRMtcOkMlKGWJgGj/IznrrlqNI48Yx4af2LtUUPX48jhcg1koelPmi++oPyOpmFoDFp5AVzQOUxGPaALudtMlYlOiTBgKZIW1GM9mLdQexnAJOcboiT9RbAKrjQMGqYEXEG4a1axsinaxU4DKs7+C4c5jXxWiDJAa9Odt2frLcNUHVwI0ZiD3U6k+a6j7laYsi6ICoXsWpvkXUHRjywV8LBWUv4xGVMtl800wyFdxb070o3g1NkS98WTTLR5ildgMv9gfcKCmuJs/iduHlsLq27kPrAOvD9FT5YUEueYuZeGHTe9WtFEDxpehmHRj+df/ZFAH0Oigxt5xostFRhF7XwsHlK1qa1ImEQ12KuohsWkpjZk64x0pGGQyEy44gPYvrYnLUjI/v3bjINWcZ1SD1ljb7TzFShaPlJsa3mbbKb+Rxee+VjkazGFdE3zLALfbJJk4E3TxelVnvlcFFZ6o18tJsYHD4XXAeyqReAGckqw+a1vaUP7Pc92X0mrZD7osWf5O0lazouorUmOPSn7/SrHMw+PsxuosSZNFlRzar1/jTc1MCdlBGWkkEs9ih2d/VWgM9KkSmbV+HxBxJ3UrppSE9SJRVr42DFa+utHl7gX3G6Sg1KKF2WU+e0WXWhfp/3hV9LrGyy3stTxESvkMs4dhScb39gs91dYpZjy5+MotzCJPM1fctB3ijUUlqip9uwUsbPEzO4XvDKQV4AQGZj+XbyjA6fhMapSwhFViJzPTNJ2RW8Ju9xsT3qNvSi4HDnzj2Fbkyq/GYcTkIwXSJhnPt4kp4xIoqPj+ZItsgF7x7JXboBrK8LDoHKtkHOT0QhN8CQYYZGSQ9H9YY/yz+mvEpTeqvVqpO3RlwqU2V4x1+Ma+tlFcLTfoZ8Ev9IYN/CsA4kmn/hmg8KHxJLQBVulGPYT0zRO0fjXZGfP5PnkIBr2TOkNb6uqRpBs2vY2elnYPPwdg5caA7Zyi7hUqJGVbaF+oMsywSAidg/MUexqe/acgBtnIDuJRuuqVT+/WETujAMN0fGTjbajxRl7QLyrRYv1WnqcbcJ0itH8T0gSMnhsUI3UeVhTnkGOMV098bt77u00KifHjfPqotXZjjps6OrlryMTacWR1tilwL+bimQ/Tb5iGIRD+pMdTKlo1aoUFF9tGiWoNctR65BMbl5h0QKjJ82vvUDlKOF++gV4aRmjEdpYczdB/XODV1KIzdKiEXhTh+dMOjnu+XMf42BWzv7ULewdAI3exqgHyhIBrX//ATUMQglxq9IEheGsk6SOb9X1lVqN8+73sGs4ezinUIpax8br+ICf2w64Mq+9UAwfCwKHQdfDdh2rHtjQqNUbaTPWFWX4w/fabLKFf+EpgHcqoijKmZEo69TDrznKdZFbwREy64tN8FDm6zgmYi1IuxqK/kkUUlNYHld00OcE68gUJV72L6ulFahrhlHkuX3crUKZFaAhcKElAYzCChLgraCVU3/WI5dj9xeQA2sAHKNarFaJkjR+p7gYYSAwuybtQBSi5mbheIPv39v3z7oapjrKPlvs5Sl/x3YZFG7A2pTR+OCCJmZ3Ra9WE+Pfpe/2pVfQGUmBb39FC7HF04QLMdMU9TwMe2pvj6HLkZXO9y8L8zIpAbwETJ5Bp3PasuJ6sFVAb5NbUf0fmzQsTwyODNMEcT5q0Ps4oX0nl4gpVsay8A2cBY1poHenn5n+akkcSGgIjwVSsguKEoTYf53CZsW4CUoC1qdUJYtftZFjkGluYODhKBOUn+b4ogJxmAgCjdtCj4l4t4/YnpmeNomEGgYNo7so0eAOD1sP8QHyaLI/g0SOxdK0rapvglTvKdjOBQzj1FKL76PdrU3l4DAul8sY1VKA8uMMuHi5d1KNoBH713cuZLw0xVGOXzeN5LP0KB0AqthtNfi5F2uWPfsxo+gl44vwZh5K7myxlP/lyWBmhjf2OOrjttEomKsybhfBFNJTiWb0Q1kqAnrUd0/NxETL3sYcKspba2ARkhfAAPRdYP/mB1L41OWH4iyj9mX9NBzD5RX1hrXPfjQ3iuhCdL+0Q+sKaTPZMi6ZhBd7NRv9xbF+Zln/moQili5vz1nlILN2PRw6DIR4JMtCt41DsAdgQbRrAXow1Ah83OP0KVpF5Vg49clR0NHehcgso4YyRpPWFuO/iz16Z674uvhXQFncxIDRBTCEjNxzNagUfpczfJCZiIlCkoBedI+om4My/VgrKteOL0mgStXmSC2q2pQw0snSDHLOCc8mmZ4qoP2OAYQqLgh65cy4wgxJbcNgkrg9fay/6Smpw9zVQnQKmIwdFxnLAK805flXjMBgrLvGJkVa+c29OI5uPYoBofFb67HZihZcGR5yCEQJpyy3YtAAGEhS76YZMwWmwr9nNy6E8GE41jr0Bq7PIrK5/GQzR247tky8lC0svpR1/KKeJt10ISYI0dG4D0KBxcjllRN98m74dyYXJoqWjGKJr9J9bv6xKNoLHMyAzRrA0mpi0dY8GPWHSB2Kj1IwnNgCJeeyxQhXXbywKQlCMdrOxvglQ1MHSUjyY54fvFSWHXKUklqYlaOFUVvoxSk9jr0EApb8VGq204FLEEdmkmwoRncjdbVu9OJz2K7sRJkOSgqIJw7n0dC39yFJHo6i3xbEzt26XpkgVnOgjJscN6Rk8VBWi6piLQWSjj0PKtIDYNVLm/K/exFeKylECMTXObu+nf9x/oA4l7OcVqbilxC63RjIxHhlmHrkxpFdwTd0RUVU8JMEolHODkSKh4dmM+Re3wcTX+DSX8hZb1eGFvLI5NljaeNXd0v50pDEMsYiKq9WiJA48ixGE9IbTr9bBwrCVMG45xY78hUwBDHz+9VHcZkcothLYl/b1hZDBr7KUoBKpNaqzTHAWs5RtXBAMkZ52J2AYcu/1TXH5lrvdEVUfSuYGB6aOXD4hNa2KYQouI4FbQ/RHGTUD6MuJyK4I1xGygYsBCZR7oCA6KWFhmCBl0H9DMvCI32GzKPNa4fzLXTbhhIVCoG4RZX5Q5rFX3Tjrv3oSnHGlrsg2peKZZvIGJZf7TIYsTLGxnxosXLrVzNQe7PYDWbKbqoKGVPuK+SD+EWW8GeK++p6isGolfV+4BYwWiLHKyNx3ozxQ/RDR5cDfRI6JehhOoF91WYxTfQia2yG1LnKZ0hVvdwtr2cpyx/dUY/KCcD0iACAwYLMZtZwju/zjykTmkW4aBxdUeuY3HVmitf/kjmLtCdfYoZQ=="/>
  <p:tag name="MEKKOXMLTAGS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z2dD7pS103gZfJ6l4USC3jqtWOPR/ue0umjYEY9KlLthURXCUyUuZbmGDPUXB2idlVQc+R1c0j6vNnMaKvr/AghcgjyTjoGcS2U6lyGcWZbvoYqQsrFJ5DN1RdHsB5gZU4BjQJ6xKwDUEsW8X/QQ4uIPkrhyjIfLLN7ZR3puqzBiN1rMnctBA0J594at1EN5QJYMsPufr2eabAYzIDriNpy1GurybA3KWqcTPRKYh436jQqOHiPaCJtAtzpRgB7Igk7tw7BcBhai66Lc0jpyzFEK/4NRoFF+cso+ThI1HNgDMZbpFoCsJQtilLqk9nQPGX6RXGboCTf8hOOcHaKoTUKF81dro10jOa8Xb8mBGZAZ+Iyl7KGHMy03+9hVypQ0OJ1eMgEd7G4+DmkRofMPfh2eD9JuOvzYqKLvZ5xZf+E62EsqyvXc/AL9vWRXUBpRDEas6KSSf16aqsmRTZ7OJDZprxi3EqygPXqi3M5ntsLcko4IRWv/vTNj6z1V+IOhcEzFa1xfjFX+iAgM6an6XAKdDC5Ranaj2L74kiOfHDXkfWbRjmySmWHOU1NmBi1yiEHL4T0y+49vgEx8ySJOdXuWZET9TwrOaV9B7rplmx+6qo+lMOdupi4QLblPjkJ3T+Z6j/48U+8tWreCTxLcDgMuctSEwfiAwIZAEUWuaykZ9p435eoSOmbO/tMpFrnDCA8aEW+6o7vFmafHZxRuUOmG4bYCMsYnTsNfSHwKdw25yr3a+mSF5WkI6B038na/Hb7UXOjfIxQIOP/fxicf+I6a7SgWfPEMsRT0uV11wbRvF6+rJPsqZRfCD47YUvcaig99or5NNoq1cteQLuUI3qsN1nwivVEuJjU9nwhxcNbPEjGry+vwQw0HckNJAohootHp9R56Zctm91ia0j6yWKr5InjckHbGCgbF2TXhfY8s4fYhBcAB2X42KtSLuPZztWYQQmjT/DkQBMbFGKRbPmUYr7fyKXUkFIaBEB4MuXutgBa6GxJrUD8U/VI8UK6LUYiP1IJZCHVEP4QqYnULJzJm/8ebz+vDCjqgoF4eZBYGSc6+00uib46FUhWxJH+VPU4WdTtkU3eABTF/vFpaVeawujq60yvTe14atTJMCpSCmlFANQIwvXcuKsfEAgWXjqOiAhh/8cq4umFyY5Oz2PO84FCKAq0yVt4xWdTJ1Y79cKB5MYPkarrP4vKo0kTLL+3iKJpNXHMw+gV2p1GVXlJjqfwu65qExElK5mjOnSxM83BT2SQvpvAy0CEGvinPukLYBVdhx5qucxWJ5WMLahsJRc/CPqT7dDRDGJuB/XIhOdmxTrfvrrwIhTU9vBuSvUB1NDAsJITQriA3CZ/bWYMNCHCV28WzMMUPLCAkJKIrDbuq1JqkaXsrB4qLE+lXQN35J+H71MQTQZY7G+tvgoq3PLrocAuVTsZz/dMgf0OduBTo8WKfgXD5qe0RI19QvJV5rQXpQHGMynfwiYbyHXKI9Urc0OfHe82aa+cNiojt0zLaMVskiYrD6n0MxxtX+TSrOVjWXakBmkwYgdJHYqSfZxtEY+DgXGQ76Tc55ezPUrFSK2TDIsaIH91t8IJfE1m8ToV6/2Y4hEY/TdnTrglZkyaKrtt380obFyxKuqlTz3jKHOkRU+9+Sor7Bb4LNXPFLk00kW1k8CLv3812JpVpVgoSlxhFwA1JEE5g25mtimEDl7QFDVzYDpc4vbHkUD/CNnJSehKC3EE8xPF8NhuDcFUl6WOAGt1DrYq195SM9bkbC+G4a6ey1AKpYLOFObOozljlCR4sqvyOfhwP+BmiMPcvZ9xow578Z8mZ8+cqVo8/CEnI1GXGviF1Tm7Meo6e/rVS2FErEyFIFkOcM0y+7chCfcdTJCMati7u2maflsFuoOh/wM9eF+cMvSTIUboZjCRbMjAdpSRbWrA0u659ipRwdYt78G8Wup/U5qJFEGqLSd06FhrDTczPYbdYr2F5ENcwsXX0qqddCzYdj5yXrvWhI240FDCleDszh2APGQiGsrO0RxRwd0PQ+ZAEdrWwK+8Nk5SKB4mJMJ7PFkj9pCjNWcrCDtG1k+5PBGgoh9Yg4OKD3lRECuPf1Z/Y8+6QsPu0I27ZJO0MCLl37mx4GB/o/xKnFlcMRDnI2ewICKtw09GDPl2gGPT+0+M5Csqby6POTyhw/57OOOup+kgs4UhmNOQvsaVF5d6/UCfOBbQmMvttpIF+umYoBM5gvhd8xLQe2lD4Y7pZ7D0bfY5oWVwp5hEdXv+pvPyVbxKuzHC1jzgmv8qXgtXRQHXR/iapb4321Vr9AE/jLbTOhZE6HqaxnCvp1Z/pOldR/g+ETlUrwTqC46R7PRsJ3Yzx6a977Car6lIMexdEcdFPpjvAkmeHDO4AdFHDjXSUOBwp7iwLBlIDDAWlj85TNYoDbAMqyYt2ZClvUtDSL/sx/pd2d8EG9BVvUvZpJDQOUU4Fi+F/Yw/NeVi0NDEePQzbqAKQ4tkDESNejRIef31H+1aJ75ce2/SbgrFUGjv/NMZTooUXeM6mhJns7yjIRd4o8Gud8rYCRs5ICaJ+BCGP61ANfSP/ay/XVAsmdrBGjE2ts8Frv3ryUHpGX/8nITEGgSCb0jTfQA2ZOBmCG7I1SXGUrAV233BjuGWTuaDKyZA2Lyx5v/z8aDUbtrClg6dYEHZqq+kLyRwbatDYs/ALsk05NK8ltdL0JRINUNQRhn946EPqZ7yV7yZ+PkcVr8mrhkEbVfQRhrnSfF3aB5LnSn8m5FHmx73wJROSvaJzUry3YNVr1qzHZzLBgpC+QqIFco8J7RVp+BXGRuFx8mHBmPZZg4OT0VZUWrOTlSeyZL5/Uwkml/Q5PuT0nbDbjhSkD3u0fVd8KgBGfgHOQKlVBxsu5NgZ+hL8WuwOxX+/N41TycfxRTsbD3lerghtpyDrViz0XjyQ0FyRKmwACfguzQd89G+zLXOR4ZRKLa1/UpW3z6eEsBDpKF3Ni+SiNry4q/MVHzjrMrfnxhB/+7mGIMRZqFmq5nzKp6ToSy7SP0n7rJ7HwlUDzwtcQl+seTTxIKzM7COGTVxGS9joy7Sl/MzhUiBklp2ATx3AsK6+H7iOqRRI31bIrplyXgEAwMhlSb1fiwO5G1+LXElobNAbKVbyPKOkH/A4kVUyk/c79EuzNrMxq5Xxsl1sGq6RiHLqBa9eomy/xfFQ78n0CnVFQnfa4iuIy7MOOXMkKeUvdAGwhr/cuB3APHy+6srZiK2EdViAL155VPAy2VKzrtTjqDYKY5nJ+jO0qT/99FjFrQq6Y68CCcK0ZcLXpiHZyOgHDs72SXILDMreBEEJ44PhgyqO9r826UDOhyEFcWc5S3KP7Bc/0K6m1xbLc3nStxEFKc/4vBrlOHjDqUPN677y+2orDcas3l8wfJbQzhLr9MNoHt2Mndh5EtaWc8Q9VMQYtgQ90k+PEfx6nuAfgWWW+562WAT441iDn4Eo8h//C0+PTTuUQabHSwVE/rxJD3dD3wCA8ELB9J/Y1LQQh8Lt/4I8c89QW0VD3z8TIJgFxG18tEzKWclBo7/8G34hLLSDtGmahs1wK4bWv/p/D0oqIBo3tFLjYs43SIvuztcyskWd3ndSgfLZSbSL4Su79xB/eWvDP0z5aLKGLa7RkRsJPBaBmcBN7lGG4yzYG2mZogboNdNxjuWRxCZNs0lSlkWnuwT+TeapnxdM8dOCtD2hL719exkziBhDCluCfZVv4CJGKFSaaDDJIrSUluR8h6bBGssNZTs23yUEeCOSbpDi+B12pbeOAN3HZ4RF0xgE9U27Rl/WqFVJv5gDH/uaIgXvI9RujQy/hGJypkwSdEKFvxjt/VPuy0xshEPB7mMM9H7pfomwjkZqGGQWTXz4AJH1o7HNZzqdG88BtqIc7IUwsOCx1r0v9u/r7YANej2gxNR66ZVoNOTSZzpMAVmP8bXlKytN+uOv8rbINFhgNzXAx0J0Y/qVcwr4ca3/CJodjO9Mi7qH4ql1oX2VYWVLxu3sbRuIbtbEfvNhJ9jBV2UH3/KggJE4Ov7bDuJwRLTIjV5HKzJaB+HrvfTJyxNGSrOHu5OYmI2IHd2VpgPPGp2XmmSGKQlPbCi6/EtpeKnv8P9Pee9bq2HB5EifpYADUWFBFbHslxae3+BvPSGLS4qXaWIUze34Er0MDMVlRdWb029MWJeukJGwlvCPJQBGW5+DPHiy13MDk2ENypT/ZLkWR5VcKfnv+n2ldpiWZGKNgzw6lLBcyDmeqM7noR0RM5VspQCUhD2svEak+xlI5TcwJRvMz30e5IrlDr2NsOmchAtf9SR16FdwSdK9Y2lQpOmicAMRldihgAWhYhS2lC+YUWW7jBpD8ZuqxlbWfQhgtS6xXxzbhWTzHRhMehYRKForeeZWgc22BmKMIf1ndL9aTX/lFG472XSONpp46yH8jzH1PW3w0Q7IL1rZ2r5LP+P29T/quQEMYnIwoD0hT3VxJylqt2JbKwjxf3N6uOY6FhHyPo1kq/XuNirVEPycMU8E0nABxsPUjaTQK3VTFCIEhsS+ZyyJj8/cMmcDW1aauiAXcVbf8Ce9leFcIaZu3kvGtMPNw8PnlYGAH9J9GLV8bX/3fS3DAQHu/qywkxwwWud0htRmKBC+uqNux3C//EJMSixoxit36unUSeSW9r0AMf4cQGIRum5wE6KNgaf+YH5pmr9m4kipjThpXmIe5FVcYj9lsr5FXlBHveujuVgjBim23CIIdr4vc9R9HKkzCB7m90aDdiOnK8FSh3e5xgGBs0hGsqalSXLzdnxtPk8KDUstmyw1dqup7MXWSOB32k3FHBTDetPSh5LVLqOVM+QKNzZ1NlAqTWrDBU95mdFkMdwEvgA8tu1wGR6jmSE/ZKVyw8hnkNzrdJ4MJ0fFP5paOzNnxUTa6xrMCkmeKgve7EdEeLULNvOFUU1ieMxqllCJYdW0PWK5AVUW0DG2Dm1ynfchIIFfjFJRsiJ62YLlmG5Xer4XJMLd8f+hy8wVcLegeYNsZl5mcMkbG96C736tq8MWUy767dykU+u5Sc4ZHeiNVA1PzR4TESsmz21Z5mZFlinL8r4dzaO1wS9LWiuq6O3w8YkMeJUFCu/8GVREpy6j+N5D8KSaLEenDcP8OuxQgs1F7wCyKFmANbtrJc6Vpco1Iy1fRYbsYl9LgbiuhjXnjb53dDXvHTk9mut3u/nfXrcOO8kkZV54DHb97pX+JsN0ovcdzQHuiEaK/XQ5sTLL3F4gfgK3URmGR974XOBt05diJELoj++wut8Lk6mfuiBqPtwD1ro4HuZSu4BRX77bw3A4GG8V7RF8/UGl7ZPMnghrQV1ScSObvyUFMRpm/aV38MnxuxxoVxNsgoBqdbOoWRdkVD0mCR4RgxLRLNuc3rm+heW0FWeI7cIyl8jQh0hVHzzQmEpjrDmi9SSF7HqxmF8LBIcFQfZ6NA4Ob19pQaQGBuH83gAe/k2hfiKRQ5l4T/gdQVGyJ41W2Ssbgo1mPLO99dwKWFh+sR1Hh+n+IDj4da6iewkKBl1AB2ZajWeeR8GRQZO6Ubyd7gWHzU4NUuFQqwep58RyFvKoXroF3qMvbGZabGFF2Uy3JoGi7R5vFMX3nT4jllp+2ZAB/Rxu9FHUMMgdONeVSVfZbtlUd/NqjJ4bVENvvIjr0yrYN9JAo8bvfmJIKDBENxQ2AwxDuzpqBAoaQQy1u828LNP/LhSac/VOXtQ5KSPCXSZgK8FqXBIVAWTllAf2fAgllRZslUI/u3acGSOUlD5iDhK69XEi7bwm0/RObJCX96vfDnRzoOapsQ7mqWKWTQuVNu23MHreia0TxwRrsW8DAP6XDSQaEq2r97qXoZDYWZhSH9YHXtZJull/RQH5l1BXrmlYO675eXq+klSR3M/fr+IEsKVRppc9ho/bG3A3YXgZxEYoesmI729ehMjivWxbh19ADr3OIRbFooa99Afm03NpAFtlDBDVAiXv5Qu21UvA/o8hELqB4rZ9dikpCoUmalb4hW8WbA/cK2LJHKHwxmgMw4vFxR33wD2j0tTTBO8tlG637x8L05eFNRZjCSCBFFUvFfWOrsPAgkLLOKmJf7EJ7s5vhJeFFs6nSIk1MHYh6XPVg2iZAEhqVkLgxB0vy5nFeg07v9z9sZq3rP6Sj6XEyUuqJMAj3Oh50rz1y0Qvp3Zktl2iZ091FD/4AdhsgjlXKg3wOC3jcTjPA2m7TVUUbA/mrN+CNuxq8eua6xBlDbQLiIO69ixv1AptaTSTTb4fCAlg7eOkrY83+rRHjG5cwOcUtRJqhivd47tMLtx7cb4tMygkZ1L2NedVrcSJrjCHw8dmkgeTkkxWZNvXWLmYmRG8pdMrQNvWzCoyTb0Rhq0W5jARpCrihis1yDWzlc8fcohqCk7EvSrHnnchzFVfjWKV1pPQsvfHeonqbMAkzj0glG4IROfAhEOOefsYQIVEOhbAulESn/C5zfKORAMSifX1kbL+dl1IBcTKkVXW5EabR7oymdqDtHrCFWbmqSJbF87axxXpSbLfTKcMLnWYc1sycUz2WUhzDc3fV2aOzJCWOANHoldyBYuWTW+l4UlKFmmVSAuJWMcBq+TCz6pW1DKFOlOiaB/UypekaDuJa+ZhAFoRzBMsqkE0G13Gb+TAoO4Ws0LH5U38RD8SdzQa5MB86BWHQn2svYEpG463dAMm6Ider0kJTQ5pwMREJzYg///Yb8SFBobujlcocHSUQnwj6iQkjsiPhtYjLWNJ0gxORc4N6goyV6ESL/F6s2uMov9ixZbvy6uJP5QHsSZI+sSLB1iHT2wdVaDOo6fk2U630+aRvkYWbIK39TD7rc09QNogpclJ56qrxEpOmpBL340NNqIgXPQac/RDTAZYEMQ+0lU7crq055erD7i1i3B3WHI/RF7BDbJLxAgo3qRP6dmlUc+gWJUUvnt8izcZKBDXlTO363V+qyhRSutIDgDIhWfhs9B0khWCcGQJ6njyryRXk1tkpco1OL7bmxo0ZeU/fpGAulFpfSceu+frnfmESt9cTNrqnM9d87MQfUEQel2GcYfi9M6AU+fhPtuljA9TDMbRZU5ciL084l3Q4SbnN6+CRMwOqZkq1xYcO7f4JsCPqezBPXZ3x+VvobiytkgA46C2tEcrm591Twh7op6cLGGbv+Yn2WnvOgjyk4OJnm3qIi1/isBiU8Jkb3bVclUTILFbWSJPi8mLEII3DJI78irwQ9i+JNm5Eyrma/kBFbYQQTxr3DNrM3hcrE/fo8pd6EikqFQEa48wFxL/V4vZMaRFcCv7WlDoJJFhSP7iOtpLJYtcx5bW3E3YwsJJ3oalxkdfaTBrVxunK+xMpwSxpTyhKrpRVj5DbOFnyDzV1qb4ngKEelAviXfr1WOZ1bk0nqNMWqZo5i8kwINWrXXaSERTwPrPmD7Rc/6D880Wl24LXUQ65SmhQW4edMOXX5h1cJzfP5ABsPKrWTWKdZP8qVXCpSqJ8onZAPaAu1QorykKffpLRQNzi0W4qBYnJ5oIaF0LwkkGWCa4jLyRWn1L7+eUsjBIxKiOVeMfhHyQCib0ngttZazLUWghcg2nc6k8dD740rqFjjFQfFw5C0S6vqPKpDAE/IZj+65p0wlYqKOhGI2kp+blAHSH6XZshXzXv2CdTu5fxDarp4v+9Di1HE8Utbc0TIw8ZvchPNHM/dxRLi3p9W9QD7pZFe+M3z1blpOSMVgoGB7c5gQ15HB1QXRmrw0GBUH7u040PEquTWMCVdm6TjWBzp7GRmC8GYhU9hBu3+TrI8I+CFd9GiSk5PZp3wKculnWLGhks9eNLDY5rCKCcSpUi/dpLECJA0/dvBxCO6KYuH6d5EOYeG+Eo1UiYb7DV5g63tPBNSmOcbA4JbowPSeMSCnTNdwG7MgT2N6XDJdikhF4qfcEuTHWme0O6icmFnWim5iUC6tzY7SPm+VkMUJf7n6oK7vaoTSHvuOU2zX/JsuU7WvVOQlYFF1tFRGjMKFg2liyG8ZwteToT/QboIVw2g2euxghMh8X6J6pPsEUChK5UEXN8hXsInxD10gc9AW+cx0dTqdwE5VQsyMDkzXWVvLOAcDCXz03Fdq6kzv9yv7gTaTMLmMpaNQ1NX71OGKIs2h0+O2ZyunFHUyKBa/0MHlSVpzRkYJaQXn0aUoCiXrYqdzY9UUM3a4eiYIedUxvvqP8aGAm6iWa46pG4/i39mr42cOcl77NmIVpFOrAg9YNnvc7JaEV/zdCRrB6noFaqupZFpy2QnQXxqbdlIt2CHV3ygbVYGV1yaxzUR9jQI30i6Vyb1fP9xmlboXoGToomEs+xtn61zgupX8oJC+BvhP2sntmLnZl2sKbOy3bQS3n4ry5zyprdXxlCB6SOEj5rHahE/7VvLD8CqEM1cG4R2w09+vq9vBdNv8N30nzUcGrvARThzhCjJww6i0GbbETZkNgYOaXh4KE/NPX88s2+q8AmvxGJfwQ2mGwZ3iQCT/DJDD1GMnYWaqGUl9JvsdCQSMud21ctB5lYZFuzaGhsfMDTc86HWQ1dn0RRAqZRB9pd4Ar6aLYFlgDuRRlWvtB/RRCuAPqN6KLgaYmiztodMBEQVJFzRiQxa8jMVb/yqrG97m0BCIj405DHFNS6NcDB1Y45Dxco7f6XiQzojFwuOMDxKGJQg+hLAjlZ9Hz8FSM6xyAWxaiU0k7Iizs7eBqf9rZntT951d3DRnV0k4NZqt6CtH8cPKrJYlFKzrOOEL691ROIQ+9+zk+QGvRGS2EApa9kxFD+Irbo03FqE8bC6NOepM+NSzhxeOwtbK0ZFe/V8H/6EjxrbFJ/VatXFOA8xx634oya1bzMRK7I6smw6+sWxiV07biwsI2MrDeiB95znm0507F0lJlbMdX//9FjBR5BQ5qgM0Xcg2vWiBinqGX5LPa44z+RIVjuRFyEKp5X20rowf0WsxpwyOcPTvzZj7Ezx852Jd9TOC4DAh7X0mjtfwciDsfNtsFeqQvCmpqRqAMeToQ/AaAy6j7l015ONlA4kue/z9xhAFhByw/7XhHy/H8QGpr0gcj9xou7bHaKURXZ0jIOAlNeCCDoUbhLpMPoQCiRy3GR/QYMV1cl1UkGj+BFncF0Pd5TVXEkfbBvGILukfJXSfQwn555RGt81mcSaiH84rG1CEMqoSSEvF6wWrMRxpQZaOFXjmgRzR/j19qLnlPT4xtpDkRe7Cn24z2od1jJM5dxv4u67FuE1s8YwPKaub6y816bgVdXm+tBs6KfdpN6YhD9lkQQGy+ZdqrOJJ1ORv9lQys4ZiDFY0yYkwI7epcg7lCdaykUyGpaFsJP+6Mkc0X0SQJ0RPlTpEKVot7GiUTzbi/bmT12KCxhdOUugdpGtZu4uJ9s66hLIbrdKlHGD9qa/xCXF2O8RSroVTUyUE7h4sytzeV9cjWr1xz2dlBzRQBQDczMRe3AxZS94p6TJlaMH3+i0+krnaUgMtuL/q12GqjF3OE1HSC3xkjvEzlLfFkAZQnWmhOWK7hdfOUEQKVWg/KbbEeci+2oG4QTphtf7QYk5sNZ+CbsgHGAWGn+qyFG16j9Tbecw3TDLkRQauTUf7TW8DPE6ePr6EqA0FuZiyhQjP/EXCFr1Iqy28pGbBfAlg68Gw4x0o2iLPomhec4ItVSLs1cy7xwRxOH67Mw4GsZm8YLmNGasYsVRZfPUsHWxt9D9i650YzFWNxDEyX2t3u/h65q/XFfAQa2aC1DNIApTWT9F1Q41FbdQpl2LsMGce51lO5AlrgMl5wZQAkoOY4mD3AhENhx/EDjuNe0ng30jFIz1Uji1F5w5o/rs05tVGY+REJ87OU0WsfycflnTrwMetjInFztiLPvLzLXjlAuqP+O/3UgVOFmrJqEls2wTPX6FSPz71fQeeOtVDSomX0OgAb2UJrVRAPfVM9yZDUMn6vuIbA21Jq/Nz/xtYyy3iel2m/Grq6KYJQpA/sBwRhlxYBfbbOxXfPILzvNtq4jbWrl3Qrps/XB5Cz4L/W850laL4dj+P0DalKnlaFT7W8jRxvKn9TD5YqCwULDLZlZ36tFjpcVvE3QH8nDFCnt7rMMtncD4twRvGPfJN/Qj5HeeA2cmrQ8DZO4tAM3uuDrubRhyduK85LWgfQLobWFSTvViCLHjfO26IqtdqKIl6jyyJg+zRm+/kw+LEd4o1txEWA31aZ45AwsYy2isFB1hN4fo8+7ASwpJm2Mo4IDTgLuy706VZ61pEjPDzEvS7RcTs9dC6LMh5C/9La1vT2i2EY9fJP4rvfTlW7jcpnAH4UGeP2h5tPEMTwOiyqxFPRVLSccdabKvNF7DbBzDs2Lx4CU854Lgh4m8z2jM9L6WOuOrtfT6gcsMMeKhUvTeITX2bQA2RcehgQpcpiPm/Jlx3Sm4K1Ntqt22sUWIIaj614Ngt/RCbE70OG6wB89D43i3nFPXMBQEvWM9/erl2I9nyp/Ax7enT9IKrCBLl2Ki3MZGVdXgy/JVx6CfZlShb6o2860X5xYTi9uxMewePBy9A70lE3CPCNbp7K2vwXQPf4UD3B4pQnlo6XCiZWAOuRjHGludiE98Uo72mwNwrfQy2VjFBWXdTmQ5BDSwsHvFTlLhTd+VAzTf0r/0G9Q6HOESznuAH0etQUCjaVnoleVSuuA+FBzvvMJSh4aE2PA1O/Hu0FJYJrSpFTqwu36wzwI4Qvh4sWtnRCVyTlndtDpnrRZV5Mq8qOi+r77blcHivID/w8A+4rSSjkN0GOMuEtv98YqkwWcu2CXsg8ZC5ENkxtWnC+ns8BpLKjkIKLp/zHH4XD3crZZj/FXod3KrCLLYusHjLwhIeJSmBGYOXV7jG2mPwwpR7oNx6MwM0I5ajvA1Mmu9MOblKO29/tcMLJDaQ4aQPmjz7C72wlnzl+5Au0ADkJjkcdv+kPZzfyVc7vWCcHY6aJkFeIY7HlsdvZJwxroCTspDilfqrih5H0Lu2fdCHrPy78/QUIlOLrZY9xi1WfxHeMmGFDE42zVXgL0kqHGWQfsaGzEiGSqYyCkb5g5PY4dlwclHfr8pNapSa13Oxmym++6FZrZEygduEPNRsEB1rUWrDXrijU3KA2FAr5VvTJbeke4j/33UACeyodkQx80akOEnpIOCOO2ddE2/vPwR0/uwGwu+QqMomSQjD17k7biU3MRte000woMMA/+360TkyHIKcftgDBtKxYAJ/jSDwUZjFSzyCYGF2WKDNZ7OcdXRimvtErzpisjBQrSrYwd0MPCJED7rlVFcKA3HO30GgBBsiP20oe2r7PICgb+G3ow/GtkedSFoOPxXdtoox5jgt3gguGiEOTw1Ch4EvRiLkWR2ojHEXOHFKmzkAsDVn7CRXQ5QQ/dU/olxF4tz1C8CU8VmUfM904fLyo1blVuqcoD3pwYuuvza+xxoRQj+5bEGJTzN4Du68J1sIl4i2IplGEseLdvIyiceWqJjJnhD2XD4S/5WySycLlXns4JO//825vJQg2yiimx0IlIcm05Zyyt6SOvURxAH2zLX/a1SYqXWJmm7CkNjiB8zSlch56coU0Dj/A1qVhntLJzvvq+eSxW3/zuUGyw7IhQ1mBjQFyfTwjbKZl+2RpoBCAWBHpv+My9Hup2HJoYV6Ctb73DyqJAtASOQYx/WT8SqG83SQ30efaIqhGFMeh3vKOrtxBkBPqUPdWBPAW3BPFMtz6K9y8W3MFjUG36ZKtMcKRJ3t/EqapHjifunSGXBcW9cuUAhFACXaAKiN9kTIBYNdK6XUMgI6cdGNGlPLqSBHsnJYbcVd9TjKQrCJWyjE2tx8bOJlfpXtmHy2UmDRjXdzs3Xo95EUnj/WHBLsp2HHU52Yx4sokVINPSsmlzIefedIakhur2tTxtm6E2D8XQw0LDx1WkM3c9ctfbVXVKMHXJhTkKqbk0ULmMzjWePjrsoRHd7cxHZTI8QSN8i7/dPID+WjebfSW36tSzsKQodWYPXkybBMKS9DXm1FVo8n0RU3rrEdECuI16BXQnAYrW34nEdlJfFlElRaAY0XXDnrIf8LBVgsuK88PEVIQ4HXx73926qFHRJdeLe4q7AEqf7jS9EtEJyAPx4Tpp6ahuGY1zxuA5rff/wv4YfUQqapIhoeN/aMw8aBflA6P3gJ0SNeMl4VUMbtGZ0V+NIYarB8aCnIHtujHNoAMPIKe8tE5EPpu0endCdpbQwixW8PJCf7lMHeTWUn4rjmTTeLbWBmA4yIxEMNnqHVIltDOSiRLCPp8hWNJ/UDDgNge1ktdRVnGwc5JOBIdxBiidLzNR5IK/2Xjh4fbpZFCvGbg6i+Te0y5D64PfQGFtV+ZPxMWtY1JmHtA6ZyvDN3Or8hJoFouThmL61UTcNV1BnFJo/UXxyvw84+f7xlN6nERxGs4Upp3E/VGjv64wkHssUqz6DYXVLvKdVAUcVG6nN0KWR8tlxLD572FJkZr3BeHsj+N4oSWGVZm3d3sLAWl4Yv4SLQRIouMh3wENxudwkBNajbrzQBKyb3CuypEGL+bpmEUwo5dxkpOZICWhlwe2GZchoRa7rPlqQ7ZvjkqbBlDM5oHomVAEFVS60rrHPqhcTvpcfDRA3fYH1ze3V+n/63ep7kHnHqoitOey99yy/r7nGI7Iv0bTJ3bOtn1UrvdX/8iUWho3U4yXzYOHmcQvNPPrku6HVkXlc7Is6ubvNHNPz9SdhMW6FfTEjD68w9rhKTk5r1QDo6axLLuS5HskGU0444G3VH7E3FeVpYW2Zm9tYtoYjD87jonfxtgRzVdJ3otT6nXWF4IjVPN/qnKvBds4vqshYbHyLqJsuEiE4bbTkTcm3KBX6tFbh/xabnqMKTs/do5fi11AyAm3OJ0EXd0zG6P/1m08dVEtSMwgjvnWuH0Va0bcOzWFudVap3ob3p6D7qbEco0vipofGp3B7I6WoOxHHibHwZ8XRQC7jmqg+I4aEVeTkqPXrufno9P2xgZMZ7x/tHwNGPTR/qIrl72ei6CvS34Isa/sT/4RX4RrmYTQVW4iPVm6m+rWFVYhKdfrukZ9YIXuKkRb6gWSC1Cky1cb12VMS+gtecU9tg5AZwCnU40WUZFxndLfAs6XIHCTVRFt6zz9iOB75ZbXeJx8IWLskPRaU2TzCnctq5aStJLy8lPSIG+How6K6M5JfYln/Gx1f+ODQ9i1P/QJPr3kMbZ3Fd/LJSmY6R+2M9Z9hIUD01TdToVTK/Yuud7FE4Idxp6Ng7hdWO72iLj/UtJTQnzjLrJzgqNDhOZKee+jkd/8qTMnGpggAFwzXKh38IiVh7flMXMhPkiCvWbvjcfiyYZLs+BHc/3CQZgB6S1bvrJMgiFMvIf7h9+ty4qOlrknyxI4mp035qoUxmfTXbUCnFq8jjfWqqw+hr8t74C7vRnG0SYsfqSX0VFSaQQYJVAkpUc4sRroSD1ylw58JoKnO63Otw9vAF4jumw+aWkjBSEe/a2M7I9ZTaWv8I+RVPg7Bjuv2TV/SXXnhxajEUTbn/64XhJ3J9lYOnLMaCPIMXACyOicAkj3KoFjVXLZUCOCNn0wEJt845udF537leBG2jEhsWMEYzoonttJ9J7GbBbIE0sh/HJQgqkdkbtrYxvrRP7EY40iLHb+w9XeIo+kpzzaSyuWON1JHoBRhYm2wyYMlnQ9+Dr9TmYrVkRoBhzvgLWXKnAJd61fbtN63piw4yp++cP00dyPMTuYFOaLhoEZ6LV3XI3gL6oW+NMWKh8j1abNsLai7TzoR0sk0xWjrY1zGgLxmWrs7NBNSTckfbV8DhhBryvXSEL11Lxwxas/YeLaKBZnFfDuk6OfePubaH2BFKcD6+UdiPkqMvC5wwCbxUqFt1cSascU9aHCDRIUzwbCal1R2n4w5zSDpVNfQyZ4I+U/S4QK5d+A9WweFDoovCUbHJ1QjMdnBuUFaTKTS9+QgK5VJUKf27V1UAzFge2bDq2P8J5rUYrihtaovi3QJjhkydy9oXAtRP8MfDLsTrIB82AmY8yWmD4E5DkaWaLCkq6+fDKDpKlzEVdsHJYIG+PoJxHhJJs58sUuBLZLrAFfbqU9tXNnfRtG/CItCnmlM7VWgxqOq6owRgP7WuzPuoyL99WzGDRvthrZpta9w5b/YY21q+GOTS8HF/3h0T4gIVIXobsB3GnzT2fWDj/g49G4FG6od5+t3Mmc1BDLThu1wTNu59Incx6uDnDDBlmJr9RuwRkJcnkd/MmRqBI3S4kgZ0qyJa4oaTzsg55A/y1AjJfJh6X78YCJVOnHHrhSrDpfwes/tP9fGpejSDqzARtV2Y3E9e15ytPuqd/sacLkWhwKqr2zlma16wpnBFno62StFNgcpwbMwy2SCYK2TIUfTRYqTKQJSqRk28/iCRmaPxeIhKzuv6OPbYPVqQWaJb7WWuIVhlZ5/fa6dcir+3QEsIxh3yp0csYXpzVPu8lm86PJBpKG0YemU/NaWgBzbjvTznxGOJ0pU5g8zs2Gv5xGmgrz08L6zDcdYsA+KXMkYuB9WHP+96x4jjknvL0J4NKk4DLoo+1Aw3gC7CVUbn5n1rLmRPKbqcu+7A0VTUsUgkxttzqyvcfF9p1IEWD2uY2jgmyGTvgzV5Q78Ahsk6uzfOy2rrSIwOOn2YOhYw7AdrbezBn1zxm//mr1JXpfp1jpP5eBvgmvg/xlpjBgspyyVanKx5tlVjq+306XGZU1QbiGX3optD0LQeYatHOS9VXjQKX3rzdfuk/F0dOtQBAW+mIT5Ks73yQSEzL/ShpfYsRLLtNvlqr8qWnLtWGoxd9kODD3SXuKyY3zdAX/sUyeEwb0dgcsYmJV7zb9Ba7YY+Os9VE//ZwGn7XbLxwV1YvToiRtes24VrxUqUfBp32yOBQJr5E5R2QdC9lIyZLSWKOTXIv3Wo6Ms4AHVmlQrvyWrbEr0pnIyS5Cph44SNrZgohf6rJay8JK7HhPfi+1nt+JbiXKR+6/ANW2GYTsZKGWyl1fZtx/9HOV5aBnxWBMkdhMe4gSlZivmKMYeFQFpFCQ5w62NF25kyJwADailBvkHjfVCsq/oiJjbylmNoHlQhfELQBShfBn8AjWJrqgESCm8+8/tRdPg3WDy5dtgZDIPnSeLJwoTxe3R2vobLkx3sxh3MEacRY9Vde27ubw0MqzKYkQ/e+K3dhnCkSVspzVpA7iqUK4FX3HrwCetlyFr5XBufMpGkpDZSfeVR1fjQN4/j4ZKW56vwMplpApmZhmvuKcdSqCyr5y3kb/nGL6q+aNlsrK8+60ZUi9BGitsP6/nqq+9vjyvi90XA0NV6IGjGfw5eBzXdObSbOpWe7QZwWf2Zek9WBsfwgz6D2JPVBzifPG0z4tqU+bfigwlMreRmUvpakDJXiaS54Yyg6l8PhAWrXVV902mO3SWgwH7jhIllV4WtY/J5Gw5E6sGhRxFlfo75CdAVH9MIzfH2b0XrpIZzfHF61hqnWmGRpnKSNjBlGwm3ZdBro7in4dlvIOj8dSQQ2+zv2PesjV8koBH3GLCfTv0omgX3opvADaFkAsYmO06ob0cewFJNTJu/i6fVnuJBr0W1SpjTAsMZ1bojjADDHeI92WS98gV1GcjWbrEqzarJC31+Nm/ue7oC7nROLhvsHER2eYO/UwK5XVlYh+2w6E5/+X3naPK/+UmlK10Mq77mrmMsuk4xDuhRUt9jC2C+370DBGf5QgCT9ShFxGisLYnqN7tQVa+YwutX+n02CGcN5TnPwSPY9MjGK/E2vtK232CLohlHXMvrKpLR+ZZNFAbZx5h+DTAuDKMAI2+tJqQh93322HRmuUCvx5NO9SK7pBCYOkroYJDYkxAsrL8fa7lFPlJ0SSC7vci/egR3xVXrXFwQKCqcnrwxs/goHL8/vCM/74dglb7z/sVioye5FTMxKhx88PkGqAk059Q1YA+jp0cjVyijLnpsN9u4HqfhNB1t9BsnCiJwqBF23OB4eD4MyFwXIqmZ0QViRbBgU6o6R9ksGSZOvnWW5UJaDWGJcH0q12yr8LofzQ8UFs3fKInzCJnfEMixyD3kxt0UT4UUoL0Sy07xMNuUWpq14kJsUU0YCBzN9n1bmg1GQQYqa+IDdygfYUefjCPxUIafXV5jlOvZ9vtIcZFOZk8tWD/YIdMg4haAeQSdmQNw/mZNymF9F0js7XNyabNMIKpI++3Mfen90jW69e0kPjuhUml21MciUShG3fFxxYCIzXfFa2dqcDmsWHKoan2hG+z3uw5YaWI+xIeasN4TEfwXaOHrO4n78ucjTM1Qj2u8m3/sWy2YgywT6Y9WzKYTtm3TTEUaUu7us3q0qFPcE7VgEsf+iIBKy5dYhx9dSoM8HvpOHJCufKYnAk9kLOPUVqBGjX5SVoBExRv4a1NvzC7/EBN7a+txObDPXU0ty8gaw3ukdp17lfk5Bi9B9ptmwxdpXfLVU8VaeFdSgGPrlK4oVf/i7xYKGVvjkuWlC+qlUS8HnFWFDZNfv8XW2M0JicHTXMeyJ0esWjQLPttJ8k5XGWTxGiqMNAnlfu3CuErrUQioLOTtdcgErLKrlSXbcEdMY9vANp/NFjJugIk3AJO+0J3iPHLenN2qeyT1/J6TXOD/RhL3P7UtlJl+wIjsgi12wqBqKOjQ4lwEm55TJxKwMxMTOTFxjswU3bMDzGEnOUkobOkpo8B27736bsvzbz0BKxtoAwD1QP5mdN1/mdsUGWPL/ziui0Rs1yXyXljMyFnPX/BzCmsOONIDneJkDgv+jcs+B2A+GIj2rPICnDO3gQQQSMrvGDFTPbGWdsJHR2eddW1bkMgAnsHl0aq0edpEKeC4iFjh26KItCurOXLMPmMR5e3Ibbg7dhc+InCIheRpbK+E/6MBku/e4DqNEWaxuwAY1Hzp8pQvNGugm0h0WkVZ1ltcexdAfu7e9TxliiaMx0nn4o+/gJZ5F4ukAzE95ROrqBgpmRG6dHZGyxiT6OQFTRoEP8ryLBfWBmB+rA2rGzURqdyPjaTvqcuSQBufO1C/h1IQotpOh3Wwurvh7EazqQgpj7S+rz8Ntki6fm5HKjqvpgMSMT+B5THMIivmAyWwX6ECewPMomwZMvPQv3ZL+UymnHuaVAxG+5ktvX8wtdbfait2Z8YPBZQmGvZ0bfQKBIeq31//GtBprxhZYs422zhxbS7BVhn2cR5k1bKJEQmRqBCAbCwdPMJe/+Vb7bO/gzwRATlz0ziVxomscvpwPfxkdphAjW3Y50IXhrhtsvq9RqbWmM0ovl4ZV/yL2rODzbyEOYPcI/V0AGwInVRvcTk1BofDbmaqA3gSclk9e5dOoooM3hSlDz6SZB8WxMV44xCsT/45mMc7qJy5x6uA01Gj0NbcosSlU4qP7lxZ/cGrBT28/xzKxEvyVdNbK7UWNSfO0i+8T4gZLNheDnGZGAjk+QfYeGzAebSav0Qan+OLjqxMP9fkOdPmfb7i4STn9cGEq21QODz1u8AByGvJy3uz0u9ZynrHjh7tx1WS2L0vkbdS2iTxorZdHLElrv8A96ooXF3eaqyEvv+hz3dCwtzV/6WQTDAYDoxnfU/2RWOxofscfmdgXOh8gG9LAOdCXu4U/E3qH4mWk4bCILqffi8bPCXHp+Tqa/FFtdpsZBrfvX036aqOXLyQV1HbP/od4Y95Bf9ICvPHAf/TXoOJ8uB34z/Xm/Pwymiv5WkuW3hapXqdLjvYe83yheFhVaFJrCi+mVSNhVYqC2/qQwntrfBFz6yNddwRtnMPO71tLHT4C6nR+jcRJ1nc8bFfwdgMkgcAEYdJ7go9sIC6THNJf0CdPFKING+P9yykduYWInxpkcOoOfVM9RnicwXwohtbQsQWw23IRTyzYrGmSONluxVLwn8ih81vhJ4yaGxR0tIDqm38Aq0+B09l90IxCbvVynA9jAHliPx1ZX9GvhJyRaH9QclZZkrsZeDnTLL280jOs3Dw2uR/TuLUSV3Cs90l37I6vXJrK71LFYCp2FeJGcIyp11hPjP6TBaGAmGTsCM4sz/R8es2i5f/4qMtlJ9U5SfB2KsYLQQFqynoBru9bvMhD+N+GqWfwWHErOVjdApm5ItwJy+Wt4shCbj9BJfgNzjjhb4mdTNcPKgLMWT28BGSWqpJ0Op+dp+yRilIx9IKbRdO7m69eCzwq1+r7t4qcR9bwQaHcksiA447fzUEnebGRW7BklFN4BwCepQcQ3HUsmd92XFUWkvpEURpceQ4Bw6Hz3TKJK9J+ukoPh48itfehPzDfl3Qi6jbnIj7ulbdJNfgzxenIIcllnFZGw2m5zX+f9pahrjsa0e9njbhKo+N52cvjyx77TSPrsoKgsT2NlbUkLfthQZLgmFjHtIhUStiWkLUDmbNt8LuE/sOsvQYXSuiYqszujzGg8q9Ap+cjM9q2wMD/5z9J3/8mDrpkvyW5ndMHgsgB+g9jrHtKma1FTYnlNEljBv3iKgzHJuxOipT5kZ9uayzggF2NN1YnNOS8t+ZtzKEwJV7Thskfi8SKR7G/KQm0GsTmSH2+Tef8lq3UkGExBVi/uSGUq+DIlZn0se30MmkIXQvvsUluf1GlB9sK0AC6fiHbxKcX8gCWRsD8psLUfHwD6W8B+RoFcxGnHYXo2lJzd2UIADCEMKun0tEtxTeR9sxtHxFfFVYTdRH9T6MyyXZEMWscAJirgSyKJ7rKMXFzLDjhBVebMug9dd3O0EqALeRHjHBAkYrvwsScGFVlEsVv74Pd4R874uu0kwshILj94wIuvnM+N5iAd3b09tboddfzJ63Spw7L2CgpM90zhAbeegBA1UuIrHFLfZtuuSVM85wTVdXsOYfnmb80bi5wk/rgRJ60oWZdAj1FVkmEcOhwImtsgTSt/6wdne+Bv69zLTdzfu4CD0H0TCkRNozQ44xxYw8V+k1MAYFVK8aaW7wY6bT0GWpFD4UDqzQhAFM7lZ5STk7e/NOvhOvOd+EBka/jelK5fHvEtOx1F2gAKLq6daLdknMaYYZIyX0UeIxCPiLsZ+Vfk3bzbRW56xckMGTXWSqL0bwalFIo6drSff4ERvU8sjeOj45u0UNLlj/1zc5HF5bCSPtLv83Qmv6auhCohD4OBXpOmj8fLyZwk5AoiXy+TAhMKBeOSCuu5oKV+ZZgegIZU36OkZPNO8KDxOJwKzH2Xcu8i4U6nQHXA58eDZZ5apbAKS4ksIYlMQ/C5J47Onw9uyEL1uYmxxiQ2zyM4omeE4pusIflT0H9CYfWeLbaG/KM1ATyxzj11HvQPbgFTkBmm/C2ffLap+DBgx1TyO4iAYQP93F9EFZYgUEzhhnYXOgVEgvl2FLnBqaQJ/cKm664tACiHH43z4c3s4lDQOcbgE0wYvhUy+iW55eCy9Ll/hM2keCtwdSMgnlZnBi4KgBZIG+Za00hxO766TMjvzXLxTY2WHp5WIhfcw1Ae+YDoN+gscpfI6dPYejW7CD0YI/ep9Uhs4ivLh/t+kwzzdwsvNWoKG56cgqBIgL1D3bC03vmdmPi1fbYfwZBML2imwa9klxFy7RR4O/+20bTsyXzUoesDOBH6vKyLnRR+XuaBetm7mGdW3LKjYBaPX+FWgPZ1KusRgDe/nN+qGV4TtuzMza8NjPaag1G7WW3JWe91XOhKS9X9MsjlRnhC9eDDFcEWZwseWe1mAU9VKR+5Hl+x+tsmsLAp4lsJANogg8kLhdzcrFeEnrIbhUoPgesKPSsnwsgwq+Z4GqQrbY+UgH/3B/5tYUIDXscPITuPqVSrRyi94RxXFZE7SsEXOj8w7OlhESTRW5YeIMlC2WZ+glXyRgXZ6mbmb3mJyAmGRZDUoVat0VZfpCNvgcvoQz1X9cOC+VWOE3Z3A+d8zevZOwz4vp0OaHQHOpqbXGaBvRLrh4EOFVO33ajeXaOAK42SreL4xk3CQt82c2PgRQUJcuL4YuwT8YuywXFpWbsAYjNOJ0iCEXf6hD475yiRWnDD29EGUsQ5z0YDMppFDnE3smsYOjrs0+WpRAuDyvR4KRxySJC05SW8H1HKVuRXc34TmYLrqcOFCq1ik/pl5w/o+JNmPRMTcnYqXJiE+/KjVFB0zWnOVBaHJdBJq95eN0s5+XMvvb2To6ANJ3J1vrSx0DWniY/c01bkNK47qgkRZ9Dd9wbIvvex2NN3FOIcY7oVsPPI8JM3Vg/4fgbys/fdLmtpcxKoLFwIRNuuRKtO0BBQjfWRgNWNN+Tdf5Qujwaw0C1gQIzqXqEC7dL6Smujcng71wOyFWuYWWNRm2F2YxSXZ0+ruK+rWas9dF22d+a7G7DemQ3P7FMLNbO4hpwVIN2iseV3vkSe/dtG6AlWiKv3kOwGmiHO3VG3gpEM9vUi+TIX4APM59BgOtQYbxHntQM8FqbIpG3K4jnvkextPSUWnjySPOb0zjNCVv4CqdRa5Ag/NUWQvmgyu/Hw33b1ypNgkV9p6J74v5FWeH+GW3GRNk4vsM+MF6UDU17sdUhcCbbnPNcIw+w8TY6WaAIQVr13mInJ3IU0qRZpjnTWbKh06Z7+9OP9oigLwmRnDlaE4AGC1mpyHnSJAM6JxCjE9DbfSIQ28Is4atj0YMLex6KspgXQ4V697bNugsizi+ljoSRAVu/kekpmGFsZrTHbqFmMy1vcua9BYbodHnN+C8ERl3A2zbzp3xpF098XIOYXUaCUzcKKom2sIbVwyZ5zU/ayXBPYQAa3gFPgdtXVWRG3SxXCAD+8K3+jDausf69Obf6vaCiUdHKtSnERQAmA/EflgleFzWzImOJKtzsCfkqhNNfVghcQIJmktxh+U4PU6a08+Y+fFk7cz30NF5ws6i/0AdfvXKAiJsymLkA6PrDv5pKSciWCOjGTTT+hvZu8CIX337dr1ZrMORkEFRUfxA53OkLLeKdcKJwnwUhC908vnKFLVAMJyS6sLOYoplYQsef0guwcTaJ/G0H09wQyuLgyaHnTH4BeSMqfcKswfld0xf6DIj0cquu/vwPPZ93FQP54R+grE69NiWmRpxkdOa9TdtZwRirC/qZxUc0YBZ80yAa/PscoyZOdXZ7jvkF4tYtl0vKP7O7mGNmydhg/Z4cVgywlwpqB8LsLdRhnCgOJlUCTNaszSJsJRTCdyyyEGGocu04y1PkxXzo8b4xo5vgvyMXr675syP0oeh6oYkgUTEKclTQ2hr0pKaG91/PACwdEPbuauxFTLVOC01NrzJ9KA30zkZaMyZdPAwxGcvABH8j5xekihWguAP0CRPj1lU31ShxfHMZEIYKEeMK9RIZfdsfxroJC8DBupV4jUU71Ofmw4dh1pQAkNMbjo5hvvxseO3iPbF0B/0opNQfSjWONbbPIgbFtP8y7hp4CaDWgVhkeHeSYYMmTa3eGFcUIx2M6gZ7CJm4c/exbGNdFwNQYdceFq80L2KtmvRT/rwp37G0VGT9rhEcYz7APPKzHce/2E5lHODOv5EW/LF89NwPNInwiA1CeQULb32WDKNfP9+p4w2xGyd7Bu8gRxkyN1MgUL9xjC7E9Xx9yapDTIpBoNc3AUyuGYaDQvRmAwIz88wJMO3t8KCyimWt9dXJJTvIebjUZeEFNP3BeakxvW4IGFqYOlnaq5UW4vBFoRDEqfLM6NiGpPQVi2qNAH+TClAESWmyMr8UNxyyUctf62psoeMsNFkTgmNeGgqKIFTN3M2VxpElk8H6bBO1fWMAHSyG/oUNGWBZARsqnJaUBFnkmPFRvzLCt+awiBRHLBeN3onjL+lsZHPwqaH1n5x5eu11t9HeTA1tzNq0mIMnQ5m73Vyf5vjB05rtJeBJYwN5vXfLxRIlt5wwXHwNpM/c8doTK8W+baImkTNbq2NTuMkzAsZbsrdKRTvGs/ZMR9oWIYPMNk2BOSLFvkQ12D+TosUqBzWzN9BfjuG+YFS+2A5/i0rfAeY9spVS/x0z5wVoPHZ5yhcD43xAJQGZUGpchiHOurnpgFBDmubz0BSMYK0Uj4OXFxb7dkEl01JJ/Gv3FFQ/50qpT4KA8/f0RHf7ERtE++m+OoqMJbRHfmHX0ePAx76BwW6WRoQ0SWdoy7Y4JF3T6Q7vswqIFr7USESU1NueYa3Zqj/9fx3/NMr54179tjP9EtSo23ED+y1ov25qLtVCCj6bsMxzp2SDBmB2LA/oAcv0zCzCjkohdXSIaxhs5P/Xne1GJNkyjZxL5lhWdCE8oN9pA/CCmtWly8js0hOE5ENSwWOhqdO9oFavDiCqRZDP7IQIFdynqGjFJV8QSTugCRdzl6mERNdBUpjOZ1Zdwv6DIByzlizFf8zNquxvkngDa0Q0BM8NSzBRpQIhY5f8f0xa9yJYrIe5jXGrOwCGLZBabMbe2TyXOzbVFx9I9MVcU73gytbMld721mzlXDOiPqL20kar8u7rT7GfeIEX3QaybwxSVPRrz0MgE3fY2bAtLArIbAYcqAnT82gPWS21u7AcKZ9A52alOH1Pz8gJHIwTyvup3DTUkm/RtR78HJm6/clYYDw20iQzrqr27L1kyhTBPehmbag22RN+SdeYvIzclchBg38QxeTFs7FTtgCM6tu/OSf54Jq3GVM/+mMXIrG+2YP/kh7GegsMnWo+HnQww2em6Fg7gEJeitU+l21Db9PHpw03SFnaLbGBsVCMCuFRzewlIoC56lQw4uXAeAjvCEcYHCQjtx1e30WHyumvl3tFAe5jj2tfnX9bxFiM+lQv7uFH/BranutMiitP9Rj+m79wQvoLT9k37uoh98aZN6Qf4E14RLaj9OEpr2kRp65xlbKFbHhAXwSQPbxp48JzHG8QyeT6sPaGlbE8mRucIezJMHZd7cGv1v7ESG7/jis0YvFNVNPxDAQVayfMGq5s78sI2VmnxJK+4M/kkz04ecx7rC+SzPJ9bWmAWXlYB93knkGQ8ocCPPOKSRJB04WNaLRY9cu6eUNt+afvY+MR9PxAdMMr5Ma34ZoVi6f5pP0KCUHKxA8GSS0IkamNL26KX5uJRsMq+IiNcTkae4x8vkXayqgQJPDjKWaivkwZ6EjgQge4Gedd0ZD9FmN1RK5Eexm+2rhf+NSsteUwUO97gYVBohyfBC2VQAXCfp2f89pMKhFYkaMw7dDGNHsIGHzNTpYvA2B8H0/9tT7Q5T1yyh4iNrdotJ69G/1pq1T8+gi+qW6rSYJ6OApFgsl9PQmdWlqDc29TEPKCLcliHg25gIa5LQR9C/pPv8ZEDzHJ0byO8K6s34osmRarAsKrdUfRp3NL/+FixLX5tSygJCivuitWwkEtKv14uQMFVBrywa/mJ9RG5R2QwkFjnt93XbFTq+9/Mm9K+ANbWPhETZheVdSqfkqz5TCZcpbpDEjKwGYIuwgHWgA7g1mWAAb2OTm0/byX4q1pFF288j1OxEEsTNAoNcSux/yn8kBEgi1Em0Ffw7w3hgEoZGWzeh+9zMWE0C1bnRhjgTwgFWDdRtiVcD/htDYR2QhrECwoeYIk+dzM6ia0ImcIo+6Mx/3Hnz5awaA0CpDGvYin+uLzWUhTfuDerFHffbvXcC7LS2H6nJTV04EDd3oC70E8wcScxbwtwQLU/cl8Ht0u+fBeHmbZ0urdw+5wppeq8fruFs0YDnXnK2AxWU2ze9I+gUoHF7A/VqdkgzhzG79u2CovoZFtimQUA6aFeaQtCLEiAMzUu+mAEvZmjNsEd006XYtng2bRd3YjMhAlHI6TPuE8pWfisGP51Fb563Y14xx/HKiwz7mdIriOubOsspN4r73tuNfRKK3YYF8mco8mVLAlwZLpzbRFXon05rMYZNNRIeKaQUMYZ+l1bc4TDpaGehyL1Mcl5SlSSYb9+TXl0XLYH4PEuNCcRIUhsFpMBdQFOz1h38AVnxYamQ5lQSLPTwBZt0sez3LqvYECMsmwXCrmugf878xY3/k2baWwI0sB/AwM+MpIgq/Wbcb6qHA36cBwwFz4h5AlTvqnUa0ZDbCwyVKhfnXxPynvB7TwExXs1+cKt/tqeD5Y+wv4xq91ruYQmiaY6F4E+mJGGg0GslWpXlshExhktjb21edgBzPCC1puD8nTdjkcCz0DjJi2sq/uthG1yzjhfMpVG4LLgU4GczxqZ2UoaacJWxQR4TiKW7nGus5Q4opI5U3uKjv3x/ot7hK+o4uJw96Gt09X1hy4wXiTfIAEPb/8lSZ0vMOMfoJ+5g4bAsT3n093+BX024sT46FxWdYA3802pGdPGlGjohHyPgugrXQjwrBRRQF/LYjUzqNrE4mjNMCNmEewqlevwes2v0hbc7emSFVM/m9iS9qiSrceq7adUkY1Z6B2dI0CQdAfcwMiD8A2Klid5QoyagECgHEWK5Wlc+B6HGl45rCs8jD5LbbET+987PDkE6IXm7+2mEx8kMlLbxOkfqTRK+yulwTrqCVIK1/oggjK3rxAGF9L8wpluUaIdn2oDU+FbrzisthC3Ehuy522/FTxFSIwL7sWVkJuzavzJNbT03fSbSY4HZwGmCDdQKgQqzlcqkafrdaBYWQnAyaxOKDK5kboD5PkbNewB0bHjgI4iaY4qDRqvHVpCVoEojYTvJqUo4ouht/rMWDJ7SWnonc+5U98BMMusiKlaGcr4bxTO61ZL8dCg7AKSNFwKGAfbB864fLlDtaz1UaSDNmamZiwIny6o9YlqNnjBYeF6DPOJ+bYJHg39PcQ4n49gMr/voWgwGUKf7ILtpQlgWkiqNg5YeIc4dijFRCJtXHcusbsKG0GWHb+cJAedMtKKWIaXfJaDtGAGFO7sZC3krUj9W2r8K2CfRBVY9YOwcfOPdeBczhwQxeGpGTcYM/N+cStBOLZ/NDAn+d2Ny56RkS8yZr9vjpF8+QLnJ00qpCd9TyZW8xbQEb9gDM8mZDwcP5RSadwE3hTVSfEviASj3bmMOYrQW+miTlQDDXesaGAaH7o67P26VOBTu8+TiLF6LhyYYQZUPqWjXNsv9U37S3ApxrskdP/QuTHFge6neIt/b4vpRvfc/4e5snWrnmIhD8HcqF5hKDf3jDNxtLq3j8p2xB4CDcpPhXr3tuD/gIlzF42AzJWKwfz2U1/Y6+EuOeBossyLOa4tELFnoaG1/agbvt4TUoE6dBbm7akTz0BqbAQcy/J+WqwQVZgZhZV35VTfLxZ5MkbKfMCOFfiYrzjoar54DwvPQYf5Uag89mPbCExAXXUx01gDdL1JW5o8aVKNT5f/egqxzarXh/sUMynIChd8gxAAEsRtXG4hNRlxLX9q4oFpCmTaOpqvmwvgJ3I+99KJ82RMER8EkFTetXA09iSR8S5OcZEQgDyhkls0YSd++cHdSAsSlRcBmY2ctvuzvd7NVQ9zhP+2+Nabhw8VK+5gHFwVZIletbNuHgjQhchL+1DuSxfdNwwoNAVmY2wwGQ29PtLeJxqNyc+k6qMQpumRBfj1BROnABvQ8LmNwRnQgktFpXxwpo5OVeX6zk2wXuGbbCbmDsY+QIEq/SJGHAA0moCsUA3NG0wo7EOJU3jfR1biplmlbPcjyGwxey2Vw5FAbWvPd1pySD0iBANj2uu0RDuu+V2c+NScyIiYmRC9PC4b3NBSvRzXox0s3zkUI6FAVzltYCWHd9b7pqabbJXj3nIhgVDWhoAMPaIxDSAliettpNFkniECpAUu9E+sc31h46sSHngRLucaVC/jMY2e90mXQ1ofjZw0oJbFkZQ4/3fcU6LKuJrWI9GrMNV/h/sU4lg8lvQnEXDK26rN8UJIosxFi09KBRaLp3bW30MH8L60rtLT9lRQCzVV0zskD4ErG8Gb8nVZSxARsXFadk2D1u9yHfIG8GRxW+Vjhu0VGBULhlvyoJTzbm3pEDmtE2AWc15P+cn+oykWPLXX0ieKXBuhc/d+DbymKpjz8cczvgfU50vDQRSzMk9jfy+70ONxol9dbkjqkVBRfVWNGRSi0MHyK7wqy+E5cNQ0/E8W56phhCsa1vC78RGKigXDLHfrKRP3q31DnOgzX+E+eIjict+o/4hJGmfkHYn9K70jRMqs75WvHliIcyY3ALNOop283ar7l+8YzmmnmiFVnC4EYV73+JrLqd91wkNGIoY1KQaMSfOUPFwfProX7YeZujN7z7l2fW4yckSPChUXKO6Q+QGCAu6SEnVuJzne1irHKVZM+lI18uWEST7q4nd7ibVlPK0xM/7SirX/XomT124LgiWAltxnCVWjTsh4MgGLLb6L8KsZV4IFovfmlmSW2U3NMThX5TW1LYXVa33syExy2E152YpIjlh+mkCUjjKN8eKOrkIAyM9HmogvqBJnJxCMRfxKfgH6twKhMjxRks8mPCx1oIPZmCnCwkROti7vsiQKbr8KEKv4HssYpo0wIHxSrz7ol8HHM1CRQ9WRhY+YXPq5JuzETKW862QRsXc/pMWkr9WcCUMD/VQag+xbGkUf8b0K/3Uss2XgdiDOYIvXuhUY+SgXg7SHscjSs+95pILQ6NG8wZKshQhOoN9Aaz3xujIiXpyQ+lJIApO2RmllrCsNB6NZwjXK9qEKpNKe1r4O5PDoaf13bxTmvTIah0E7HfxJLwgvfIE+HhQfV0sPaPkw9Hbxs/4X6pDI2IPLgSLHHExIPJfowNE62gDSGcOWgVJ2tw3IRjfyTaTRRZIG7qeSjMHbbQSQhpmR8Y7mrfK8N7BZcMZujlDCTv9HtfZ4w80vK8BTeXfFaV1YBPj4zxZDRiy0gYu9zPtep6eGKFWylknv7Nk9tiHMYs14qZloIGOnfFMOmmzVjHgo7j8hjZXmRFvjRlsNR1Nzn5F4HmdwawrjUQ7PH7RUbEeqZuu1ncZpFjBVJp/7LR5Li8NQOZrGpdXn7Fh+LRVZn91UJW2SWPOWYqOw7ghRjoZJNdnDqGkGb/nd1MHHSyj6LKa1XKaqXhV49jcklarDKsCuPfPv/Nn8QJMOHJeULZl7DUDbcQLZhn2rreGgUz85RgSF9piPmRRLSRJKDbkWFGjmVtvaiIRXQVk6vEe6odVVbeJwXkqTCRoozC98DM98ybkNuzY6ETsSpspXNECO1WY7lE88DHKl9yiDhKxhiKFX5ZfwXRlaeeVOuKswhinW8uZAqSx8PpZKB+ynIMYJcHmnPRR9is+0wlRJU49q2ZPUhrJpD3rBMz3HomCUeR+mMI3OgnLS7SVZ6trqioiXAShs6uyOstNz/5ANoo3hVfSRgp4MwPPuNIF9oX6++Jmo5qKEV4lOlI+lsIcTFzq0xNNnjNSreFKXN+ov+KtM3snyUsTrhwpI9S/UqCJIS6cVMmV2GLPWFIpwmqzkM3VGGHUbJsl+VsSfN+SC2z29cITQW2QKm5ZKMnNB64jgGePqAArvFf+o6jimGN47/vwwjJA95NdCw33Gz4zmhLqeRPijDO9X1/CKmcc/xm+5EHx/A6HaEoHcXfpahbhGSBDKb0rxvVc0KqU3YZF79BAUfSqFhBKBIrP860yIxu43cA4LHxkxLzJZhFRJL5eMrnoGqRPYnaGBofPnu77BurYz8TvyZd1FV2AduVvNYn4ro5vmeA6ffKpjF9okOM0utov0HnhGsbPS2nmLybT3BRCCXt2TWqmKp/tcXVyjXlokQBeRcqB/NQY3Qe1w8pbnrR9b3nkVoJF/CJYE675XJYc1OYJG1sxEU6wl5o2ZB1JiHf6LkbYkOiIKpyyAZEZIYzBk3ulm29N9xnOkR0FSH4FoPgnAnLozh3yEL76bVk98EFTbVVOest0rNuR5GvUwdwQgN+N+RImnv/k+jFxnuzLVPFUnm2uOXWpVEckUqN4HOxoo/lKnGyVJD+CXxtq5Z9fI7sYrw3wNra/uPSXO+kJxsOG7LnBhRBqosbZdddITSPbokFfCzuLm6wV1cb6vIvsOq3d8FWheEFPPDqTt5lYiXbYfWJJwykqzpM5NJ6rthx/SFoLbQWLQWzHcdUsCogP0a5Ktvb3ohZ++liTcY8/6/kiq2sM0fyAvUCltQL5MQtz73ZSG5HzVlsuWkUPyoGoWqahuHSreKnbBPoNS3OUT6Q5MdltO8QyKV9p6phmqjratOFNemCgmoGwbLbMTKhwxJF7VgugW2sHvHmfWCPeJqlWcZ/utUyqdJlr+ayzC0PeEyDc1Eidl8dBFm77mSRc0qLWDAQ4Q48fcyeJoMYqaS3rCujn6uNb5yU+T45OJwOcT13t/YevqUpPZk0RPQErGGyFqbDXKyHuaV5ynJZNbTBqGsZsFwNIDfrHne5nrjiC/jkTRi65AX4fL5lEUfkKhxqqRuewL2Ppm6/BQgTN+VqyEuczMwhkgaPSstMYNEHEtjVumqWvLen8jgHVvTAqdu+/5Mjt5AAVsdh/hzNIyDFt21T+7QtCDZ0obNV/GWik9cg39+L2ndXtj2wGvxnvxcBPuGqs4knIkGZDUBG4iueppQOennhMmVx+Voofv666WIPNO73d3zNenw4L0VLhqUYHyY4GGnkIj2pTgfUGRzs22bzDz9gu2RXUHr3oVLf4+T9dYUzQCuAtd/dmHwpY/vNz5FfQHshgINemMxXojr3pGS9rcuLr4dyifTYigFka2mEje7lA0cQ4q9z9b8x8MQipvbKKnM5DJ1YKgTKRcr3uMCtdElTHPayP2yJIC2cm/4n9oQaOBuLrlgPfqPmVyHuKMQ7LntMcnVzEvdbyvQLN8IE8wKYqqVR50BRkED2oSkT2ePvGiSFqqZASFhxSPBjbEZ26DGT5K0S2W9G/uiUefDDMAsZvyPN1uN+nAuM3xZG2au7z4y0kSCW5a1GAaD4OFJEy3wCL4Pav5ktCvwrGxQbU+ULacANzh4eLbKgVYQ5OeFSedJfFoRkqWPsLeSmPLTZGf7lKV0+kVcTQc7vYIUKd2wYmTSsVmNV7XJtqTxhzs1FGuiFFvfdIwzELTg4NMJnRpklkde54xMcTPwCixCupEjIvKeLJbUuWuIQbEVRUsnH/CYVRDGJfMeUVuYFHzJRAmEoc2kZsoNLraVKRQLTjYiEk2tCk6DOe50hpbG/0cz60EAf6xOMOPXvPIfZYaSAtswnHX9NNtiy9+QEN0sQeaF3iDtltLxukjhRK/tiEWMqOgLylVXczHbgwOFGK88mDu2oTfyJkB9DEYzttS4J/+QbICNSf3J5CdJgXFaR7zPo+s3LgeLm0epI71WBGHzVbxeZQY3DXkBMB3bT0VdtExsN7xVv/COR9dph41xkuchWeNllr+cXuecwriN3Ni4L92v+23SXW0PzlN8rjK1sCXBLCbNQKUbnx06YzoV9R3wQ5BN0SdriD7+UKhB+JPAEYwK61sG+WvhYymfmwm+Lcaov+YtsRvOJBjKZIoKgXA+J1I3dpxJPXru004OQ3BLTkOUoi9bhtODiTUSxm8kMDkIyEFWSDHWdw7i1LRDXWAmfNBtSVCh3+t160Ipp8dUJzdouhIjYTBJ1Eldw0IcU4mCz6vkMjrwBUZEIntEAsujJDLLpXlMZbZKHRNAGf04dQw6wq8cfZh1/615iN78G/RaTRxIP6HnI6T/W01wML4F+CU8ehwGpbn7Hm1jkhbD5uCdILgm/oWdTbTVcD7sNR4iGdCz8kvBBYUorCf5+rUbBVbBqC66O5VUuokixzfNLn4XruaLeRxgnYuJrGpjhzesMw7He6LFoegXMmYkXgdnoZw9+2RBQJYvq7umhgOOS1aVEqosgAdHIV9gqfqlroBPd4Rijsf7LdjZ27ixvIo3M1xBWdBmIpbM4rktouMK4+IE8ArDpQbYQIslurYGYXNtA+JSa3Z/5+Q5VY3x5gw32TppauathNBCjFGd75I1scrZvThn7/xvkrI/aAm5a4rbCmt3vzHkN+VSVnrmnqV4ihFNyIWo9pqXW+64OgOawlb/Zj3Wy5x+bCE4UPWvtfvb5wpv9/od1vJbeBOV+spV2866ICBxDH4AOF4rK6dvneRqh2/nra2uEu8xMLDdb7GMiBhhV8HAxdy4j+3XITMVw+OwYc5foGODsNMlKquGlPQAsxjtNUXyNC+OVxswQIu0TJkb95JkN/xlz7FnK8Kp4/zsx/E7Si5zqB0Iz7b/kZfLktuGw8DTvVx67pb9XDM0jR+AWP462tOAc2pST7pdLv+PDrZzUDLwMYSK9Y/So8wZEBHIb3knEfOrtsBg0dmGO9q+/dr5CJetfsDQGqxlHdpIAXfybi1MlDEknx/b85w5B/umKim1kTmUeYGCUDanChYVHgufF780Be9g35fswH/y7/kzjeFWjl4rCv+n/UBTdjQ4w2A3UETJeJCoqJb35OYL0u6IfaDibcz1nvUhqZpu9GLQoamXKLfQXQ+EukHZ+qOhe+w22mDH5UPnzjzoiDEsWDcbpoEeZibtQQqqbRyjDBt3bWZnMxltOoZzR2Ka+m8+mV8jiWNVhqQCwzWYYO5UvqnitvAFXa2QvfPzIbBVNB3xXvnreCx4vj9aJdtAAlvfcnu/jFPnVgh5A/ub2KZJry/mRV/pQGg3rnKzYOW2V6oHFX1HpwyYfc5nb8vh7mXFBM+t/n+8tbNR9obQeSi+9f5/DnUIIPdQlr2YN9SZBpoaX/WJdO5m63OWSYQu1MJwHN88O+8srhwqMr+dXhUSY84obWYUKrE5riY4piq85ezKyvOL8tLWCmbOQk3uCqiJTcZ5DPQRVub95qQ0eeKZC9qs4J2wbbwtlbgyxLUZYjLcMLgWeNXFPsH93GfDnMpYPSaqJaXodoC6NG8M7qMs/j2/deVTGua4aVMaKlgbcbOPPlm8f4p7HESTeYT9S0CFLQ30/EH3YIP+05ZYQXi7U2aKJgra5X8Twhgx0EtjUufzXOz8JifPvvQgMlzx+PsJfIocANewkydi6f8afkL08rs47LNQRzaf1pv4FOX1a00ZD+Rr+Wl1xZm7nrDlH+q0aj1UCWcfZyr6ojZU869AKJKgmv7q39XJUezTWeqAQ24uCb26lIH2UX76pAbxJF7JWCSjviAD/KnSUSvkYMuUBSAkcxart/oYO84nwMw6n0AHMXJCOYxlUyU2LMQxMnWIZ9d0eLunSxxj9nYthKtIZZiv0vkvbTLbIp4AFoSJ5gEQHhU2/Pdx6sSc/h/irYD3Lvzx8F+I90k7gJd4mBlyjZC7eXwf/mIBOcpUeZ557BX/TtKHzWfoAqkXSqvcIAhLAzHlrwgjadW+pYN+gKsvtpk+bFY9Rx6ldDh9qAAFPpjtVUWtPVjCCb+l8inIRSrMDh4RJuL861k5J6PHLRZuuWWfjkzcNrqlMa6jYSOiGTUNRSvTV41kkw4A3DdZUNwzON3W09eEwqiYnkI7BlpJDK28iAbPmZHFrNMiVV87MH0+zSaDWWTDh+qmxAP1nXHy1dShyobhEFevowO/+KtRSQ/0Kc/Tvr3t8Og2deo0lpvWj0LdWhWBMDd8yaRoqmCZzglre8wL4eNIhDFYeSWTLE2arlaM0MaXN5uR+Qr0933So8ll+wjUIFQ+hiYevC5h2sRk6hW5dkTBvUHjwO+c7B0+s+yXPTVT1+oQ/U7CV4L1eosK6rKrYtPcrcFX0A8ccZ30VJnR/lzvPG/0ztjJWVUmP4V+0gLvt02aNbOXO9Ha74tytvO5GB07NwoMhWq2mMJWwUvaRdpQ4pAZjl7GYslXaZE4GngOY0rWTfYu6ByAdHuKE1PgOLetWtNjzdI6A1OMYI0paVj9hPrA4QNXHAqyKQ4LfI0BuLwZvtmMphc0FRApD8yGThnapszjMiTeTtmTlHWi4/Cb4aiOvVlgoADkMJnwL7bw7F0y7FC7MkuKXPhSCXkTVmRuNRIOb5WOdiVxxWm3dzJAmQ3V/6B0GIGgeiPJhGpZXfzLTdG81N1HDYVuhIBt04tFe5ec7iffgKgbk2/CaLfvB/jFjIkzlOls02RAdsmX4uv7x3JSe/eoDpYsjtEjT+NQm0OqiTeh5PASgWKaxO2ZmFH2wFwUe5STfOyKwZPJcTJ4y05IfKYbkVf2iij43Rs4cHv9Oo2t/dRcnbns1GVSavjiv6ZNxHFccFylBGcamiKUT9zO0Vb/lwgRYOPZCaFPOrMUOCSD368zQCabpV7JlrYcoU8oy1a2L8/YpEMacgBV1sAnHHvLafGzPYTjY6Lq6S4iflJowmssc8aKSnfixzjP4ZiCfJYbiESwH0ZBW1XomHbWyin9EJBmw5Z1KV0OVz6R5ZINV7FfYMdE75+//6WGYgCtT7iuCy/H4RZ2fqJa8HZqHk6N/kO6fgLt5DY9Af4pjsD9UCiuHG5KRCBDv1Y/JAbjkLvVRprj/CjLqwsCjGrQAvmk4aFfXp+DlQ3mMCMix4CpzadeGkCvNoQbhY/zntdkPh1h9exw6MWul2JdVE3VWUruYEPBD3GUCVZl3+yMJR5s4Me5Va06xyL9bRDZQAC1l7lMyjzMzz9swPDM8nwzbERm0tbxXx3ulWFLTxmbsEwlvdZRzexP5bSHjRi36No5xENLzYrWWRJLLiID1jyQDv1MZ47USuwtcpmGRR6PCtBK3MjUcujionIOzq5eufiT7t2swPaWlIJoQOwKrwJhZAzLjZvAtVQEo/FMDf56KraNXvDmXPjy2zoS6pT6NyJOmzNU0KaAS7SxnkQUFB9e1upquKq68qLhwIxGs9OZDLeG9I82pifsweVXzSdUAxHWJ4O5wOYpwpQQXUlhMJK02gn0BvSa0i2TZCv+3+EkvBuIFZ1ITsJqYhXbQbvKysZT9uL3CQhCOAVDaHDdkqdyZjwoWN2ASKC5DIJ6VC2Cfo5SbFQYSNQxw6WF7hfMZAz5QnFD7C/KC1EM3WFFzJRO/tCm0N/vbE5+JPVt8OT4tiP+GaY/YgegcsSY4wrISOeR05vvttJXBHnaWRUkw85VRA7BeEGetD5p/cy2xjaMX9dTtzFADDvUJrZXGbyUrVrTZEAIsKD7ZJ7tza7fgDXApQ2HLdX4MkDQASa7SHsF6PUwQXJQ+6K+sy8Luw+YwAw37du5TFty8GJvCFOr5OWEtzZ18hoRlF8njup3KSr6yh6NZrVpjGgU80wFFMcn1RyaMzEUqstgIaOQTxrya1U5h0LaT1MGCsVKUsmuOjFw9GRdDfB8Im11xYKlmePmhb/1c6l2Hk3Gh9WfbQ1VQnbw99foaLIzAnjluEpX9kpU/AS3R7XbUIIpNIuNBR7T6a+JhE/63D+6dK6fft85/uqlLgcw1aX7yYngwErqTN/YWRfcnbeGitezepUYmnkXsG/edOCZyx3W5yd/+MGiY6wqJfKvN7qvJ6grzlhMoEO+f0Sw+HYqiLzt6MuMtzuGTEsVZeKVRo3WULkN/xUFh0Dr1ctVQgkZlQiOLDtRDoSqf2BMDUOpRILKilA5SXvSZtydNelGbGYpNEfaau7mlhOQ7nNKH/NtuODv5a1yiIbyepGksHdP1pjWhkU7NYS/3ytaK86QWtwt7BdoGNcqqKwnd/e8KH+LQuJ88RsZXpLgyUF6aEdl/n1Suf9Oamq7REpyh/AMZVDJ7pe42F3gbp2DUICCLKoGgI/lwU6RcBdS2YTlPAKCAdjcdZnd49N1YqzV6yNMeo4sratMeONLad/HGMNK+cXyxk9+Lpr+M1UMMhmk8fjQ5bgPPYhL3cVikr0KYud+2GGhUn65rnvGRVRuQahFrE31fsekcVdvRkmgksu+zcKPfeMtaz2IhX/3ZRkeEwwf4S/dKygrhD+nD5aG5PvSNbO8S/CCa5lPtUp5UsCMOpSBGW4fQynU8VcUn3PcaHCAJo42M/STDNC4ff5ZW3MjW1IsADyfOmILWt9KFH9/C482/HbntQM0fYffsFO/dN1l5lYdvHMdwJejG02dBtyo/o6svCygIXoIq7IgTkEvsJ57Y+hoT+mv6WTT7KmkyIpx55grU+dWgNsNteT2w4GrGXRijcvsrk1HeHw+pDiebkXCC8kHKOIcJf/XhTOHQTlkOuONgWrYXzWmtEcWU9TOPiESSifcI6yT7M/2w/rBGhrCnh4sospTyMbIgxD64+tFDcPKIv06Ede+VDI9iFH9Q6SGeY7ed5g0Omoa5QrmnPz9TMH2t93kqu42cUoORWENk4V/Y9Nz5RfNwisLRv1Zz9fvMzU5mJ6hqSB3SjwBBMivjfVvP+Nh2/1xJFXMWR9l1jU5yqMfWl3IL+RBnXWO6gvL+uGlhRMPfvw+VzhSjUFY2CyPsfgjz65O24AGk3aLMBVsvSyRUBUD6XWaSk4l1MGfyiyHOay9puEXgvyvciAZV1jP4GBR/JFPFQ2AdC1fEgO65VBUb/nUyPuzkL5xkOBoqVEOSxX6qHASBKVMjkD6V7/62z8a6jrStCpQm5jJ0QuQ2uJX+nvzPELNTehUZ4nleblMy5PX0qLb1EYpTOjzMxHdxvKbZEWRVVo2PriSevGeQF5pwn1bWuEQa1OnxY7QLmBXq5kFYIXPdBWyHfoyhAq4VKiuwnRjNQcOAp8+kyh1vmA1kTE35Eti103DtjwCNgJRKwhh+abX7IsSvfxSeZnZnvZWK4m61Pri2cLnyn6wHNFqwJQ3SozAzfdzgI1yxZZUd8dkQe2UoV4AF7Wi/OfIAZNalVK++3sojEdQ9PX3IEqQ7j5BW1zRNoOMH8+8O6pdI/14QWPkuCd8hhTgCrP7Ev3iw+sdJ9CPvoEexcxCfqeNQpPCVjq9JvLX2Rd5yrU+hOZ5uytoDfqB4bdxJwFdt7uUmY68GOpfsD/TFqlN8u/DmZHPGl9+UgX0ebwj5H/kDLEfEj7B3lWqxLadoqGvxCTDDAGcqzH/kTi5BAJvXqRBOmcUdr5yTPVii+lK6Rpr+/NMuSGEDzzHg6NgG9IPpPXVODR+5nOJbuIMFXyS/WNX+PbVAAA5eAgKZIPD9ERt9KNS2aRnc6RKotjEbHuY+v6e7FXR3UkmzF8Jiwe891FiBVgfAnuCmofPef+YcIy+AIBEm5Jaz5+sryMGxL72TFh4iLoC/rmumvUsib5HmaERh/tw7Z/tEbk2XPqP6j7fzv1x3XkeycbxNXiimh9yh+5mb4b6bL3r6OoYb0A0W1y7xz1ey3sDdxEqln4kX9aIYUfUHKEApkS+AcxEQbjRRnumifNdpJA8dRL9mREMqMcVmUPK/VYjcNZlUdyDHW0tROiSpkmt3ttdss6hfoDgE4T6fpMiY4NH2ykWF9QL54JEvkvnMv/Fd8oGkoY+EenY0F2wRxsJ4pUaoO15aMNERWX50jAvS5VpVfoFwEH8bKUbGUX+1ce5mcoogPPZHLC2Q2xawaNpSZd5i0MkMOCsSpcHvfEB3or7NdkXij/YM1JwqTL9cBhsArzKbD83llGytnsQj/BGOJFZvOc85gq+l05Wz/XzBfB+zTL+99uXF6nQX5imJi8CkHD4pAkEH+rvYxHI1FFMBwlQaa7bRCKU6i975R7XDSjqfBehM4wmk8My6GaBxPtxeh8l6FHGvk9QZZJYR5I+NFIlFgml2sm6NcTFp73bPQu0BsD6R07gnHguG8KEERkGH45eH9ZNqM3WYKTiSZdit3ffmHgZqj4lCG/XUOMDQcrNaxLY5GLKgLf7gg/J/nYa5DhuSj6jUE1cGgQ1LpsWpdauhMrddjdS23UsWuXYxxn+ZBxSLtQ4ZuPHoWd+OVUXV1pG6yUk6LgrVhqN+hLDS9t/MPYZm8kCANFsR8EJznnO3MkLgnKT0VHPU7gB7uWqLtOA8KPHbqmycjFq5JbYqTJLJSZhrYhTdP5LTFhfIc9YBy97Bfr1wlT0F6z7Sbi4VCAC9GAJz9/6tF3Aozz5HqN9YUxZsZNKOgmkat4bUMjmk6zCwD1Hs9hsU52XTK5b9uQbcJZUoE5kze+jLVhFipqk2oSRl/NXArRmgakwSKP0IOX0eIyGCQ55yZ8XS8P7RbYNzyXsnhOddBjzMaJ6rqaz1Qhr9GccWsQitVNkqhy0caa96DLRsSi+8/II1usBG+ycCGOzzCTb9t+FcW1+7OWjSWEzMCNnUsuo4p5XP0dQGeDz5tpEjeRKuhdTk7+UezGdqsz+TPEGddjKihTa2zTU6NW0FOTGa/Z+BB146wilwgqTR/KtIdlFtpSfqbOveNNWanz1IxN19ob2Y2DXUKyAaOn0wuhCSE1WI4ueTE9SIY5TgKjDxALFtL+5ZVVAJlbHYO8x9PdtcZhEEohayTdC64oD1N9uduOl8jtaviSeHMK/m2X5gjuB+IWPoMjDvws1DN+ACdkaSTr2YGmPcd8MJH8Hvvasl9+igMbiN6TTjmSchALKjs4PsFE57Aza43uEwqog655IiJWSr3SHZ3nfSrnV8+YRWhQe4iRT+uUFKE9wa4yAFARVnfqXtshfuP2PUynsj52TWwqzLr722gkBNDI2YQwfF1qw+eLbj3ytjAQg72tpuvvWMnW9bjg2hf+GFG1mXVYEO9hqlNVSepN/d0AGrD9NO3tK5SYhizxMVYHlvMzsz1cJhJ9DxuHA3W4M8baQ8AcYOUWNa4PxcNPANZyqEPzhTc84oxPzU9Ecm6z0WbUJ6630j1AyFCEKz3LUHyQkyETD6mjZSqsy7SbNaJ5TdVsrxZhN+wAJrnxhVkhYX09i+zzgrXxxipgycX82cb+fq30yfO8sznGIT2MVh0g85wqfwgn+nNmtT7il6eSFQCw0kSNxkbx30UnnOZQ8v2j893Ca2LoAs9ICsoKiDb0xlT4kbJ+SL6VEQ50MoxUdDqNrC8To24oevAZPxbT9lJbeqlzriGvIiBlEg8RQ9oD6GvVE2pmxyVdUsUTxhSaCllszmY+qqYC56chcjaAgX9Pbr1P9V0aiTuHQ/Z0KdCXpibVFF8Aq0PHlm8iV3RJS5ODD37nSAXdsrVOO0AUBLKYhak3IuWjd8upki4v2bOKhI7bAiw5x1Qf9A6RHZMt3C76tf4dWQv8KhPHVG3mbFIbxpqHuVgmVHk0ITZFBnzbX2Ecvg81CYvCxrz4ZFmTWcDDxNtYUjnigtMoY452jtgpnqCAoAWCeMXxPYz3iuWPabEDxjRw1qHrnkJjo6DlzZ1c8vsX8vMzYGWGb7DKi+SPhSrRqfuqoa1QTuR02jHmtt4Li4ykYHlGSzggK0413oTglaCNpGrSpfh9RcgRkgbEf74O4GzemEkhvF9WsvWfmyBAG04LnqzYowFKA08ciIkPs03t5ZiBto2BsH7pPGLxlXbxjnQy3ic5ndj0ACYNarJ1JjRvsw4rql2R9yJaw4nDwNw1Z1HQkYD+oJf0eMCUUwXDb28i+TKCFV/k30K18+wvSjDvmK0hyPvqmLDOO4epN4RmDZW37XsGj5O7ZG/sjR6GXgIDUUo3czdPrL1AZEUnyJpDXrMW5k9nC/U32K09fz6QF1F4pLPgogLymgsil7T0CAlY1OMCEtPyGxr8Ufuw+raPMY2fk5bTB38vwknI+W6r75Yh8N9z6KzCf3ft4MrdJFZn4Nb3Z2K4/5VtJruwcPznDMmYRSpZYv9UFMuRbj9MgGXATEQGbo6bcGBgKM6ZGi5Cqu4bFXKyS9LRPDIiqSNY5lZHYfcJFeB+N0IROI5FmGdUfjhB5NLh6bG+WAhPIc/FiZ6cWQdQUhT4yYy3sH8fEvkMfNFSPRWs6W0ZEFF9ctYdnxTB5gpLYjm6VZq5FaSwYgyqgNfYD9v6uoi+7BnriaK5aMNO5uYoOkMrUUQDOOkK7DnL3+zj+hSezfUSQFSLPxSv8hYurqmr4BK2AIqSq4YjqgXscq6h8FxDGvUhrs1VKHAqbRCoxXIYXZU84SbCfmCjdIvRhqN+tUJIAKOFttRSfbaSMYGiyJRdot2xLSZomZwJ2PJ+KcyyYVgOR6DAf/5ZuQrWjZqp4g5LEdKqXSY4ZcuToD7nADpP9QDnHnHbIqE8auv4p1jmcUwhQAV0s8varKllRjl8Yao3rlb9F6ACYMxjTj4lzixLPoW3fwTcB4DTIs1e2CGhCoTxe5Paf9qqmZ5Qd951JxcGobuMPsz/Za3QMtXauhtkoYPfwk5Axe7G4zuf8KQCNtmhoWtzRvhLYdJ5udUI7KWE0FVUN1mIEmfVRr5IT2FuKfq5BW9FJC29vQ2394ZIpMXaUN4+3et+Jssgh2edbeBIT6U8iZi0WvGYbTo8QQZFLxA08sUf5rW4rpUFXhC6eYvI3E4MZsOynIaM+oRWn51JRNRbg1b3ztGOdmqgJA42/szqxBMsjXHbJUyweW2OQ6/ZIWAfduLT5wnDHHJHlHVA3RK86tSSIbLuMW/w+n2Jgu3YxwflSvV05gZqSS4BOohnCDwqmm3pGb/enmAXZK1uL214/UmAEL3B0PKgPX6ic1rDr3c9iykVcUnyRb2OLi3hcbFeSskpG525Y0LC+6JBfKy8xuJP1vw9o0wBUYt30DS3KHahvZcjsLTn/SRNiMOI2paC+MNtx71qYI2wXCfhKx8AeS2C4pf+pcESdQ+Phj6ZVfT72Y0r7EEH/3pezU/zSzOGuCybRwRd5B5ehE4OA7auhUc4qhwrHmsN/NTfvXUY7K6wbXKPUNnocoXU2L+gpOJeYh5oGfqPhwsiDMN91Cbqyu7YTNc/QJoxgMQFagFrmYQM6j2Wk1wCcgxoNqliiLozhJbCfYCPL2WqTZhHhDJxcZSzQzIRvnYUCS1leed0kNAAepABnBuLpDq72wpB1mEbtgfGq8ztWjlkHMJLuPuHRFo0kk1WipQk4rZRFzaa2MpatWCDzUg+pK168a7HK3iUJNWtZhGtvCudgCtQdgPiBluEh8q3u2bn0gd70NzDKSuakTCM25e0gIqQNtAJ/kt8YlwesqG7w1BPDK8JXu3ij+Rk/bQX77g3Xv8aRgrEWHJMjqHdZOC3HN7Mkzju/SHsHDSRMSYWw31hn/MfzRjfMQqxf0HQgfLZxXyPcKJp6RZPQ4aDKwola/kZXCZABRM2PniFjintzxDy3f77UfZSzPYbL2HNog2KWK9SQg23TxrS4wXr927X5MBJrbqDQKfu8n1brgYhDKS1pzzzY0hXsUAHTJEivmiwDjiFRv3FAhK8v7xVYqeO5BlIWstVBkeCB1Q/fwkobfRVGKVG8yDAWyWE6yRtAOmAF7eWSYKLfiAGRYwmgFu2lQegsiBN/SV8+/D2KNVtPUP0MVbIyqZkioq0N6STS0iGRCV4fjHQ8vJHko76/6q2MH4tanMkIvFAyWAL264akOWEQ5WhXDa3Yb7D3cnh5N2MU8hhtHKLiesHTuaRZMyLMose1gF097yBcVwFZa0Cy7GMOCvzQc0IhLUtApapnl5G3oaELQJHgKcq7DjJclNeAdNb4DB3cmr4+2jkFX6BhoeZ2mDax5zgBezEZ0cFCwg0ILNxEck5CzOlKfnPz7IZXwnGDA6Wh2X0rCaFZ/Yb/O6+IxTVq0HWfL2sMiQsxiSo7y/MDZtG03sze93NixBvaeFw/x8yHClazaiwMm6qOoiJrjGagtsxc07twkNDMG02ffNJo/SQp0FQxGrUgrnyQVwMX5s/abrYJ/PSqrJaWkfqORDiNr277vupHzUP8HPdw2/XdX8cVBlYk6A785rCIwAya2V1syZouI9sFmYrMN/V7GVxqOHBbZ6RWIzZfX4+sZcckAoHROhUnl4akGW7CQ1FbzWlECM/cjCYee+4YxGa/jN7UiMMx198pYLon8DdJRP8N7chcpzLKq7trlqNgTT28L0gvzPaGvam1KoNgw28tzjgSIWiWHZjAJ3+Athl0M/pv+rMslYlJdZhz2byouqb9kq0xxrJ6j44okVBlHo4K/QOM8jVDzMnbw3CPIUJQPoyQzcUjkp+/BbdOsLM4jgJrOIVpznYrPhPlC0XYzJw7To+YFSbOTavMbijdreim72YC2O+95N+tMfzUEMnZmQfX5v6jcFlovG3LnGDGCdkCT3i9YbIsik+Hz5bJo6T8ko5UhWiipA301oEOFnlXs5fqmRufWyUh7K42pINPEMP0SuA0xObq/uaomr+Fj2c79+0Hi2EPEPLuv6WC63uTy+2DxALf+PyrzIHV0QTwZA+ZWM95wm1rDUVAJfH/Jg0w+MmwuDT438J65SF3wb6br4ITsGiSCbzkT0d6hVW+Fo7oWouQ5C4MYLZOhu66Wb5f/vICi8DHa8CBiUkIPiMDboy5fcxHSpn5Yvoa4M+W2+urg33hBr9nKs/ww0MdxhqaFA6YjSkWo2KyeVoplxE/HiJ8hKSIaZ8ywN1Cq9v/Jl2g+RhSIai/HWVa50tIhsZPiUkfrCINX7tkhSe61pGZprCWCdlu5HY03OjL1wCK94LwrHkZ9VG1ynEQQZeCjJKwqDw0oeHg6DFKVMEc555hwbkMJdiQe0Ad05cILd+J5T3tPnAiT7wYRkBpNYZfRM7iF3lIX6H306b5Z9Qt711YL3ujJkHIouj6HrYwJRdLFAf2osPHuv5MYrH7YH+5dvZHj8k9o6xFPH1mOuvwagnVe2noyk/owh1qvPng8FOcGsLiG4vk9ipZvM0klOoKVqD3VInmtPtJyn1Mo4A+BSPMOzaGTgGweLu0b7q+U4xdFci7E8AM5iHj65MpruJouQu9hy5p5aU8zuBwD7UFmI01w2p4XRJzUmPNFoTysgZxkHKDQXXgkAc0xkuTBMeTRQNJyDyKtFldmEHJnhIkd4Db8na3XUEqzRZdivtd9HAMi6gy7hF8n4kJuUFgSQrUeCrFp2WiN+O5Agl4S8kFXeufZhl44drvloyyURMV30KAHkNPhaSUkpw0OWUlkoitLdq+SvugqN1WxTa9L7d0BHqYrI+ZD751uUDEMlXJLDP+Bx+RuYGaEMO7MsgMYt+eGV5Zgl9aCdewXNpgUOHsTfNc8lnPkRGeYjvLFQoU2xRuK5SNvMs3teqkNg+2AHUc7gxzMgbGr7rR23W28Ou7tXGjByD/5ttbEfioQ/jwHRseGWoCcWQfVXuHY8uZUQC44saDVuEJalwLw9C7XVgdmoy4Mz0tLK1xk37umOUsUrHz8w3JYAnL0uHvWFS0sNirsQpXlpZHOYJIWwAuMGZbc3oGShvzx+2S0R3tf8tFJ/7cBt8p/ObTzSAlADsGDvaB2wyv/ReCB7M4B4TTxOcfopqjLYrHQnhEaNYClVaehPwNloMLB4YjFd5ds0krvVOXDSFhKajxCNHVG0ho3tiq9KcG7T8HQEG0MIM9imhW+8qI0AUya8iUNHDtE12GfbLtPRHFfOhMUjnToWhHf8xDLAA3vLuM+vqYjlDX5kh1Ir3XB1UjZoSdPkXyQyZ5U6FeD0g0YMhkc6LwOFa6kN7xtRvEzrCRPt9M6gj6PIZUojLYytdNaJdab9shVwKvZvb+guTsHts+UleJ77+LRRYzZ3NJbagHtHvgKrxnYaZnEsoGTfndVdnoZho5mvAdlNClR7Dmlx70IXEjJFHs1KMKiRptW58D8cOCeGzPtLe0lN1GoRLgKWgZJtHi0pNbJoj80synC6U7Yw0M0QNgIhQK0vs2yZQ9JBhUETSJgEk8UeOw6vTe8OHDvXXGKL9j9alG2MqNqGhaobEb5mCrE+I4tcYP3IgwOAiL4TXxoksVtuUfZV1wazGxoSLLePu6xb22AwUu1KUR8n10y3s5DNGqHKFgr+xx5ylfMbW7S/s1ZgFtHVdzKdSdwyQ5rTpRZNzyWC2kTv+XN6Cq5Kc8LROlw6qejZfVbToY8QAHRy1SjAdP2HD24Q3SmDnIcENs6f1vv+UW1NbsBm3sqdzPEgtzZkH/NnGYeDHyhCApY0Pl3YghYurOj1t7JwN5OD3Wd3tko9QJHh+nul1OYm4ECamCXM7uZHL/CdCn9R8EdfaDsyuAtJlmEGweX1rpj+6CIJ3nqRpo21MGti/TGEKtNWlquxKKgNYtAymZhIGhktWqEEfHDV/+C4XZ6h/C4I1NJu78eTJ7H2y6TlgbJGxDTlIjfL5az+2yvrFVn1qKpE3VwYsyXw4vPz8e9tuq2DpXVf/ntF/aqN8QJawtq8VteuEn7qF/Fy/ee17yPy6AK1HqV+rK7S6euUzGgBTDqtBtno02Wdbx5N0I7yHF0/krNUA9aTJkL+ajwR053KEBa9xY99dCGxJHfNifOXBAp9o0LZrm+hDYJhUI4lAS6SGGKfVmP6s58jRYNXxRqL9pw4Q4Ct8IF27ybRUztXz5AMbGO7PX9dhaCMcl0Mom+v04ZjhkPR/M+eYTg2+YOfuxz5o88OTDymja5lFAczZFfu8mNDZHTwxY51Q1kZNvFWfOqa+Uqg9R6NdZFQV2mJn+dW5LL58Ye7VR3HobgHQ7W0680ifCjxhmcLTlEhNbKPVVQh3OHgERZ19qDYvNEGxRrJszT8oxLGlVnrstvI+ms+hqWe7ZaObrsTYICEGzVrViMRY9mGiGys0u21Q/2bsSro00SXqZ/BN5LYhOZFecBIoEboOIQiVEquYSgotjjbH785Lv8fPxm4MC6stahFz9YQjDf2KUhzGpGAtx/NJwonXFtjxrnm/fguFytTwebJlRNZVOjmIL6c11p3peQUdtPPvB7dNToRCHukFBk5mfiWaalSrpI6vUO6ztkAZTS/qt3iMNM3Ps3vtVYUvxK/q4GxEDrTo9RIC6vOq5vNNRuPv5yjinvxgSYMuw6VMX55F8XEHLBjX8V287ym/952gYXPGO3i1MJRHXnZeKaZrKMy7SpZKLKqJTb2wgKPg1hIMpBcI4NaTuYruEsFMmvmh3tEhH5SHT1wnsDojctr4E3w+7NBQa2fE6Xiz3TtaLqdvsE094ZvjwrWSQEgjJK9s0VqDqxQXVSkBq5OWK4SZM9HlGy/0FXdTSKWJPjmjQKrkYg6iq+qhHryWnU+mcHCjAMOVT7/6qIBzv9g+Yxfa83ZFvm7otJtudwCfi+cjcS4pgOOvgWirttt+3wnl4e5uBBtc/DME0uCkW7btwBZoOGeWSj7e13HsaRw7kzIPnsAXmpfz3N9hI/Jly6Wo6mskyGHKgVbGM+b5bLyCC6C6C0gZ46YXWba20rO59UDiMhrJPbQFbCXBVt224TIsTygVSi4FVwioqiCsULT0qbIxZ8tAeftyHzsA8UBhInmxuULyGfaEGY7kMWQIzQjoY0qC4GBvxScs7amEpvwY8QcS5sLgC6gBE56PGLVJi/DgVh1POM/Z3upymX00vEqCiCJALMy8E98wpL8GAHMPJiDZ2vLlgTOjH8iOdHXKh2Htuh+cTxFckRSVJ46DRD7US4KrX6hrsRPgdF0K3TbZgmO3fKfk9qpxzUMIFweqSJbG5h2Gs4sQvYavBgjvnqwpBlc9T15ZJA3ltyNnLrw/fe6Ao90YaDUMVl0MM505BA4VeSozx8WusJ+cVlmC0VB1/shTXQbsuJ1cdj4glBKaSWbKVyAZ9KcGosxlQ/Yg4Kwajnr3iIOupDDjlG5qfzFuX18zxUqzqzSiqtGs5hf4otYXfyNkKPIPmviUSsDEWGB8vZ0HqfiyYhXECbrAqPlxWbEyaaXrdvWloZpIChQousZRUpPUWjYDMhO2EK5mIlaJzf7r5L9Drx3wkeBXCqYJxJZmIWMlWRnNth9hyn1fwNDiPqbG4SgEt6QTR0e6p/RMG0c8UOxz3PD4U08ztEvFuON6bbw5sjUiCgXQzekiXiEdfpQuh7+L2oZ7mOfC2b71GZ5ntNztqqyUAfkZFt7B7T3ba7gMTX3b7tzSvvmYiY+5AzG8z96uYs3xpS+V4pSG4+J4uOuhtNlnSOIgZ5boA/aeF65M7yQ3s9lw9ihSmfN55F/LBeZoVW0kUa8l+vG80ORItCpnHdNvtQJq54UB2VbbQb/C7iK+ABTkJrf5VfH6C7Axv5ZaS/Cql/w7WFDyHoWb5CuRRQ7FBvF2wnF0qE2bRV+Wp0si41ZXnp/gthkotBSDhS6xX8y1zlxS9Q4eXJJry8yE0DtFA6XQU+DzV1pZPBRk3SgPHY+k2uYRtG8XLvhxV0AyW4lo+YKEp0au5zI2TxvNk0xQl7Z4SSut9oj6/feK4PFAPy0zhy6VtlVEkzOrbdUYfkaoA/wXo5f57mcnsXNK6x1H9LY6ovZQnW5glrMfhUp5/ug8w/Qm7huaVVUQCnFB0IfhK/Rzz0/sVro8sGIQvKSEe4Wtw5lFgZ2g3bEsQe6hX1V+dtGkyFBxc3sywCXFowVIjE8byk/DO6T90IfBL88ZLPF7x9zJ4E/YFJsf66PgJResWzmRFZrQg3l3ybbX9l3VGpOjikUt8Ro53THJDLi4e+kVcLww2Ufa4uFgJM/1pdrUHdQSIKSzgmdk3qW/Zq6M6bPnxCAIIQoq69HFdJHtkme++/Pdp2PJZyZG0oNGlHTwf/Ujixz+Lv6DjQXTUUmdoQjJvZ24ie5aZKJmukeghONPyjttgS77rJfjlo0vLD6FlClBBZBv50JIph8RL8rGgyI5nj4tJ0rnZS4D4H91xCNuC1fa05KA4PDyXLUJWV/fpgXgW2eBEg9TKFRc/SCeCwKmoajEQm6SWKOv5UPCqk5Og8sPkAPwRF4HMS8G5PlJzBAv43iKLWKNnDJCfmOw308gL+L+3ScenCuB/RMDS+iquzgYUse1x9b3WY8TiX063oiCUaPTvRKnbdSNv+s6c+HBs2D8tUZ6IHbxe5L+cjzcLPzaMRPguByDcMzTwWvBUV+35zosif7uFJFmrnlzsYBGKBlZIq+z35mgOXFDimY7GItQjPoiWDq66XhsnWzn3zEjMS6qSGCFNQJbROqcsLQ/cQFYlKqe7Fi2YbypV9XI67Nu+cqubaAHlf7eVc/mLJ8UUiQbo7abDI75EfumlzZcXBKm6zEugqGPJ1onPSQYqvyCiGgGu2590kHnBSXQXoUw0a17pDMy2kb0NxxQW3X+j94GW/zik/TlJlC81ndyR3db4kGG7J4ThEgvJmBp2vpaRKMqLaPjWYGSogGUp6txr5cSc35Z7DhpkI3WQgLWd9uQdnvXHO6gprJJXA1GqGRppxYmYUBaCfigHb3ZzL2ErK2sxHemyzQaL4KzgOuZq5dcncBvK3ZV3s4XOPiP+DKcP7BcbnmJbSxXPdxxWyZq+nOE9WEH+uQYXO2e5dabybKLhbVmZJ3xsbafff5HHYG784CnAXu3D6dt7jsoEGTaNvFaaz1ziW1MY7di7lxsIs3zg=="/>
  <p:tag name="MEKKOXMLTAGS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z2dD7pS103gZfJ6l4USC3jqtWOPR/ue0umjYEY9KlLthURXCUyUuZbmGDPUXB2idlVQc+R1c0j6vNnMaKvr/AghcgjyTjoGcS2U6lyGcWZbvoYqQsrFJ5DN1RdHsB5gZU4BjQJ6xKwDUEsW8X/QQ4uIPkrhyjIfLLN7ZR3puqzBiN1rMnctBA0J594at1EN5QJYMsPufr2eabAYzIDriNpy1GurybA3KWqcTPRKYh436jQqOHiPaCJtAtzpRgB7Igk7tw7BcBhai66Lc0jpyzFEK/4NRoFF+cso+ThI1HNgDMZbpFoCsJQtilLqk9nQPGX6RXGboCTf8hOOcHaKoTUKF81dro10jOa8Xb8mBGZAZ+Iyl7KGHMy03+9hVypQ0hE/Mmyv/yEYKyIe0ptA8wHLtCAgj9vtiVSbYPZQMP4AsvzyegLFreg9e8vjIGRKvxz9SQeeTVwpd0yGC4582vbmrSGDJuMcgPlYy/566EuUxcFprBgrWtjQuhap+P9+TgI+BFXtiPdhwMZC1MuKSEcSFAH4qH0t1bFr7NOUfnuC+z1aREoMOmdRdr7b6TG7KDzgUm8tn8wjKsPEIg4NMFA16XudfsPE6kYYBA7snKNV/uVCYtrO2g5SRv+tOtRpM31zlM1CI6RjQHmMyup3tAcp4DORveyJamCFvll4JcenoM8ntpdoWJcYp1myUrV5V+/LRSy/M4k9gc3IC4B3xPDDYLcUdTqsJdkv80F0MRM+dBLKpR0SPpnYhZTZ7DaTupGmi/czEoa/6ijoEeD6/vKbpX0X2RQK1/NUSNbLm+dKWHY3Amz+T6LHDRzBITgvB9FltcX19HTqR/KflH6iNuICBgV7eB5kVsSvvQ9eJ+mvdjTgOsyi/kEtw9rUgyN9t+0dXIADcAQwc3GAbb7Zp1iNvq2YyubiH6BPIibWVVkd3w3QbSxV4L1GCouOO1HEP83l5sDrvrcyRwcQ8V34j35anGp1QK2vF0UNdqgnIwiEmIVcvXUptIzqA9w4gFGZEJP2XQkyC9Kjib0797jh6bxvbjviVu9nydJEKzS73+PX47imYszOvPEBLppK82V1MA1YCHrGCo35KX85BXZa8HfLTm/HM65LOiShsV0Ac/wLyz6V1vE7OC97VX38AFy2tTHL/XRtYXiBd1p+vLFTyv1KXA9WkWXYvoE5MzDsxi7I+qYSSSRwzsIQEoJpJksw0opyh4Ti5//fcXop6HDfqLpVdy8adtiCX3jqqECIji6d/KCTFYtO7kRNiclMo0j4/+TuAR/gcrfGBQWy+nYYlyMhomgBhguAA4dnsYTHGLyjMwGy829j6/8Fl95eLhL0LSKPoofKkdNKxgAHzxPXQRMzoa08+Tdcsyfyk3NUgCjA8nXzNKwjRhhiDi93wZ/Vm0G2WA9wd0TLZvMapOZd6p17Tw+hOwbhkNifRK+kx/aZZhWOVd10LnKqjEss+HsVEG5Q+aLboOw4HhqZoa2Drf16WUu+5aS21CEvGkRfjs182k82nFJ3UxSHIs7n4y5WCt9Vu01KSaf9F6xt7C5TsS6BG1J4oIWD2TuIj2DRRrq6IWlGPwyBAZevpT51CcsBuH3WYzIsBb8KvXO8GX6ZBEeMU5/THvlh5641y8ACu5Vko1oPYKVRwZCj1OmL64wZG1ZlytEUXxKcTLuIAGSrLhBEVdNMJKX2EQbHQnN43H1RIhYFEA6BHrxL4o2vHWlOMqPQpSqRjStzinE0/Sxmq4Hm5iZeYB5hdKNups+QC5aaL2XMTlMtQPepGDX8YemMhK4wiW/C7/M0aV1ETchGFighqsHw9iC8lAvd2VWiCMEqdXzvmra3+HWvlPdVYcjHuMulVCNJ9FBjIH9pvadiC6s6ZZPt+8njZecVW99qJoBlO1/ams9/gzQ8O8CpEVasTaCRSRgM8gXyjoiaNECX+1mLTtvwGOQD8GFKVQXLAw/DNm+WFJSlANKSDlK7bSLHnL7u7uiMJ1DJhNrkH5NXDAjj5/ouKaXcJISpaTMi9iEWA0udFtvAmDel0NgSFjJBP/AlCzQ6jqTPKJa0/gpMZV+IbyK15AhLV/erRKKm9BgeoFHD6RyK/Zxwti48khhHQ0GYkk/u8lK+zinNzTCIyCe94XUQru04NmOyR6ZHzQWJHfk35YBNOoCVEx4zY80C1IJEo3GSZNnvqczcAWnphoP6+FaiYydbNRZ3QAQrUGgrxzVtinLmO6UwiQLbXbAxnyUaWTk49NgcuQ9MofEBqo8lKpt3V2cJEkP2E0bI7OYMbx2N5Ne4b4fdCFbW1pNX1JpoEiqWlGf8qpQWlSBySyZ4ZK1kWE3qWcXHmtzgAmGl1Ojn0/4NLhHBgr4Q/od7mzEvbLxhcM5bmDH7uv6X5ISaZZQjCR7AgGVjFET7/T9oVp53J93mvnukH0sisowwOUw1i3ZBNW2RtkG3ueqtM7tOai9onLeD+MZ+tuk0/QDz+eI9/VtvDNS/7SJ+QmsyH/VdkhDipHfb53vp4z8sRjoMWLeo6G3T6rR8BaNuWJh86H34kO+qws/6UfnSCDke2Rxvat6Rkwiw9cefhvZOO5P6+TwMP0MINEHJIuXvAEf5Aq/enKBuBgdQvJRkyKNj9MSBS06LN4R5uDRZraM35IObvRT8FDn/s/ZFOWrlqFlZbbHehw5RfPnr2TysN3tWkl0ZZ6ehts0vVbTQEsvsqRK4imn3jSlXwgko42w+mCrKNas+KgzBHKy7qmOOo7fp98XIg41hfwu+UwyyY8qd41Hd8SHL502gzWnvuvkgDNyVX61DJxbBMiuH0Nm3W+1bprNTozXxH+uNh884Vq704YSXf+NjoSC4h08NMKxQa6QJLbAjI4rD3bMGogS0OYQMrk/9DY5gkFxW+OFMUdcjUg+SHCkR5yYlpPSxBHCfRMLABq9SPT9t1HgpixL7Otj20gXfsmRSpXLPRA93j6ZgVuXdBOabzMl4/YrRr7qjd6DT8B4+4r2jlz3MD16d+nSJE7asf+kLYLW3ajhI82SRzulke5Kvl45LsUkBQHSQ65F1u5jDViH6zq0a1GyZO/n8PPUiiSgMZfTgnEG9xU70f1tB63R1DEErdCaCYJnFLHPxZ593QRcVs3kz68hmQ0GywLms8tfx4vvityZKea0f+RBQVJ7sMtpONiYCoBjkQ21LasGNVRo4hdCeg4Iy0ytKfQJRRO5he2UGo7afvbA6Ogz85rw+PhEmkOVhtGRVhiH+3U6WRSZ/G03jd/onVm7P4RnmV0emGvUPGOp88QytpD2fddp/uBpb0u1UDDrGAlind6XkZ4r693iZfBWuRaEzbOlSnRbr03Nzu7ALRNwSZDIVLuAXWsJlgSzgZNbDOIXbYstcbeyi9RaKnT3svaQasjCNBwAAeKHDU5LjFm+HOMF1iJaeFCNmhmxvNok8GYasf5Zx/T9tFwZ+UHDp46lZ0vthhBOx+3uO276H9FOMFLo6JXQ+lPZpApnAL7hQXree1ZzykEk5ovFHCaTq+2HinDljL6DljFBZZ4Uhv04rQ7TryGq8mT3ZN4aBqdpYiQX2o0mh/StbZ2MGWTD9zudVCo/UJoCIqILTos+XOu+2pKr/WRWUhOVolLuOYeskNURFbBcBfEEjVQy6MEcceOn7Y7MrtXVvIz2eWNCSbs2Z9ZIooV80DTHPYO6z8U4MoAgQMyZdvF3G1PQuhu5Udpb7D+y1CjE7KFUf+uXquatIwG/uwGS0O/AkGhzwBoTkzigaEp3HKbcL8Gna6udNv17XCsByXKCVttSOs+8Zt6/vH+rJOj1A/lF6toC/HX5SnC5DxDahkIAhHCJ7Ffu9uD0G/H+L4Hb4+MSVqcKRUAJqdG7FKJsQychWxcFLqfdsmrdICwmZKzuTbGIySF7Pby5Dr+hoflNQJp/eF9bva12Kz+y/6SZnWLMXmT78BgPitKmqoELJlupauMTT0Iw3zF+/JsyG6DACmsX0kY0hH57PDjTn4QLNpyD8XwWMqMWUQeodDlO9NS439nvf+pB7Y+91g+wqyN8ylGYHrVX+ppYfLgsThgt7Vwyd3QpunWt+e97Ih1Zo47wonuInyPGIDQK4eKMpCj+YinghppY5YFH5n3MdaeuvHJDOvKhGJDXSBtvu7GQAcwC2d70exO8DDzgtHg7BxKh8MIsIUnO7Z6gRmyy7jLJHU5OWrxEXcQeeo1kTjkQfhPE4S3e/hmjqwuGlxMQzKPxZw4LrlL1bZc9YeDo2fDLaGdI18pONKYgZXtvxIqvQ7hyVA6vn0HEH+VrGfmJMgt0aX0HCTAXA40N30cyXvRjLxR4fMd+O7swgSJku0BPRUxbIYkDqAjsNpGpeKvlZc/dBPp7tTV6pO1ldWtLX+8ApyrgRjGnzVmDcPE+Xt/Sgg0jMPT6bWdyc0ONZDY0VxI0CV2RxeWBa1nmWMpaYB2U3cw9QoxrAF2od9c9phjd8DjAaW7CVGOSam8SK8cZBxH3rBDFGHkBwwkRhVzQormmwTe1EJ9YMkTm0w9+KlXGzwmzBB6G6enL6v93pRn9dULdoXJhYAtwPWz8IqhCuqrzZ7Bs2kaxDuZbSKoCEzbHeAEpr9mlDZhv1YYZ/s0q/WcfrrmBgZqV2Ae233vFlZi3w0I4FycBWDE7YujLvwa3/tYeg7KywJ4ldt2vPIaIOAhhzGLB/1zjh+yhaAwdFn8QH8pr5KNK7kafKHd1GHnCloJv1aiB5RoIUI93C+lhL4WHJ0rWUL9/mWfbRJ/TsOw+i5tMAbiaUgF9Pou+JVUCQiYJbY2MxPGtFfN0LjfFRSSurxtnzGRK6j8H0sKQnon5B5ApBZUDRvB4dnONYf5WyEkTKrNG6MLzcbIwjHmBZR33ddAdnvOhOB249vZaNr+cJnFpxIEwaYb3/6vrR+zhFNbDgSi5WTrO0Gu6eUMgALoCe0sCtEkwZ7bhIB4rF1sTvAIV/1VsCpNAAi8joGtjvY1n8tFCACU22Y8R5NjUCONi+6ATn/SWug1W4aLpunswUWxA4iv38niEb5FJdlaAW78uumzZpRVXjhqLJ4fS3awl8VlNSODKTgKGc/IilDZwLa+q7XbJo5YSpyd11GygvCkX/xIccfggDDEpy0YmZ5Kop8lFSLpdE269+r5OH/5RpEeiKBhyM0hBIBnJTKImDE3E4Zo2LYnb0bwu0lyNlMXEiAT95GbgS2mPjISdWSAnVk9nlwDZIltl8nlkwG4JzeqwiQ68quXczgSh13Oiip8zGsyEEAeJTKliy08A6IuuvdexyNIUIQBosg33vdwtC98GLc+PqudR8IrDB6QJXnXZ7lwzgRf4aGFJfeEP/sm3z4Vd5yUtBQcpZ6xVhxl4/7uuZwa7RKOT0qx3XhbgtVXDa5nYOfeZxj4+b/rHgworrxbt0g6Hy7Jqa1VMoy8pXLMkcu4zydOXpKhzylhfOlmqgO4G5o68cKAuLNY0QZDezCtWcdpTaekwhxqjvBX2zsQC2JTKV71OeeEPoitJd077CBmnLbZIvtdjLthxQCJIULhoO1E/b9Thum1SzELdgHfubuMJy3YvUF+o5rh36lSKkijjFN8ARORZ1HXd2i5tOPj9aa6Y1i52arTdrjZ6NnGo/0rITbU8xamIF7eMfCZs+Wsqo+Q3OnUUEe+HDcGwSPFkrWxRPHwzBTFoTDBW6rJS6q+TyfYuzPu2qeo37D8zyw4nNdibXwfu785BhwgducoxQkOiOLjnMJ6U20wIBHaN1qijHnEMdXOLTItMP3XFkOp+1sOvD9RLScsX6UO3NNToqHGEbymmbEmalDeuQK7w07qFxagksQdoN70eYIA2UMDMMUQz5HHXGVNdD/ULWWXfh/Wsx5jmJiH+vpfUVcGinhsmVC5u34kpdkwcOrLI49tqxHkhNKIM7TlcO7bdAST5gVlaJTEI4trQlxqNgoQvi2tQmJq8DNiRwqg6p1YIeyfq1Iiu36gC9uqSf3Cr8sGDnPZkEsb1egqGtrXv/yF5vqGkBzpADgw0cGRLItx6NMrKt8w6z6eBxxSX3++jzoso3Bdvl6tM+YO95Jw8B1Nd9TubTubsy7TOhyMqIO0VMbadGjiJ3aJv8lADS+3a1GPZyd65t01qO3IuYQ8WPY0OzuEcXZVVsH+8OArlP3nZA/9eMAFmBE3eJTny7kWZ87HbIh15XPDG5zKcn92ZN59vJfKac+ZzRZddF0oWYLRfbkLHIW/lDsk/nWvcsfAEn9vDc1imC2/zFq6NZQO7HTW40utqnT363/A3Jtgefx1GkGNOwphDHQHG9uwBUOSjAw96lVPz9c7BYomI0QWwM9EFtTZSFU0XFsI0yfYIlS0chGEH0vyWAmu5ooasx0RKmpmxULkIzgrkXPKqmoph08aoy2Y9HQVi+CBvqlEPHzD0UE9WgdkXdy3hhba6m2WwFz5ZOLpnFsrOMOYWniF/7yUyd4tdQOIX6uhJDTFbQa0137WACXL9MqIAn2DMD2GB2eHWnriTdF1TnnOHMV8zpcQeEk8hgnZxYoZ4OG7XTuYyvLRZ8bcBmo3qJUf3hCaix49CesRQ8UNvrNlIHPKvd1GI7CvMdNWRStk5LxytdaOQcgt6dHXAYW8EKP+ri8wB0wQVtUo957G5jeB8G20e1yRDKZTZIQZQ/TtNoqM7we5oHE9IcYvmY1kizgpGtjKlMwJNoKNrQTbYWXbczdy8X/HwpXlEXb8JDhONYGGOHYZWMzmRvK7GRaX3hOqdmN4QpU0S53FqJxtikHxJkOzFJ200rrSh6qTOd3+iuBserLs4F7mKgktP15ONqgfQfFf7rrmKibWJtmxqz2u797ngDA8jj1aCIM4ZPJYJ4GxZXRKIH6uIL21LrGtWtnL6VpYAA9IhhZy0P2YEfnkyqHPqXvbJt6rrS7l+BGGgvaQjk56uc8pXKcKTl+AVuxlcHjf4s1F9xMENlTpNoMPaZjso5OuY/XZaVnngct7hwRHsIV8bt6DfMUprQQotJoT+BIXjBL5EaBdDO7gp79KOTCKmKtlC8cFOXOr7rc+nTztQs/hBf9UKDpjgAETP8yGNoTF/TQ2Er+Oy7a8p8AcQgQ7Fer6WRJ6EIXqv5W5lRQlKf0Cr9DiMt8YQjEIvx3ycGmA+QUdomsN9qM9nRuxmGNnIdxS8HgDNMG0wDhT4Gr4Z6jis8SeBa7oTItIWlaVU/E3ISNoh8PTivlFYy4PTEuP/A/CWJp9tzSgvYiTVN5O0WbbI6/r9r5RklDanS5js99oLPLQ7hufaJo4+XD65jUK9HR8F6LWC4Ryk8Dya7jvTEQ+FWrSMAdLFha+gd5HufG1RI6X6Ewx7Rtx0a7PDqXoNw6y+8USMKVRuPDu7pPcrLjA9pZgavudnOADcKw0Ds7QL0iL2vlYJevCBfzeddFRe2XMh3f09I5VD/7TZ2SjxD6ZSepELHMv/nY5al54BKtVqjJlarG6yxoy175sJ26h8Z9EXVwuJEaij9sK7U3YVIrvI5kQ5m8mhSCqepmphIWAsZzNljuTs3QJjxBz2XUCJ0vPUxv02vM/pi5ZqJRSFEHBl0JHnixGQRlvaMQSu+HqSE1Dzd2Ruz6UJpYBGsdpH7a8W7/Z4X5BEOyrI10ZYGWxdfJCM+JrWiQewM6gyZphBh29rMbT1qPdeaWkxBGXucZmgcQxtZQxzFm7IceW4fTlTZTCWb5Ay2y0Z6TeaZo8AtjtsGd/OkvzDZaPqpMdmgjq2lklQEi5A0EJptoWq8r7e8YEd74miJzcltm6erimPgA0zZ3CIk4AH4CYLBsQzB+F/pxRy3Yb3e9d/4ucEZ4vhlyhhm2xj3oTJEre/EkLAsU09tXZmKXGtIGLyq7aENN85KZiCseX1MkvvpeEFL32NUZLHQB9akiZZTllwjZPffHpJupdeR95A/OZpHaAH0EkrCr2dZI2e5XERwpSTf8RvwbHZQqaaqfUZJYvdCNcAakbrorSmElTx+u09UH4+iMIgFejaTrKvBgdvzoh8bmCSgaBPmsESSYkPZ7J1bb8JDE3i7m5a71n1pxCKi6xotoH7FQvxcWrCXdI4RUlkzntTjBI2h5CvIvHrHK/rEIckBL5/M7pgFuwXFxP6Fy6cRkcgBgVUQeALn6THXtQP75WpZXeLsn2kS2Q/iBEZJyjPLao2NdyKsUcyIgWJlWTtxe1WRnHSi+VR34t53YUuuwpTVkEw6M+yVIYX4nCaF32fwUTf7AB/hjnsMv19RDm6uQZplhpDcRPSMQvxS9B9MQUa5GA9PTwEe1S9L0mUVUdAw3KqB7FvsnoNxjJnyI5lerRQfOfVjcKdc9GYY153dlAWRGlj1tD2vPMCrph28MvgomAiXhQOIzvybtez0z3H+dCLCVlCrRsEyykOmXSF5AjjJnmeCTQLNXT6DUksiuVT6UDq/UhLr0E8MCSzGv9fdslbTFQRhzkF0iJA1KWF2p7oVDo/w/0gMu930/BYeqF3GwezsTtig0wYqYPCACQguzRNLU/9rA4CCbnsBT//EBp0eGZe6rK5yWepWCdPOQteHGNXs106AXsMExDgwRJyZekWcNI6Ymmi2aHhxDqAAO21H8MR8t90YPdDntaQkPVshWnuhlzHhImlRAAY+skwxEGBK1Eu/uixaAaXZIqcKaX0yHoYYhhFFwifw4tQQjDGBi0WRH2RDJHCoX2lqlPHyqF0EmTOKfsN113wQB375JhVe9xX9g5+bJiz49wty3Gua5GRw8OQeERWE7oZu/JhTpheTEIWK6GxOC8n+ltbR5DHQZM6VJrn2umsTV3K8jVN2Gatqt5R29/bUyP9wFBoYqyLbndbkQUxJO1QPqoAYVKvPU+h+AEvH3v3wNA5VGvpX5HRa/pLU56caf2E9NUI+KLbOrmDTSpNtiYxsYBF/vFHnciGRST8zajLYHnQ6oPjaLBDxAs+Ymdsk1T7Xf0kSqoXGT3xPcPMe2HmQPStFUMNW/u8ddelthdfkWaDE+kElzumWrhhLd3jvUEw5+aq0eIUe5DKnSoGdFxQ07UFPbwbOqDoICskUa49An02YWdlfbFNXZmLU0cTlzld8A+rG3jKpIV6jA+6e0Bn6hz6lg7EuxGQ4atZ71XGuu7SB1B8q44mo7W+62vC6iCNlojgYciIMCFPUGGEZFs/Y2zAGEYnNfV5TEVLyHroUsHREE4kLXNKMhs0d8SkxY5LHf325IrV57LDlAANVJeWfiDoLyxJ5zPiQl4jlh7VUoBMTTlVGzywAbK9g0cpTjgQeBlvyWpGWSAh56dGvS8UuVEfd9QPOtll2Cm34p2Erpih4ol/g0w6cekjfJr/vKAzOezunlQ+hgR62UsKo0hQMjGB+SKt4pI7Dg2D0pHdOgApqe3n5+ohLWRSERAj+C1qxByzxlWdv4jecwj3d397I6YbJhnz2gF+A3BAMpg/NOZNTe7kzUSxbi+85t3ddSevE8ftz1XHppGe+cWE8fgCLbn9QVysxOx6Jy+4wUPyRg6Wx0YxPuV78mp692j6InSJXhplkoLLIyQ2MJ8MaDsphSMRfLTWs4eY0lGDv3AEKuB77W/FhH3psi5ASw2BQm7iNAaVGN+v5TWHXM9UUhJUoUDENsgsmhbU7foIazvHA3SFtpIjilU2SPM12/EeGb2WCl4tDZBXfEEySjyDEgDK2xyndOB6rInOXLvGFsQfXmWnVxTpF1GtZpmUgbcHHbNAvIGxg99yQN24K6zHxLTrxuoxeD5Z3a9iARUaAqc7Couy2Mq8/918AZrXzzoH4g0bb74DLE596jD0Y3x4e/Lyo1bQvor4vRCEsjSAt+5sFRdlQDbkx1oOVOHK5s2Q3z0fNO3TcsFpLO1Er7hf0Oro5IYU7THtP084ZhaqVPYFlpiFuJS3WWIbjf3nt3ZFOhzh03CLZf1dYDgXKC1bfcIGQvuzkA+F6DVkGuDoyUP6PhRwrvWZ3s4uBNmRXEvPhOzFy/dLbJ8I0ZvNZ3urxB1pLzMMrY4WHl/hjjipufEGAaovsab3/53+jetGjT7IHRgf/nFu0d0WcTnqXT10Ypw7RUKH6GKWtW5G9yexm6ezAJnsqsGT3aI+f3pFPf4UWLFsI717fIdmb+rCg+scpsnN5rhAHKY9Fda+Ag5VY5uLPYdYOF4H++mUwGCSBjXRUgofyPPy4psTIF2cBQpOymGI+wq1Uo6L4Ssnvp/KoHi6BjVHndoxmmPlAZg6UmTPgP9EQTknSs1cOoro0gtnklJ3TmfdjDisegpUoeek0EV+sJ2LP6Grr7Yz38oCDYrcsujgKty9pteC1Q7S6W3OujPMCcqT6x8r34ulT+TYkDKRV3V9fFPowQXHFZch6QX3qh0W5tISBM7F213SPS5TAWE6EjwWoQyU3FOrdX/BunbAYi8Kw0vJxjp3yQWLCxR1kt3Xxvgre8MmOzHbCQTAD0+ZUxzt1fflbA90vmXSEvoVNttUy7oPdUuhu4W3KS6Kb3Dip6HimvJFIqgi0/3sTq2fLhjbglURvyqRWBSfMA43HtECsf06geTqT75BKbelOxjX2+i8rw+I9BMzOUhgjRzrT2Fp3FHLpuR7WKgjMo+P4KHt4CUcdDYTTW6fJbZej+bwiH1yeVoTYufCDoWMylR6Zz/JfU/d5ItdhaExvKD1qS69R8vo6kyoZdI3CY+rXgBoi155nahzUEgIs0AOyGySyd8mufj8HqlvvHYzmOlFA5oKSixARncexLmOM2dwJn61FUa8U7xSoy2eAm11gBRxEM9xrvVM1Axu27bYkGeB8Jj1HMeefGERSuaDqfWhEVdIVIeKtBeTIRylFCPz3mtqkCfywzJybz2Jr6b4QzzeKq7qil+7muBp8NfhUbXOF6dFtwTa1QOJgkk4/l4VOG7Iz36VjJEO5n5pNUXWt9bub252HgL9nRoGpUY8SE7Vpa3F1//YqepikkDwYa17vUaUamCo5+mq9fjrmfJyGj28Oy/KuAVKObyJZ2PTh92zxyFp5guZvQ0p7Ta0wsVxA8+Jq4k4XFJx1ZfIK2qPtnLovL+feH0VnWehcQgEvNXBAA1ZGLnpoX79Qf9JDXC44twQr33cy2QIny4TwP0rtXUa1fLUuFxhZEF4frJPknkKMQ5ELv4sHfG9dCB2tIa47fLNTVZonHG0cOWRZblRyfDnl2f85QNn9iH2DrKAOiI+zR/oMeJm04qHjqdl6YjsaTqzPd0hsBRJ4nCt/iwjwxtePtLE4Ink3zxcfzlp65SS0/MLbaPg5hcHHOecWly5+8cxAbswYLCchWsvkheArVU2q0MuM34XrfR8Ptz2BzbU3KHe9VsK9p+QnGrchAaT1UNkNBa8QB+l0KIPv9Hz5cLUbFPP/w0sCMc97jGwk+DhdvRh2Je2M0G6rqE95MD+918vih7pqcvuez+Fb2bGu9GrSFZRumnvq5W6jUVefa6fu7wDX2K8gMnBBeyT4iDbml+c4SmSyPkiW9GFzRQw8w9Diqr1F6fz3Z8rFl66W3+Z5PqLQ9dTfgdF3n4LrfVelopxfnG5EQEb1UOHabDzJXA2XaksxAIxl07SiT0j8yQ4UQlTg0i4cbMro5NMTKS+RASdp3p1nPP/e14JAs2STKiX+GZC/zrQ9Rb08REFCv0APZqdYlupESBm8kTjrMklYbHyxJrJAyCv9YTNqAkg9IviooRZUwoHqHlIJNe8DdqE1Ko/SdSAOMymy/A81R//NFQEAaa+uSf4F30xjMFy43M2PuUGf212TgCFM81wDLH31Qykls/0HT/DLZOlYLdoAQ/SY+7I1qg6q9NxSMdRMO3ffW8CPzAbJGYjHn292Dbe6FGaTJ3kL5r8gdsSFWFCoQJlMdIlnnqCgNnEfsyGSLZsKlYAM/unvNYxreGt6Ecz78tyxSdPv2J1qehfMcOaZcZgCqE/dnkzcADFFs+HKIfegDu12g7PEMYjFeMOQCJS0XOkdwkBRWNwQ70lfiRcybXj0rncycWRGCRoge31pK8cbRJSjqM+GvDL2+j3/GbwLJRKUxWHtjGsW0SU49UavPgbvmwLdI8VByECr62yK/dbEhYfpABf916hTSPf7ZuLwQbxLo9Xe+tMJ/xWHsXFx49WbGnqtceaidMc9krvtSEny/ZIzgrZYpVD3ADBfqTF7dwHG8WZosNxqykDAmAcubYBGloZ0KL/oNf1dpAEmMkk4sCRkQaMB1O/wM7C78AkWS/uP/ZkVxve3iSHzFi/c3KVkU35AUvkYsi3hPhrpA/FT99qlPriFqedBY5qn/Jx/VfkVhzjaBMUYn5GPfURbBMy/zEW21Ll/OlXUS97/Han9E+V9l5wwt+Q/v6mPa3qyGh+ets/bFoO4aFHZRxTpNx/trTCbP+AGudgvctbj2RVHSKrIPT55JEB3x7COtMSo/FSnFLu1E7XS7DV++jJ+bf4K0KvHXszaL+5m9CyEKyt9w8+2eIsPDaYZw0p3u5nMYHfOQmOVcYP0PcYsHRuFGcZEHpQOE+ACv7scmBRvZAviVo11ZgLSeNM5Xm7dM/qw75vguUMCaKO3H++hrwWkIQ+YWZnNNTliaUGqiXLXu4DbtGgHSe1G30W6uM/lnS4/qUENASMkNIH/btmj3MIhxmb2SML0vStzWtWYwl159yanH8ucjA4UxFNwuuH3t++Oxsx1/a2JU+b63K7EPaII8g5VM7mGEJ91tG79VuULlfslACmAUEPLK93ZdmfHnpUC2OsaB71fEG+6uL+zyc5cbxke6QngkT0gLVTMPaYLSSo3B2JH9SVtdmqVhG6an/ZDvnizwkILiUitaJTGWvIP5vnTrEz8K9tzsHeclIeDADaortGfINKL82gBTqtXyVh8wAzSMvkKa0on2U+I0Yjp2vCPZ2Nnw1S7H4aWI3OgrdIPaDO5FRS8frS+5kxz+j71Yuougp9xxqj1rIts64Kwi0p+G/z4OYSOP+xy7ARZyVPeLyORs1PcqzStEFpgcYKIi5i0cFxnBZ194qHXJVS/lBnvkZTgvlYoR4q8jwIx7BHG9LRrCDmyyD+gChyXwun5w0gaeBCVyd+UIZUUOx35qIi9Qup6xyPYwjFpIZZo1nQ2lAXKVyz5Xxa2AlTogVcJlKUeCDWao5YMkEddJjwH/rjgD01M+78AVKLFKgKX7blvgTh7L7MXo3uFalwLGTxiCThyGdMCXcrgCqBm/dgkGm7F77fzCj0zNKuhREvvCzfFixRdA6LVKrFvaE4EB5xLD1QrsMHPCVNCdY9mRk06k31O70La51RAPenYDukmnrC9Uz5BmqzeedTVXX3FNI2x3A2+WzItnx/eqUtiB0P598iRTJG6/3waAfvTsLQhtAZEByoG93tBgeb6AJxqQZt/GuZYCMW5m2Zb4GdRwlVAApH3BwptM7ndk3HT974cg4TYiAUc4dPwmAN7BoGGgIP5ZNIY5p0qhGNS2DVrhLcqh/hYGZVZJ/UhMZfgw8xCLb4/XL0+kIZM34gCeC1OBcL9IosHy5sCmN1GlU6E4suvO8Gu4q/ZYi+5K+EjB+3Diul5BGIfgMCuve4fC9wCqZiNMS/R8PRyLHfmqtteBrZH7y+L0yDZorv3HT7oXC5zQk1nsc6K3342WmjOI297En4q/1VJyNDdWjmJYQMj2137zSZ6dmQFLODbrDjDHEIXd9sfcLS1WoKkXFq9DvGgj+7nIFUtVhP7zlG9I01TplX0WVltArBdHNag60rJWAIwpjhJGQ0zk/mckqfn0zvwj7Xr3Xn3k+RJ+GOGIR9KyQwIUhqf6v6zzakS22YmnM1ukWjmxezQqtFl5+dyGZL8SK7rgyRHBAbxRwhxCy49lE46avntrqu7IEklYw5HxdrwhZq18F6ltywzfSw3WtzwmenLGbJfKJjdF2d73D5oGg89GfZnzAN7nov7/xkU7AWHqqBVhf9kNQKWho3DS1IVAV3st7BrFtNDuduL/nCBCj6F4QMJ6LS6awYEuWNgsFgrqL9g5J8LwFi8y6KIN775I3x9kesl44KZSVYydxO4ibgG4kMPIR6auN2wkZNoV3IEtOuo0yd3zWxJeJd1lDC/sERi+yKsd03ZYMeW1jZwk8fAkREA4Ck5FKZqPl9AmepEGNlpdA7GqBJylHBk5Y4OmzIk7mTFkm7MxyYJiArQOJ0iigTyyYFhVGmrjPX7VbYGx++3b6vr9712DmGfxWaS1sm2IwS0zBoN9b4SFl3yYPG0PWow2fm1ntvViN23wRNUeK3n/aRAXGZzzJYyJZbxKfz/lKZHsvEb1F0cAFa20EjeV9Ox7Pc4c3Ta6lVtWyIoo5lvAzjSEJDJZPvHyC62gopdG/KEjbjf7mSuldA/k+db9rnzAbKtZjEhPGJYTKZYB/2Fgqhe7z6LGO8ttxdFCvNV2yoH/fyu9bbXeZyU4qiZspJSQOdn6Y25zerspKSfVdM9t1O80phJaH/QTzgDQDLi6PgAi39LFgpkz3zZBGjPpP9Mcu+Ot/dq/54d6LwIRoJBHILXb6w/rlFuNzhVgW3ehXRmR0RTVsV+KOqNYL7YcXsSEqYY1eATshE+67/L8C1BERw9wXUGMweq5EH0d1MmsRxMeviYJ3nUhiA/y5RmuOk/WO90n+Q0OPuxdbDEFQc7gJjh1L8LmHhlw7vP+qRZDh/zEj6cVf/e7VvLSJQbSCvKwkJ9CauRJ45YrcILf+OsobjW2tY5fnrEhAb9NQEsLr4/ksKCVNglAwskncDPKzej5k4NxmwVCAHCs8ArUQYciZSWaYESUsw4/5f6xgjduqcFZaPBPFktp8sAF/Iz7mdOZbRig2LMKXn1XivrMHCnShssOguDSxfn7jKU96f6uA4R/2MeJU0IsjfiI3kSz7C61K2IzxcsEmnnUudc6Ekh23CNQFhHdNklESO29MIf/N2e6OfdSuBGXOHD2JyEfuSj95XCWwhUb+b+BbUCJxZARU/af1IyUchpYMvSBag8bX1SsKwHiv/YMIFct13NIVM9lKFW5KuxVQJyOPD73gPJ8yi32uZW83zppuB1bHHLTumptAoNi6Ekm7UChGLZwP2xwELnX5mGfwrW5sk4trv7xceQbm79PyeTnEOj/jJm0ibrxg8k2Tc+Rr4ZQJZ5hLRezDka87vm4ClimGW4eb0/T0EXjUTqob9AqCQC3e2J3ay9L1rj8A8CibqR+BD9Kpz6fWjQ0hTC/kRiV8++oNeStid1cwqE/+70+QwUGuL9XDi32RJRoYvndPr/XxqVdPRlVteokdZ+L98zcBdM3ImEvd9icodPKrPX3oj77OTngWqVCiSEy2n45LD1sERyZ1XSFINvJnrmrJgE/w4brz9JLoDGJomoNraOejhT2Rs9juzkke9LqoGTYkhrwlJvOjo1YKuVydbStQzth2rljXI7eFRPxRcY+DrGLdMkwpHTGueoWpuCktVZTzGhb/l9GaoRw/U4hlWOcHEnrHFyRt5cadzpwlYD7EcqPmUu7dThYWUf3a1twleeiZVkHTMoi5TX9o9GtSLnNJP4P+iQkaAn9Xgo0sKhQGFFbjfkV6Brx7I2GcGu89G4OV6hyPpJeKu9ESmLtzBWuIRhHFjBvttc4S1k0PdDODCSzo1V+KZF+49DLMtBzdNTyG5HtW6+DB1O0roQpVjUHC5wtTkjzeA+u5wDnZxMhJ6GHcTCcRjGQuicunU7cxj8OT7sKc9dJHbgezym0LYYw1vuq4wAMggePA/Fb/ZWPca176S6xCxWFMl9xFjyH9NfXvrixZa2eV99GkQlA40rK+2x/85/eQGsmbg4UnsoKgaxnDXYqvtpcE/K8YdrpuQFX5QNOUDmyhkSeYRmjefHIcbjbqeeDFlRdr1X2OB94uFIDV3v7qnAsB+e737/boFkXhKzjdiuG2lnfAmwRxE+XHR+re5QThX0saHoPkfdeNqM79B9ksIG/YNWU3ZRcxh75WrCS0v0Spg8i0DRycpCu55A+8kToVYt8+VCInX7H+awuPTKvUTNEyzcqBVhfGhl3gHSHVveT449Fz6dBIV6X+4R8li1wTMxqKGuZDUtpNFNkZ4lwokY///hoRdbXRl4p4OnrK1Rhz0zr9LLaI/NabjbtqxUegT05z39u0j67TiykhAIgtcooen4fQftgCilIo0oXqZ4J7ikKefWsPefoMPyifHkL2/2wUBoUw1scAPpvKgDs+Vkt/tGIdprEaHWn8+F+FR772XhO3RLwpiQm5Ap/4h6L9TvdNdJQuxoiryvWIkkofZutRnPVX8+7C7UPhgzlpr+Ky6SIRQ6ybkL6KlEzWFDomYlHrIr2NfciUE0gWYKOvQwY08UJucH6bTu5Tcgzvzcl12umtpZBthDGcfJWFOe6AASgn8jqhBSYzhCONSYCJMVbZttoU7nO7RgPVHf8vLVyALdiyDQmPHY7hiBv1rmjR8Sx55k+i4lAgFiYEL9fn46o021v42fQ2noChqDKPHvn7+b8uZonuUV1l/KdxtbR7F++rYP5TgqN85XW0iiYvl53YlY8PxwypR/ZdxPdDKJKOlTKcPScqtkP2JE6j3AL59Vx73tmlpDgMAYRYbzjg6+THpSABlqPQhyEOefJ8H8YPPewgnfW3rzZBVLfWTTAa1OYOt4z05lO/3N6gcMmUpRkQs1ZFfyIEu5kHt+H8w/Ec6lpXc8ugetWr7gYykc+LAbiwqzu5EzZ+7CB2uGPQIp7ncvFiD0KtKK4mFvcTVnpOAygUPvo6Y4EmjBjN1aD9ZsRoRYmS1frNgc0f+ODauUqw09fdWTn9UFtqfn2WRxxLnIJkQ+Mqx+/+JHL4Uh+ZOBtsMtKL0cbQ/t1b8jjrKno839w8p67Nb9nj0YMYYioh1XMZ3Rm/h4NGyBv0odW04nQPJjC+mUNTEhfmK1zhsHiytE+UDjv9U+Htvr3ysSF/bUOAzvcb/n4MfLaFiN04iwhf+5ewHuJrn+P6iC3qNaZvKIWj1FynO44fzVyuiGKNO3H10pzTIKxE4h8KOMA5QDsF7v76p7d2QSHFJtnx1V29mUDjd48E6dOLY40m09x2Rrub67hvKwc5jBqTrV6Ax6VRwqEhL/cF47n+0vGpLcy4jl+0qzSoZaHbmhyo3s7IvNoZZxAhTyX6ZSYyq8wj3BBmlRJy+45myLGZZEyRwbH+UY2XHn70zQCRjk0ALTNyD/uOnVr7rot0N+mx5QB+95AKhNbJ2Agmio7pHTxYCJQHcACNyBrEOGZzvLcEjsq3d1bc7aFCvk/yEbR07MUAblhV+LbPwPKkBYi39WIxR4KTOmQcqrX75lVL2Eg0rSeVLQ8nNa8WJYigDKUuiNRyUnbZzWoaxlJhxxRZEJcuXblxVv+Ydfs9r0roUv2r0L1W43m5E3E0vDeDjl4ztVRlt6XW+UontjQA3WSNjwgOYs9G4qgv3hkbxt7OOwIC1SUh9Rqud9u43GzXxQmuBi//lk6qqI8uaDDXXU508r4Ioz/A75nVZ15rmNQwT3RYmEBYNReuuHhH318aqQpaI6ZLuNDENRai0wWW5uhVXmP+v4jLYZQL7u0eFpeCWzOh1VNJy2uVREu8wto95Vr+nNeDJetyy3jYdgt64tca8nwUibnGAntHkBTYnG+7Mn/mYGO3gbvfpBVw3/RbDozkdzHT+ukbT7ycoH/WMqWB4SX7zRxjEyoMidCOmGE4Wo716afGCAFXz/iB8qakQ9fyhP8p6uSE7I1gHYDoHop+nRMrNGzLptSB+4bReGQfEDxtQuQt89ZxCBUfXWYcEH6SgF+RvaMcMF9KqYu4wTLLJTceH/IOZ2Rx0QIhoqFPi7WTgisQlGuT6Ur1s0dFO3B/sl4G41dJYUab5KjR/TFhDrFIk+sRAg6NxaZVzCnFwSUXWOI1HtgeyHoJZ1dKSNAW0zdkK2xRSkmHNmUc3qocpTbeS9VfZBoDd+pvI+/OVV67KYAmZMYBuwQbmz5aLU1kC7miOscYS3ZAwytnV9e8K+PJPOHtcQF8/4i+oPhAx0OLZ4A5AmUXBojG6qA74fpeZsrQrkiOsUyEn4HiGhpFMkNvhX5rETlRx1PjmRIAZd6Zl7Jf1dGBCOaJ538YPurdjyGr5Iu4VXlQSCRl6oDzlk5Wqa6zLL3PlZc9Cx1rxU8Cd89du/YEuK+iWpkPgo1rBZBXvXhajO05jRuTfuiLCdQ/k+Izdee+9bSCm7piqVkMlI+CaWLE4R6Fbx1aVng+UrhQoD7wRPXNFk/BG9E5pCfLfT3s7rFidCX/FKv4UjcemzUlXC6yWqJ4btRO3b2DEIwWv0iUvugGczwLzSqxi9/b87JG8hekxjSM8BraN2PP5LhZ+l58blBAyBr2l+zg1CuHJDCeZcHxZjhJn4SwmeCvJY1QVhbRfhOC7JECwqGMVrt5firHiQ6RySj5YQN56P/Y6tLRNrvNIdu76hf2G/WmSJ5cdw8zYhPvaIWfms9LpVokYtnjqx+moddmXZaW6Bf9htmMm03uvcHnHVx+pm+84d+9g7y7BTEQFE12a+IUFNFhS1x24Vb50DfUoaMS+JNG3GRTf+39t+7GTanCrF+Ggx3OWATROoMmBzT3O/TRrO1LNoNpu0R6p3PN7swkt97++3NC0Pkr9RLAiVVjsslAk4t7xaESsrNz7cgB2edrOHHWFAMpvAKTxx67JbZmKVY8pp8cK6nAGRJ0VLF+ciQvVWBLCy3r0sbMNO2FONZEeB5QnTpAA+EcNF1ZojVL/oMKVrhG27x73t9rQTHa7fcrcf9lSSEmul7tzp9dsZ/b2XyTKQSgrcaKtPf6q37UtTR2czoFKdVhqh5+F4ysR/Vcjn+0YNPrYwP2JdJIxZ7YcjGhJgQk3+YtZ5vA5n8Mu5Z9nHZ1itaxdGcSfhyyDcPMjQJfdcP1A8tOOXo62ZlZ+a8/KyHWu3tjtnTT1npwYb9W/CmZcb0pOmrcwz0SAw43Qzhvz68BPKXUNHM6xs7tzPoIX1UnubBvYV3T+aImn/h0VYEc/Dcnh5VYfulvys7g/wcpYAlEyYDkPRC/2BS5Trt7k8ixVFj+NMq+PZjk0yyQOL7TMhbZzww04RnNBdVaffMt9giSUklzXBJLldoxm6an8u7XqPDyOdXiCUUANkxIRiU7c7wv7ZaLP2RZ15fQ2xi9eGh5FG8BDkQbtS+XSso0LB1QuYlW/Wd+ROv8XeMFVpFwBgtPYkykskFz9w7O/0/JUK3zdoFoqISFAPcdGcoZG0UMK0ejCk1cSqxlxXfqd208OWarkLL/LKtS1602ffIAURaHNj+Z1eOYHnEygXZnFsqNHnGuUhSQNevH9/7tk93gVjIVfOmLvY/97hCYngUUOqA0htjUgeCkbmKu5/TfaneLWggEn7u4YYoviuNDO5jZN+1qghItFARhuLrjegg3/6AtelXUyenHqYyCry3WzxRyQ5qkcku+QOV6wl/5tPRzhVFVajpLXEpWRs1UhVzcDAGZ/n8jPJV2LUYad4Zn5qfHBkqCV6jIxhpl2w8ciX/T2Pf/kfyNBX29mpTLaF9vDayZ3t7QBa2WoIoV1XzJIg6FdFLlhsAwL/M+hG7ggTnhILmodDAXAuEDxiAZadTus5qDqHYhoMEsiuUfF3qpa97RmmyxNwt0U7EmDkFWxytdeSKj/vg32nnpEdiOJ3Xsz86S5jh5NaW2JxyiQvqu89ZaP/ak7Cvu566wuTZB5UpMCoJyQTHhx3WHUvO83p40F1iEIO6mKJqI9euXL4YenS4j8RJjeRZxgBmEraJg+4ZEA3Qql4qEYN1SjkorwgHaon2e7FMPnMI8WA8kQor3adNkhgdY3DfHN22g1xDgVB5oq2M3+XLpfNsXlwAlCKLG3NsQkaLlP6Dx5KyB3mL9s3HaaFN8Y1JObtbMYqo7RGXSTtibB2h1+FyONwRjvPEaqW7m58kvp1Z6hFzObpZQltrtFeIxhX+4uRROxLAZ6YDMJ/WipqqrKQ85oWp+6BW8C4iQA43NqAYpYdQFm+dq+m+UlvcFVTt7tQhdCkqPjvWzVPg68fYlD4BPFK1Im4ax/8CYn6/rIXmygAbnFp8v+cm4pBrmafwbHMg3TXatZskNzj03r/xClKK4a98Hd2iWCgPw1SMcFs2ykZOiSQzPMfXMShtUZDTS+TZhFjZiPckCm4jw7akqwxNhv4lE/mXLQggEJvlSM+I+pZqOyd8iLdK2qjvRla10dgX0PHGIXz5BeHepLobDqS22/CrGC3t02lUfuEpXjYs2IWao7brPwEJ3s+mCcH6BYGOgXeA3x7wf08tiWz9dl3BmIBwji7gZaIvy4pYM0y+CojQo207dPwEfr067U4dVT+3qKJnl5T6nv/0JqWxY9lRhuFJSMkdfdR3HJfOp0oiQ21/S3Z0VlCtnNH6B5RhpGmdzkrHwUJxXuT5VhToxNITs4cJgwYhvczXvEmjf+jwgSe0urLck7yT5UtJ01VlVx/i9J6cmNw6CDEq35O8qhvlzDu0XAMHs3lRVTD38SVCULfmHufVf4GjumcyodeLzHpjeGUqVEdPrN4KGCglKZwuaMuKH+0wpjmzPP5eb77fnQRvoRHyD62KbfkpPEzdyG8Au7Ja+6G/nPUB3WegDsmEERUmFjzGvxqcZf1ZNaJyvpVXGybu5Pid9Vhx/+ZhxFEhoMYna7RP/xNZNdRz2ynoES9zfaMsNcJo/uBnTceaQeug3f6/p3kZSYlY13WH98Mr4IP2velpxtcmTG3cWeUzg19h388+cxVEfSE1xx+AYFllZiKbz2bJaIPeGbUlQ/4daFL92sMR7k+Nck8qjhRpX550+kKHFB9OmUa2uANjVLwSgdWqVy9j+wyvSZFMw5ngj1ZO6Ap9oHCVSp0HQY5LSf1H+EjxGfmE121f6/DZqjQMrob8CcwTid/N14V55lQ22/nF0LneHxDNk1Y9ROTpITkYB8OrWxrDFG1dwaJlSzYyPMoXzsmeRDl+y9TKOPBkUxFya+0BVHcSbco7aBM7/NKtT0bFZ/yyNvyYnztP3t+wDnQaPKxOO1RNn9YYRdw8D7WeFVLI2Gcpqbz0A+y9tArOzxnu/pt1BMx1jtCfhB4XJwqT3OzWBxBVyzHy9OmYP7xuPCEMGkGWHgxyAYWIkvYHJOdDo/7v5fBfLr6Vs11ZlYP4bwNZHbWnTlgGGOsZHgH/fxZ3kW5cJsijq0w02WPd8aCB5brtwBY6D34JoaDVTXgiZ3DnNejCqr/k3S8HQETxWRF0mI8lEj8G8r8Ajpf4s2PzNlWbEsThNa9W94W93JTpVJUaACyJzZr+JGHbyTqUpatwyHo54UD5j4hNW9DIoNFXK2BKHv8mKMaB3DmS91aN1Pzb0JrTkPYiq5vIaBGmwxSie4lQ+1tgaS93PzELbcXiPVD7eo4anbIOUH9nwtar8JQB/xs69vYA2P13mQFY6EXo6yP7mKuYxL+Zmqdww+SnZEgffbZlNQ5Q7BYTEMU3WqaNSI0Xu/mGP+ZA8XFvP9i/6elTZ6ID4b4U/SyxAqKpq43ixuGu0qoWaBgoQlWBnlrUi4Ic75fG9cRCXipxBs7XUfdbOpkVebZ9gHXwPbNrMROKfH5AEdPaYQ6npWV10m8kp7v9Izd2PD8piSoQJR07w+ra6mXSneco4P2zC5mpNsnoFby1bxPWF0OEdoqmvaOXyyn2sldb+WWT+DEG6SijTQjr2dzVuZAgElvvmEM6aSPX6QKF6C1ob4K0hlt3gXbmrPKJCFnFcRS41nKTVZ2oM9izSy6JlCSAPS5D6VbAjfsO2JV6OhyAXtgsstJyCzPa5IYuMTJ7FxMsX4LeL+kueLj3ufOQel7qnqjEE7nRBRkTkt+68mslBt8FaJDfupZkcOskHcanYQ0dKIx4hQwxBP+xVwHsBlckZTsdg7iUE4aeriINbB3BOpsz9+QOT03orVen3sWmsWx/5a2DZ8J2WIAMfhWltDmS+BTLpq4uYhs640DYc9GJLMD2dIffbgd0mllXvOoHq9KyWiTMNd7yiWXAJaJXL5D1gCERgnL1VvkT8Yi2aVrp1e4fNm3G00EXC8hTNzZCJvFlgnH+0wFR2dViS2acU7hvqf1BhPkBYF+cl+IZUKLHo3vPrlGObCCsqbNTshCwwRmCql7cNbPnMQxzPgjHh75Zd7xx+RpWdKUkXYHAR113d975RHjzDz0bcn5qMmeoLuWwhkvXYn9OxfZu/UEb0JnyyPciGX4PQQ9NNtUQFUadK2W9dCuFtqIBYtqrdS/JTGJHoW9Qh9zAKfiD7c+tDSL3p5bAdooXmS+NI7C7L+8bg1cq8ZTYK05aIg9GgM5mGtztHfISxxC5Uj1wXHTxqq+CiiSxPyBGIZyR8muWZTaARi++YmKy1sK1JhmG44WPBxDISzV+4YpMm9blm0cDqtFVcETed8HXrcQueiI8Zb+GqYSkXSfnclh3nzzyCYhsBCJ8R1FRfTB+7aNn037AtOhsxDNXy8VJlUsg8FBf+vznVEp0eJgs9j8LFWCU0QYxdkKhuhOVThkAb20zGT1IUlECu+V7CDX8lSqh6vSAqW/5NM1xEIT0ADUf6woIFF4l0YOmBi+KI7RWxe/Qw8uLnqeKYltBWlG9+60eicrOEN9P1AfNWjpAfCammF1O7eM0Fok7CSW7sga0Qnr5ZASlqNafvUTjPtg6IlWgPw+rVrCjJsAFUHglDZZdyfRRScGH3eGDDzZXBsA483Iy3s3s1Gelr28lIKXpSaSA8vCL9UWt3kLYVdGV+uCfYydbk69DcrCo6zgLnMs5ZHsqw5GXbfBK36y3pVDgloqdtkykWz2EYf5KvMo1v2U5IfHoA7lu0+HhI/F2hHk7gUuM/ocNdS9CoCChDNKXwNW7dzML9LUcJEyyv7qhW+nVBAK1GyDeIGbC55d/1Epw6wZinkHrgE5WY1PMk+N2+qRb8OvJAyB1GRvCYKe9qKK9CEyJBMvfVp96z4UG/IS49KWpMxy16VMUCptEQZuSdCtqKn8C2Du9Hjfn+x7zpgbM4Wng4UZ4CyVSaOgSpEGinv7VR2zCkorHI0O50WZROb3ml1bZipZm4mV5Pbd6r4cttjdHtmQuU51jw0MsJEoSc09NDYCQREkDKQjtq2WO+bczNMg0M/o6tmhhQGqhbj9BrvvKh5ndoDpvpc4P4zB2a5Zys9oB4+UMhyrT6W0+MBPhbVgKPTBVNtooQ2e27sFDBSwqh6RSd5/s1PYPFbKKjCMCwRA3V3VC6JIqjEHs3/LGaftE5+55T8/YgTg+ByPZMoU2tNlGi52kMhtvDpmh1JTAhj62kP0cZJK5+ReSFlc2iECfaYG2R4Py2Pw8tKfFyrjksEJvaPgm8d+hQRN74+ZmvkodUe5A8bjpF1ExGMRKaogsJE/9hhIxQbF2QA7TveLt6O8OH7G9VCCnbGOi9MKvKaABvGFAV4TCI3s1cSdvqEu3RkkisnWZrYh3V8brLdmV8AuknDkbdlYkK30CGz966lT2G2ZFm+oxOI38XZ0vsX4cED90O65+jqFD9tEWXKwxRg5pecd4R9mKjAy5/9hh6TBL1/dcK6TAfu4WnVCoRV2rxu4Ms4wP0gFPiCLPjSo+aA6pYbO10+3IoWXStwpq/h9Sgl5SmsIoosTOwy7QlQQXGSIys7y05HayDgUoDBxxLXU2HMu9KoQONQlTCwNasXTrUIflZpAsfdhIq44nn41ojyMhA5XrUqIaM07pDVcJzW4kLZSNrHMjpVfl7xjxXHM7fDi7zZFT2CKPRSKjFlkNVU+ltR63pt9RDR8EHI8zN1PGeYJITYUto7eXly0jJEI6TufcWptBZYlDhqcf68D5j+zwhU/6zN2/W3lBvTQnORef0SHnjdbZLl3wkcQreS19osCtLcnaSJS5BUjDTLsAH4cRbR7QCNakvCsKTN3iA+xwBybmDYe3PVMYIBsCqYhzQs4n2gGF9vbVOkc0zF3NLaie9KQZPVAk+znoMcsmps3t6Huls+QkmBPvmz73/M03YpQULlhACKtmEe/nXL6v1W1P2SLZ6cVzMU/4IlasJskmJlc8qQqu30+FDJrETSAbKxf0e9Je3JmhDMq2WSX7Qi2Owd6swwsf/PuNwxAFo+mZqXuRtyE9VVzlPLAEUo3Vi9dfuqd/np0O1l4GAu42l3ijqMgcb3KQFlMr4gMPKth9IxmpV5cHEXnb6a528lsVtYmUUCKRfm3wz8b2AnAk0FiynFepAo63fh5tp2XNxeSRdEDQbTMAkjA2lZZ/oobee9B1HsDzMWQcg7Wmfg0iqKmJa9LXNOAnBXW4ueD9amk5IMOwN3eXGaJ3iacL2smdUHZMAzkeEghzuaJizi/q2wwMjE00elh7jGLbULn5kD/tV7X5xccO/uQvoA5sK981Ct2bcb1dx7K+sH7EuXJ7VmN11cYwkRTrv8GHoDX83H6xzWizmNlS+f41yVB5J0EJh8b9r2SB8cc/NWPlxlwNDYffwBtTDsuSNSLXC7c7EX8mf3ODY6O7A5xumHzymg0q53QEaqy/Br+/3J9OlIVAFYpzYU/mNYxy7D+zEh5i1r0RQrRJ+MOdW0LX269PKkenlq4Y2HzfO2p6l+P5uzIJfZlc5/lzG8PecNkSNaGPZXHaQfXwQbcvJwOPCmk6rkBCyXw8/nRqvDfavbCwEGmOQr2/Iwttmq/UH2RMucYdbdsDOik8mGFQkNbWWEdy8FOG+xfuJOWI+maWL4Z9llF8DGEvbXJjUwJElz+UeYOYNm/BlSyXW7oqZ+v9MetmnMH8Pjyw559YBXvlHOHSNWrNNMm8iBXdUrjc6Pu8pDN80hgLlwye23pZfQSjWqH53VSShhT6ZagqI7TSbmFCVuGK+iEfg7AFw9Ne+fyU35H1IDWJ0Dz6GBYdMEodsFHJ+yk6TvA/H6gtph8K0whq7BgCbxNdDNxUWtk5T06VVSZizTL913tDbWfudEFT6nDLJb8VLtaqSQJSGFjPYd4SZyAsexdSbLe1xXrPwvkUPjgPtt6ZlS/BGD9cTM4f17cnc+uSGPIymheXvCrbvT3Nl8AqABO0WRQryMZPHchBfH9mnOgiO8eIm+ArYxGcPMUWXooXTWSObrgBxalX4xmM/2S+xhq+PgrM96T+cCwHmw86dOMZtXS5lGbLQFzZQPXSifbEhS2vFZ4tD5/jc2H3fOnUpOcWJlJDB/SmnRWXR34GNhcdpLH9qtZ/ell1+S3Pcbbcj3FUY9x/39p+xraBUDl2S4X7Y1JPK/neReNNUQi7qaCf0t4+kj1tBr3IsSa7dRwqz5p8lhZM11z9QgftUnGRof51NEUH2ImCykVFp1vNhlnEXM9+7c/hD4tsMPSrrSsLi0DUfm0rFHxsT4ukjbTDquowP6qNZtgnJn41ki0kxWrChfgE6jQfNPFQABzLTBA5yAkUBumXYzHLdN6iSF7AKcxyXDm+R48QOyoUrk1Ef5BxCv3oI4WQvuctSwxggtyGzdVCuI+agv3eAcMYWUrzNHcWglYWhstF47WSuWJBvzXPcvcB9ZRIH9hCFlg1j7Q8OSlFo2Fz4bMC8EL3wMkVeJN96LWVjFd00bxG6zqqJtHdrtNL98R4P41fsBtSamf6s2QDjel7NemwcGM4+XTYC01enV7RlqZW/wTp4MBm2B3MYk/oLuLbgEGPgCzZPYCyW/asbs504NVPc9U5fwdiCaVEsPygNovHoVDvrJojxqnKvkrv/7Q788UmzcTA7Eq8eT+Mh5QRPxHHoxe+k/oztbM/O5UPCB/4ZMwCf6cx5aj5TqOjhONUVnCEHJ3rfVuAypQrgfzR+4UJCzU2+xWf0dvU+NaqOR6U1xEwHvbKwfYrGesBl+k80Djc5+UnHhQ+eBMsh1NH2IMF8VRnm+BQvNH9q8kBCSHYaYu+kTLLmlB+S5DHu3TaXztv2FC1XFWwhNImJrN8IC4sPF9EEiN3FM2+Ta0EsuzMKvHZ2Lr3PJ8N2i+710yagVNyayT1IFDPU4K4t7n5BXWm0cOwHu/rVhCGV/w9g/GyGTWFHe2JcCAZWoO4AHrbjr50nFeWRUsB/W9/S2itthAr4NHdjPs+0xTKJsbBK0ShBO03PNXVntXt7l3s0xvqEyoL46GRNXXr+YTdAoxPDHb7CHCd5snvols+v3msMFzSdRDtv2kcndooiO8osI1KiQzCTemWfAlQimfT8ywLMXiy2JxApoBJ//K0+pg/QTy1ZE875W4xab7fHnYEnHja4Q1GEt6MXsgcCNt9wh3XcMCB7jUbPchkIu9sp+D0eiuFoCeuo9/52nf1MYvU/CditmFEjiMKl4CLLQoOGNTqdJrx0POTCJahfHQiYhIx3HLXM2pzvpYsbcmPwAB6NvTb7ir0BYqJhooxSqkARUHuDjR02HvMFu3EmjTTuj6L1KZNRSiTc2zKRzceRuq9pJYcDmOUFQj0ptdPrLrIZ85m0vUCotlQO1iYsZT7ew80P2hQ9tWKzc+HjBnpThrOFIwYBLc7q9Y5KbZHj48i/Ori2brnQqdhE/3CRF/0vcvTKdR9DCX1lzgEx/WMy3FvWxrAT4sVamAQrQ69ONDpOQyHCSqKepbMm1VRfPA7KbiaFnhE075Mh5oiq9ko3t2UxSCH1gfNdQ11QOYUPqOkzJiowvuCtlzyGswLibJqRo38edsBkOPZZY6g3K3y/su6X5mPgnkxNmyKHxnkdI7a62aQ4+wkr3bBv/TbRliwmNPhiAoW66xcqHKHKZLBFWOJxer2bXmUyxLmtVqZrithEZbn1rqxJkKElfR2fQFQN1jNvXr75lPmH07MUJpj5TKK5Y1po1SS+YschPrTO4zkPeLA8oGupDcET5avrlvLhbG52nU0mi7nxab/OTy+t7hipY1126v/O/Oy4IYEdazhIF7YJU822/tfYpql8+HJZylWgk2CeVn1PfmZqJJ1Ko8Dg61HDCyA1gseZOYCan8+TvzkTeBmu6TAtIOx+QpY5j6ozY7V1JMlm3r+djgfa7dY1mWrvGr+8MUfRoQWa9j/VT/c/y5BJdM4F8kwZyqv43HnMxHAXP/EhuUk5DFJC9mX0BkFErunqC2SWLzbzh9pVPAgGNL+9MPPPRw5RxYt5NOIYKU3PGFirK/5zaDioDGV2ZXdZ+10g6Y7xMArbEFo3RXUbdVMsd2y94nEnz0USrTTeA+u5gOgfxqi3lOBdz6XGltXKuKidF1Rfw2PWN7z0VGDTWLxxn9bSsKBdOfvxtrGzVyC7WmHBAlLiPLL1T1Ks5RCGk0baya1DLKOJLOspJP74fbSqkDWZAXaJKS4vsdaXJgWdY8OeMkMeinrNS5iEl8RMU7Vlvo6I0htGIfiRv75HRbWcnPFvNwRPes2flTfQSyNJEZJG9TlW/7O7ovZX9nL1Dr3VozgAvv5M4Co0sd7dEdnLrMBa9m5ypcy2vA2fspzHVKS37dfhoXV4vKYi5i8FG8DWpVqQoqQTcELACuhjGnzpvGnskf1t/T/buecpPXWGWanEtRmMOmNGmaSitJoodVzjpGcD5glRkURVL0djW2I5siGYaQvAoPakhFWfji+6jGu9irtppqLsa9XOR1cHxxMs6+SMIWZw/PYD2iq9fG3sq293O8TloiK8uK91aMbTCFqam6jQvQfYdbH3vDT2LfDbtEtoUmCCnf/aPsW6DgKLCjRifo+SHiNZ8PO6qD/YMEfUccbX9BpxO6isgWEyynR+J35kKaungPPDWCycvtSKQ3J8VHfWpT8QoEr6BQ2jhBRbW/z9xGa4Di3cNRnBLFQuETPZ6oLhqe/rbKySXKpy2oUvGej0ORDHfj/urpkckJeBwQ/cEjk9xEjN7KiN3uQBmZlFqyPLxfwbuBkLHvFn2QFGIfWEJ3JkZc3hJNlylpUd6RdeBZkzM2RaHQRqEff7Ub1SHX82c29PsaKpqQ0q32DdYvbuHjlwDnKI5bwr+yGuA6VObysNMRFdentuFzVrqsAwWtEdrHuiIuMlQk4QcVRc86epi8MndCnJLEmrGHhBcf/Tp0t7Vk9ubrsDvS237zNES+QmblzcdvNqrfl/ntv6FRV23/mQm0jFCUlttL8dexQ/wvlYy7I6r2tbu4FO6W8+wbF0J97snfg3E6qzDCT0zixk2H949CFcdO7h+8GhGzUdF/iumOB4F6rT/utCs2rsfMUwUDR/Pq2n9DYokvgGePRPfYJkaCBhHH8WHo2tFKrRB6PKwa9y/pb//lAFWI/rcP1be6gTOMKgOe5BlO7+/ho3bNBM6Lb3uuAWM3M4QXIsbVBDr0kAc/2mHrBXtTvzFktEJ27pLP2kHlNqVQhwGV3ip+iwqUvPz/+bYfiKcHFhD+l6aD9s5WjEpN/PE4JISKXtPpNCUcgZyttF+tphR5gLTwIOv6UmY//xLMJxECfdNfMljinJwdhQFgvzFoOmWvEPkH4kJoAgSf/andaDsn5njf+gxac4aKXdCKlQIkb4I4umzlwVXOZ5uo1zDElKWKH95ERO+RK1jBf27vj/QnvOxGMCTY3PIF/zT3d7H8DXdTMCnlq40hXtuc6u+EBgPlM5bM47AoZw4ayF8EJEg+Pg49QB90z1pscHgw+CMDtByKoymJxo7HHf60wu4qJgIWJrN1gbODk6iZFglG5U+EQPzNau/b2QWWazRMN02+ZSmTUt97uJAvFgkImgWaReb/PtSLi+PvxQrZBJEcklqXZKhgILaW7my5OeL587POsJFX720aGqXeMu+4P3toSskuAHWgGQ9HJIV1gXMxBbRhFyCyTxk2TsLFrvxCtXvNOF86EI/H6ut9wDi8KtuxGWFoyZHUst+FPYKth0D+8EKz6Sdp7ONBAjPPQFXdaCJbAIlWIEBiAsryuZEeAUufgexllssxfsFu3Yax/miwvLhuRDWr51y/+BUW/vHEIdv7Cx7nIdRWhnm+olVy3ooUyx6ELDKmgoyeuq1XyENbnPUbHIgr2oMO5rQ7tCke/TzKyISYYSMqLb0kQe9va2ziJbdnmCEak6Mp9/bDsLRvEpJF0ExEjDmcMVt041/7vuDmYvcGSu2+AC5EAF89GSdhtvhfsreduHMpIXTTtBJsizKrJZvyX33UaSDEyvWUmJCw7EYEl73sMBL6u6b+UgPyi4tqzeo0BVouZVLgiWgpIAcRcGtttjH2ASRCCViMqrJSyGUlp28vKbZQVs5/pO+cm1kV4aFjoxOOMWav0BhCDjtPmqc9T2cC6Xa9q5SPJTvRPjRCla/97w2hKf2fvISIcfE5EgIkYMZa2vRhaOhuF35s3Grdr8qszL45zNKgp43WtmZQUW0+CUrZIfwmmNg7yQriQeoDwC4O4qLn1s2wVnW1wWROt5FZFysI/awvuCObajQl9w5n932cwyz5zpNG9ZLIk84ZEhfKbDxiM3HoI2vvxkgJ/yUIczpEyQ/ygv5xDl9OG3nCDB/1vX9UkhwIBWM/WglzyvZm51sCBrJ1ueXvo40AYvF3f0ixMMESo2EM2VThjWSoI2l2W+hq1cJsBKgH9deZRhY636AguBk+YqDQOxfKOZJuXw7FLcA6rszgTQOfaE1Dj7qzErZqOoKSCfEuu+5M7GWOJOwe+B1JgbJPAMRYq0MgSxtf05ACHIPbDXXMmiOjTEFCEIY/w4JUun9zzNLqKWuXkTEQHwvU22sojozPFJ3btx/vjVV7ZwBkS6f+9CkhQOdXnmLCXVSgu/c9z/DY7jJRz522uLv8jjKrdFELculPHRcrExlI43Jcr2euqq8J5CrDopXs3IBvl97VRBweCgMzq5rr+sVnr7DJeTVcUFnKNc6B/y/hrIc7ioPhuYK4t/lyn+5RvvGZZSKT60WLXRyPUrqXxUwr8FE81vyVVMnkfZi73XvQCO2GgtgJHrDP1hAioSS7Zuk4bJBUacVcirxSWO1KVw40Y1uSsfyfMeTRj8R+us4FXn4DDogKrol511ZgPlzQfZ68oy9vfkhiFyhORgMUwrTYw9ZVx0GgBGbQsFErRarUba9EwNe/0Uv0vCub/RhLXXvHjmL39nJ4amHVslFqAtzp7GZ3x21UsBaUaEYew9YNwU9SGMwCIN1PlhhwvnoI1Kuy7Dg5XFlsfEPcC5yAAULT1YnwraGkAw1U6xxSC2evC6KtQkcMyTcNMA7neSwFwaHZGGukOPAvx7DovKSNmfv6B50+vl+x8aNrzuhAOHsd3Epxf0TNcO4hNYVFsBQr/oYQxvPBoZheK7bk3ZQyduWD3fXzdZYnUJRz1ZRHnYTIiH8bj4pgGvOlByFlYXTj/4HiveZIL7s1xzvMzMmuygQJivb7mp+Y8VjBiGUSa5VPuCsUXHDsSe66vxvAuWMnug6KipnWnX3Ci5nXp0Gpej90B6WKbFEhBcXuw0W+JqF1wybRL5U0YxEhaIWBBlmqjtsTUKlrR/RrM/1PdCuVCP4VXLTdoLCLCjuehefB1lXUzVMfhIcB1HZyntQ2VqJYY/A35TpyrnbWzvUVMceoSkHH9vUqh/PXsuwkUBBPzs0yyagyFsL3GgdTCnb7U/kRHGJrjca6yg0sayAJRrfSKr/PG36J6NxejJt5VIY7CkzFS+2/3RibPXXkSCwo2dGZG01uOmDM9cx2EroYkJYZ/7TPvWSImS8gL8HRj1XkVNNglZUriF0i7LIhb140VSFPjMXl2IJIgTaN2z1rptAgXLfmUEziIGkHLCWGjnTJwFTGL1FlSpguPZqqSh0BTKKLM7ULhmAiytAwnnFM5G+aOV1uMofKEbV1Ni1O88s2uqg/3e2XE9HG8C7XiUA/K1gLGZLhQ0LMi3R+uOX0pH5TNaisxk/cexQqI26WbTuACLpK9/4NtanPyam0SuyUAcve5I1tM81UK6QUL0Zf+c38nuYhDHvmP16V2jqcXvSl0er0jRIha91NTaCbY1TcHjzPw8mdfA/vXHukYkBUoJDzwCOoiJSwLsT3XdSaDoupupViQTIV9TSbh59S0/EvD50du7KbhR9SNJ8O+F8oSfuAPA21A7Ql65QAqFoU/HKaVmXp2CcWJkzIqS4luqmpIbt54gnmHgyeq6DhfgMuXKd1c5x4N2paPacOS92DSHQz36Qk+u3b38afmKzFCj5gyieVjKei9jKLuT7eaRRtgzN7L7WOuH+PdyFTJgveiIvtE4JdzkMdotYK4iF5ard6k+P2s8X3LwZvvEQv6Vr8QFuO/oeqAeo+IxNK22OYc/R3/Gm0+R9wmP86GwRC54LaWMULsS4aHlP51AQgwtXVhcEtxiDyprW96AjoxcnRPQdpDHsFDvN/by18bsI8ISX9KIk2WEV8ManO9N7zHiVzc+Zli4+ClTSfTIsaI7VmcAPVEM+Y6wko2XV+gH9ZYFrvKLklsm5qyfUpE9htM5qcDnoo5MmYtQn35ChKW7Ib29Yf/rIWrCMK81bFFgazR0XVcVLqGHI0Zee385vo7C8CLl5P3l08tSZj7et9ueIBGhH8wWrWzOuDZaI96GWak5HxSIEMe/h2N6YRclkXrwdgFPPDXIbvPo6eo53nZLlyqqfDoyRiL7aRKpovUgKsLGCT3HfWz5bJhsG5Nn1M7Z0AnVmDAEGJl3ff018SULw6iLoI2waiViqUOOkMA5Qdq+wiZK0qgRw+f8JV+wlX5NbVPfE0WcrRPQ1/hj2AatCdtazMoTUSMuSKU1phdgWJm3AMRv1/NWzjY/uiDy9HLLvVpv6Y0502mKRklqjgiuqc5ENWt6hO6NEVf9IfrTYFPTfvsQzFDN35z984xKRt5mmUR486V+MpAHn71bdb/bl3Y/dbWHE5EzO3Nb32xxaVY5f5epyIjOmrjXeGV+wCGkKCJ1c9vNKVX6rn8mQ/MH2nY+t2x/GTekKpW0GXfKX2d7SuVhojSS6IjIqS6hxWr714nrAMnYIGBSx0tZtQrNmrOUvgk9wYIV3uFdtqTZcaTC6wDPsapameWVDawF7Ml53Ft+MsMraBx2Oo2e9XNo23UVpxTlgCr+cWsO/pHlMUTmUch3qiZq53PblPdnOufCEYWN/EPQ+rLDlhhnun4rt7b6wri2sdVKgqv+wslaAVVWpXmCKIdEOJ/SiHPbp6+5wMAFsdnxfcOD67vE3reZWrk5BSp0ZoE4BkPs16JLe/t+ijv6K53zHVrgfRV8O6fXaer7uJza85cGP6I1Henj31yjVHAkj62sKCzt8xgDyqc6Sd7E9OO6J3OzFOuIoIYy2QhIAd8m+WGQBoUe0+SWjWzW3tQR6Ki7TVGQRmJ8aUsdw4N3Xb09aWSWRpbGWMKuKDA1LxIlILS6ITV/tfrwW2i9/arsv3TbNr5/JNhRHbYaosxxP8LcJ2+bobaWtf40DeNotJuJPlef1b2qa5sVGEOsUyCOY27cFD5fOs3A0xo1DEX41cyrxXkYmX3UZm5yJakm8ZO09oRDP77NRQSuuryGin2RU3gyuLPCkslYo0rf3PoCqstIoJpWJJKzmo0i39B0XMIpr5kRck8nCkyFYt6RaGVFyfozsAmxPfs3y6uw+WNYuaFmHG5Ur4H6+Audrn5H0XIs3VktDttcBtPP0sUjH++5lqjjCe/Jof0g9/Ve2qgPQsS+NNAbr/lRMtEiU2Lb9tL5M2EWKkqz7TJl4pJOCLluXihTw+RTQBWMmszCwnO4cfhCwW0fbv40WRGyZfwZCAyWyl8sVRLwimFYDHDZnvmtt21neB4T7gJDlqRgAu1dU36asJmpRhiPSNSM/ZiKgf4yGej1iTgjrifj7Z+E0YrcPZbOX612pW7HoB9pVeOOdtQis+6v0X+a81vza9/hLUliG6j2v6bAhlimNNRJu1TniNwpv9adDnrWxEphG4wl5pvpYpEjILTD1dfflP6eUkjV7KnHx3Edkq1LRUA3zEXIrMwqWiD8pU3cACsZIbE1SzSoIGUiAwNP0FThhZQ6yUIcsbXtXMIr2t86RUM3zdOJB2MR+pg/XecRSoNJXnu39IhMXxW9aBGk+H98lf923wcU4msUat7tgYen0/h9rQhspeitd/e6P0CB8SX2b2q0f0VV20Z9LSfJzxDg5Ud0qJRIY5eRA5qGZlZpr6gmtngSXq4gUqDevvqYFngwkWSRGeUM5wtXUeWM0hgJcSmOHgFCOQweQ3fZNj0qOKndcslehr1h+vGd6MjpIa3DHf9+IBgTwG7sPPaSu8NO/r0+qjT2LIRKA+q3NPFLKzyBLdwK+B26W2/ze2ocydMV1IEgK9pKahMWSd5QknTWc5/7TzUctxUCfe365usl/J1FkcOXbGYNot1ZTHHVuo3Xf4mgOKUALsAlpDCPLlJ5h3VuxwqPz5c5VcYZ0ppredkjBvB30jBO8LO5qPuprKlmYmsMjH6PW32MTJGaHwezuVWT1PnaTpvOI4eyG8JnSdiPbMjn+MUJiP1dEjbWe/dPsRXhsikK0m3giM++m+JaRuttD505rm8eueThGmYbruUTEy8HsuY+ZBGZsSw23NTqbk2up/Qqt+x62hJbQuXEny0Tg7j8qMY/5xcjKNMLCZCT2Tpm7z9F9CFCllJgt+Ah66M+VmebqGVxJecDPUfMjZ8izLW0h3RFTSyKf83WENnQ0irJIQJeEd/+X3hgVk3PMJPqy9w4hFa91Hebki0BLWv/UQt7wnCTJtPLrm2fmK1vsBpOq863RxHc0Sh2aIBTJnP2QgLD+Y3hQ4j2nmtDQb1u4mir+PFulN4PEgB1ucsdofwHODEdIWPF2DT6ggHbyobMW7XTpG/NFHdceO24zKLRPr8ig8dliYuQ4Bcdo0d8Z3ehw5eKVG2NJuDSTWTVhK6t6LVYLTdRvFWBQXy/RT0Bot6oujrTV1uocUpJp3LvpHGhlzHHP77lOIeBWw7iDTgy1iCfkfFUkadGdDluEIZUL4XMOpiJncJehX6lLmxlK0udj7N8zs2UhnmpSOjjsx/3zg29P9coQ8m819cXJv3TO9WCghTXE2kli4XpYBAUEvP7Y/pR5ojthRZ1mEQWRwY4PYKMro913TmSdZ8q7tMySBNtNBvUpsh08UbOODZ4HOofKJRjxc7VS6hwL2ppI1vt2ZRO2+bswi7kcd+qAYYYmCLr5qIQX5Y67NTIEfTfEKVcwfTIhPwp2B+6ipPpCWRumn/Pf15jIfoXHycdqKwVT5KMf7NVGsngS4heNT0Z1pw9zaB4GW5heFxr/AisVz9vAq6L9Vq/bhoXFp2F7eo9lK9cWkWFOwQI5VMeWgsDoaPt7zteAaUdtRxE6L+OA1Sf6o3dpl3QMu60s/KxR+mRQr04XcbrNeIhEajJs6HKBMpdn8IuZ39im1OMA1gweEiw/au0Es015QFEuKUwczVmz1hVFA8quEj2TT7wAVAT+s3BNyJrH5363odH1CWkS6WteOyN7K9l6SbWu3xPneJDjWxRktgy+8EaKctXCFPtLxyym0gySxroQ0oR2BMw10vs7LTNZBVMOgFXAq6Q/VchNAU7UgyOXv6XnAl4isuPpShCaZbRSGNarr6b6ZvWbGmINHY+Pgs0/k7yf6TCh5vcqruNiwpb3Sy38G1HuFJGdDyKCCEfF146Op/ktK9vrzu6jYQ3fLxz/dE343kCYaRJxEGR4LtanbRGtZlM6MDZZEm0viNRyHeMqDDVntzHtq9nv2Yg210khuvqntjvHFTPhTqpHFNe4pvxII8o9jm+Cp6Y96l79rBm02n8Md2OmQ+fjypxI9X7FV3azNicTdXzoSgY/vxmRRWacrn4XxQ7EPGS8liVJhOHElJ20MDKpI3JWEnppylbqDqgWm2ZltVVllYCoG4GVkcinuaNrb2Pi0ibrsriRyNZMjJaP9Sa+DAijNsOVAzmjMeJupNW6llZiqAW+liZqykpuST30uyBIO5Zk5wBq/07QMuZen6ZrvRYdOg1rwjksrsXZZjj15fnDfSzOpZyitkIgLmDVrW9EFgGs/3spIG+DfQ6QK+bwu9YOlhsy5eTKHhQWAeup0BjVYGYJdyE+sCYDzZVXhM/z9y/YjqO2zngBk2KZZ+3EOzYqjD5il5sPSCRYyQ5P3/HhO5ljJs6mLZYFP9wfBnAzX6xq0tfQY0rn40eKGIlSetn7QYPyNXEZoqZ2opLkfGvY5Ks2efkED/MzsP3yj6IUTD27tSUJEuGj/V1HgR4+OGwWHG3mdtrgHL3Ac3vvTj81MDpT5MWgor3QeB0g3fdo42EDHG/fT6t6+eBBPs7LQ6ddTVknkV41lCmOfa4lQ+z2EkOP3sj0eG7CrI8fBWFHrpELdGgSMllnor8YW3aDSfz8Ht+/LRRsn35Ep3nIs7TQTfbVNC/+yz9UEHQebNd7j53Ah1eUGi8WhG2FKgcB4XPf87BnkG8OOxwzSuLT76AEoFJcyjZ1U1AeSZt6/QEJ0jbZjHdXnoROlqhtVgrQIKXru9F38hHSFQaA2ZM/C+ZPQyQnl81J8226cnvNJu9h52UrecBwXHDWkjpRC2/ovUFMjgPhSo0u/rL5bFKs/ws45msMbO7+03a5K8pZdXEnTmIsRgNZ4Q8AiVlKirg+LMV2NwhZ4lGE+FTge7wTq4YR1jH7ATdQlHrQVgD183i9C118TJ85wo5Jl1dIMVDaDDw6I+Pl/Of5U4qNGjlR7WUcI33axrzzxIJgHhM2AOTK/0fGN1bROYuvuapzz7tyl8gf9/UPBbMqR8RgfdjKtw/eWARWa61gJda6YVJsLPCjl7eg3VqqYSJ85/V6mFtBEnfQt15fUM+mdfHNtCx/rMDnVjwCZRctzDUQcsQ/5Mh1mazHYNS5ZZXW/EL7JH2yqrAeceiq6UAbOlcFp41vNrVjGqtPVEBFOdY1XyCxa1g86tEQ0wjsQnzlvoYPlmt6QAsiD2vWYxMFPvx6d5wLknK07TvLQMXQ5RnXG38KRuvu34BL3l8AVY+xIGICqT1Zd6H1EITs3tIiEvGIrJ50p/xKBze7dbmpHXFO8dNEfJUjrUUvOV7zdUSmExa6rRQCyNoaFT6PqqNBeTxazcN0v7e4ePFjiUMKwGYekdJPpdVqRzOvEuRk/kQ1ZS4yLGWLjYLGUARO8eYBoxbOh9kOdSKSX+kL9VW7unq1RwA/hhCPGunl9LTlq9HO9DcTV0i+ovtIgDm+gyIa7k5zc5PtaHSpwIi+6huWZmAMA3WAHadFMRcyT89+YlFJOacHav4otVNkhywdLQlS5xbzAkBlR5q0TFwA1XnyRyStzc6VrHxKM3lyDxxLlck9xlpxslJJ9p4lGT8TDZCG42yMynAs8Au3CbYrW4Csbbk5Was5lKsS53ZKSUZRigwgBd6lchR0r8V6zWWkTDRa36+Fqpbbq5xLWLmba/C5Ka1ih5urPjKNWyyrYEqmtX8pTCfPfr+8XVUjIQ8vVXKGA4seiMvdI6FQmXYxIjCLhnMp0RAypMlY5bbOQ1NW5xlGWBaCNzDg1bECAPLJ+pSkcICdB9uKeP2q4R3OIFsyAcN6ylkEQ0F3kBU0ooWBoaV5/IRiicubFGAHMUDfy+m0q5lNFQkOKyKQ8iDYsE9axEaWrP6h/YfIMVW4of+jxMxwMLjIEd8ITmRO01jPt3CZ0nt6hXJ0ENiC5Ia8crMEEJeBUWTRTEqAuMxecbWwDO87P4RCF5JKNUrN1fYV0fFvQfxx8ULNjOroOonbVsrV+eNeoT9fjqTtCQPw1rQpnPg/s7mVrvXAIMnl6nvpOCBmimkrqbdXqYBuVA2uDiusyJtwyFXIuKEPXPxLIwfLXeIgPp2HdKSaNN98sREc8MaMLVPwdeTiqMefXje6DMvpY2jdk2kC9LDKL3+XIdVjDLzjMm3dg/LiWdq8TKW2AEnaD+77Z02NN1cpLu1QI5jOyvZvkmPxzlfdxKuEHxuEBYGv2jehSGh2wGApSJb2PqvIqIOfKpT4xhwJbJr7wQHe1330aA0NPys4ruz5bGOM9IscsZ6OOePrir2XaAp/8dxIaDtTadQZXvlLl1ktcUJAcg6qT3ooVPk6mYD3sSev5NOP9pqNCAocei5HAYE1KKDo5n5i1NhUQuM7n79D6X9yqHwbsfcC1LjGsE62Ye8k5BTRmn8KxSah/WhbalWRB3x6kQOjVwqTVCmY4KmX4HZIE6JAcIGxoGimHvK0ABd6cLXvK/k+VHkm7MmXz9KkUgX6v9VBZ5onQR1zno0c95hKTwwMAFEY0rRIIRhgmwJfGnv1lk1tAFLNEgHk9bMSZhu5u2Fq4O5cf4TXdt3IJ8tyEfuzZX9gNkehpE/x7kwKuBZCucMyWn7xExKdVIgyJEdVu4i9naplKjTijscXwYcXo4sBVJlzNT4h1YjzX1YRQJzI2UtilXF8MCQhfppD9ESvU5F+mrJa2n/P1i/G9GHrlLcxWLGOWwL1bhajgdUbumRo4l6V1jMEh26iIEWMk42T30dsb/32SCZxvPS0Ab3Vhe0ZDtF4yiW9tXRj2JVdGz9xWS714Ne68DCpn9jSgJDspJ7TZ0WsiF5JDlW8VwhOrHaA46K5IM1jct9ZmZSHAB3IfIQirmrd1el9ljno4tLtda4BhJ/hkDgjUSo0Ki78CH6kyflH1ehdIU86oHWEhl+K3F6xH3GJHMlF3ZPNNSvE2sPuHuYL4UfAuROf1WNNGo0I/XeZSSJAwxa+9Cf20eN7QDthsSKi8ZRTNoomnSNE1ZjF9yzb8WeitGU5MAXLAQT21KZYdCzLc9vcsnAGybmwwS6WOBTXclye5RYJQexXCrvfv2dwlVsQb4WACchLr7OMir6/RW6VtkR+H/0IyPOeJciXcQ6tMsu4YWJX2gwg8bfFWfIV/w26nRGvFupkHioJPd6qxe9X6I4mulfkSqWKvJX9bv/Ifqdij9Unv4t17GeVjEM4sqbBaZ36HjyCWEPf7t0Qz6psWtTHHRKohJ59YpuFRlGHdW7/pQ5zMw/lms+Eeve+H02eLoXRM8TiULw+j5odfoVI1WCuwlJH2k8ZjXxuGUf7v61cI8WDw/GtlLA4fIAHsqldSjDxae+BQ3h+cny6N/TxVhhS7ZrRVssGu4iNhO76acWjXVEPifCCeSp4k+pezkkxX58xp6q6biBxVIEdaQE5rZKMBP8Us7/Hvyx4vBO98vQ0LIb+/kuXdqBLQAnM3dZD1s12F6m53WgmJFlUmI48erIZj4zukRJYrA/T4+euM2dtUgmSIrv0MOa6WOZGUZP89pjXe5ZrSKz9xyWEGNPi3KgjjZONLFvaaI9I2qXqoZOVdKG58vo9pMTCmetdjcrV19wYQloP31Xu2S4CCULnSLADmkenFd3PChR7b0xuYO26DT011iF3QM6zlA1z+I3dVBsWzEBkHQvuOarSJ2W/W5FwCA2w9RihvqbOPwBjN0ODk4xpy9pvnO/1R3yF/ZRrthy33ZybhllVl22suKtACm/4V5lxd900ePg0uSIbuR3jfNY6r6jBJ2o9H8m+VyRxlzJmfrhEKxYPmpUgHtJgwCcGbggdI3oAB65u02SyGSRZ6Jv6toUcXHPk+isG8f7C1FPTp/vIoxIe7e3WZOV62y43bqMXY+o8QXfR4tPx8aKrxJVfGqAIOxfaQCTfWSHj0ivw3aeYDAjsK0kLlO+xIWhHaF7vPw6oX1Qq2wC3wKGOjkxnNgkO6UrQU6YKqQSa1yzrrqoYzai9gaxNd4W415UvhaSimB2I/i89K61ARCB27ZYEtQzbyut/uGzTdEXLss7/WcRz7xqJrx7Mr4XWfntBQQycns/3Ob7p4/rDGpw/B2RgYbD3D9hGZFjkOnECUieeRSWOCbOWYvyogHxVvIhaLM5kH7dTngY+1jQ/mJGxcg9/ccu9zka573WbGY19f7Od6OP2hlkJyjKSaeNs2cMqfGVe/fxevZ1eq49pq27taVyl21qM5TomDAs0tNUFJIQZDXUPR0/W5P9wWPuMXgI8g44ekeQZ3LTnxwHBrL7fiWnPITyy3pj0wZODHYB3l+i0U+Pn3RyaON+SvX0wFEP1/Trp386DNmHuW5syJsLYigDm+Ej6BdWjzMo3EM2vEfECq4LV/w5/mfWQT8HpBF09Gj1avzXH1wpNPpaworcbVidHtGDSXX4iXAQskfdPu8bY0b2tMKoglyZ/Y96oBDovFW8gdwKZpwNvtFUct8eU8yCjB041dJ/B6gnHhCgU41VsJQLwq26p8r1Ggq926I40kh+A/aJtzqo4mo57gyk8xugXv2SbQhAmS6+AgOqUb6Zk4G59bqGbqfvUc2errjpw2URUi9OA39X2FVDQcNvbIsP6S90tCKxg9lOogQ6IRJ0M4si4BZXxOxPB7IzKYoGfVaM3OhByozeO0pdkq/Ud051BQjOc2eis6y5vVqibHEVZTE+18WBalisP+n6FXo9KB0zcR8t6F/GQVGuR6xLgi/8LTU+63PnhJP4aoccI1S0oWDFkm0RHX9mwYefonoyBJZbnKaKjGY7orBVipojQlBBjXdnB+gU/BSGU47kqNkRiOida9y1oodfSd3njIsHMTmFYQ0yp9SrZPhS56t7vDGW1SgJcvdEpZHWl5cD/IwJd251xJrYc2NAWNOfI11qBfp3qYLDtldNLitovLY+WHQJ/A93GdPBLP4zUWlWpRE22EwnVSfloqvHyNoKvMEFPVF2WbqFkkYB6ZgWCmqhpcXRSZ6X3SeTwDrdEJiKlZgbiQWsFZyHjAuCRCgyhDGyM8J7WHanFvdwpk7SHeYxdmFrWetpKx2FKzoDwikfaDxlX3PYMO7Y55r+6XCX2MPOcBgPZDNkBndwh5Zt7r65BADFOYuOBkTtXPRnxWrdNPO4ybVd9FtKu8y4wNtJl+oUwjBqnUuANm1q8j0wX3hbbHlSmNWPGLibFPk9dXVy5LFpk2tk1nfn5q/yJg94QGn4Lqsw8WiopyZLK2/1qzPHSYP4Lok415O/XVW8LExOz4oS3q8+QN0R9/0KlOeNuX7rP3pK/HF/CCfJtkHXi8qpmCn4z1m7MEnZynxEw0MEewsrDESlCoVJ557ejBibm2jZFtoKB7dWmggNHlHuyZd79A4/FervY4beJRS3G/XTEiVyQHDsSG5P1XOMhJAHufF4/DU3R6Qvj5YcrmHkjevTWsvXlJfAOH/kfaCIVRtml8gZ+6XdHhF350V1siUqYyS8XqrTk9NJ+ThMZ3KuVfHO3hRG33U50he+sfENGRUZiymX/oyrQd7hFM9Dtt4ZNg4laUHRjEu7FsnW2Mf4LZvQ6ucns2ezDIQuMeqJM7Ghqyd3iJDB+kp8QqFF6dQG0YBgMYKdNBm8oe1xTIAjHVVRtkDTvViaGBgJ0nP8GwCYbOQBBW2G4AnA3vXrjN1ly3IokD4eZbQAwemIf72RQT9/3ZcsMNWTZ/GlOrG/Lc1+bMxxJEBxFWF7zGUheykX3EsxZzREBiteLG6uGHVAEAL08+a6PNnXCKszVawkB6Gtpys1fnoO8EkDDfhIhUNwm/+3orrgXaZSMYpjhzqINXWU59Eilp1fzH6jXh2L5pcMPn9/XO2NpfJUitc6l5uRVIpUVXIQ6rL61xOD7/9YgucL38W/0nLGYjGdYs0MpWlaqdZjsPCdIi7HGmkRzADnb/UXqzGLT47sxSFyAO+Mg5Cm5FYhQ0rWLc3ZzB0HT9Q5YBS2XSzronW7QPFrXHEvcTp7/Yams6KqCdM6Pq/gr7j1fPlnR6ahlunPHH7gO9mkwlbTxeLECiJlX/HdaOB6QpRpCTR8P37C58rcdjoW39b+yiAtPQUjY8kF7uct/VPRSt1RHIF3WV8nrP/u16r/0cTwLO5urI6+0kAIUU5kSfbDZE7W3NhOPOTroAXWCfgRigljII54JkW/4rYuenRLNoz38+hs4FbvqBk+TgKnkL+KCLNotG8/NFjurrQ+xLDyWUnIbI8loEAvi/lqZ1LGJ1My0unLB9MgJVMcmtLJVGHHa5ikbPcZi+iV7OpL9fo+OJOfpt4VWHfyO615IyJGYjx+BPCYlmQafCXBuuIpgEWiEBDW4dkajyFvlLN1ZQVqGA8/+OY8xsLU2J6O7E6QvQelkhrcKpVph8b7oMOK9XKLIRSmBFNRwb+8nx/phoPfYtcHlgAollWx8fT8o+wtoSWozJT8PigMeaD9HTtey0OGIQoGTdP3sPU58RBA5chYz1hTLk6FVy8HtOOarX1Ta9cNhxMzQKW/0l8tPXP24/T2SA5bwGwYXLRM8qabGOcD1yZTBPS5qgRJF9m9KMYl2PrLUt3vAR0lWqX5/fA4ZBpiu1Xw47mcAH3+WIBPpaZRmmg70mElQO3PqIsD6gSGI/Ub+zHxsdHzyGrkmJyuJiKtuxnORPgen/SxsI5rI05kBPBz8dUbTrGnajA3sUkeNS4JX4KYq56dKHZxjOkrKzSAHvXq5LwbEbjkvuSgVI8ROpqYKhdKvZ+3LPDLLwCuoXM9DObtYwdpP28wm1QJX/sN2L6RrAsh+OI6YbvITLRTgwmTy6fDaLK0kmRHINg+OE2QBZ9T8GVxKFQAwSrv4kUnitalkqfxOWCoq2Ip59KqbPuDUdgEUjVKFY5oECr4lBH7g2oOMkk1hPB/SBYKJMQFFzI3YDzsS6x686+oJkeqa2dZd5FxfpxsFI9pM6GgKIeNRlp36n4GYLux22FCL+YZfNNZLPnFiT6qZo/cjCE3A1q2G6LbQ9NC6eJiYeOeLFZgnpqjopck3eK8i7sowFC96HoViACxOTIBK/T9Ia3rmWCB1L8iGKYmXXZKM645xalSlL8YL7jYOgnza6UBvBLkb8UjCn2mUF4OKT1Rsa1kQhBY0B09tJ/XXFgEyXW4RcU8RuylAxoCiPjnPcTJizkoh/P4vgHVMVMoPNTF/u7/Gga0Ef3It2mHRsv5JWlMDmoPUCcc9Z2O9764XEVkFVNNZ1GpXWWJayrO7LA77CFdH+D09KODfwbBLYzi5IgPysGDsMvoH72GIWBJiotUSWO5cJaCwo2WA33Zs3ZMr2gvNGJ8TKtM9gTW/9fExuD+JFPiUo2/p/8uoxNHXy1IMd7R0arbLgJSPy6SK/nC94tm2KE6SuXp5KGMhuHJpUVvv0+aeY0gOAdSuLYWW+MHUJY5Y6mWMBxz4t38BqBDnF1lgmg6INTZ+E2QcwNrvlGjzSa01eITfzqJ0+m55Wn0iKhXxFF+RbKAAqRGFU+QQ69jCEPR8zQeS5adMXbmmd7YGTljk4fj/O8ZhQPq1RnGWre4Ay7+Fqx9PWUm6ExFIXTQ/sI2EI2L8GS8vGafo+5emxvYFM0x6w0KYheeGzP45tp52PMvidaW5re9nPWiktZm1ZnKM53zaBSWBIySou3sTfM64NGpONx7dZKBLkKgIz/Adlc/2Bsvm5d4v8cL/JAYNHj8PJTjj1EYMLjlTuZ8vnZdKBRv7xFaMz71wTmMpGfC+KLtHhJJD0xIPXmGhKtIK87iPMsdXlVvaz4DguaYgdcFvmuj0xnwC8+g39Xa5x0kKVyQKst6R0Dzm5KDiekxsbMzGJtoDNHp9HAMVOh+hZaTVqaaX8wSxmIT/4bj+eYtvUv8dAq3Jqn9+wXFokNxfb32mqvXuDLjGJRAfGgdnDzxQb2uh8Xs9Q+ZtQl2jzlARoPDH8xWt07us6XgmhUBMCbkkpBHmyvEA99OQnX9Ighz8/oXEWfYBrBS0SeNJYeP3p4tpT/l3skgR5FezgXY02Z+z1d1u3bqgYFyomvRnhilzsZU3AI5KLvCvjbmr7H/1TsnEyACuv+ILE7u8NChu+oo05cChyGIGhn8gKfzK+u4F/QsLPsThrNxgHwP6MBWrcIkmXQga7RpF8G1e3qDLz66aaZ9qKBQPmNeCn2a/9rLVbahfHMXlSrjnpfYf3IBYj/XlKVf0M6mgoZRPrwbf7XOEgIuKSTEeTVucYUxW6TatDt7h0bw7BbGEI1/BRaB0C9vEjBAuLvzUMjqrHozJg0s4JvF5yRWH+yI3m2sIjsZFAqNF/d0I28/x8N1bNPoA5BjuPkECcQkUrILimPW/1SbclbMJyKdHb3+oCn1BbAD6BpGmO6IVrKcdEinnxN7xkfZYkAk8sJbXeccxgJCBDfBS2EdpKuU5GjXu42bb5c+TCHT1es4Ubn5ZvesoVvoAB0qv3MxWIslHm2CeJzkUi96Y5Uc9YrFmVp/jlNbqXVHgB2r9aTOo3kv8SJ6PAZ2Zs3csnVsLiYOEOD7pWck+wNAuJszWq4GohCyFfjqXOYJxYGzLHijB4yKDDA0jfeuBnMbbBmIXQdhMoweyEjf3sZ6kolv7GzJJ+6MEuq4wuihPx0acBAJUwkp1EtdbKKbE0f5+IuvjHoQfROdv1hqXpxArNNhYIgNG7OX/BkD6hM56+0aN6FLlFTRKD2O5VA5nt2KtDL6WaCS6pQmJujgCbjxrrxEn8oEU9VTrYO61u04McLcCxauFEPBLQleNzUWWa0USenK4UfOM5Q1E0f5QPvzIn4o/bHP7s++zicKLSnGQ2La14I/C0pN26l5P7k3z1Hyv4FUStj7ZZ9qEtAhievpLm0F7PqqSqyZ0Pe120+MhwfcD3N20G+uqdkLDeB5AhyrSfQjQ0VV5U8iUVHx6rTDnRb9mzzZRQ4etRh/nBrycdJTGlT2muoz0ICZwj8H6dpRTTC2l3kTeNCnKCFAc6dooy0UlHcn1kBIK5Kn/Y//wxH5jJsFtUQtywLYqmYS0Mz7wZyVIcUye+AdLye0Tg8uDW3eupUEWpJ1PIafVVDEhH+QbIfdqASj9fNZRLo62cDQr+D8GKkHWoxYh3BLolV9F+amJXhUVoaYvGX3WDdNaq9mC/wmCG2DWRn/cDLeUGkUEJk56xRfMoNDRNRhbg6IGU7Cxm5DnPVHUmAriBROlWLkuYJJgZaWmbNMrGRZZthOVAghciQe8sb9kp1CejEkHdndvTZkTYDEK+xscQAP+cAHbwffFUR2ZtQBEn2qEimrBjYZvwWzkOWGmv38uBGv5+Bby5EXB7uRVMX/Txv0T4qOjV/yo1PleOoTloMvkA7000KMeKhU9Ridntf0K/08o2nvZJ+McMdxxtPBA8trL/6obcm5wLURXXPPOutemhL3lfle/4LOVY+OsdV5MEYm8AyIKjSb+/gqSLyL7fEbhRWg4Z7i2f/xrUvTqNRbKaIXNywundAnL9k7BpfcoRuGk8/v7G/4rOIkNItodbVsqoplu87xxX9dY4SykvGNCcbw6eTLCJwcOlZcHvB5R6BhQmmzJgp5LCgowyFc6GbDIxd8QdX29uJKZPt3xAf0EZPC+4EIgoQ0kbn0CjySI8qlQsPxQxz8CiXhaZ9x+0RQ0/KHx7x7LgTXaduj0csNpicNEEspTrr/oo2qsa4FsYENQAGjzhRfWjeq8oWAPpo4+NyYj95YSKXeWDlWuDRWqpsAzRzn/wJZeLPA05/PaITIZpcrEwdp7aqN+x1+44RH7RgTEh5GjSoNzei9lVJGfZljqWopGS8t/FyZb4adE2TAbUk/G0T6BpXfGiryzLXlU3w7XVrb7MKwHYFbnm4FyDiJDaWrAF/V500XOX4NhYcJDCh6KIsoet5qxpoU+7K8qRzgtnMBpLT+Q5ACEx3RXk8tFxLSRs9iNQiN+vrrUnAWl/XmkfJT7LGiTAfUWjb80OH4II8Zr80Oec5m8ddOfQQ0+gr3LJN6oQua1+ogU5zw5nO67OFCpPVj1RFyNDy/ftrvoKiV+W6Q/FiTxvp7h/UjFaK5ir3KzgyVdY0rb7m/wiz+OH8dEedIuiAw56D/4v/lDW+V2gO6MJtL//8SX42SKvwCKyJ09THO4w2acgmjK9xxQPphKm96HlkdATNl/wEnGem1S/Ioy3+QC2YC0gCRvpDqgHOqioaWhrHsOGhy67idbqBb/ano3cVvUouQegN7kmhlEobesJRzej/COwYvLOugeJJ7cs5zmxgE9K2KaksBW884d9LWuYbi47mKu/bEGSbW/73N4HDC+4aGBpg3BZzp3ATQSUnTyWsM6CPQpU="/>
  <p:tag name="MEKKOXMLTAGS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z2dD7pS103gZfJ6l4USC3jqtWOPR/ue0umjYEY9KlLthURXCUyUuZbmGDPUXB2idlVQc+R1c0j6vNnMaKvr/AghcgjyTjoGcS2U6lyGcWZbvoYqQsrFJ5DN1RdHsB5gZU4BjQJ6xKwDUEsW8X/QQ4uIPkrhyjIfLLN7ZR3puqzBiN1rMnctBA0J594at1EN5QJYMsPufr2eabAYzIDriNpy1GurybA3KWqcTPRKYh436jQqOHiPaCJtAtzpRgB7Igk7tw7BcBhai66Lc0jpyzFEK/4NRoFF+cso+ThI1HNgDMZbpFoCsJQtilLqk9nQPGX6RXGboCTf8hOOcHaKoTUKF81dro10jOa8Xb8mBGZAZ+Iyl7KGHMy03+9hVypQ0p3TqSrlzi3fSQ1E9kq4pf+TffkTY7uIyq2J2qC+LAlpdZTZAkUbNTmAtmSWUR3t+Pq/O6rql/SXy/tqUCbM3u752wHQOiJ9aHbZwYZW/3N2yfSPSa1HqNu0Ptz1+tA9wfCfl3VNnRrgvQIPQPX+vh+asruwPQ5rbnhUb9bSm9+yzFkUi4JpqxFd2t76oGVoCwfDcud/6w3jyO1FjUoyBSUgaMcInk5zbp75hPRdgA4Vwjdmws4Tg/z1Pi7p3UiaQ2pfqIJuXl1uQrPXHZppwwqpdNJsiAP/vjROgnH4f0P4pB7tEdf5/baiE+llZxNBc5Pra2FTYTOgykUd+CIrmmK8bhy3PrKsHXQSYpbCV+5DdEzSV++ts11XkRrLTRBpk8Kb+1SLrxvLGcdwKAmYxZUb0dmWfSTVa8OSGOqy5FZcqOKvgjxC6FoX0vp3RT955q8WJ24sIyI++eFNfojXVxEREsU+lFn0RPNT+lwwpTmr4+lPdJWaygDfOy6vvi5mCYzRKf/fr/py4faq12+EbAlrsrPIsChsw8XYOi2Lyh4ciiBvkt3bCsFpcSn3c5ivVE7AgoJOZs0VApVgSRPtAzkYfYQw0D1DagFgQfxEgTMp7wMuIMoLAk/znMBgcOW/SzqalruBTqb7GfnZGZ8BGAch47FMlPBkeMt3YR/EMOmyWjw2ma1FE0YCo3wYXyt8dDTr7D4seW3wC1Mx/eF5q22NDI/T/XNr/isysSfdbEm2PJTIDwcI0HZER4igjtPw0v/JaKa/Ywbpz9BcjkPX/oDaAwvtQ9yFe1m3huM+GAEfHqH0JMkXMv9lXeUQzBbpnGbQJvcvthWEES19slIgisqRdHrE4HINjAq2/FtJmLMyc6CevOivxvR1HYI48cqdfv5IknOtbVFRKKQUPjTn7BUOEjUEM2Uq8GWXVcxokMSWPARTTvzcRytX2+UQukMA+pH0yc+Ezzfb/8qwt3IKCmPNHw9v6VCfPe5u3gpQ8cnSMPtlG/H7QkAsKRd8qkxUFVuLUDacu7mx8wriF0nXGSaF6P1uQtRBuIMdm5dZxu1hhe3s01SkU4zj5ex5zwlOd/Vp5zqgQRAZgJtAWI69l4dSDLKgSxRRYZzG1Q6gSYGBKaW8tyq884xOdalk0mJn1IPjbaagFNAE2TeRRz0iNkEBgVpL5uIHUCcEGY83Bf+S1QPlzHDXc/0nfIRJ2dEBQY2+pzfQC8+Zy0RHVfEXmALAJTlgdKx2305dxppbIAA+BCqJ+8YEeMIDXpUIGDBwkQ9kcoB5UmjAUxaCDkcJIK99ktB5Gf9rpvSwlChgREKvb73uFDsm1z5VR/01wgaXibh9cC2sBaxhmQGqkwQ4jrD4qibTs4dR0uASbh3xmoSCdSFvAhplQ2KXs73+di1LOo1wOWyf71O3g1CpENvGES5n7EyYjn/Sbhy1mDs8+xvQNRanzX16AsTimGA0J76ktwPRegTvmqtA4aF76tcMyi7O78bWDrxNUCG9k1RwLdJT6LcmJqee1hudc9hMZwjRieA7AaBN4uuZyfhvy7ZnD9PgLNrXtyHZUXDHvRnY4ezuUYS5RoZmusjyRQJLumi5BGhCr4+aIyp7i9q/OE8WERe9IS+nKwd5GHjnRw1TrgIE3DfnIDTGxROoIi6BLpYbu87dJ+MLOoL4i6bGpYNpgNAx51KPwwge3o4eYe+WpQcCBr5HvQSb85Ah4wla0k+MzjrB/dWnG1dQD4nQLFtpZhtUMrSMiMqKynf2/8qYp9dhUvhqyjKVNfOnl4MuvZ5akUcRGgbRQOKA2+iuoXCxwuGZLaqzz3/p/4trVUtLbrqZLfst8c5DUASe/jG8kMPQ+AL3GzYxw5rrmbxbOcrjaKYBqUxUMx5pdb4RCVJKUtzOdFdQCjGEzKaKujpWbJ7GoAS6TKH2OsXrBMflJXXyVup2tQYIaox8H4aOowth3tft5uZQwJpAwJV2hBUs4PaBLPEPmIoG6LmcqYzhaDF04hheZ/wcfG6T5XvUD990AJTN7DxqcuakLD1yzV8KkTDfIRbIW00i6ufsllh42Faq2SzpcG46zhKYCXAq6f+h+FMsujItQn9wQ5m54y/5Xcn9VBdZpwh4lBcBoSdveVymV1na6PBU25GlAHWhHxZ3921QhCYveCCFGZrYh14HPfQshtmytzlUaGhsUaWTi1u0GpElkeWL9uRhourCXGqlvBceFb8wcssxWHMr34RNTqkE8jlRV/te1yTeH3m84tMzyh2yqzvaRu86WS7It7Y52ZJyT3avIS7WG23JVbg7HlZAxk7qCJ4JnYdbbidddNkZTHP9TOy3XHPI5Jy388SmX0k9onO8BqWrgxHCxJIkSMAdxx0ifKqXUbUfTQltIKvjBzhZs1opCUZof9B6q1cBk3oZRtdw2HJ9tvPdkf5+0KOr71ksL7LRziV1NOXf0sT5dDqAKdzSQ2LHnHGFuWfh5iCL7eiBd0n0xwLXYBupdut+stFtVTfkx1CPm41/YsyfCs5E2NXpJKlbdRycQ36jr2yTY+H16ffgJuBwiHEE0Vv4KZJrTbySiBybNjpUD9DURjpf1Blbpk+xVRuVzdIgvZ1trRBdeaq4WT62JrQ6xzVpQqZP1WoyeYLnM88cWPNFVYnesiXHib2SKuuXTClN+UZSljx33IgR9rQbarFeZbgK3PBNGP03//21vAOaz2orOukjW6igYC2TRnVN612o5OX5NxliH3cmjhV3R1MfeqCh+cf/f94Pb9FLZQ1eqiDBrlBRu+ZOtDDUHdQxRj/abyj3XGhYfsAN6S1LSh3p1yZlcgnuEPMQFYwcv7gwL72GND9qVwAN+ftAho+RWVpbuZNIYUu35qTCWC/O1GL3lcyq6iRRqqrPmVV25N/yncCLnH8VZUKZ43qqllmP4YyYzYZeaFrL5Hsqv59D6bnp/RsuQkIlVcuNcLrgYaO7QiVBTfYzLDAKooveqf+mIXnLNNtnIN4BFBjaNsddpUKXmnvlLQjSNEStBDcgAFOl0ovlYdWQHfsI/S7aYDfCeWT9NFRwjxVa6ew0H/iBNdoEkOKB9VKjS0+mHE/29ngsh5R3xclv7fpFb2482UXT06CMDVaNyUdkLgTevZ5HrgK1s495dWW/ut8HSj/o31QwV2KxnGs9ngBSUvWEqYmIjwqs8pT4H4gyllV6+K1eDGWS3CcagCsgMqNU8TG8NuHzBVRPwW8Gq+KFz7cCeDq9lqq2Q3aKqR6E4qCcv3KOH+1048mMRVLN/iWyXXDK8mrU9Vn9a3IX8js+R+YjyvLqg258dIEEQQDKirUpE7eW0BJ2daODvwwtSkLQ0xjCwS9vdw5qVYH9Le5tjDvygv8fMjCA5m9OsBqZ8WnO9/60VFffILuJpcenm/QchyQ/smAQ6zYkd3kWwhpBtkKZivEhzK+kZijGf3Szh1P12Yf5xf5oooUWap8Wvmk+PZ0RDTEWN/2dOiw2jSbI00Ecvbgc6k5LJhIDjkw8RviNmRKOd262VVvkANGsQiyOLZUHeOB9Q0RPKY3vJWYF80ySSHn8sdQJm3LkYTsW3zTyY4i/HwvYf+Uw5FbaVZ18jZSZydKX7kDKwJ3zJP3d48JmKs9OYRONqqBsP8rlHIy9Cq4zPyAh1Hs9M9KggLRHtbhPwPpAR1nq/FJQ1fhhFAWhPLzZPTB69tDUiaCoWMGdJ/hGSkIryhi2bbnFfTMCpJ1RHLFSfA6A8HmWTMtBqTrVYyKYECE2bLqu2g4zXs/ToXDPBaU5p9HHPGx139O7cgmthOIcpGdfabj2BtKPDSGF/6gXSCzCWYy5Xz6mFsn0u4VqCBZP0Pw5tBP1xplN54aS1lXzENG076i8z93OiawI/r0AoJ1gmFn17vAngB8Gz0mx7oXVCShA90Iep8t9OVo8iUSao1AIlNORwHYO/gj2CANQgbEBodL+GC6Xsll0aYBw2sF6jml52zC3axmeXI78rtAtYTmDovvqMo2nWL9lWePotT1PlCJXdMU4BMeqpq/FsIOtAug9YiBhSnXbPXD1KgrbLfCTAi11zrZ1Uv9xWT+XYzIhrYKpc/nl0jc5i4nhEHytq8SOMXALw0MFLeLpYMtiN9FmfcT6nSSoMNRnaHYmLQj3Zr2EzlxffyLBzRlMsXNxW89v8bRtBKMlCeKPqXZbMPTh6Kkc0aBYCPhAHJf8tGet1pSZDnkbQuMysHI9UVX2VEu/4eeBH8kNRVNVGTsnWCfh0pn0itTQwLqacjuirQ1CgqpXcsaC3eRgRLp2lKMQkrBexEDre7DmdZ1u3E0Iz9BclwMkayTIlA++RClh9LeZddBD0fiFEgecJE6/n1axdHl+n0BDlcSNmcssJL6gltXrQE0aPeBNWa37MR1BdQ+jDzEvDJvCV9EKuOxeTFhdklUpwhF8ggx21QnuZIIy11FO2MfNFAO4NXb/OZPSbA+Byh3SMI5a5oMENA55nTAfltyxvp4LavjYS2TMVdHNLsUt/D1T50c2fNSTfu5Hl+0DPHRvHkTnkYB0HncyMz/vN4XS0+tn4hJ7wdwXGBXIwLP5cK7rFxUaXsQ6SX8uX9OWatOqWoQ4LGqEYXxJcNcsSZcuNMMIBBolx+lwf2yJDKmZMKRcis+H9ujWIWH8Uhm4nxoFUaIOZ++x7bQfJlkVpD1/q7/LZsyuTFpc87L/lEnr2Jy9McLfsdwx0slOhF8waavL2Tqmpmky6fiV8C/1rDTQ5Q+STr9m/kHYzDsPsa56XAnaGc+ia7DujqeQJwTObw4gMoi5kaj61aF4EyZsjFqFWUh3KVihazz2huigQHFS/PG+/+kZZH256PKL/vYtR4bN2d1htHPEOPUXs6dE/DHoZXZgHZlNgAUKvXBW+U/oU6gK7UlQLFosq02NN/t0VrhWVqe3AfVLdw5P3toMjparwFZg01jGMDFhQB2/3WroZY6nhX56oTtXmV9hMYjeH23Fk7KXkLZVdEqUdIMSjbHK3n/gGRaq1rD6LAiJdHAfKhBC9OvvwoqDUNha5ElErm4cMm8KiA0zP4z1G7Gee5LjmKAjk3ue5rTbVql2c1m0QZdpus7Z0ti3mNoGBDu311Abk0GmYwrYr40NMKKya5zr6Wspk9Y1rbUUpXHZtEJdoFbXqUeU1m4b3VGvUWB+4RnSqEySE160u5hB/2CzENS1qXzQYr6d6EQFClq9jNvvUZywOWLwNWSjl20TjK0IjKIqyIyt0eTJaDf97hqope8yx9UnrKS/w1nrE15lag2ACBPn+b/XT84C6kPbnIWAZ8Obyoj7nW0aQ/yV1z5uCStzifV+02In4kJXiAsDtyQGlCmsrTFl/F3wb56XipG47GBVTfOw7JKKcKKODyHJIZa0oDS+QaPhQk79B2UKokXTHTmTHDqnvEfLCnmtyb7i8w5lW2li+knRQ2669Bzm/oAGZGUDvCyRuXnsKvMqUcqwjqWmdflQUIQCAo4pKt2TEHfZLNZQ5yJjAuKEY/cJ7G8Ld42BV8oK/FBvH7ymHz5qfOJkWnTh6lwMj1rrmTWfVSeEz2sda8xrDpsNFo0DvpktMiTMeDkb9vU1qiPOZqs+rN/X6X7CNH+HBGu6Wl5pzd+Ob88gMYT3331NWpOXkeFSbe0PpBi3499Lberu3apET2y+WbuIhpgAOgVVxRMK2ReaDGaFAjAUv2YLOjx9mLuLCDAvQpxZbG8AbzNauK3EhKloxS4zgRmmleLbLrzdA3t6MnkP/QokSAGikQl/Wz6GKKEDcbP9FGe7ZkLWJlBIr6MLbp01XBYvulc+b/UyJD6BdhGFS1+fzKmRoo4BNWoyZaP18AYjYafbY7kQyatb08oimyysFSDiTo1R7DZLLeadv6XPDndcrUxflpq0Cq4bLB1jStFLgRAgCalU5MhDBb3qyyLQcLFOs//eU5BriOqLaCPgXdP61+YIshbOqg60FeY75NGCLmlxpROFPpLFh12vRFXscUClfqS12ERhCmlHL5jKQ9Ft0uhbKF2VkN04A5KrNT4439GXHsVtpbSzo3cy3VNJ5r6lFyrds7btfhtsGAA+kxoCmY6eW9BSXSJ92pX4JUCPS4mHxezwt1mRceq/p9OXk69Jv8cULlyDrZsN8rKbAUlRtJva09ijbOb4uB+5MY78fdn2F2wSIjYmdNwyKzKjjA7eOc/Sp3nsnRJoKAckmRWHJm7emzSsUAq6//Hhb7X2eitU6IOEObb6HWnN2hY3dafG/tIqx+DlzYIJ9K6NsqpN5P5A3NFfxhp1ESJB684yf5Qsr9C5wbm4DCO3AiOW3owWCT8rfsdLom2RiQZH6ptmkhwitwh0kSAmfEQt778cWSSH52/JmbTq4rpyzaTC3yX/fd9TiHNC1+l5p/hIcsXyl5//EyEiioAGt0ya4VQhb+/BTbZSe+exQiY3HA19OLHQwxlfe75Tb6mGMF0NgJw5ifnCEOPVpUQIc5DPe6erDWrTG6CGMYKqqmN/Tzkoyba2pxMjDyBd1xXZ5EE4cCLS5ohblO6d8YkKya4XY5LotC1qf9QC7Y329/vGDZn8FWSDI3GWkneqPGK1lEz6kUtahdy9y+znwlQvjoe1E3FbbJknE0E7UxjHUxgrSyXcch+qjwXLdaKzVR8y9dSJsqn+IbZKivnJD/Y7B5F7OoNhpEnyKU80byRIuPkasbq/E3nnaK2Q7FVe5YY7xQlkqRB7bCm9lBg+bhARG6ur+pBEr8MgV8NTjjrmGQ5iGV4tPWRigdE3RVoS5ZvCc2fZuOTcG1nWCAJP0jh+ccSWCDPp5lbOMif2mA5ul7767Fe+hOwSz6Zfu4M8myGLNr4/H9lCkt/0X3VdoTXEO89IxGvhbjwubwQ6xq/Gu+ZBlwdHy41X8iz1H+n6rDD1ZXkMMuXV6izREkeOWuGraChVm4QFrON/dnEXq+UDy+Cg/kG+XUHlPIUFDcrdPezi1Fi4zfsTOj1eH6qfbCjmUJB9QuRyiqxDJubq5iNdhLZdfKP9oea3tpxjAs8vIM88bFATSEtllObxC/3wtsngpRBiXdnQpzxNiJ6kv3oGI5fyBP7EcZsa5J1l3Lc1e0DNBI53kSFmolEgeEJ/uSP+E2ikzRARRGnShomJZJ1woCN8PbvoMEemMnaNb6s4a7KKdCHl5Ort4e2lKgk6yt2JgwpOFJKq/43JB/u0miyqEiXptYo8CtMGGf7zgS8lxUIDOTM6MU0NUWu5Wp+CeU0FEEP/n0aVplk+xbusG5ORhrxtC2nPJ0s51cTFfXBZy7flo9FgmRikMxd/k8w2Euru6Q2pWTVv2kxZ601lASROvnt9vFzqtGL0yzEdvmYGHOim92P0swhAoQMVJ4liKVvon1ImKkf9+T+ZdsJZP0xkxHjT6zMBkbmWdkYmGlpzfFODQf+/Vp/wVvCDm3CHOxRdCXODo53ulbfwPWi20bVZu+xuFU2eBnRI/iUEPKEtHQzl6K63jz1FYwhSqUcaYM3xBiAWAGxaK6EYinta/8+Y5gn+DGTz0hBPeFV5F+K+pqSxnPvDdT4GfLRWC4DOf2f/rT2+fwGUN+Cd+/tqBvSW1H/8SCDPRNp0hMfv2dPMpZ2Tp7xS57RQBFcwY0mCUWy7dGdrZr4i4AGjxqF28cVZqWcZI0vz/+NSNByjlR5rdOighbz2kZ2uKPH0bbiz/rLOzcdLvjf1vqH4bvKXzNDMaHBkFjkfg5HSpVnGsASJuKkz7NR/c4h6IooNOww2Q8KZmoZa4Dy5qV1++0qYlKpq2R1PMz75GCk+PuKthIYizfMtqoFjyC/JEG+9435AYdIKoyO6nJnOsy4EVOUmv1m30m4o5Xq236XMwljjD2F85MQFutS2QDRiI/0Bo/Bb6gh0tvwr7Nnbdn5kOQd9xW43Xo+uM89voxrMFF5YTp1dwe8fMSOBFDJBB9FhhWDD3hmILADV4z73qMlXRQAf/nK0h2dyH+547diTTcSG8gX31J8SANBPX/tLQeLUl2pRcnDotLBohT5YKGND0f3dLmlH5hZXeuOI+qiIsZLjc9wBzHaF2hdXEvdRBZRK1j5vG3q3pkIR/WTXNlSOvaVKNV0H7sbNNuIp1EkTuIXY5nUs603MGLg/AXop5P3dP/dZkWr9vzrw5wR3Pd1/fVGtOfKCOjZ0RMVIPRAqlaoi76yV8eYKL14hbo9I20jqpD3MOnAKX7zE/5CIYd+1pvOr/CkgMCt/n/wUyATDxm2NyI1FtKOsEFjjCEnuXRZqyGiAz+KYWVBHVtpQv7lrTMbvae94/XZY5yevaRJ75DZejBrHTlp00k6tQchjjXCsuayK3FiOSWbGmPx7RNn/1ZAuEuEgh/yigtiEpj7hbY+slNDcX24TFJ1gLHYh1A4KUm0kofobCmSFNruB2cfc8NtmeHbzBQyf4unNqY3rALGLgkP/SgCaSvJ2iJ7wm32xWzSpmnbv8iirIxRtZJd5u2k3tz9D4xIncaM7jseIgpRtaXQ8eGKKm8e/+clHqsm5T9Q1tOFBefyfYZ31WGcyyY10zELlFG2Z6j/pug80XqPn6C3rezg4OzhkXkt81iaorb7a7bGkbw54puq1WK6L5oJWrHxG2OHXCv+DapW1ELsKqYfCm/MmplQZdkOkXgFdmzGZLem/q0s3CtgCPa2w8GgKlTRi+im8FWGAah98jWH+oJf3l6IjrO+4Z1XY8cCYH3NBWFMIOOjPyMC907b6yCimOYX94VrEkir3eXgtN5kkgrVgE1MxCx7Qyxi+fngJonScDHj+HlsGlHDkM0QCMUjKGdqN35qY9vkKst6Qb934TCAtha+yMCaBDdbCBxI7kavJDvo8BaL6jEzj5GeGLbfHynfb6PHFAl/6SYFQp0EZVfDUydik4aUvsH09Hm6rbsHBHCsH767fJwVlrSFyT5YkIQOcyPf26Qu7cx3kuM9QOnLUD36q8i1aHU+gwNmT4rbpxwe3U8XehW9YDcKc7bimicXTUqJvH9bbHiYOWVEFBNZTdOmRHAbHzG3zzmhIHEB01aaMzCBVtlIvNVnKJs4BQEmM/veQX02sFLwnBgKwknn7absWeCQpwqxUHQQd0lLSMRV0T9q0uOZdDypym8tnAuWKamAjEju+o9XnUogZGrlGTpwBQNuxP1IdubxFWGYewVsV6YKzlVv28BqVN/DRZgKkJ2YUqYMbAfv3nk2NWNbuagKQTeAJnvdxCa65LcieETGmvASvCsdYNsOWWU1HFX4OJ17zecaCWqTuXbi4xr8tb1hCGM25DiGwlqtWGAl5Aw0E5BfkwFAsbxCpODQ9y7DIMb9Hk81wK9iRguqs0haYy2i8v9CTAXf2GMSWeod+Ydx38OrDt3ZAyrOagpB2tY8hb2aEd2XG4DluBGNfIPGShdHwWqxwUYwCl9kXKBfypHZT5kkznHbCoyMRtRmIV1RuGR8yhqDT4b9UktgA6O/9gRb5tU9K6baetSn84nmtdfyTP6GFmb/RjsO8Ijfr3gROVxos4XYW/G7iIRvCnGG/WSbTYkbulA89dvbdV8kVni17iwqOohu414fYj0pIUveCotZPC3M/KxTYgpbw7n3cgpV4KSJNHxpUZ1iPny9+QJx0c52WRmxjoz9ayMc4R+98wsn84mJyiLikPlJWKUcG8ILm9g9owYwDF2OHbOMk5R+C5ttBcRwsXKPfUz+4keZob0yYX8aPvUiYV/czeyAEMIhm5OQ9wzxt1S33Bk3bcV0FmPMiDlMOOZWyR3W1c/o/AqbC/85tlTatHDiSsWBRdlGfYSgIeEleFopaSc29r2d7WzqcAAw9a3sOd7qF9XZSMA7uxAtbN71KeGyNnBjHLeqC7IL/IDnUVMpAO6KVmu2bda3WQjx8ci08aFyLvt0jAEVp7+vRKnA8NhA//ka0NZq0tj4yLXFeyupGX1ChC4CvhUoxVVPkYAwqj028ElWZqbNK4Ln1CICTj4GE6mJfgfhTc+8DSbCddWysmUmZJAQvrBdGVKlqOYD8qcVbq2wxXZo5dg8iBIo3DcFwX/kr7eGDQkwWkGKCt9N2aRMPzOdLK0OvaQt7RjMrV/aNq0TlGRTYSJaJLlz+O1IPFJ4aTbM8V5T96y+kgIfE1X5lvCRcm1sxRP27ZUczUTOaX6pGs6Zgomv/pFCosdv8HZz7pzQ6ZC3zMQVpy5HolgiuG4t/hOC/UL29kbf1hlqPsnKw+8osuT8hRTkI3TCFs9rBxsHxKkYudBURWea3wbT2BAaCbkT6QbtvPNfa7eSsP/qBBxOYp0B0a5R4lXqZv7PHFeM7BSV54CI4unD8SgbQB/L505EJvIHnPcMH5SM4NE2Dr7T4mXBOsGRJTdNpaLOqCCNm8aWiz9i6bgAvS2KOEVKKScjMh97YEOJ17WcKX9PV7nykv/RZoZhyR/QVaFzB2g5VKfJjIc+kge3mtUenZTxbpl6LsjxPE1TISN01MAVMYwY83oQRFpYmj0EfxxK6KzA3oCpVsEAoSFrjE6f/2NF2o28Ra/O4Ba9Gt2+u1oXNdO7rTQ/uB/Z/gimxbhgo8PuJbZuwrAfPu55+9QWY++Vgom7emZlsoRI2/ODCM30O8uN1H4sEJfjnQUfVZDeRx8BeNRE/KO4qnFoKAXR1BO7Nhyppmk2RwvhyT0Akz8OVJsXd8XNCz7jVt7WHgWBRLtH1Uw1abyKprYqlbyq0rMiPf4d7XmIHpRpvUj0+bI1ON73PowkcyE00G5UKq+YDuGvKxcSkidgsXh2cEskvtdDJ+ZG8Rt2sLnGN9xDnoff0ybUIi7S/uGyfSoqrVQbqfbGNl00j9Nl65y3ahDjpbvMTvD199aPyoNsFY2DnAx43utVFihdz/F3WF+brZkCa1FurflR9FV0ppHJI7HxHM3DPrpGyKXN2nzqmIK5Caih8qZxzppksVSqxGhfX0C1z7W7ABy0NrodFICkQ/dPXb03tL9hpJ9SaNKpKcUQtsUPnaQmWJIUGkMHHEtjbFJTRDYjZ3UOdGliyawt4f7F9RZGkNLiB7QGz0aEKavGz1TQBc/7FyB+zWGDXyEbobzqAZJawCsBcqEmAnJvTAbs49IHl7mYlE9LUam6Zas3+sj87IGzIEhc7/338iebJgjygPiQGVy0jn6Q1KayuEkxgcdLY205Y/wQj90UDSXN9gAIrczWO9SdgdKOXIjfsRDxBcjhsvq46vQhjS9K2ntCq72368LX0H+u+lWEVBaoKNU+41G/gLm+i3/mTjn5TYyGkbuOfM5E5BkSPZ9myiMn73lVPJwcQHpK27JhR5FCe4vAyP4ZfOVeSIcMgs5ayuVN3obwy8GQXGynMnvfnnfSvqTdoWxv4ApqNzuJfA0iEgrGTv/7/0Mz08H2tLJofqkKBrDWolXFuiVTaFahshO/sA+EKHc5iW+gtEzhE0iyzDBJp4kpkJO3tnUMtElk8a6MJw0k4JVOsHIdWz6xlWkXf+KiRPRcsoKBOzw/y+2CBMgZaC+ouc8TfkfrfHfmW2KYWZfxzOYI6pIiqviSQMh8koh4usWPHq2upBykgD+5iLSDHWwJvPvgSzPv51nsxpIPg4gs2wskAGg0/n/TYBNIo4WWEPL0MXVQu9x6wbk2GBs/vcJo0LVfLq7CJ3DsTCBioduGcgaUD8axuIt1ueIoqorA/0OukPoFGATVy49xw/rB+81pj2wg+axmpH3WCuemMAw1ZXRekvH0rNh/FOM+UJbD2ngsNKsqL5XN0QbsoOjoV8gg+07Gu6hK69rrXVK+PeKWySMggFeRYn7sh0uRVvbqA69kUjSmzciog1SMRqlR3Kx8NRwgbBkY4twmL39xMx1U9zyT781EOjlb3jX4boU0cRgkrPaCiPpRoA+nCJ0Fi87NwNmYAfKIp9Tt0JOOf4EEjg5M1+knhnS3RlBUcxOieJ0ZXXpJJuD3R/lmuQs4fjd9CeKy1/jtECQ+/nYHuz6Ct/5t9hSp/MWXwSI9VMSPussuER0DrSHsnrwEl94n8DrlxVpxSknobuBCjUvU93oNEbs1L8zOKYHdYknP05Xf69L8bt1bHnPRYA3ZxAG7lBT2svjg/jUDprKjJ2dksD8juu9saKuZmLLONAs8hfJsqTpcmJ80g7qmI4WgLngIV/sy+wvAqQAhYrRXVeZLFhSsw2Z7jX6DKtrHbP8mFptcEmuPVaLKjZMabY41PpjADKjVtSWs4RDWnjBAV3Q2EJk/Un2nFQcU+TmKeciFePsMq1Z9by7m+KP3Sptc2nLIj4OqK/RCtIvPPKQqQ+ydsSxmAkNR66b2SBgWtjidvPPdit5UcOIq9FpukPCZMc62FwRgXhDvWR09+M6xK2waHI7slkcmlIfywHB3P9YP8LuFhExvcVKmcJDT8p01L5ZpfVj+eTbu8X5MBF1gCAL7v+cCOapwGaET3BtW4aM8ff6zg423cfLfGVrBPadEEYB3zKkZFaeIxyT7T1sMnW5El/FRf9aIAXB1GbCqsxr44BJZf81pxsV6tY43vWcQlAvd3BgoDvn9RdvMFfqEiBi8SEqnwS+sc6aX+l7LAPn+98GeIVN6pyZT5Wa3Ai3zhAgfBoXxe6TliRfarWZjRwpO8wrK0abb6Paz7IRZ2ll43RdpabBn4wBy2YG/A1aSIi7dm5pSH+gBIscV6p8G2CRtVmqEASr677x2jyTAg4OOyM3PDgIZ9hWOuRpFeVcBVT6+yr/GRFKankjFwSvp3MPfqVV/MiAX308YRJm/x7+K3k4W/8UhAvQp3DE5hpyBbOS1VA3iNM7FHd8VikXEadGyeY6Hzn4ggC87w0Qz4AjcMT/m37vJ8ZHn0frmHX0yLGeFzx+/gM2Yp0YOvMaRIV73NP8KseMIC6SBUIc7fYhE6cGSID+ydH4reG0dwfGjSfGSb6XoOd3WvyplvLjwf4vP5W6/kIcBZuQ9FnSkcQ7Wf8utZYnXwtZUXKf5lIInggFNikywG98Do9nM5GEqyqYEWsZ0ODMfU7m4Eaevz6PY4IU4V3auuMTjsC/IwhECwQgOwpuaycb7pcndL8lKDk4kJsaRUOPCPEgfimd9xKZG5djyKVjvAfv+z8Jb0bT5rDv5SthFnCtf2Wb5d1MK9gv3JIeaGSEJww+H739ayt4EkKr/sQxvuoOlMz/4ObGN+Ul7Guc4z+b3KKRa1Gnur0B5GBOz9KfduXXoz795E1fo+WuznjRszSw8NdgHEDkjbCahRbbaxkr1t0TZ/1cCvyoYDzf9EfVciCKORpScpcmEMvGVLx+I+c7eynuC3+f2s35z05Iux3XoSnZdPzqm15tul+NEvHkzsG73g/rWzPAiGgAbsJOmvKERB+axr8mHANJNZdeMKlAIIUW9g0huYKoSii/9fXNLhvAsx2h9FCZZoFyRUhaxQhW2Lj9IIP/0jnQlNjWPlhybb8i6ThkNm7ojbnsNejr8agbJ11+MLT3vJ6lo9UukkTWeKwPqKs/olvClI9KTdoH5fZH+7PhKGOdKn98l0Xo906TjmZiFqorw3OTWCt5TtJDBVDske98YDj6ED/JZF6c5amNQYZhOChwKUPMVfTnDHRIkM9Xmeu9EXYh/3Q7wkyC4U2oCYKABVrsYcs9Hn99xbS17tAA+IyrZbJl7ilPhTfkuR+ofVSr2p+VRK7g6QSXE819/aoxOuVTo+dIIBebtCixwa+KSUaX3tOprkeO4bmX/6lBChm4CWfDsAWOuslWDOCapL3xyLUzL0cUn1vJAqcpsVqWStv6fE+OgaEhsu+3usbdyDgjIFDViAz3SO5zMPIBX+McGVloi8eLfpR0cVojRrByh+d6mogqUjDVozIDqVzTFXvVXTQsG5tB1bez4pdNAa15eagTj+iKM66xiA8Ow7xEyLUmrTy1RiJv2UWFIih14N7F37gHASqNtHymRiH4i2DCvV0aRO+JMVrVT50rBM7LP0tVeNJOP2gz29doSqhdQ2/kBQyVC2SoBtgveQ+9jOXzUYTMdDb/7zEBUPSZkUW8zFQqsJu8RKl8dGLaAMu3rCT7BXOBMZ3XpMjkGRC51sZTROGnd5PjZzuLVT48IOAB6TFSfdx1EHdybuXx5zu9tKc1CMRl4FurFivE3wxJ+SG1ad6jsjbEOfPw0y9stIRLgahfT+h1CTHBKMh2WpN84/Ajqedn6dA7X/tf5OwYVVFM81GSirMZD+l4vsUQDybGZ8MAhk9VjeMn3hFqlOeUG77aXqMAp82B+g6vhyOWO0C+WSJaRQLjodEdI6M0pMrDFipvplQNsiV+L6RNUm5nGEyIagJlA5Jwg5HAin4mWblyApDNWEIU1e0sjLE2ywj3jZmIHRdMrhcenVvNyseKS1d+D5SnAWj9pCDB3geHgViNa9T1l5SigbX+Nn+ctRWBe8Zk82OIscr1whRt81nXYoIRFpakLva/oirVEE6lUUqOJe8cmwU7/Uk1LWMu7l7w7lsUbh/KuR2zpD6hk9DEeyqSVP2OROEddXIyNls9GQml2+krLdEN0pe5CSoUGzCy9zKIhEJpn2MkAzrpLpDIprdADZPZ8f6+rIsSHX+tjyBQdEniso4CP6FOORD7Q+R8+AUwjSDqo6oXuA1sMCCpFRQrcQhq+e0BIvP8Y5dDXYFHxkLMq3zlcdckMlI9CHFcx+T9U8y9RYtwH2Vd20felodc8hrdX2bNkS8EhZAoZcAKhsQSdegwL+8T8RIj3bUcxsQHCmAgBqRzQw9EzJX7QQGhhRMPPfaLoNykvWVldS+h8/aZj2r3o/lND1gcNLmyes6sicTLRSoIEJnAiIVw1CXxU+kuJ6lSVZuOCNYt62z13B0dddMoVWioYk2K94WQQL+M5dGrlcMblW/YZhUqc747M0Vu7Kb4GQuD5tWFqlTjqPU+T0s0XVgfm715dqjoJ3SgbRvhKMaHIuc7xogtAuWRXMc3nJVSvLFJZsZip7dbITNl2YQfswxzsM9pXKf1LQdI3W/3J35Wqnph16G4Bh8opCrdy/i2zuc5Brq8LIuUvmCTVpeald1VYph/zEAE7gQf7vWw8c+VeiRuJalxg9zDeTI5lKFIOnMsEFpLR/4jvar3R7ncihvNS0OmJzWIUVFFpuo8QSaB7Tvjaa/L9JPJSzX1+0rMy/rFILvecHnYY5p3vvce3ZLhbapQ5+0KZezKGwjKZ0bq1KWyjbUrH09OJZsm8umirFTnrVT9LnKyiEbQAP+b0CeQlXedlF+pQlswE3DtVYPHxfNPaM0uO6LepTX8l+8hBgjDhgTPMLx52ex/QWXiPxCBA89sx3TF7OGx+Ll8Ojg86b94/VdcHtyFZK4R+O4EC8+eg3HlxgyRM4EEXMscKKwvVetIAtqgyyp2HFcjy2iV0PMFnRM7OTB3cdbQTwtMoqRwWgL1mdilPZvEdz6LtgN0bLzw7t7LB/asex+zQQUcNgQz43ALmsCLHMaTSlrHYsrTMvqFXn5ljYgV9UQfpBFjsvOIX0xN7zQ+nVtUENTNAjo5X336b6+JsOkAvpLw/td9sbaDPj0oSVVNA+Yxgv1YipgBKBD7CDh6DI7G69QdNta2b3Y7lvwh4fZM/X1dFT/C0vdGErPgW6DWrfsokKLW30hXSpzCEw16bLssm6IxjaLGz5Vw4c7m4rBhWE7oeYRHo+btSN/NczsIJK2ctFxenPgd4j5E85MJISkqjCvRFJtxvb1TpHJsOivV/6cJD0bh4J84uZNSX5Pfr/HrSfLDVk/621yAfDhwgMcB1iNWbAqgE8hRljnCoowLuNQNfExrlO568ExNxqF2LxcsN8OIAZP4oQn07m3Y895XTBrMDugE/Quc18/aVqLgWm+qyFn5iZ27u2cNjoNxUb/Wha9YYhIWSCeSOC07UNlz/VnSh2Tr7jNHvjYnTNG0sQwH4Q3DStDXc+7wh37GGlQeZxRCkVzxIGCNWFpeUDkQ9ruB2uL8oLT7038fEGyiDvvWemenBtzuiUu1Ob5CRJu2SsI+U6/l75EnZQ0OfM89VhLSA7cY1gQREsrY25fVAyVYgRHYWhUvt7qdwtYmPQAxpdOdgoSJzVnealchmROlrNCHpNM5s5IoXeq8fSYAo16sym45UvuSYHwBC84zvwY4B5nEEN8JMbSbMTetBpWaKmPaT7tKg4yRVNzC+GExR3mWpGIGOz2xBFVcQVBJnXwlhjHIDW7Tfm4hw6E1lIDp5zbg7WvQbcABzPhQYAwLNbpB16QgEE4A9+Dx3L26rx+bqpKkS/M8Mo4vNKFjLey8x3DkWlCnHJjmQi6JF6QTm1Uwuo/wDJCqXcQSl+pFvfOg6LSAYDKBqWGjccI+LI7/ASPIh15SYMwV2tT17+iDGD58Zji4e593pOVnW9xgQdjM7FCCBUM2WAwLRzXBL7H3BSvJhamkv+LkOB1A3D+Jb9Edz/twFCH1ERZFwSxo33oj2NMyrtlNRNUzStdm5ZUGryGSOsTIknKrdoYFOKa1QQ4fkWVZOkFnfLuglYCr/4Nw8mKhuO/5fSFXVl7EfXgrDuetiD3AfWCxiIIEy621Qat9/CwG6zxldla2uM5XmFbvrY7TTisooiu1lEulFXsrabgx1aGlOBhkZY3y2ecmYpAu5sAm7B+OguJaQuml1EfUtYG9culAF1sm2p+qHUaJT1mSxUMvnIvkbMyOqeBVMsP7hCTTEGGvWIu55ZKFrtuGYYymcbg3AK6QgNN4iXbWIujlJhZD/+yb2UUBZ/MZK3orywmGQ6/WMdJrRbjrs8R0gDmm4HrV58599RvXKBz6o/COeujpq7kUOlFwZyO2dxKlfXphSqi1l4uIGvrj3d6nqZcZ5f8UKZBeAEN2V08bK2YPh0XWeElhXk8OSNLEuW9KFKK/fx0NzWv+z1WkCEYuc9ilaIXr3MegDtn/D8JPdcGPJ89CjOcCKnPAGsRM4LI70leh8BuP5vjcMesowEoYEzjO1i6ThKzGfIaUyR4/kjCYfs/s2bTMyKgvIdnW2BRfIMkOk/AYE8med54v4XrPPMKX8aEe3cBK/XfGc07mL0CHJCjiU/dv8AIUfLJNhcgmE5UraE/cOLeToaVoB7mIGrp1MbmRLgG4FdE1uEWhEfrPv52nOA4pFxjj2FWiJm3VkusvQQXNIUQgiPUQKedzD6IasFNZuB+G9hCsjb0O447eofF3YTpBc82KxC0hGqxIOPq4r3Mp8vk8I+t5q/IPxVhS2LcOQROnd6F7fbSwvsYwi0E+HifgVfHc7LHADjduNFH+CGChmo7ly6zSLlGLWKrEtDZCiOxOQYEO5Uc4FJtaqYEtMbRIAAOMKZEp+hD5ZtqM2uV56mjjYyxQuqmA+y6BaTpJhGEg02tQF/UAM8TEb63vEzHFHh1jWhLWHQXgffL7sQUmrnW4vNjC/UKDHjSwG8QYPuARoMJYJL67Tl3k0qYK6GDQHXh4BOgHsOUDCzpDXtvB8bZASHdZ6OQoYk/5DGqNiPwYyCycZIQEhh/m2HLJuCpgN6Y2IJSL47E2p5Z1BtPqekMyp4kMs3nfFn9vIku/vh3kj81YmJhtGC1mrRRvilaA5V7Fj6+F4fCQYz8YQVDuF/az5K7sVn+2/oMo7PvpRTDBZN6wq8C9yI9UZiIAE8ZLnfBTMecge9COOYFeYNK3cyt21ZprvUERJtV94v4QFEoHP/8QfiWCQ5ASTvPU3534pA6wP2SIKTnAHaRx7rKb7+++cntQ+Mp7V/wLo+RCS29f7wxxstIPOSMrnHObq4OBA/CP/02awTcY/e2JLTo/HWrHnMBxj6Kr0XjZhK7QiN8icrhNaeuHx6YV5ABKgpYgB5zVfK0YdLj/drok1S1r95HY+cHLZAPo4hrbzdOphorrap8qY6Raey6JXHCsqoHuPjLoQHFVTEwIu88nzf/EL20Y8DN/PYlO/iWo0BsYx51BXRQXd9RLWJd/xQypp48OISbTP2mcsrT1ukuc4rqkPU998Rp4gvl9yr8wHlfvxiw0BmQfzm9v6pzwgSXIK+FzfcCosM83Er3y6c0TII2jvoaqit9jT6n9J7kKYaS3Z/pr/vvLJnv1jBRZskGydFE0n0kLP/fnhPKtQPOQn55MbkgZy1Mb7Id6LX4VnRmKgPnkE0Q8msUF58bATQ8I+f60ATHP+JqHW8CXN986hl3I2yD7WhFUFTrbY+RgkTBVL/pMiz/7IbhOxtdzExl1Emx0xhT8vhBwsYpYUKAiGuZ7R2BJgX8Rg5EoQ2XPdU0L41GBRw4Ny7Qyj70911A30TiQrmQzKqUSqDUz5zz9sInRyXZllyGE1WMkw3XkqfxNYjhu3QtqZeZShhxNjYIviwMKhnDHEvG6vZM9/pixiI/bzwqIfYptm371xl3AKu0Bn03V3OKe+e0cQKQrWSQnz74pUXXcFYQHLj4tBrFCoh61dEWAPkN5LxZfpErbYnwpqq3abG1WkFBYnJdvtrByKx4aamdM5jH8Nyi6DqDdHMwY+hep2abJieLdtiNiRYaZ+5gxB0+KTzCu0SrzyWw4qM7gVjWFZdLnpRhstqBEYzsUf4VSKN/wdcOTIDdAJDfwIwkoC0b5fdZOy/4b/xfV0lTM7zg4LXZdzle0lkMqCxZawiPrif5K5UROkzrI+/VurTuyvk51qXeNvZGjHS9g8P8Z5HlccGLHGH1fsMAT6zwDeb1cbJVUmS2Kdz8jYFzuacjRHzawrwfBHhl1ghBoZPcb8BqGrV7ZIeXMj/Dor0DZtzXC3Z+VievRDL1mWvt7BAk6V5YQkFFw+QL3pLvmRH1DKesaQ63yp9ykz3UusaTftclGo9L/qWeh7w+Q7O37f4/HHZHrW+hO12F/YTIP+NF8vab6ZhU0eyIEL9RJuE3FMN11nKKIOBAcN0qwf2CdpUBa5XfjtGQvrJuGoFyJ9VRqMiWwbK8sNRn8NIxrodPeVgnv60IkHTeG6mWXynmeKMdhblnwQKQHkfImUq7qRHY+atd5Fyjeb7+hpqzXrnLnfD+hd79zDJdtUt1xgNe7vvOdxTDGYGIYP07sJSE7vhLQeLdw02piyLgj/APDhzMABR+IVBja+Jkt45Jnmc2PcBzgrbb6BpD9KrbMPEVUNPPzFl1swCUyc1HN305VKSBi9BFA22BF+Z7QtzAea77BOuHlW9xp2prQWQxnS+54r+aTdKpKsOnp99Efg5c8TjLdfZ6EIxEYWivs18FuTCjgMHSezUVX81fui5UCntsCCcTn/aT+TXEOHNUTV8HPcQoO5KJGz10IW7mMIZeJl4L7MtP3Qm6urTkx76yqLkcTrkC/M3sAiFYm31S7ZWmPXlfRa6/RDjcZH60tfG7jUnWw5eNwyFTkJBObgilK6p+5xgTd83MMMo8qUI62mwuJOJWzbWMW85orYnbw8PHmCI0uzQmDQxV0bxUjWQA1sYRBnYEXM1t7hiDUaYSIwrU+gwLRtYoPQr0BdCPfcWkgaesxHhALl+wXDiaAEwTVe1IxDoAcOl/+uGdLfpITy+SLTLv1c+zhlcuakNxX2MYrhMXv9StgYfgd+3rSkFu001ErO1f7RcugB41Z4TxT3JPIvwQCl1TIVotfZkk+WsyZvKnWTHMq59d/IwL8Yep17uOU55t+P78QQ5man0ZlgbBnL5nm3zWuvrggz5hLryyHB8LnrDo5dYGsKNbZBhVLelgdqpr6jFVtgo9AwqTO3ibUigcdJie1RHeUR5yrSjCH6LU3e++CxKI+JD20Mf2zvKO2NWA9x8QJGyWTJwrSogyi5DFnJ6oHa5N8L5s0tX9QETGYFF081aYNIEOCCrtAJmcVoyUnfPvrVS7G+EinwNh4H7wP+DxdJMlspcSVgYFN06Ix8+hrPOKDljGDBWQaSl5TNEkcf0aqPo1RmpPnLEzlyQ97r+8CrixS2auOib2Z7UaZE76KWy9yV8S/uF75VFo31p97ODyfQ9JNBwemG+SOiQC/1p3BgzQmvSM8EX6fyH+ZESA2wzD76ArOEytULC0TTTYGuJMXhsIH5Qut5loxD5I1L/kbltRH4hFgYL+XK1NE6JNVmXWxOYW4RAYvvaOQLRyHcuxgXjsHjW5RbccqR2u+fy+PwT38hDBHkfGUPgLQiKxo9/XO8ViBtyTPr4ogaIsmp8EgA/DPvzCd+3CF43InzXy7eGfCfa7qDxktAYjm/P0hWLZ6OyafKSAgtMx0FHq0nPn/0AqK9QCqZbMxF/cGp6ZDAEZ8W3i3AYAiq8CSoJjo4EJmp7xzRltpuWtSWmfM0vkj+z0RJoFcg2UtHtvODK3wOJ19wdKHEmNm4ctnPodomwOKfwt3FnXCAUN+3X+UIgeOKPBFXUYRcINZ/NaqSPJ9PuNxip42W8coFYjMMf6ewdiLA4SgjlH2z+ltw3cKSiMttaJT+aDRLvEFExDJzt2F7OGDSc9V3BLlErQQ5sLx5bY5utGvCgQkF10M+kjsncDPWCe81NXXckl/ik5EdZMxrMpfSZ+YmNkHaAfsSWNkXO1GP5+qMe8IwsJpPJzN8DrUuxcS7yUR+rPg75nRRQglg5YONCk7nzut+RWkukoCoJL8Fx1Uvg8oBwn+WQTTf6GCW+Mm81xL8e4LWuM916bBmvpv3mgVykuJZDBjM0Lin562UiP2EYUxSGfhLCx45FHeG5OTzxNOFpaKXXV8XXS707ueVC8sHKXw7K7EVY76PvRuK9hSa6I5paSdZf7OkOyFWj8Cy93j/PvcmL5UTD1JfKkWVADhf/a1DBsSQJ2IEPlE+OKgIbZ7Cy4L0LHAebupTJ/YLwaMUfJXIsLJyoVdxKy7W5ZdsqX09TK9LTqDl6AKIzmzK+jeNjRdKfYkmaBYg3FcWrThzRkjjsb264fAHPykJNY2uh9eGeTzke7nTCWo4hgHHqKVApGq78qDxDik7Fw/m5t5n3cRL7M2OESjNb53ly+Fk22aCe4buMe0x6sO7Mh3dqTrqvLgbOE2z2fNeEVpdCv/GeTPgc1m4+OSf3JB/RBCrxvN9GUo+AdR232TxW9WHVwkmgDGucc9tT/0J0COHBHnldnbtWhfFN1nuSMr90IUlw71zyKZmWa7UdPrkpDsCvq0XJH59pEmivLHcbPJ1h9/7sfLOkYSdEl4rvddR52iuj7hQd+jF0fDczvLSn01oe1RnN9iPAbgs0FCd0OWnrXKGvk026bpnVBdtQ1mrarNfr+gv27UUBuxj9HxEyn1Crg6LfkKjpomEWJKPIvkXgAbkdGbPuWl6bfheyTSGtesVaM8GKuwPM7Vuowir8upOjhVs2SPQhqN6E1Zj2jd3l2rEd1GtorgmEBmcQSPoLTbKofOewEXMfM9q1pHufAMjnsCxdiDmZOojZRVYReQOFRJt3MzVNzv6XTe0+R8dwibmsVsReMg3zPJQOv6hR/s8pOkh65W+3fkPW8/T5kkFBfKuSfmGGQ9O+SAgDdPqCPw0hglQoBhQLHr5jmk3OgnCW4SxcniSD1/XQD2haW0PBYKR4eeh23bDqS9+joQi7dw43tP2Z/RG4G4WA4LKZii1gz0hZEQHN7T0PJ17aL5Y+5idCbaJcJ59Gi134blHqM8J6Gtaoc+Tw1ODHgaCjE2GTrpMlrC1nheqn4GEns+IMb221MDEaHi3bVM/z4r1wgUMU1n1k54y3SRc89j29/vMfS06PmtLYzR/JvzgJC5CuuaFAMyqlHnm4l6dMUlGRdlVbVGyxrDA9AAHXtQidtTy0zNoOwMfOKmh0vEHGNQ3W9X0IMzVIVhhTR2MvC6SSvEzfjy1snFMQzFkfYRF7cciseDvgnn6gqo+fFpm6n8CktusmIXBNO12ZcakVtyPRG4MtWojTgzVJ/MZgYoo3HSL94PHH7XHfjrbgRqbVSMVUQZQPL2FpK00NXVwLdv/qbi87Tcpu/AJ8VB8WZaMvBGoZxZOYKSc5eGhOzhOEk+MEksbQEwxwcp4KcbJ12lnB0koQp8F0Eah7cdPhzzd/pCkC2Pq7y22PPy+ysTji1WWlBMJ90XYNNW99DhtWXssLltTbIlmbGG4a0iMXrJBAOlEk9YUxEPYrOp9ioTh78i8eiR0zIJZtBhcwiEugXshAaIyeZrDXbt+S54v2Lyd1lnfubFiHxeH7fggUT/p2F4SYa0ddYd/4WcsUDHd/cO5HE/IFuOesyTuufj9Nau6Pd07dDVkNrIL6Q3eLW6OCLJUsdedQSn+41z6ypOUedXq57duC1sBWdyeaH4VRoqwSjGgaSNUVgpLfFkK9ApYr0+n6sDhFCWZjY3mQD635eHg/nDWhgTUadbIAGjubBV8mnT/TXtLkXgTFI1QWuwjtugnZwk7k62oUi67krqHQeWLZ1IK7MWbzxOaeGgnekP5NyPLIJCEGtnHanVnj3m/0eRD3T4EwJvTPjMiMAmvbWq+txCeDV4z95VXnpywJTK7iPDlvNIYbvsgRnDOBvc2ZPE7pVNjgdxirzymSRiYeVq15GQaQXtN8qLeTEr39xwuaoFgamN1KT4lTGBIh0oGLke9zGFpCyPArC73eT5TZ0GPHYGtBACS3MXtHqdsdF7ZdvxZWZlR9vqCwzY2qsvH52eLtaJEjVw90jT1TCNjq/rZoNDpz9SpVpe0aNpFBtjA0qgB84S/CB+7YUSjlSvfs6UnN31e0tz2H1der6Ej+4zmkQitFBWlYtHDcPK7yRqtx2plAVo643y0ZcaHTyxtZocwU5X7kUIDdtDickfYDLDKi1Kx/6vLPDoogwmPqk5DK/vT3OFZQXwfFJvHaULcqb+RmSFmgA/blzrJ7JrC6OHccTxMR0AZckiztsNRdP9WlFWJxrWt22FB6TkD2pQRmDzBaPyTbhxZCkjADUnJgTCYeUOwG7Wh7maGkoWI8BTbNtFsHLSKZs9ViYNjICM08jOCgvYadXEU11P4KCrX0RjwCrRfcdd7PB1g5ckVWMHGfMqC6eNi38Ycku+IlDxmLEer97CiSIWCecaQfyseNrlSwfAo0V2HxALcVY7tLcws4OYMGZ6NdiZVqWy+r1CSCenNuNbWDKwkZ3usmfFa/u84XEuDI6rg4Z5fN2DexXXGfoDhhPzwl3RKZ5CgEIqZMkce41jBxB9KxD/FFSyeJVkTGoqZ6foYEajB5LNUqoYDvRUanBajZDrm81F0cO4Yc+r9NutDuv8WNAViWpKMZPxVdhPaxlIs8nxrFvReWb5vAi1wUnTa6M1Bpn4syf+TXBNhJg9mMJcuLpX4OiZIzJ/A3kA5RGwbMcZb7AMUH5168ixhSlCasJafKrdzc0U7PwizojTfUodHGa2Zc0vojUwre/Q70KzO1NWbvSblnLhjpKVcZyeFZzLnkQcMPnmW85461EONvakvWvACrsablxwF0UlRq0wKBqXN9c8AI2e+Dh9sLnEsFsbp6IDt6i+Ll0Fvs2v1bvduqYv6Opx1x8VisroNQGCXWsfEpCR77vYG2bC58NKJGKx/k2dO8QAJvtejZZSsBpwiTazvZWPsEmV0312qeBkEGzihxBJccnQd6GRCxo5x102o6KV/YG6Pa3q2HrxjTVUAEyFzwivNwQ3JEbZ3izrVzqCaFCc9KnPy4qrSQo8zByAH9kEyxEyVUikOk1JsI+K/T/NC3VdqMcg5O+DvpvY128hH8mYh5dyxJ8bxiyW36BJ6M5NVGBR3uH63cABJDGweGc3yVgRro5Tr2xarm+9Q82GH/t48aB+vHX20eS/AjVN8DheQ7vDj43qGDAH30LGkQy8TkLN0PlhWBcEfPhci0EtcG820F4ezIafeCKh92gUivxWeFJk7j58HzfN59gQhgSrqeHr4BdflXQw0Hsy+6ZxZlJxoofQdl9oo2gsaaWf3KuQk9CfXEzGBuOGyGWMkBlSIfzjt3TjQoM6xn2q6+usXIlfHcSLG8TvubuVhr3yk2/HQnMjuyrumxujNCPKKgliF5SoN/8wzVRmYPxZTLU0frzr1iuQ6T/5pymi2BwBE8eDA4ijFNXEcAcecmdpBCeYX0tPrPaINq0m5LGpkCrThXpdKuDWcayRyPrngk2mUDA+fAtF0nIahnwT75pa8q0aLQJqALJhUCGKvVUtdK7viICl0EYp4PJ11/KazdlASJgZiNXk8kFd33D/gqzPHtHmLamgwGjRlHkzGSlGZXEVUQZ/lwIVdtx7maQhVqL/soH+iDcrsCH5MZZ374R72Ygwiix9OH7o8x8b4g3a7+Xuhb37eKJw2pZxUZcrWjG86kovtt9/8TwWCJOuz8/Jjx2M9KyA246RgWZVfT3DTDqXZn5I1vqtTQb/XCky/O1iYjw+z6r1aWYva608awcE4DLjlEH4sJpGfmRT6z80MZF35dJi3TLXhJ4ZLUC1tQT1irASulIfNVtaNfJjl9crpzV8kCShZLFfW0LbsT53KtCS1dlIehnP9gNIbgbD0+wtzSfwHT/qslwsZ+/Zg52AsEJ4TXQ4D3nD4DbtMd0/qkgirY58ML2A7nLc/rsqNyAzX04eIaPHSTEaz2pOMXm0XxdZDPUI2vJW1DlUzGb9CML9TLwJeTv6Am6c2ZSxL8n9i+grCHnZQviN2dzTgxg8a8u5gtX/IdRcBiGYoSq3dLrmty5NB84d8gIPok2qG6diQNU7YN94gSAN0MMbo2dMGlrfy/Rk2uYLEXDoiL3uSaJ7LbyaZwxOedK/0yNZ3zUAaQDsRvl2F8drXPctiLDEPZTrY39JuTpxSWPXPPDotZjVP6bZDobuSS7I196aQ649oHfi7OEJwbVsDag2ZX+NB+uog8WpGfO/IdkuZiII79DznQXyWCSYQKUbiauD0feXObpKJbCN35ziJHnK13XkHGvxrmtkvMjmLMvKAzxQBCvjVMI+34wTNraJEbAXfejbU072LLNSGiG3Vm1tBC9g72FZ+GEww6vGMfma28u9aKLJwNAvQPW4e7T15qVZzL0KUmNtaMxZmLauXHHReGLPzlxvIxUCIkRnXtHQsoVF//u4Yk9d/Ie7L4zfaWVKMHCsoM6Ef/3vdPmkSu5AFUZ2s1lM3TCKZOwx0QnjOPal0EAPKI505jk4TMVtG+UNxb6lv6tcynMnfKIC7sY1hNDT8YnNF3C+mPx1jm9Mhpk87qAEvR0/DjcYPKtv1bg3PRi/4YwxRu1YEmcMHfI/gMI9Ym4EMW7no4ftKVC9RGy/hT+eBUG5MjLa7qJbtd0AYY/yTphpzaZnYLjEbg9jz99/iVnXvTauM9BY9Mw/fZeyRf7nTMrg9X4LYfjbgSR9ufRzHeY9miXZWsOnEzYBA6kqwKm678dvjr1noqNOVSH4WOjtEtbTmxBMKzG80qPTa3SUu/FUogj233BRCn0aw/s6KoRji9ZCzxTJ8wneCIGWPqYobBJbWC2klc1jzIODN2U0qWZJdpnys+pB7KcxgLkN1/362epyY0QbBnS+4T/F+F5ZL4f70K+koDJIEpIRLl3DPX1hF/AhTIKyWBCL00T0chu6Kp3eXzG6uF5n/EBgTV+7WTRj3uRrORbAzr+RPNk2H5c2Id+hXzDFIZsJL+dWyjthOOZ7zHtEdhjqbIZfFfSRFn3zhC70zDtd89vv0k9fLgVqJpe0oC7Ny99G5KE/gxCNZDKdaF70lh9BAwHP3vI4LduQMWLDM2BB0Nz1qAjFZ9shd3rhImt6kwKa01Ik0w/Fs84iNW+8681lFJQbRTLnVp2wS8+EDPAfUnycdZIM0ptDL92+yxLmG4bHdb/XLjp6tGEhGVZX+13jJLLr9mtWjzWAvjm2qdqivZixBa7dfW4oGLlIZXetbb4tusJ8d1LoptglROxGPUka5R3X5o2xAvwyRwmuhdCoI2AT6Pvk6WxbR3zwuT8RktSgNq8X+cX/6Johf69uRHh6K6NZj2A+CETT7GEV9EQ/XMlX3dVyo/g2dxd53kB59jlBdx+beMhLLcDYrUflFIi1ZIwnP5xXT2k+0ih6fxTEJHDsxz0rrrzlFJAJCYudoiXYO0IdlXeTthUALpDZFK+40kEg8YcWtvylUVjnYykXu7VJ5LAV7kB3Kwcw8ed0l7VZ5YUBV0pZUmckoOtpH+5c03FkUt+RiwT+gfuk52wYJxJi1Nz8Hallc4YsFMrTCFUmXGOQ+0ZbeknFE0soMkdnITJf4Z/QJOEWyjfyyvYfQoFqztNQxxVXxI2YTU2hylqWC//i2Q6hRgbppFlsDvcmoap09TvDOyb881+LWmklHpgPzVVCOu2pC/RTxkLUr7GMPEFjMLgnYENkXXaDsqj470Qk9QNinHUhB9lD+Pzp/JFEE8t45gtEALxKj77l31r2ggeq1+a0TBZnJrd4Vg/uGl0c4U/+023vfOooZ5MnPjAlbdYBjvi1t6ZrucnKActmKEUIYtYljAT8T1YPx6RojAQnvwwVgHQLS+znXnn9t73o8fAZ0znn/pzzX46jb6CqDThGe3fFlEATEp7cYBIoWIzgHXQmGOtKvxlZTKF0p0HnafYfyVeZOL5rRpOx0PoAbXi4FlVHooY4xfHIlh98iS8BAykDtZMW3Qc5LATlQE3cYFqBpl/3l42h2ziIxKC1OLSc+W66Gz+gls2bug0p+cnd0x8En5nUWz2IooszQuRZjO62+zUNWBxiwCvXwLb93usCJAjtMllWgp7MixsHJuNFXZ1FSIZa8NOjTmUrcr5NXOH22IIY6NTdrJjS+4WfWlFFwZ1dKdscDjXoHn/MbVBbjrlSevOQ7sjywibvlvRy2O5Ullo4z7oOv61AQy28J8Z1g4QEsNJGNhHepMkex+3p0/ZTkBAgbNNRI07Hu1PoJF6APPiXCQ0WgBEqmPYpkFIyg0BMNmvzSoIerPDSLL+16Hvd8KD8hWoHLGSjW4Q1Ty/4BgoBP1VmfsjbjFEXXvLRny6wtUGDZgmx1hskPlMNsQQ2TqutFC0hRxsJ/h14RE6yaEST5OhoWKAV+Mxs5nnBOtEoYtOKugt2usLcNq7oW7Mc271/Ua2BObRagRL8rdk+K22bGUxptSaWgqUYSS5SPjdf26HiGk8/NC8V8AxwSMfWypzlVlx/tD6+K6JHkd0ne+rL6EpoVi7XBv4DYxXcWxFTvO4m4KQALaqWNeXZqCBunLilx1pht+7c9915SwLRo3JUkLWuDa1XZ9n+46RlebcSigXCaHsllyhyw7rTVjq7XFrfJqyMP8db8TdgdBxoTwubd+vtiARRE0TyKj2+Y2sTwaCmEpdxPwCLccAR9uVpjqBFjzxJijVV7u7x6hN0NFsRmdaMlyJDPUD+2MxHjXY5tqy3YT6f79x1zQI9hld0/mlw7Q4jbpj2PKPwulZASCTTnPVXT492ny//9pIIgMVb96A93eYLaVa2prP670LBG8Pk6iOGsm8W3ykiPRFgLUiDoxNLhDfvK2Vxineq2btYT7Rd1LTrihzeT2nJTaY0nZ3tNxDY6p57/SR1Xn4g1gBgLthgU0soFOiBPy9blB8keMM1Rys9r+D7wKi7gu3DdbWl7o+Fa/CY0QWjNiSFbg8JYGVtCQFKGUsxwgsLaqoXtGDejrlIh+9bu4WflcN6h34otnHtR6gtUI24p6CLIvjRyZoJFfRWJMdkFoic0xZz8UluRCCGZiy7H8aYs7gDWpTVMy20dppLIexAFwWuY5SGI1slk+sGrspN4wI5gBmP4qcHa4mg0LL05hVMbERo+u/l6RH8HlJPyyWqeAzJ+OwGAX9iimrTuvxMgvctD2v2pLBbc1CARXxhSoKUucQG58Njuvb9/jh3jAXEpOxN7sOGjFPA4Uuq1CAFuTynbVp2OZT72Wzvm5ORmENHCLCfj4Jqs2iBew1WB+IhicAdBh50aHllK+s5JfL48yFjWe1IXIYMEEevN5lHoz/M4t0iR5kfGZCK5kd0i8HrhjPmcDrukl4Re6kePe2GiNG9oTt8dwbnIcmUe+ER9BJqEhovjccIrUK7xl/9tR8ZrnY04apVIx8T/ERc4HLhwUSAJeefBX5b6mQSHsnSM4IZGDt3d4ncDIGUk58UEZttUAxd0nmk0kViT6tL1HMl/vcAosq8q7l/8cG4k4rfkKkdCqZM2iUvmjjtztC/XtZno0mvksw9MZb8rzKFIkuK7fzUuKawPcdyxm60TJsWYr4M9HYpYcTE0YanEy5HY+ZQum0rSYAgJ5EqRUUzNKdOo+eNAlHCEwe3PpOHIrWt/2CJSVUrEZHDWcvZB+Di4rO3UraNCyoAPqM2LEKHKlvtpFGs53EM3q9W5BiV8bfuBChRSLvsek13xrTWbk9MxZKbX/uf2VVxGzQsMig55Sl5+cvEhScqkrfd3s79fb573ZjYEGvsUk5ZvLCvoScwVTxpDI2iXrePFWL3WixEvJUU7/45Lc3q8vv8jI/pmeXKrcCYsR0xWcL34pMrRdFi90/WU12ExX0tmGQnDd62iU/0olrSXj7AQMOTZe7iZ9e2ZyCi0AjrKRgiHTGLDCAmD4y6T14LbIXJ01aT6T7VuhvgR7U1r+7kHYrdrdWerg8abpWrH5ewl4spAHODxHHdndT1XW7qvjr96RBRNxMWhwIWxna9cDrWoNBFihIqUJFsUNZJhDzfmeGPNWHkijQXe2zu30ZtOhnOq6JxU8rzyD1SqUV1L7DM2YiI8Po3BMDCIpgmspbEwx/DkzGpLgcVImocs+x8uLf4yA45Hh4QI2CWlop11LQTj8AixWyBdG86Be6OxLfMQbk6947+s5eJrTxxttfzZ7YsoH6T0j+ZKQjtYaKSnALbUr59jWZwzNRPlLErYDGUpKiq35PeVTIW2nsFmF9AYrY8GU2I7RuvSX3RjQvB5W058drsjr8zceWdH+5NlVRf/BcurNJtW6kziIMkQcKyRnCd5yyUBSfpkdDCQiHA/JCmztjY0XVkc2acTmh7xDE9DeQx5qYZuXCISGL1nVD+MUj4dmj3XL2qMR6QxX7KV7/hzETSgjQslftpB5e+mqIBtA9K6FH6T1LzQtHaWQgObOytJNDNyANtb0QYfsOOpObo2BPs7X+wlZfkQ6w87d+NkG7R0Yk/9p3SkgmC2GqoTjjPg12dgs9CMOeRToIPE5zQUCh/MNeZl5yfQg9bBzNdw+TvacCeX71BA1up/9xpnrs6PEzqiiKx+0CoPhrJzr/F9MDfvO50Gm0yX/Vt4gKM6eAUDe0rpxX29I9fcStsWdmTWe8ewAoGhB/JUCaYVwb1YzHlMF8z5cwZRcdW5U4RftiZcf205Tf9jyfR8SfsisYwbxMCdfbLRebs4MuQ5XOWwCUmmz3KzvMNTCfmehBRxo3WJjS77/v6NUr6HmTipjBzpsGfkQV9oJWEbPRRUcS+aB9DFD/STJ//o8Sbrm/DEJsbIJObT2/59NBMIzGi+S90RfrYfaRuVbJ+EyfMqjU8oatuUi+tQQqwpkhz7yPCSOgxY3N4R965qLJCX5UatLl9KAshaAmvg9V9Y9fP5JMqRjsfeKNAyHEva+X04ORCKXH9JXRcOlMJ+v2oV8ThDD+lQgqINX3948XjKG3GjXEQvxS7KS3a6uOE+bA4DfTppzrWRiQNX3+roojo5r87ul1h7G48uGSyCFzwDHbDMjJFX7XLnLw6z+h1MakKln9sFaLFdM/uc/M2FyhineuMEcDQYwroOc93Zp/KMI4BLAQky3xKOHeTG5flt37KT3GhI5L1FfDVkbm3MITzm2dSj/w4QR3nlh38rlEFn//l8TYgCiLqlZh2aMtA9YsqhtCtCMHtXphbAv4YoGsqb5xVwmw45YsUGAbzUaSOQcrZk93OfouwjwcG49HcZYhfvQea6QbbLzSnHnOUAAArHGXP2eDyngk2c9dwbtfyiWf/5V9Om++Pb8mOAnlL4Yj740rOiUbwHAVR9FNeamwOIO5wosoNexgNOkOwW1QLIIkjpIZrUv9cXpXEC4fi8mVYNBHp7ddOCU8SECMk42jTxmCRMocC9BRLbwV3mDdaXPCTSz2yLacow5nfPrGq7m/0UCt3oVto+MKHsFisgR9RrNxQBg/+tpEZzczDZZBYuQ3SAwgXVk90r8B43J2FdKkziHPHHKmaoWSlMqcMNoQ+iiOxy7tl2B8cigDwTx5TW5k/45Ffbyp8bH2vf5UEXumFpwllkQGLqaN7QehPIB9okT7l9PpHZCx8cx26Z0Qq6R52sM2voE34LwGv2Oe/vz7IC97THrsPBJU5uj3rSY7d+U9w9rKObj+FU4ZFUJ9rlavFr+T1zJCYnx6eHbwZ8tPlfAkaB/xiH6aGJ+IuvQ7tgKOFIrduIwvhPqOI4ytucW3IiVLFdxgShQxWuDiW1HtGTYJLBUBegoNiTQs8nvAasFxe73elyVyGBj+wv9xwg0eGCVAw0hDssslzZaczd7WWw8K7cF0lfNDBf/z1GEIQmnx45e/SVuT1OtDqokpvIxdicAC0ih13YYu0l6/F72V7bqRL8Gra1wRFIVmnpX7quR/mXXHb9fJMRW55DbvcE4tlR6IdYQeOO0AQXenS1dsKdCF2Zr+ryjCR4RU4Dx6+AE9yIScKBvSI3hzPuBaPXdmnoLgNvtVOBqOPHrwYa9HsVc/DMOhBiIcUfkXDAS1woWQ15q2cI4o4dR4FhNj0Ta4nEdulP38KO5BZ6P0acXWSPrlmKPwebslY5h8cXOytiDEPNKnPRrOoBhcZyu5p7lWdiLmM4HnHm3lKubGyFCTCKqD33+Iwm07Jno+Qy/g4cUjIlcyayy4OkrtPF2XC+GH9WtTOxJ9uxxA4hPorEDsqNeSRQ4QGmH3VleLZbBbT/+xnc6z5NX8IIpyRDA/br3W/GKmOLAz5Fy/xUXNrtMqzJbM8QV/QGhIZixU29qvesmn2GMEQ/cKo8xLdGt7DAiId2uF6QasGM6uKvDaQrIGKI3EtLlDLaGqxxE96056vaZrbJRznZ/citRqFty5SCZoU7Hzk9SLbRV7BxL6jQd//0cYmn2cQpRqnJy4Qv8xuwlkCDDbwqfnFjv/5tRtUWGjGLyxFgca3DX9Cg+diu4kpLc4HHUjelqM0+ArRrLIGkVvCAqzYuiVayHnPr72wOzL41VTOMFsDWNHOJ/NQ/UaE/+iGT7HFCeuBxKcElaf4n31m0sfdLTEvSQUgpXx6dwGLVe10ENZtIgKxaRUp/gvWdi54ORiQzP0/Au29K/hzoK4fw9sPvQNYQJQEVE+Y0sTm3+hg04Ge6Po78HTmBGuTKGrpV9Byyo449XhKVVWzhkwqmpqcFzD7YEflVx3f+NxOdet/6PGFX4ijpuSEnrc/OVXfLm+WlWlZ6O45DO2gyoZZDFsCLkY174g9d0mTBZQCJjaZFtmT8DEb294sQpXNGv4lyqhWxp9ImwAToVLRzcnJPNBpusO3I7cSOCUOq08UuV+USVA5u7XSRsVuPDWMOYJlFmNR97YK4SR2kZfxqnwcSPPSBBlsmGfl2j3oP7UfdyisPbFeF39/ipmZszO/k+a2nYPSghFyFRmF+WI0YpbqwX1JS9hv/0bNr78oeFHap3lcjmGMTXW1wicMdcVqz9NWEfTGFT3nxsfWK1hbPsyaxyhU7hFoeVdEz9uoQ4fXv6GiMplusn6h4HzT+gaxKoAlJv1x9Zms3hpOJRF9LPWqxNbASQtPojpqup/LETQe88ELy9xSVxlzVfo2WylmgfbnSDIGYJtn+2Xy7bPcErwrQJ4Nu29pPyLWcF3XeVRE047YwpTf8sHWigFrEhY/oGcrXlV+VWZ8vvTDwcNO4TFe5d7DMICGeuLE4Qlp3ldTxTlkXXw5oXKI4+ewQ1rNKgynGB+ZP7sot7T9B6c848hjrThUiMV/up7ze6hiwqjqJq8COtg6O6yc7rPNLBL3actxzdQRCwYvvmpkWfBxA5w5TgP57mOtsmEvel6Ts45HGXfZQgZRWTtJifyuxXmy+JjjKqIO1b2vyNb5Q8jxzm8+QWWQaWrVv3u+xSl9jD5cdw03WFMyfZvHBxRjK4d90L8R5JlVWg7esfjaXzwx1diFGezqAxgDSZsk2OZxiWbMypH7sQhtqCfiPj6S+AMlCEDK8l4xTSJRCEJn4HVP8bolH4FB9ivQ52JlUGaghVwyGE18XAlfvNeBHylr7s+djFsBvHd8DbLQRv79jj0VdcMC7QR9tHGkmckcKwq89KRfy5XE5f2Otzmj9AEA0p2U9smr9mcm1je5b3NEJvEoIGC1GkQ/ZNf+B7En6wd4IauJo7YMgy0fGOdtd418bA/M7btvy73cy00Gd3oNrnhhyD5J10em9OKwQ36XzqXMa7f1VUDaeVim0MNolX43iysrFWqyFRi+kH6R/nIy8a1tMUOEyQo7uY2Vn7X6ERBJ7LsQ5b1OebFskIqbTG01lNfnf8TMhiJPOZk3FHffABA7iCpFs+OvKitZyTVnsjL12hgXWyZbIwxXPqKhmzmAyOw/28kLIgb+oxaV2s9lwzwiXxtbfckT2UApADiyf5m2ZjzyvPOpcUf5se/OO9GkCLpNHAywKLg/uGQaxvF7Jlg58TTh3bTED3ZT4x1WQRPusGnQbW3OiLSxDdHlFW3HIaJJb/+o0fPUvtOF0K+xOZhif2HM0qKJRNBCWkA+9YmYMPdgJotNqUVYkuZ/KIlF7jD1gJccRt0h5jcp5JwrEwwuGfUa4Lg6GbVME24HY0W75k3HFhMgIIktBgKBLFXZAlVKFEWDR569V3WDyy4CrGD6JBerdeOBeZkFs19IfLhvxBE7GBuovxJe8iUzwLXZCBycMDhnLeBd5DTXS14MEFHTJB8encWePDgP/SJT2RNJ/l3WTD3JAJYc1VU6KZe+amBCqQgBRugyEcxO5Vme0tZAqVPxfB3rYNyBiwXi6IfzDcj5XPkhRCWF2dEWFwd8UW+ouBeTYFs6J3N+Z3K95RaWc2GcM4qlEamiucFvQukEmvYmx6oKTI8/aCu2xqowtIhmSZtJhnSXZVUxE3JlFYCld1CMRiCJMtHVFjlkW8TXzlHoh1rJpyWYeM7bExVBwnjOCgsoaPdHolyDa1H5hUdIce6gTUkD390jbEJG6WUvCrZZUDxu5ZQslnr0hf5W9GrbCyBnrO9B8Bise9CrejLul+qe4VWtabT32ErDAdsF0w4CW5YHWcLJZwVhD0HNcuA/2Fh+7Op/ZZ8CNLr5dXn5qq1D/4NiIBbLGpJ6o7jGeOKRI0HfE/GtsV3FXTISoOvkOHAnKhUI9efOpf1m+Nwe3a/aP7fi3t+rlpZumHeIA9CyHDlKCY8XYbMrFifiche1UFFTQufheZydIwB5fKQhfGKzj645dEb6ydaa6+skVx2JFwy8hLHSxQX12XbcSfTNModsdanyr8mPQZ+Jl/LnBH2wYnZAad8B8rZRW3hiUVCcgMPiVFtHwzqNJJ1ldmuJ2hXt0ARSEJTSiA7fLmhwXuBFA5reIXXi7zZ820TOnHOPE0dAyCIhNQ54DaXb4qbORhNUdc1gKj9NJ19RjGw+yrImo3aEJXk2OxCcyhUh97zgsln0xDFYX5ED6klayLV3lGsG/NSO6bMQO4OUVqDSxgozEgk7uF1g+WvZluOUe7iezvJHIn2MxdBoyUBUj4QWh3wQhRFBkojRUQwVuSqDHJLbbykxRdDT4MtDH2nw2HttGQWl2JdvRn+PpJzy8aHvWL2CD+3cexJIBbFCFambmU5Isc4spfPs1qrAUmlu5kyBDJFFxmt0g4TYxrjlUDiWx39XVt8QnfkmUQcs/Nd0dK9V3aJQvqdsy2kmjSiXoTx4gp5wciJuAUXlbZsctTA3I+z9Y4RDSowAsxW5qx28T6SnJvDjGyl4tToF/nkQJ3g7RwM+fBiKczDBBT7T9uFFfFhsEbrpqjJitb06gNsbr/TSSBbNfRn26FTumRSg8KyAOD3pXJCN+VgSXoOWsBOD/syz8Mhhh6oTMtfMsdYpfDheMtiAkXaEoJLPQQvHcL3D141k8yW91x7y07swfesJozDkRgZyCSp7+Ny9n5uyWJiVhRBuE0y4UTi/IP7YUOFcPI8E4Tlcg9g6b6UQbfnMmA6e5Jh5YobplYNxVd19BM3oZ0vr2mSD9zwCjQiFzbI8DUqdiIi/aqSV7J6duspOb8k52QazeBmI/FB5t2KAvD2GVBMaqisDY5bNZu7+lY89iZAUvW/jykF5f4OG0rsKtGXC91rOPW3mojkUtVqInWkL0WYfIGHBkiSV1Yn8AnPNEzq7j5DuwUNeiQf9GSrde2N1i7Wsj44yooRBUc4JatP+nkYPl1aEy2KynJDy1oDYIP4dedHUE0BFBxl0vJ7p7gNLfX+fyxTwKosGhHydynSkG0y6qehuT+TQ4SKvBeDNafwiqnAlP177IiCwwO0g/Ap9NvYHagZOBKZyKC0AyOF6NChk57dONwwXVHn1mQfu0xAAb38MbpOlk5UlNYYwWpBS6oEq/mbuayOrLXOfvTHJi5DUEzMW7f+U++seKRmGzAcjJAGZ3KupZg0V5h2bmCljrjBOa7zSvQEALVN1PD+4dzQQAf+sBGPLAzS9TPPiYRkR0vMXeuxJXo8fGo++B3omAnxD7gPxc7Wq7VcgqV+QaKrQIwDHszhbrGrnr7CIeaKU8bgvUZGJA7tnzf1eFXbyiUkYTdrTKN27OGut+Mwq87KsNJbvhKOv3UrNblu3VzW5GwsR7iRcJkWT8ExnmTj1LrYgGVBHbeegJv1jHHvM+Ntl6dGTCV4PeYAL5lglhgm0FozY5gwSEIRCjOF0ugTXspP++88NewChux+tBiZ81HvFlIhaM/fr4zNMQcaF9JN+p23iVhDOMY6avrP2Lz2GPg+I9mh3HMsY7jd6e1xofT/5dZOmLzR5eONfmDXqfuDRGnw07LYThCyaq3hcGwAjpHrxgi5T/jDwb3TJuOpJMKJM0iVXRug928UIDJ6hjQzEYsMNUbqunOo3XpeTBXLlP1xbrys+zL08PQlmrtqpf1ZYrb7AFL7UNL/GZvD9HaVa+r24AZ3D/WRiC2/VbDPMx5ekcEsHJNnrptDDUWw1QbYVJ5KRaWJUGGmgX0xNjQt8O+x8T62LAzzJ1yoIH6LBovi6ch0tO/jCZHt1DmUTMgO6VGSYi/aBnT2awD7WiDiJVnRFGU9EDZ0mtXRql3wtSfTa7G+5E7t3Vy5hFTZ2oWaVyUkH7+XqLmhM/I1CEbu1UaACtI66X3tn5p2UGbtGzt+Ct46WlXClO2nO88yQN8dTELqm6AuK320Dw2UTC1d/tm6Gxz/feYJTgsTkT4QyHWqFk1w7gqjWESfwsb5BctHN+kdrGKRGwARAG78A9HUc992u1roYUsOSzJamsPl7pT2iA6madKhomoL0jH8ZXGJludoRs3gA1Q/mRSi0uQYIMuChmtjiMT21642Q4ZDi/ZkuFOWGweu7giT4SOpP4ZNLq/hhzXvaYlCISgka+5wCmDW8ZpdZXv8p92cAkbYqGyJj8hiOhCMyOBzG5n4XT8Zyx+NS1isLpiqZ5GdkXKBXKj2C1zYRxodsuj+fhvXJd3sM4FnsM03o7fjEqDjDN8HnRLc3QTY5+Z8dCJ4tfeLnnmEWB+WwqkJ2OCJZxyj6dQjNf6Ip5yWn1ISi97KeCt+0C0lYyOiS5EZPJwK5OKHCNdtoyLDP9vFK6KOS2BYupLubUFOKsXDBXllICcHMMSz5llAlTWhp56EhCggkZitqt/NMedJnO+BpSxw7Q3y+MTIYPvKFsLhBeXw+sy+1k4FCmumCH8xnZ3IYKRLk5jSH+rwaIQdiJHzsK+2HHsXvOFwtvZHPdnJgBNrWboh4pCwr6rn/wHpwF4mVkTQi6Bp90bWs08gzPmD6vwbfE5R2UhG0pv6GJw3AzP9pTB1uiLlu/SXsSySW8fuywYFAHGHjJBH1CL2BcfeTdLsDSXNnRrJm7WXOW0mdD5sdCjbWb/uYOw14wlXs6fADMjk4GWO2COGPNvFvSAUzZ7XJjXx+VO2kYOZRBcmQJ4Mk7+sjfJ/X7qFaugCSug2FQ+UVEq0tSngzXs1bdQpEwTgT/vV/YkYhSaxc2GgxATTv8vb908H/5/SSnhv1EDJEn9WH7T6bOqtNYiSu9YC/GUCuP6HUDk3HbeMjell+Z2ha7sOU8zam8hTzCdsou1A6BtLsYG1fVQrz93QWgis8ltK68ZQBkHig/Fsn+8U/rLxF0Cl8TmRxbhOLLaK7zySw8QCZ9tbutcxrK1kexYViC/3VGwKtdhnatyXt+RrhIDZnuMCs7OtqY7FQjNeRxN5Kf7ZSDU+1vRNc5fLVIVkZ69BFVXvMl2b4t1/DBXCUlpxlzQPuVGwyheiVkdW03+vshnjl5ZSONe6p97gvxnb+x81HlFiVj2GF9cWyk7fRjBtBv0VdK+p1qeIgcOgWagMBSvJE+Fma8NQpBoiBxxZ5YzeKgQ+vhLAuOYUvwFjdMvi/v8c8lbiP/UiBjfEuHboxYQ95hfZ4Kpc9HiQueP+IxNcCEyM8fqs/DGZ0zAa7aQfyrnm0CRdxSHrOuM2/nQKapzHYJk2UfxvlgO9M5Y++1Kiz9gZJMcdv++9trA80/sbDbPd8XkKipCEkm/AmuQWCqFeXenTiZjMu/KBfVjdyiGKrii7PbncL33HkFDam+jAz1xSLtL0V4o5Zctgqo/XBuGzdu5ReY51ropoEIRlop8yDgEiBYRlVw5JU/zuo0E7eaLRw9x9K9HNU70qMGsEgamyPXz6sLfJnZq39VYxaXzR0pbMWAEEZdSsyWBph5hbMfSB9vZ0/U93ZcPrv2MDMjhwiECAoegP3zSYkCwauAcQbBlUze3UDOlrroybKqesXOcdXkq/caWIJCsZHis72llmBT3XuBim8aKt5dOBejAi/P+jTzPYclwfrnalNq1YT0EI4o0uPY5bAyaBh+Jv9Xi2Kw2FicncuSVCIXfA9lKsUDAnlCy1Ce4h1HI0/olLw67lt/kLOoOx6PWUoQFxJRsZnawgjl8w0kRbpEhWLcwIXF5Cxg4lR3yUN4v7+Cc8ZuCEjIxPL3vzbvF38TeH4w5b5LYWwJjbp5nH4VeTSbbuQU3G+z0GlgEaHE8FPuBRGiIR8Jod061L37CZXuwdN2CJH/Q9Ak9/6+rMUa4y7SOkWjtFCIz4TgYti4dHV4M36oztGmbz5FqJzwSNek4oTZkVZIGAlj64wC7okqbHbYPlfP10pxX4fiLS2BfXjpTfoF9SbcRrMQsKHYvF5Q+PQiTdfIUzYtpujVHp3NAWJabF28Ip5ZaXUNLQpzdo9sXY7vB/3+zLYT+Vpdw+cBzpQjRUd2VUt4tYcqXHcAyqFe2ZibuJIpa8MqBLbIla1rdlXOXQcfMc16JhyBxl4Tnct8ZvOxbblsLuszbxHa5bmWEFl83u8Xc//HZ0OHvW/yBvLvyF4c9GrgNyTiX82y/tgYB4wNV+9ZUT46tByg6HGENpI4qyt9YsBFjVs9JuQm+e9QTuIP15/kDNkVqSbNA7ARQhfzCATvbT5jGH1QOXv4u+d7AJPbHgzUKyC7tL0Xkp9QrjOM6nlIK5D9Duuh2MXYi5uMjbVW7i98BIBfnKVNJTS5HeraE/vPjgmlnTyRZI3WFoImS66PaYBHXMmAklTza+WBhEklcGBgDauiGDeBwMZQjQrcKYW+EytEv5NgsoBcXI+JlTGxkwBsVVzTJVdcdzgTekrMehsx6heRksnzAZhdxeS5kQ9Y5lcc7cNnZlcVwZZiDu6DJbRH2D/EH6O9cZSY9QqYgXfjBv2lO+kUak68iQCXYEIt5UcJ4ZU5DXzwj50OI29dKwFUsiEsWn+lI8NEX9Z7cj5jAOfVIgd3cImvSpqiWZK5+SGpD5MvsiKoulo40AIawftTnrbGv60bpYwnoPv1+7ZtH3r0AxyeeHTnGXeoyZsj5egS2HUe44Xk+FV5iY5APyXy1UeWI1ySEBZClyUGYj2tirYHm2ZHiQfQ2aW+uKH6jbnuPW8FJxy7vsDIXtiT1lz/eYM/2RR1McQGExXLRdNGamDyWQpHPXVW7gDe/ziyCwH9NEuIQG7zkZ+/0kwdUEsnied2+NKPA/zedu/KJYMyDHq88evzBZKn/z3f2KRTxWLFwD7H2gE42Wgx4E04C2ABNq6Y7l31Pwux3D+6kwal5h+F75cONT07tW2pDYbnnCpo5qqsgnH2Prqdh0yCnFi1N9GWKDCBCQerrc+SanlZmYp7z70yXBKlHq/V1/ZqCNciXN3iPv8H2HItiVDzFfbah3iII2iGs/clB2aQ10rgg5aZFwL7og2x/Whgdc8D8qLAg+CXZhvF++whJjy4QdGm3cmkZV274FcPsK0YdsdVkfneIhYLBriSoShZZXd4pq37+iqEGk16GFZlZnwpL+SVIlgWDdv7a0T3OvMPJiEIReB+PmkAQIhL1lNFfFNqTbiyWifU970YUdYk6kP3pC+LWVAoAbPvu2e41/UvGuSRGYFf8VQl1HO27lUTdZZopF9+S/n/C+bXaGTRi9DHO6lntd4R+S8aI8iYTp3yaYPeccvAXF5gGSda/FxO+cFA83qnrhCegHveGMWq8qRmNgCubZXpQi3wtRjlwUogB0IskvwkRrBlpaklNSIpLX5FTD0JPyF+Non6E9zlW4UVXGZnVL+/as6tP2lwA/hWoe1F7k0SZ9wFWE7cucjytk/zdIsvptwEwKbD6hSAUAtzHKZ8PV5wuC9gQsu7krIK1jk0/lAu47S0k5hyFzzk95YGrqinlMzD5CqrLitxJCV79pFfbNwJDVLB9TtPVt9b1KY27o1vrn4xeZLvphPc6dA4LNOmyF6qjO1KiwAr0RgwPko8sjUVmhW1s8bfEGE3pcUMYSM/betjM9wmsCEzbhmG2rc8/sjPPAaNZyuK/VTruoiINXMiYEpzGOFjXetNPwioWRTw++UqzafPA2BxROgfY1ggIGU3ozmdsU0pM4v5s69je+mnyqkTU1b1onQxLDRfyq+vBTeAyU8orMI7yx7a/lD+gnlZY+XqAt7IO+DCRAroSOcU1b6wrvactt3TLW9eNkh/VoAF9xpdIdGqbgNee+Hpwfq7kB3L/H3gWBno1T+n8LsgzBt6tkpEjgjgqFDzaET7jSJXKH0MQqXCp+8K4RNyz5eavASzIEAVA6u9UlxW1+za/ztxAS2oa59vLGQaf+duGGTSK+1f/JtXUOIqnSec2YzGE20LO78huXZsHTjCutEv8qoVqLp9HXzfPvusyG6QOZx3nXSj1Vsk7uWUvPkRewxivBdhCoMfRZqTH1vjNpalQgTM0sEJM0Stu/8AaepePtgnbSsOk4jZvYwSXj868cvao0A9+82W2uAneuDaD18UWsRQlwpWSFBf+IGRefYaZlPRC6bFDC/wELmJ5YpgKRBV7EhBsJhDO/DK6EplruVmvjVcF8lyumFWs3OgkMxOVY2uDtVV33qComhNEz8KWisu/ZcnuFbYQ6wKU+g9fIrr3tllKPmcUH+CP1jdifAaN4nE8gNq1DWe9UMxNgw5PaTEW0sNBpQa90P7NTLrd8yQ34DXytWgPdZaInct5ik+F2EY1p5mbcFu6y+hD4QCTQbD0m+Dyh0jLhn2hrd6vB51WJv/XVstvQz0ToJZZxUtzp83kGhj301SzU2fniqhLyMT3iXHy3X/Ur0wWYXhUIQv0i20YvqjneenKvqzSWfU35Yhy8mVuiLaF/7hYG/pUosbgQv584dFqNbsOkHY4ASPIU53v14U/S6uSe2Fdo4eB08ZPjEADcJ/Y6ajXg+NrKvFWQuky4LjRXV8vHOvTqmyi45qWlVqwqq7Hzn9IkDwR5kPLb0uu7J+dX7TWCO7h6oWvQTpT8P+mAQFBGqaCJnj0AefWUkaaZV8VCD7gDP/ztrzczjuiBtaONb5VQYjIozIFE+j6D8VGJ6vObgyLmW5OQXCue1kHMKpi8wS48rb8L1+WBiAH2ccLgnCe0sysdzu8eGfnQdgro+vMLx+9CyI023iyTKCQh8JjWeEZ6gARs8JE9qYzw//qZ9TsWrPg0m4tLU0GmIl2Oy5Lsi7TOLnNsfVenVHUwweF0dbf1xgkK8LXE9feH5PlkO+vffiBj+cfMgSbGxHupOWR0nuZ51Jic6AiInoTiEOb3wTXU4u4HKTA/0kN7iUSxnJ10xEydjHJRKhzVEfMwgfxuBy68WrGQByDktXcHbpmoiOrouglGnsEhI0zPizBM7sI64YlmM1Dn6W9qqnr94UbnxvyMeza5kFTT7E/feeIm8GHLqzWMek7gmot6r+oWcq5A7C/0IkIsklokwso2/bRRP8vy7Ci4X57gDFi9KtRduHxeb4SF0WiWEgT2VKaDCRiIbK4hIUMyO4M73bkzhixn0uwuQwDJpyGWC84Y3MgLNOn6P45erfrlG5Ltd/8xDglSHkhseA2xDhfbCW40QE314RMebmjdpkwN8stWOEGIgY/wabHe08KAJ+3DY0H9F4SAFow8VLDJb6D0P4h+MeNMtTbnzvuX9ZYwUA5QaHi/cYydv0Z2dtrXQyVNDBtFmfqBwd5ekrF3MGPR/ELfSczBNyper1mipU4ghoFzDIe7enXM6YAR3tC+uFKE0d9tgIGUmwl0AhNScAu2sc5Pnt+eUpUTTX0mboSrSv2aw5MMSW0FX4qdDRJ+96CQgMGZBdc1iyKaQRWW60BcWiIjawSzpFKEESoRK4JDcWU4IEmV3EPgd1xgtUnh5caIZcxtdc4eBJzy9XTntAo0zCGpCGCSs8Zc0J1sPEySP76wWMr4aXE/fb3qfjm8HK16TU+2z0413OZVOSSVWedGwu/C2appTEWTJC/OTOkLpUNw/eKjKMZaV2N1qjE/yXvKUp2fWVGG9h1l9REmWCKgUknZrPJ25K0e5Y9dTIJK+S+HyVbwgAlD+0Rwe5LTEYnC4jXT+8Xp/v0NbY7ag6m/ok57YUgAdtMs97FDeepCExI2Qg7LXCg+4e+Z2loAk3rRwfj9WK0oj2wI5xs0wkXEtkJi5BRRCjvMedm5JDFH2C/3RTibbULjB6c+EbPy94MupZOPwCUnYGRKl67KJCkK3e9GIRdaWD/13MPXA+x9tpKhhWGAZHVvip2TUV2ZLmSYORXSppO7AnCplO+Cs8LuDDWimggJum+a3KRQRlaR/pNQ435vinvpGE8XipMVhXGCc8aMzV2wdYRipgBXckkyMxS5yXmxFo2DTL8DJUAdh6LCmoTZJ86xgnbVGQh6cc/Fr/XJK/0uy7kljIt3ghJqPLIpoPHeh9qOe4BhxqPznfkab2KOjiarLETpq38hinjejmKTrNAmVS16V2mdQHjxxislHpAIfn9ta2oeMZB7mHIPBdJmdrigAR8nafI6Ms1ji5QHM4s4NoEV8reNS2BvSHVP/tK78VaTfUAkHbiVL4I9y/pQtNCGS2bGSctsFVGj2WKGGnqg3uUceKK7wPDPWxDDPz1K8PMHV8sE7NKztdvo+taRCeLKNbY0ehnyqORM9GkL9ZMfX0W3UIxnStGWKoO8zjByOhMXwbGYDsTzSixbOjcIznJNbn75rbxrp3MfV/a+sbQQREqTvyS4JydmoP0iT4xeOLsxcrKzdXUhTAm1s1rMn+DBYl6rnPHx3mWOOG5+nVJw2tFV/rwAE9uY/ZecTiWzjG2p3VYTxCkiNlWHECKbhJ/SisdZdwDJ1jGwLpvtUIcORzkkcpugPl8W+yUpiHKqN+zOvUo+S0MnML7DpVqBg8iBjPSGQz6p7gGv03RD5VOQYtcXM4N+kdqq4zQ2wxy4oQNua6CAaDi6d+Nietp0o4LRkL5CzamdmOgisSI4FFstgAWq1RhnCWWVDbwSrFje53MYV3pPvLpIAHfYJNWrLYvE9clzgcMI8BkMgCYdPm6Rb5QK5S6Ioju/N+L4pMVPPg1atVgV3dj0Q7bu8uwBzahPTszI+dqCwnAWh0epPAa3mFFh8Zp/LNMdSatK3IuZpWBgNzn5ZbAUv2bZw4FgTwVbDB7bwnn8TEijkEhz0DORv9qA2mIqbJFmhWNtusKMwG3sYvdctTlMoDW6Fy/+HZda6sVDbxF62S05pLqMc0bCo6YhNmrznCMNT5o2ltJ+WnFCWkh6m0tpnI/ZYE62wXJYQKZlQBQ+sgRS5t3Ft342t1OZdby8HK/OlLf7JXMnpJC+z5oHc+mVxkaVmJ6qscihK3q8X/LfFYfQphyuTVgPJ00G/4aVsFcfzifL6b+HFJ7EfBS08Wpsp3ISsvHrsaBRMPm4x1N7Cq3keMUpACKLfdOIb0CSVp6K/xLghkKPbklWv0Z+DY3UXbyx4KRduH82NcQBNlrikOORXaASDWm5V0Ei7O7Zi54Q0E5wh0mCZaWN6ZVLIsQ3v1u82L/cUwx6aqdSMEEb4zIu3YQF0wEj0mlVYfT1l+6++qACe7K9Lw8ftqHJL3c6EdqTlQNoNqFsY4VdjNTBaDZqZdJtYMPO48ZFeL2kf4yX20iAdRQIRO7D9BqUR+08uMM0lYYFtegPJG1SLI1Yuv45/aWWz2r0zk8B4mCoVlLAVFbJyUf5zQz7ocQ42CExoSM//Xt2X6MZ1BcPlNx7yI05hoVh0KMI4W513E+Qm8/FtO8CVUayyDPPe/NfyVNPFa9to7SyjleONkxwTe3rCMRlMe0rQkvimTV5MlnFVrn52yfJ8CFy3zIlXIE/doNkivTyPuv6SUB2ywtiliO4tTAr18ALdRNpDre0wNlS9TI97K5zAcbvyedibfMzNEhl7JnqWCjSBDEqUtxr/YGXdANhapwVtIbPKjMloRRRyl434G9bFyJnNZBAD7W1XT+CIUu6/D/tgdA54GPfmnYqk+ZMVKJK60AOQeVMVK+cj6qy6mMWSk1ejdrMlQJ7WSaOWkGnte/kZhRTGckFaTJ2as4sYn/lWJmzWNeCn8vZWDJ14/FCj2ynkHOy85D2fLMH7+DfvaOVu2qFm19QaGwUg5dS05IPsyzImSfrXTvpWk+uebAuoc2C4SY1YKslLCrYAo9rKZFA7FYdcdqkxduZ8ECOGoAhy96u9Sm4Lnlp8AwxXP1GhpV9W8JvS1wPq8XigoCi1DS9rSsUzuHxLxfz1zlLEl8dWaKRww+8SL9JPTeFDw19ghn1Ms6oxfuZlxn/JqTlng57L/sr0jy3ZpWX3ZPGXdWANkGJcV5CwFH1mOoqEgwrA3coygpHxu2knPoPR3EuhxfpE4BDPaNqBHU6pljKs12AghRJvLhar8oejiq1UrRDNzNxLBIyh6D+9sJb23N1Vh//aAyzDfGRiz15/2PnvethOqCOVjo/g+c+R1AmpFnsCJ+WITRGEk6WoSoyVNnZyffEnmOMgVgozzOuU4qazcXlBN44yg1VuTl0mndc1MBEW/iudlFk++LhNJjqn+exDnOaQMoxQMsOwt1Rm2ltr+/ftd8wHqti7cqeXLfXAwt7W/bNMRLo38TEaC9Uqva+xh0g5O2pmytS/JEKC3InM9iO/RuhCNeXDRLB7j9LPib6UwzOaQRwbc+MlI0qqHdj+PuD9JtKCE9G4eBs3pK3UN9QkbsTPsMVZl3HykPwT+jfTjuvjh+dk7UgNVpeWNqCtDnOc234YDsEu9Rmsp7sPn/ivLmPd9GY1E4+NpRCFu+pvjLzWKIp0/TeG3Lin4nbud9ThcfSMU1Za0WjXCD6dk0nKM1OVmxuPacilnft4p5088Ymm6Xiq4DX8tkMzgGDoqM8u1DdnYb4HhDg3ldB9Y/1wVgg8+E9UVzapmnM88ErnhktLyJ/SfnOe0KvTS9HL5zzUs2fZr+6bhPwAu6sG4v3Le3my6ZWcsJH1xLOqIPiaAIyViRmVuCwS3Dd1x4TQq1tKWUKaS1x3YpSxWtZv48rIcabA4/o0Olk3aOtiqOI1mI7w1Wb+X/eGQDLn9+0E8nnSKgyyf/cLr8KqExJWayLYGyi5XAdusiXi/aMI12bXcTvVx2Qy3KHerxqfuqsMcX7ZColY/tpy0D5ltIoNtPJzFK7KPvKYAWXxpZIZXRuSQwQWA4gSyIEYy6tWEJtYLgb4fPXb/KORDFuTB3KT2oLGxItzBckdx3EgbTO9fbRVrDIawKaG6Vm/lZXJGUbPKPUYYh9EchWccKQvdsuVwuS8ARVf8Sr5lOxTEO8mzu3BlLIhTJQ4JCXsvAIDQbDEZNnojNGQAQHwcimMOACYpz9mpPGMC2DTOvTT3qeZ6ZJ05FP1iCK8sFzw2vPgxt0rbULnxS0g/p+PFXzwDkOALj6XP4PUqLm4TZUkHb31AJ0kN6IwLntYwzl2Z/NCt1Zz7W/DK0r/alyPGiVVUHEalMsNTqpQ6oud92Jpz8aqFDlLrdMIQEmUMIq1P00gyZywSYzZdbxODmSqFeqYOIzDFDb4LKly7MtCKYOb/EQhcJozFlkxmUQs12TfVc4e9hsS5i70Ql+XfBERTvO66gpwGjK1oCML1GyP1ZS9FHRMu18m1mM6uwCkzD7ff9MCSDLMy1MlBSIgUZLiH76VzxvxXm8s+TcHN3Yj/Y+qDz5146ylmFJnirh3LepTdnyr6+FNdVRMsFCj/z6Y+MG4fJriUDr2VbaeLl6TvEZZkSz9eoaiCB9YIaOR4N0oDP5p5m4tDGQ9pzyzYLW7+unjKt+BZmG8AvpCU9QDclbtxXhQyrLgZPzY4uck11sznOhrNhIfl45qrf27e807p1RPwU69i5kjwTqyILhPd17DrqXE5CJ2Wg02Z3jPqL9ii7xy1vMw2G/f2XOHHIreyEefhFCDBjlmkyhOKRBd+rTdSPB54Nc0511y10bSAZm5W6iSt3+3zS9gjOL30i7mqbWfPW0RLY1417IkHB6OZXUg8xOaFkxaPTp4YV2ZqlORI9YSRS4l3Jloj2aqYKklIPZFaZTxTptuaeHd3tck3/1iMijYG0CH93TezCSejzU7P5dY8Z1lnh7Cf2hGUQsdBQr6MOG6VtZCkoVDuGmcB1eb3TXSEojFWIXJ5Jq6W1uR2HBhmJ+oS/XaIez+GdfEzWRCrT8dQjZog0qDw55txzt9UT71IJO6XTDjLPVXo2N+lp7cpT8XmKb+CvEpVuOBJiw+3GM3OmtCJDrjUUz6JQiAck46bp62qdrY4hXH5sdgaTQPTFiOT7lA3b5SYE6pBReccMzx5jlYNZav6hlgEIT4Nixc1bTzlvG51m4d5D/1VCxMKfRSCAbl66ZNh4saW+hQpzDjE0GiAs0GrFKY87g+IY/wxJIvqC0fbQwYV4U4y/84LmEJGEKcedDD/7wL992BuYYxtsOwi3IBbrf7g3Hrlv6iCvw72LMIUppxh1H"/>
  <p:tag name="MEKKOXMLTAGS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z2dD7pS103gZfJ6l4USC3jqtWOPR/ue0umjYEY9KlLthURXCUyUuZbmGDPUXB2idlVQc+R1c0j6vNnMaKvr/AghcgjyTjoGcS2U6lyGcWZbvoYqQsrFJ5DN1RdHsB5gZU4BjQJ6xKwDUEsW8X/QQ4uIPkrhyjIfLLN7ZR3puqzBiN1rMnctBA0J594at1EN5QJYMsPufr2eabAYzIDriNpy1GurybA3KWqcTPRKYh436jQqOHiPaCJtAtzpRgB7Igk7tw7BcBhai66Lc0jpyzFEK/4NRoFF+cso+ThI1HNgDMZbpFoCsJQtilLqk9nQPGX6RXGboCTf8hOOcHaKoTUKF81dro10jOa8Xb8mBGZAZ+Iyl7KGHMy03+9hVypQ0obddrk3ebukxUPEQ0Pm72/NjVtXXtJ9IYwXWGTh/SzHuwfQGDBNz+xvZ2H2OcnGP1YbVf/1Q3QHLmtTew6KEPEL4tOBwAllvyzgAO4mliX/0iz+3oqkmao9zxLMyM87x/jbj1/69H297HofVE3AV0jHHKqJLXrxcUvDhngg9dEONSJSgz7/89r09BhS8VjfNz0X+MCfjyzH+MSSI+6AaDe9EIxR4cKCbs8rHdx9+r2Q1ppP64dfAM1BwilKyMLu3kPw5GiyiTs2mVNh7IOG5ULy9jKgfNMvIi+D9G4ghQ7ZGJ4m/yTAhAUuGxz5gFkGEJxOXHobou6Aw36XPJWXalOh/wZTzSIWpzNAjApWYUVFms/XM6DA/Rxcp3RqRrcklwPwnocjkuUG+H5oUj3sJLprz/bxqzzLAGlJ+4Jb2vjwvv39Y2zHwZN23UhJH9hL9P2IZPssutxuBfuW6hae4sNeOzM/X2IyfWlL6j58Ls5v5iKGpDRXG4TLLLxFeo3Wjb87zpftkhdBT2nYU3ojSKSrb9Zs96XpKxa90ezEPOZ3jufWvC5M+Lda3SbfJUeblb/UbyK0G9WbxnyGc25VWSerhJPOf5hZ+MFFzIu97v0naQ2O9GbcDwNaGCmuZyjfbsObXTfFb97RN9i8qui5h0yGgyXTnpeebJbVsLx22QZbj0HHDQyiewR75XheY+coHjwNNk3BR4bkoSWcRBLm6CKgyM98SOCXxpEgXHBJeSar4Bef6ni1njdcF2Sp82PhyRtO3Eo92m6P5spdDFkTVME7UFDtZf8PdKZsYGF8Aw7jdi4le4vsNkDHxQV8JFsqGCiyt5PGQQ/So9BXj7bfy4aQW2rKA/DCDFQEAvS8h0MsPvm3jm3LoWaXb8BK0hFuErrRUfIJASvyisg0GsBEj0Yq36r8jZ6ZAeaMNj/MhgisTKYY0fP+uv5wxVGR4Hb14bUxJVJXyXBUqo/a8BD7iviaSr33W+YO1tSztiw5+Hmki/kIhiA+2z6ofFkzUYTSFvBarqcb52MKjNCAbEodzM06e+blWmM4QDQe6FntyqfMUdUaVWYDVD62OSYYMWZ6qLKSFYvuq4MricGErB5Trp0NR5FvdJiGOxrmLyLpwJ/5SxBM0dYDOAMaWx1c1/tuZHQLcXEDC8na3xXmopzTU2lMiQoNzFv3TENcwr7WiXNi5phbf8FuZiCMT2dBGWcbJ3PjnDwl5zljxvNr/rm63euQbDYzbiYyH0Vei7uSlMIj85yBQYBQSTDeKgvlBq9051Yc6UvKRZadMKfC1I/nObdYpUgHt/gdPaijf79FMpFDeemzB+DM+YnXGprqYYNuyZggE7ZJChSQGKZoal+Xvo8kfBHk7+3UqlYL19LdJpkBeJOlL3QTXqG7cmdM5PW+zKZU5khOZjAXt5DIi2IOkWZKZE7RY9oG8ge6OErUp+HZwwghLGIwNzqW2hbCOwRlB3y0p/UR3RB0ihOiv+SoJNcY1bztxZhXgqDqXZ5Mc/7ZHdPqv91DdvPDrSB3qsH7qNHVb1BRA4G5RlqTOMQSZoN8xpeCFCODQ4nI22gNjTbWhexxeaSjaag+dkEwah55jYBqlvaWndMv3h7azHlX7+z7IK+ir3KzNruKSISojrWdA2k/LSOkTbV48pbxB7i99fQIvK+5yY6+bR2C0AqeKbHfgY0s/X1LQdp1aj3nUkYm2PYOdKnunGtek2Fj7kyvCQeAPvk+zdP95IbZHBpcIGF51Lb0l/L23cpMdcsCKQ1AIvpQUq4fIFlOqhOX5LVMuP1FpzM7hg4i0+4GYrOQ+Q7awdkGp8ft7ajGc38WAHRuiBSzD0rUUfAJdQIPA9mcAdbwlfdvXC7jW4vt6uHoa+8UQw7lyuYfd5WXGEdDIkOf3g4XUH2cUcBrFCj2TdSyiwaYJdYmZUxVL0x8lwuYMpYYlHBuTWO+bfwXc9+qhYb1wIxKjJqpvAu94MUKWIw/dvhtk6GWzyM/7KKOf+EKn00ltVmhXdTDUwxodeCYlVPZ7cSrOezZs7RtSV5fL+bExHBmWHma1svlLgm21AAjUDjehJqVuxdzAoT05CIuqADa3wdNNOtxzEOmG34KcxQMdV2QakbtYKfdugrCS0jThv7GYTuEnYjcdJlqMoG4G4X8+knPC0n71Q1/peSbdVrf+A4B3Go87FyCvn1vVx/GWhm9dV/GmVsEjJi7bsO0hQTUvc0xQlH1VG+o3ltfjZfdKFHDhLaww4dbbU187gxhXyOm3BhNjN+XriNSrdQmICl3u33Yua1SalvfGW8RyUKWRZEgNhq3aXG7rW+zcNLhydENhL7VuD+y+pZnS4Klzn8Sijm0DN41EWIDzwlPN00XwXbYT5cw1B1X3hEI3D7znF6Ljd1lIDqokx/pJmLvllGjY6TnExPUxSeG7wryFHceUSGEOY514KbzpcSlQOSB9L8CzsMg1ahDMtBALVIoZm2DdH/uf0OanwWVq2quhCLo5Kqmu510qliL0hQExOsLxqRHQgRamEuCembG4THNhGFlCfh5LUaMowR39/6XD3l2v/PzxpuKn/T7gHNF3ACaZOiZSQ0lyAUKF9lYYiavfoQfD/QCvGtAPExXLy2Eb/fFs4QuQKak1OWJGC5Pj344n08lgUVcryWaAmAt0q3DUbCEFUVklAne+CJg/wyHCRlbtjqCE3x/0w++Zy2nkDWVy7A5t+5IMuW36ZddF5n3588hPRbJayQedhLC8BeSBGeXuL/FJ7NpWxPQODlpATPzaxyqFeKnrq40SIgFyqrvSj8FFAULnjAU1GS0b1jTtBLbBoyJCpyyGXsAQ+ztI2xhc6SSzsmkQoF8V/FwYn6FngKOzmYGc1AgYf3XpG8PF5VVa2GHP98klrW/K2QUwUcNXGqi64GEKZN8Isr95+PsR4RycmyQ7BjmT8NIt/lbcK9+uyxsHUXeDImcdri5RRPdZxl169dkcEYAz9m73v1E81X41h9SXkSDMlzxcdCAIAVhXUJJfKre5ZhRRUJAyKvuAARtcJLnos2s1/S5Pjyfow5WSn3S7Cy8CQuIpqsdkrq/BFe7G9sblc2XbYRh2SLPPBSnz+FBox8FDCa0I7lR/YBqaESBnmU/J+1V86HcxkNkVcKbMdFFIBoeLFE22EjAkLT7XjH9Y5NTFCJAmVGVBA6QnlESCTlM7aJedT90iMP2pqSmfeTAiA80h2k650K3DGkxJxhac0G3HFsMa+ryGwEKQ8TPkasiZqkXG2MJdmnECbLVn/rNq+sbqU1c6SJJIsrU5qfqk/nCJcd/5343hYzb170BAQ1bEvW12G+A9DGghCqk3bI2OVZB83ZPb4KARniF7gaTAvRRxjgIjCEysATgLCfZiAeB8D+Yhaa94IkrwQxoZpvAETX5U6qOOFwG7dB790joIVqKtPNS3/h6DgfshftSdk5d/WkWvIewrT31orP55vNDDP1HudHajvIFtvEKatFcSgLKVAqwD1USZdJCwcJuZpvb6sPmtNtyTGnRliyszwLdtds/O4aNMuq22BTYd/7cL9aw3QT5dzw6Nu4KzBrgXnWzwj5RaepU04GqcjM60Tgwf9o92wXaP2/TPu9tyawLfa50C52R7sHzapsUhFd9KQONDLG8oiJ+iJw3nkAHMWyQxr+cuXFh1wixxh1i54lRNW888gSWXgHmYwkQ0BKNHp1kLz9upMwvq0ObijRINODv518/pEQqeB5E9V2qMiU/zVVRS072xptxV7n7DZuO7uLxqsEZMtKR7H3r40AeMftn3r3rt5zCIFLwHUbLSpeA4dVkfSRdmD9TsJe29Pu2b8VihB2jJGhaP5BtEY43c3ies0c0+WX5xqEMC/Gb/xbIVW/XejFuO2jLjy6E8c288/KU1qQGRlawLTawmCnf46+w9W3iRh0Z+Zx9St7YaVbWJc4BeBPvGyqbP54hUURklU5RqawdI4FFyF35nkc6A8RU38KaK84vorptdKGyLmzHUe+0KFtc5Lzkx99gxF5Uk5k7D6rRYqd8SZrXAE/8vfPtyZD3gC2F+Z7aBYj0+kKRfUQSfcE9qy8+l+jnOjom//M0ryDiZ03YEiyC3Rm+zlFMe/QTWFAwq/w5UkFXvPN3pGmENT6Ny5vNIInju4d9iEGi50cEHsJ94orKLQPnpxgiKiZsifeucCDyiBWfgRpQWyyhbqCHgXlhc+lMb0MUIi5T2Vsvzj9Bb30mBFBi38lnpRXiiYuux53xCtifN4bFzfsDCkSJICqFseqYEgXC2tPosTKJ34Iu0PUYtktMg9RPuVc4m6pBshl8vp62kuqA7qt47+29SW/Ap9aegWrQTTl5vTPK3hrIhlcXC5zo+htz34eTS8bYF0XHhggmDMtnZH4dIbCKuGkPl8sBZpHsGHXKBchmmvccEFDgWIdh4mNv0JcIAg7X7azSkRI0lpTP8DCzraeCb5bR9iRTNsdP8UiaOGeJVBsntIOw3Q3A6UjEYT7Ly0GAJidWIIB1zeT5LrwrWV15yUdYOcffGlOPw99M2S0kM3ZOi2QB/2vmVQMsFno4cm8a3bdMEiAWfDQMLxZM9+5xgSgp03QhlpkbFGkBgOcLb0MheD8syUDN0QjRTeYkSqBH3jkoUM8z2bO4kH13VfuOsel0t+wyY61FvshxS7xdB8TTThZd6ERfnnuXAaxa/1rgduTISrhJ+bj6Np+EP6Ehc3dZzr0HDLciWMa50wGVV0Eb4C1NzeWN3gp7nTLVuKRX5sAN38Qb13LCjRgadZvib5NMh+pz70MACbiNCdyCHMb1h9IrGxcHGKpyC3dlYLVuWDlxFSuXuBQfzgsOHlW9qHyKBhX35r1Gz71VejiJXeZFGxBg3IvQVrCKPxhjI+IEiGQbVgf99HElR6+3yadtQy/GizfKxtKu81fyxpT+f+lX9PNA2Jz1jPTHkx8nQPapWJMkYdGHq6v0UOb4F029Mcn+zTgheHLznjfDgRVn/CFOkWMK55E55eIj21UyhwnRdONx/LRqvsL562rcxa9Q517eN5G4bhTpVI5NWhpj8zS3cFD1yEG5lH7tTueK6Qbt4mHp/Z6QpgXHheIxZ9iRpzczNVWJsgHNXmJOWnodT1e77mxoxOC8rWYbeEORvgt/fgC+i42bf1FpMgBp/X+3VzEtk0jUMDmiIvlibexrwaq+4K1AuFxt6xsihbD6Nau4v3BlPqMwfMdfkyumK/UoLUt+lZhRZmYKhLg7NqJTm2kDOL1aUj3UkpRCiSIcxaUH3/kxFpyVOs6XjvqIS4MAVagt41Cx+zZwdHBifbm1Wajp0iwLDSOvhLZcPnKKh0YEJFxQy18LdkEOiPwcpviKaFUpCr96+Xc6O1iBMLwZFA+5HMH4eieMI5QOCMk9eu1R/DQvFOx/4dVzYZ6wpm48LMw7XCHG2UzvJhgxJyNe+XDv/etWLzr/rFerB1NDwAnNYcXZq3sKhiISarDWCTofZSwnscVVuuhNp7lI/JIFtz6oa1EPAS7DuE1Yg5zuf7UeVJmkYFqscyYHhImX5Fq100lFg1EcoqNsPawTaRYMNcaqvmTk+TkQ29xL4u9G47Z+TIj6USgZ4Hej500So2GJq2j/eBmWz69TZIvTvo2Czhe4FNsFxM6epJd0FiDg0LisaecldC0DT77ogtS+bs1oFZZUhAxhzJkettzOv6oovRRXSq7WzbMlnMXtNXNU/QWu1X144aoO1SmCEDVRimRmC+jB7TqBvjsjHhzcNC7GNcw2T2EK37E6M2Nv6O/J86MAY8ACTjp007fXjQDtfaZdnwkRFM0o7bcZwUApGH0S0Y1QRU6pygS2gwXfyMdughipurUhUmXpVJScusi2Ka4uhbk/Xqed25skH7pvA5COfxyDo2F8XM5u6SUs8uaGbNFkKNTNu27ZlgudXziIwYYJb5XmMCV7J42dhqRmyXdwj2vxi6QdT6UMBCdPbu9tzJpCF1oLYUp82oVcN8uoAhGlQcP5FZAU4gQDfceet93S99Zby0VbfUJBL9YqZswspz9f5/3+VbHBVF4x5WJkHkizkMF0drPjAFdO43Avy6psk6MoNArTnsCZXDnLMOyylXQ3tYKRFpcGMuZJmiQzd87vdCTpIEne8WwYhBoX3IfphujcUPiM4KeZY5VepIxhJQuTXA4U0NE1+M0Uth2RzKDLGxwvWFJD+0zhLunbqfPdqIPR8YWoQ9WnWvqq+A11JO1sBuGi99UouSBc5BsceSN7GmHgH3GAds7CfibuliHMUem9uIaFc5j4xV0h2eV/A0h4z8vwMhxO9pl4NJqobQRA3Fp8lX2M5OiqnfE1ki9YdY3obJeMXt8oiQgfgXMXM6RzBgkqq7gt6cGBTift0lEmya7vF+JJZC99AHjR95dxU/Z+/eoWLiPI5XgXS30i9XuvYkGFOBos2Opa/qXUY7aZ+3Aj1hYWpmyj+qFeipl3fJVJUJ31Cg43pSBrTwoZAWi3dbpWeoameCiFCGGiI6JAf9ZrMdu3hBK2Y9tNgYAy6dzIGVT4KGfqh3UsRn8Rr6SXEBt20J/0obCPlIMDjmDXqz4a4mHpyk4rTwsl4nwhPyFXFUqq+oDVeosp9Yv2yCO1IhlHAJBd3qw3TFh8BvGvYXK0uwY58N//xnXvXT/aPIAewMj6yw9vHoiedQ69evmFtIa7S8nzbpbQ+k+awJNmhVsWLqEp7RfXIdufocmMwKOoI53MUhEgYam7WkmOwuJ9WvH6pZeQx3ZIqen21efILFwCvyX4spd3ekkFCaIuhInJQQ97WBxbsSFLOua9gaAVv/+7IPNb15vE1EOGfv0Yki73gmtTs3nYndDPnmIKFDwKu1tz6PUCvVEZYZFlCQBt7Vze6vBuaLUkHiupjlqCfxVXda0qn7yI0LPRmK4UIHMdvF66zFeX3GxkwEWPAcGEc3TKWtooj2UCSxUNznWk9A/CTd3PMJPSk3aeLLNNR3mz6/bosNB4zD1rBzWX9QtkjE1bo4VVlWCSC0KeG/ZLr8zKLYYtfkvmQnsqJAuvfQEO1isoj1g0kp4ly98GYBUStF2l9HpVJKXgcbt2W2FnLFYGd1Pi1ES/GCwaYbU98BmuOl8/sB0FbIJnDNHS2yP2Y0i43No5dFucxEyP4cj0owVJ0oGl4FWXaAimv3tf9weJLLKl1Yd93aYs3Kr5yk/Sx79M2//oHQpecPGAG611BODcCj80iY0+NiKlQuFzD53T2PR4Cn1asR2hbtsYytoOfvvbj5IHTafTq6+fuFQ3SRwUKLH9Tz6TgZZwSIPXJ1nebiU3U7K59bviCQbkNxhnVfJ1TusW8DwyyjGNUtZnhAyqmSbB3zUsMBZS0lkRcXbn3QbgkpUAYgaq6oLLkbBuajNJyhpXhLHm2MSTHsNv2a2JtZGtlH16jYZ8kLRTHUKJWYDyQUstmc9ILGNGu/GMoT/JmGZYzO3p0zIEyjf0x3/pa5Nx+g7WT/5tinjlwE8iMrfEPzX86kf1z/jqa7ceBv07zzhQiSjPeXPrYzmYybJkZP5GjpfqEc43TluQDi61NZcHOoBNW7y4N5vbc8gFSid9xOwIlt8Rr6tD5/mNsM3ckSd0gVbq22YdvCuOBzG43xo67BiaHdmBSteyICnldcc2y6EtFYIEo5aMv9tpejSO6omaIgJcXEm1h9ZzpGWnxSSZkraBlBJcPC02HxvLahRE4jGyKJryAW8/pHM2jZQzAfgQScAI1Od+e/iuAeHTv6oIxkp7uwG+cCHEv3vfrP9bQmrPX3nM+9tjmuD3F71RSNP7a/cIT8baN1g4UtrZzmZTzdDteZXCcKcNxqhcRNBXXTuTl07QUwMM18LYRk8Pci3Cr0zM76P3qytz1uJr8eTlCq4LaZfi3kEurOgew/y0Gl0wmE8mRd7UbE6kADTslBnEXe+dv5uflh2kGscSNYbXA8mnxPEpBjsufBhM6k2fUsUca7RY3WtNXxy3fvdmbLt6W2fuaAqsobS+gF+nljNlCSFcSaXM7Lj8HTw0OWYDWtBrNoxIhSSyogpez2udAwa6YUUQIOJET+4ALYsA3G0l+7W1F8+xMgFlcwQO1ae+ugcK6SXJT7Hi63ndcn4CGv63wJ53L5trrVn3BN8DzlsMBmhJMJrRdpBtJOULMOORSXVG0iyrJI0umQJasND61+gr/aAmT/UXrwaG411VMDvQpeChWAqS4zmlTxYEIeeMqEAm8WxZEL2qQwpZvsaIPi0FVdisLKhVlxFaGQHvU96u1u3biWKz3902iMX4h830una2C2GGFtnc+2c1U/fr2rp2FPUj3UKN/olwA0GngDX7ah0dshcneIjgMrLSCINGFSw0aKYErRYARcQpZnFnPnOl9EV6K98VLaOT0hGBTHb/g1HjeW5yHsOKelI0C69oCyXg68f5j1L8LHa1yLHODC8lCz7hGxNB7hTxLxn8+bfcslsh6TBbGQbF2HLzVORFqmGBRvAI1X8/RZpsoxyLMl9ZcSA0lXuucp1YRieGxkvXUjTQtA+5G9reEuy4G32uDZ6Dy+x1YBNH3B008hkUGGFne8oMW9YM1ScozNuj3f6hUdTZm9aVqPUF6KBYhl7U2ckmgsiS3e07342dFVBg3N9F+HxsuVBJTMHGg8Z1UcxUvT3n1If/CAlDQhCZ/eag7pHS/WJcaCr9fONYA27kEwHw1i+f7wuCm074g9RH9FvaZNuU8zOeMEOENY2ax/yd33srdzCy5+7PIaVBLIzVQs820Ik3XXCuGWYTbt89fU0BVAKedon4LZETqBtw9HVP1UAojzmRiqdFlIG5IkrMU933/UmzXylOxMbG1GU+KAVC4RmJN1qNFwqUOf0P13fV6vnGibyVv4FxJsXWOlaYMRMTZ9JVfYcp6M5/uJhXBxnQ63p53LD11JOb9JoUKA0S9HwMkHD8J5U64pwKX1jc/uMhTDXF5ktGHhY3nwCHVCF5xGVR0GMuX6txVlWCUC6YcaKJlhkO8JsAOkaudIdghDDRX/8czuSbDyK2x9dc2jwB3cQ/iA/uKQas4cI9nNwB8EpLtB5HMqe3zOOX2RggUjloYPagGFXihjXOAacDfLeRcLiSQPnje3rFwDCCfudFEivu+fAU+W3s7p7IA10vDwt+u8Eyi1+qF6TGhAQcHWVOrtRGXgWbI+WiZNgXqVwc5E8opGq5Rl0Kn314eNPyfBog95mBnzzN9NJhgfVy/66OFeooCwO+HYkimG6ugJC11e1FPvZe9IxYEqGToDmNs4XMRzQ1rFUKBpBRjLr7AiNlRmSCT5qYqJPD/eHJEdrAGA5MAfXrZ+eKeez4c8ByhYw5rc97YQFBIbmTAQ/2uMYsKyyiHAUJqUsUgTvxrhdO6YM09YpWain+WH2QfX4LF072Ls4W3vwsG41pvZv0XYkP4p2jfHmJf74R/oQtmheOTsheG+e0aasT6b0tlmfpTp5MNfKMlIf9PlwnOnNEUG58i91Qh9jDN1JVf/mh9k/jR7XFjD5PybSesCRi+bLDKnIqZn1h4GjO8KK2ab1iM+yKrm8WeuAGwqmnKMdE5SZCaykRWyfTAaKAot9PeVc61DEkLXsu2ALo9i/QfSrKfuID8ifb3kNw25wTnrnQjBf1Je1skIK0XXZpLRC06kqyWEHGo1EvBwK0WTyxcwkox6c2y49V7K0sH1sMwumZoEwW01WNHwFYU6hcNv22p+qs5/06+Q5dv2xl30dlL/gG5ZMyh2RQe73G3bopQZ8XAjinpItM41a5oMKvwP9Lx3mJJ/oNU0+sJekANAwd5F73fLEZskMHlE9DBj0GTp/mptVOnzzYI9yzGTT8u8rFKqTh4zFxbrqZ1gwUgKLAY3ZcBSZTTWUJJ9gwBtz97oQ5ayaEIbef+IkrhTW98aFz0oB/A2rSw/ibMg1qEm+MRWIBJkqZgoYFGyJv0wlIhvcVPEyEngUUPynmyvEDdMBqFQbdsS4cz5Jq7Lo9aSimOKpKAPAGsbDLysQ0HptaYCWP0oyh39dQS2V9EtrCmFANa6pXJkqZb2rd+Zb4/gTyJNLt6YGJiIFjXq6KCZPawF5M5X+pF6nKldIEdZ0ntOJBJEAV4sQHnfk73TuyOovjBRzzknYZkkfEAyX2RxcR6bcG5cnZobh3MAPBT1D+/a+dLhcf7lzOfnWaG3sujRX+MBFo/3Nz9hmcXsLP074ZsQ1QwemDLSdLCetY8F00Skncv3v+QYBp2inRPeBHkd7zi4tvSW10AgEpb1CawDHUtKQK0EthU010DOad1WXgFAoZtoDcc3+M8HeSpggIAFiAtJzxLKg2dt+HvQBZ1z5sj+9U8104XkXmNCP91Re7Olx+sXIV9pUEcBqjN19tAuuYDdSBW9eDHKfpoB7SqzEUYnbmkj2uktHJIF7Zdt4IKtFS9Ow7Z1qvrV0j4dnz650NBUrUludzOn9UKDQxz3unFw4DyhkT+csV3YnykJROjZ3s9YxreLUw9gY/mApJNylfE/TOVQwwPlMPLHGtbjVFPQDtFLmWUorOrAxnHng4Rpru/3XjXtlzww+3UycZlIxwHJ+p4mbyApMFaHRtLJqMut2hgrANmA1urVql7kaGvq3pt8MmUvSdZwP46IBKKme3ei/sqUjywxgBHVLmNwZ4wxE5DMmNTGbg9P3CklbcjVmh2WTApwUsCyW3c2aZ8mu/NRuW0NgacjfLHTJCNfMrGQrFJdKFFBjn8gh6ycdRMGiszz1XKuTtPCGwK+hbMzgGI7a+2pTuLMBju8MeYBcqa/5ynhiTHDjG/HTlkDxLjdB0JZBIJCxhq25RGaACTyBOENPHO8o8mQ5yawa+7h7I0IneHp4Mn/lcoll1Icxl3BZQ2YPAVljaCu2Hzv0FfgR4iLhVEK9B/f+GQVDkqYDFY89zdixynD56YoGg2kTbOdGZo/V3Cpm+7em9QQnWIlgbHkIDbjzY4kD5/iUXT8+FVUVB8nZfE1+b0LKbsbS/O3/XV0TfPzCwpaLGdSpJceRz4yvAvAnkl09N8uJTSnPi9viQ6QGRjVIrN+czDbnynZhKhhH5i5uZFXpEWWf2/t/VlJaDeMTDhAvSHSnDwrSKBkR4rrX4BrI5lT/Ov9/Tmd6ZYKVuh563woZFgu1Z6KboaRt2/+uNzbOymSHybUBEKabqu5yOeejqVWczkmTOxTxc1Od9Yif7Nu3hAbjQ0DM2c+DsHmbqEA7aPFVRP/I3STUTH/KWcxkNiJxk3A1rd3ECHuOer9Z5Xcc/eHhL/KeCNCI6/lnIYI+ZeN9Ib61pnAUdqZtGH42WNqCD5pRufih6xk5IbGzCSnKUpG8Gx3CLDx0SUAC9GuCJ4hGi0mBvUnQBWQGQiBsPyf5oIshVx4yR34DRFWIoz/GB1jNzrWGjhyLd/IcnifCvip1ka3SWiq3P0sZCtEhO/EA3AsAOgMiW7J7pqaFL77aHbZO7EOrz5N0u0QQ83iWSOWEkcNJZeHZ5X1jPwHrhRD/teMRoL2+dIbQz6a1bozxzOJndRjzig5G4WkINwlaW4wfHcMQukpJ+tUhfmBVisW/gZ3+XogWfltM8N7khKrlYf6dCnKLbOIj5u7p4sDCiHkq/rD+kWldjK4VKclK9C6aKXj161jqAII+3jEzkbbNWj0tNGVSsVX1JAjY9t2Fm0wriAQ4k7hrYcZbbJr9MpUsTeeLO50VBicNof8IZpx1kd1baCdUh9X7t2/RZlLtkLFTT8xxKsSIaTxvC5X+fO29dDTaJohGVD4tf26FHWOUbpH13ie0C36jtNZC28o37SZomy368h22MLSqrI064AZwTlWaY2LXwLLk3hu0CNhaC7y3PuuLP6IdwtffYoiHVYDUuOPHlTfnXvZ8qAKDrl+PGUU4+1i1bl/EMByL/MOls1ONLhuJtZ+TD0WxBixVU8e/G5joCi9hkcmA4jEUt3k+bOEaE4qjyiQwyAdK54xTmu5bSW7x/whhRqWZmK7WWH0QYjezcd+jThjUoCkIR+LL137/u0e4EBsqG6la4nxOdlfgtKLUXbxHokfjoHnU4KwkXR01VpZlG2U39NmJQEduuxAm1uc54YofgeuQNugMz/SmSmVUieKOG3maBKwZigQhr/ylTdcVH9ukpZTFjj8J68XiKV+ZWc+eVOGGnKYUcqG23M70jsiux/yDRmuvvsVEqQgJw3KcOm7/DE9SYoLXjskj+Cz7KMsvchk5EnDiMA+rydJZQAs1j3CIK88/e87z13si9gfFF4APiF071EoMfoFobmMeP49vQYfhXKB/hsGkepZAHSouOwaRdq4JBh29ZdrzfYxfVhuAsDytENnBZr7+bm8oKh8sK3hxqPNW7+r8SOoSFWcI83WwOVoQycRpj522hxVsZYwci2RuMy3Nt9mSxXVKxtkl6S0JHOLcR8IEWuZj7iBkdS7xDZNaNJjP2RplcBLWqp13SfOA/K0rgMvYN3hfnuWng9mbR5ErZ3xPEjJ4tmLAA+H3jq/w5w5JEzv/1G+fsS8m0hLfA1lrnjlYngrqLjpeyfuyIvYt6lLWHJXMutH74Hu1xg9Zkr9X7QcDHmEMbOG0kV5y5dQzrnhCga2sqVjWVP+oXVQD8AXtkgxny71FltfSDzchEPyJFEV9jI2GWE7wgwj+66EE0GYCvaOh8SiB73TslNXtZxA0jGiPIgCe7ayjc6td/2nMPqaT8ZiAutToNeXpD1XTfO3vARLDSdGlh74u2aROFfZtS6aTfmN6ekY8h2QuurA5q5xVpXIfJvT1nqBIp/9birpDIptPrXw5aXAhcSbCrKrEt6AGFirdqpE7IfwJd6Q0wB8n5UG1glnAjGJ1tR4YIzeDNFPBhO49GAPfpJTUKYxaYoTCObAT/Oome9Tia5UT4/wWKVCA+dkasOCJSNDDmhlBiybpBQ4Vk8IwB6gcceFoj0+1M2tEUOb4oCLCXcSgiE6YYm8tkvdtjWEA5Fb6SRSIQ0x400Upc9TvA9ehBm0IFWa4U2bBmMJQsrn5TUkkuLwpL9GmVpIMymafEISXEFKpPPh2SwvgGa6BataW5cPR6tpCRDfQRXTvjn4XgAmSZ2p+S0KGBOfFdOI6T5+SHRaKPm1Z/JL6PJ2qT1b3H1/wPkTBbAVVO2wasY7UC7+j3hH6Mq/wNuWpcFvA/ls9/z6R4Aq8vvVLKoB6oHDyYoInXAOGzTo3Q4Pvt9nxA8DKz72HUi49OSF7f4aJY+qb1mlwuwEXGhaEuc04pMylvg1H5erbNFqp0g1GKM/hl0MVWx735FO7OKj40HV0w79uKbc1F2bWUnLSXf3MmEkE7xmqd0wwz3rfi5oCBcECkhOobfsE8kvTuEDbcxso347JCS2+QX7bjWGv1zu6CtOZdFXl8AvsIvQ++M6BKzNDty1FhxrSKguSFv8kCyTqwnGgCQ6zRgZaIQu8wha5sK8+PvoMg2v/KDqIITRuRX2thQB8hRm21/okJxJ1wNz5FkW1/DHJAl7vc+5ZZJ0CZasBjeRpNikszgg9Ap/7/XP79+5RTZY2C5k53jRj+k5Aq15Gm/bATqqzrrBXtjHqOHvrYwpfvvB98tdW5vRYUfS9zEP9YG9+/u3wh9putwwfVA5naXXeXvE3ppHVdV0i0bIw59KaTy/MEGUz4VECLOR7nbMwdfqYvUcpUBak5LU09n39Srz3lnMa2TO5dbdsH61BosivqG9Lh3mJBFpCqh8wRquYytjy/sOYEFpO161GjT/Ew+FHLC60FvEeqZ7QxqFoi57YZo0oe8wrcSyE5sZlfetfhOO1+YVFov9dn/53t008hlLLC6oA2EqM5caViuBhmp2B20DE0DGMjd4nHdhE2SkdIK2FCawv7s05vcBfeXSyYwtKuoeE8wt0FuLcpfYiWenB1Biaghust3zUV7W9yBY1VvIipMsluYBevpFI6cPKl0ODiPu1xVoYgc+k1uu30evh67F7t6OwvrB9WSzTQsTsWqgeL/4MbGcT67HzTCITCMj3xglbKgmCU3bwzKXjsGr0PqXr61XRf0j5CeqVR3pQR+R1EzRANp1M8RvWgBmoIU6Y34VCIgkfw6umhkVJec7xdRz4VGWU1sPfhTAvXOGylR0IcpVqEhYHupT7Cjs4nkXMRYpAmRCpUuSkN4IIrKCRWiQOy2swodWE/6WCHWXjM/G7Qo5AE1SXsj/KKUvH85sTEQ5ujaMWxd8cENIV/pYmId9n7BwatfkedtZ2ouxDKFz9oXKNj4kp2l9JcjJHF2uWxdplWypbK91ST1zvANoulwbGqK58LXwuZ4d9MUQCt256ChNhXRIsuO8hEvgSc/GB2oDGkB0RikKew8oCdsuzZuWoSL3zX/VYgYxDtMxZhujMd68odHsQ1ydRdgy3z+yK7byJO4jksZ3QXXupVFRVPIVUDTuBy+3VzBo71LBoeFkslelGJVvYfcjnK0Oz5pPoLBhKAyCvT2/PEQ0MWOOhGEF+7WX/MR3IY3Y+WUfZK9+8bwEbyekMNWouHdV7oFK/zQXTnrw1MH0fOU4Qx9enGyAbjmduYuJZ0QrBG2g9/sul3EGLR/TqLrpgGv9Wrp0thyFz6A2i3sD3t5MXYLgzHuXsCX5U8SoDTnQZJnY6eHuE20SKo/P01CJLvcsDfvSqSXT+gDghgGCm00eOOZotMNTC7AbeScba0C7+18LzhfMfUiVJff3aESezF9RqcP0ZgA8BIlWDteDRxIIidDf5Z6RBOgS4hwQOnuOnl0SOnL2P6/af3eKhxghW1+GNtt7faMHMnU3IQ/8PW61CfCNUAOsE1A1Bz1dMKhjKOoog2nOwREGSrXM+9eRCGrAuKU05wSiRd42qg9kH/KqnlpMpUpixPomuOxjcE6WanIsqrZS02KLc8cEZpEGYRpTGNTwf3eB4P9l6Wg9Gl7lembh3iS8epdazA+wF41vUMlCQrmZ27x47W8uW73mvG5Uldf4MqEXjG0e5o+2Xsuqj8DQBKYdiiCOqxYFkj3TYfrUQ776ww79EZJyDJM2k2IxOd/jLvF9vpwy2J2X2DgSuVwaZgrlWJzAuMQLcRavHqIjaklqEc6TdnecYADP8+oqyQERMQu7teNRBTvwL5Qsz5oW0sOQIcOtgwIfFKalAFm7ZxBbD611DrNSV9fooANTcrZ5exXURQOOyDJ/eNEb5C08jbpfarHw1G+2HwEfwoCrlSjAXKEZPwfQ+D17NJ3gT7kdtvb122FW4Nn/8M6fE0JMdJRZjf7LgKQ0TD6QP/O6F/ltoJmFrMevZs9KJKC2mdhny9FTrlBgdH4/UGeh8z+80ULlh2mxPWB1onSeNRogflmcibB2HbVAIPD3kqH0wqjCJMfdJ0sI17Wry7fU/f5W9w6/ERrmHMW7ABBykhOOKO4OKyx64TuXO2tSFxI6ZSVLFs8F42+JBZaAo8dZdhRSScYLMcHzOWMek2HrZaD6be06kHuoXfFsvTd/rlIW+DUk1wml12wLzRrIjJ3rNzM+7DC1Hk0bzCfqqMFoOIt6ndkTNqLcxXkqbrJ9FAJ6l7KnmZqQmlNJZC4Ke8DKufVtQKInQdVCPHxN/nYCpYVdHDEnqsoBO7uU0+ShdYKmAL7tGlpc7imAIOkS4uNLV+qArp//CJ1c/42u+WOvpAe4h8QXeXKQeL30jLjQeUwbXLgAI3MBKwQXoPTWiDEEoIfcwfVk2ZuS/gHovWx3o/TO66o5HnHLAmOuc6+uURPfZ0W0gIujystPrJZHTqR03lp1EWiABr648Xp0c9YdDcsG/Ci91DZn4Ok0jLPaZ9F9JIFOmxfb8vZCTJxlgA/tGhKL4bJeWV8IbRJNRcn5C0DTFO1vetdFTCtOK9uxYZ6Bfgs9NNRFe+ZFUE49yXDlspUkBdOjJUQLhKHEhVBRm+7deU3P9hy5fHcqSZPrRiZNudx5m8iF41kIwlS+qEJ6Jx6zJjHtGRU9RN/buWosxf7rTpovMrTAlQ4F2LKfkvGcRF/fDew+ooDE/FeoOtfUzzmQsDBim2oXqn1dTvCoH4aB3nMls5BZGoxNBQOkWKJVYwrb0BAEqt39WtScm0X3kBVlQNXk148bX9UM54Y4HYM80lP0GN1jnICA1zeq8DjjNS5tDLmy2JKv76hmNKSxdGGwlYd458kezWMRJOSSz6EP5O3Nibpvto3Psggy7FGa314Kb3QGb0boDg5lHjecrk8KTg+sWLRt05N1dwzyqr2b8Jj/Sol/Zmd778Z+REU3cfKMMyLvzbAPvfGMiyCqyvLHO7UsqQiXJVQ73QweXZuWvb8KaLx/fYQ1W6tL2PsVHOjtOl9Hx/2gPNWivLwkvJF/l8qhv+iiGMvUAGAYbjNZLDxULax3Bnmc/qYeKRZVfFLug5toxXKP0bg1Cz4b9oTcIoFJyyH1rsp2jzqHwUomH+8AMQsC9lQdTUVTlAGHzUC1XPgH0sfSddgqOVHoRvGxycwPBQVa4TajOLpYC6Cgk8PlX6D9ErEbGVwrtiQ+vTA9nEdHt+sVUT6l2Gsef2fcg15MR+OnnpXlcec6Ww08yXg8xP/7hf0O2YQXjyWkgqTqsJUB6jQ/Dom8HuYPcrwzShMHdutUDTgLg92SMpYfx5chY7i6VYDnK0GHgEgPVk3/dCBBu1+Tv5e5yhM9cBqZUcqADn3QUFvJVvjWXfo5e/QVctN1vg2Jkq1tnQZo6HYDGrfuXb+O3WTTH8REhKow7qO4CGYjLw25QtlkKmNhxpxBfdmIDyOi3FOYT0BYcXZbIBHQB9kF8CaOjUlfFixnShccSu6zMmBpKrgKHGRGB41nldUwfOYXLq8CmGAsNn405b/0nzB7a2qblp0+YRXNMQfCheT3kLOWXU538L4dk9yoxf2lq0SVZg7+1wOlpJlXHxt0FfTJCrDhri6nHRvcV/NCH1KIPc85cACY3OVsIQ1HtyiPTHJynsnXkznuqXZX/GFjmQ6n5DiL+6qk86Y3PJRiU5gHpAzDyQSgMqvnmDfgqYhomXAtZyi1hPt0AqysbTyAk+nGWTMo9x6RK1/nSYPKgKCpyU6ob6aSUm9dmNAJ9Cj5mAZ+opqLhqSmI1xRMOMxU9HbPH6ly8ww88+SZRyDTFe+MbLger4SyYMra3+7h56THTXVHmVOkwMI9EotS6JYj1jmpc96QevsQ5XVsSLmrIzJKWMeq+jVE9gB2SKFMaA+akxZDVs9RRT4D08fFtAQJHxeXwYg6vKECrF4tQta/UF4zPBXCn16aBUEh2VknQfBvCaVuMHDtkDy8von1Q5Ok+ZvhAsw75QcBtH9k+01H7Xh9WJWhElIRWwatP+EGpAM9ZjBxGeRD6sZiOk7t9+6QANQq30lWG+lH6oJvntRJT6firB16AWiEabUUsj4PiwKwAs6HBBuEVsqnQoK4UjUb7+M8uP1gyw8hPrDhhWYsb6k/GlbYuxf2Db+IrAixSkOJfUDnNP712UrovnL1l3Yhx1ttvI4/aCD8u9dC0A5jL+ac8/pDM5kg7ednMD3cDgFf6j0hn4ZRd2o/vHWKAiYsCJ194N6C+GXhGcHgoeQTE5uloFJWRIn8MJr2myM6DWBYGEJdgXpGbbXTyxUZsUuiIhiqgziu8oxe2HdHG029FfXWDBIGvXmXw1WcevnG0S5qMF9ax84RyV8YwQ6F8//Jd8mkXpu0zKYcT2g4ReqxfB7YOPNHI3dw+xA0SEa7AP6pmdd4YCqrnvIjmOG4hvmd3w1Qb6y1Mwd5uSnWgpMayieeIluDuqU/ZbBt8vTx7+nQyDeRDnUWTL3nlXKVr5ESlxeRMv3T2nT6+TmrQAz9f5NKGcC2NouP3AuIkVBAGkTK0EmjdLmCN+EPguHOgv0OZoT9QT5JwO2UiiCnnYrS18xho1G+iHrqoBJ8mBcwLhknpgTn5NxFU9qh9dcjwZieA6XstEZzrk0XIoleBGSAVgvBVeDDU2jRzu+ucDFPPaLfIs+MC9O5ygAL4WV+eAl5sB0zoOTApr4Tl0Y5nZRRsezPUniwhp+ZsidDG+YECIJia9pf/S903kChRre2c6MwcAEpWK/cM8I1OstKZayegmViPVDHD/qqMAO/aq1G4Ip0KjDpOpdzUd6dKl+NUQeqjTVUxT0Tp/7KaBGhg31MgAu4WOvF+4PXPLVMn+c34y/2uyt3kQPgY6/ZD6S6Lbdid0LyO0uSzy6fxONR2MY0lGRKXM8dcXDe7+7g5judwGovz9Rknh9MVq6SsAmQzQ6cOrOBlqZ1qkN5hVjZwrLRPUxfGQFbk0Ux3yuyapEadVAmtFIdthE19r3CjcsVuByBJ9atZdpeEGURbvjuUEml9CUwYesJfGN1lZyqn31lrMm6R7O5o1bzVPZMKsF13ViBbNrLHHrxv03Y3TUviqHlecirWCKXZ6Rvy9K688kEKH8/TkI8EPEyiMyR+lNDH/Pw4Vilh356bthjdk7pE4sQIe8OrDrHX2Ifad/WtZkgexL7p641R5z2tkLcMwWZONmi+N77jmGSF3OKABJ2oRzFgKS/lY6ASYL+RjJEIe1LvsrooBWkx4TJqg1bRAKMRfQzkjJE04Q81euSMiTjtJRg76nDDaibFP7Z3rtB9nh69wDG451Z1Y4IyDxokviSblGMiURG6dl3hrx2Wi3+Qs/5agtDi41prEF4RtLBB2HJRvLGYCUj7ZW0zyiq5BFhdwOdrHqm/LKfttAoZxZ650ZQbbd5A8k3cAoGzzz9Of3JzLSxAjVw99CFcGKom7RAjyw2RLrAqLn4kGJRcgGROixyS1k/GM6l/gVypIUNJiwF1CuVPJuK4zp1BAbwCydoLhMTLNfnJ0RpV6IhrVhlMxnBYrrha8DEBebmOmqanPCu/mPgpLX8/06uaKK9A8QbmMQ8d9CeIf+yVKuLd12pkZKtwoKkvZnF6qAGrFqYQDdiEdq3q/TGlcqU5b37TrmeuehRiqKBbvAMwqKqtXa+khH1bpsms4Ro74pcMjX0Uw4CzeUdzT7DSXP8NF9iwlc783dW3AxWxSBAv9Qkoax6C2aeR/WQZ4bM9oa+FgYDPO2VGWmoEFdmDuEkQX+6iYT5hXv7By2+TKjI8oxUVQdl0xZf5oXQU/hZNzAmCcfyF1t7VLoZdyhoxbpgks1TrxIjmmlCeNbk06ayEf/UdgZ1VAoFWeHA34qAR9WTN5bdE+aHyIrg1XgBlMLI5LfVRKfzYpJQLdFW15SxKW/zwXjfmfej4rMwk/nszsfuupTGnVZYsSgECDi3N2lUaAzTVm57BmSeD+Tg2tZ4XluehSdcLkG8wXyc1PWHlIem5Y9fRHSkB81pweYFrM6+LXzvJ6Vn2otBp1jkqQOGUuZ1mzmwaeYBScdSbs1Tg8qrBh0iznTsuoEL14y3Y90U1iZMKe1dMJy/uBa6to4P2LUv2oOJlyhD1QXQrdeLGZ1v6bqBt3mPAWj4lFg1nnLfLZxGHpqPXoZxihY9FCTEA+QyDizg1TPn8pZNonki6QMkTE5xK3T2k+lh2Ki/z5UoA3Kcn4W9/nvvgudDQJ+elhDJutwHC546dAZp7dUBNoLgEj3xo0GnNXL2rlLH5lyGYQGjISVLzBNy9qqxHw9/FClYXzKBEiEMesRRkDuRcUozIfpfXrsoj9bGT7FldExSTC+nLqg7MqucTxCCgebnMG+MW95Fvd2lqJIJo5Y9GH2kTgGub6lRjYqZaepZCDwFjbOSw9//58PlJ1xeZF8jfXQ4IdKNKWBY8XHfyt5IBnt+AY8OAb3Fq+gRRAJzc0ThVeb+c+QzA7guApdCpMHrp40BmYF/tQVCGwzakDeecRvf5OD5d3SOFUKIAnU4F7fhzbCRSE7lcUO8RJ2KGmy8vBvgpDz+r7OisoNgB/frL8J6Gfoq9gNBBGv+TNK4hUb1307f+0G7gLzN+e7Ekd3Vr9G7Jb7t/8wkidVgoPH94UxKjcrZiLmJckw+kT8EzHnvVy4fBf6cjFg5sKKN34vd8S58sbYEtopgv68eydmMiYK2JiYWqUJsNVXpVofjR75vArKTIQPRs6NPom3y7OZ0K27yg2OOqrMBNIx6yDqe9kxU9s/mSO6oTzkgvmwIKBzNuAxsTVYAPg2SAOwSs1h2hz9lmMJkQhxwce3D8/tVJOe5mrKpgFFkKG835KntAZjHKt/Vc3Se66pU1/vdgzCRFTgTpKxZ2TMkS3NWkTIQdZd9Q0uI+GcgbtG/N3+Qov/agbx/BQrfKpI0v6cLRzfdryNL8YOwHBvjOqGnbajc8pY9Lg3s7M1TTtteaPpNG7iftq75QPRyWeUT2/BVK2dtEfbamdMAiLdYRAha84RoDNT+EMDkTffiaxR9tAyxautb6cahGkPtRlraWLDrGtxG5kSNY3uUlF85wFc/RyTvIvLF0Q23bIKI7JAml1aAFAXhM266QfHjNAbgkdRUXRl+ubwCX3+IK1tVxOrmrogXUf70HFUw0A48abwtbViIt/BlXVcpHz1/aL0C3/EAGvSrma/+iVFLbTXXDfuVwM5c545Loc00RXZnvMQ0o3hYvlZvuT58m+GcYgIDabH8QzY4nl2dgPgYQPGwYjqutx7UAKEbGuRufCBNZ26bXd6jfHrmAt9ZPgN/ACPVaiT+jYbmt9NskUFAYBEyj+XOVAndp6OIbYCkKNRzFH7DwAxukGrx0qa2SiBgUNixs0jqgnkYoaKrqo5mTvag/zKvkqcrwEt4ojxK7iClJII1WqtK0YwJGXjPFCTYHksfR25hrLr2ZeM0qvoNUp16GvQgUfVxW5NzVhHlHWIqBB2I6Uv1kYRNBb7LzbbOYrlS6jcFNfOjkOhW87kxTBMMktiMlGrKbgfUUl5bJ/LANn1cuOtgmpisMTODlwS4VhHH07AxZsQ6akIQLsz6cGDlhdMdHv1Xl54IxMViKJWv+Tq1Z9Lsw7RIOie2JfofmJkl0JL5wzBCuQ8JAKFRh68wXBN0rBVC7ywjPnAb91EjJdZDheanmVMwmXz+NBKKC2qtK73r9t9eq6R7lJ9Ig0Pq5OrbONSC5Fqlx0QREV4d9Pdd0z6iPHce5n2ayRDplzENnSF6H/qTTfXOEA8zCNexuQ9vmL4nBuSmId6AjS0z8nBmfT/njZmKLwoxyiXbQyoFpy0gzM8zO3LruziPRGmm4irOq32Gt/w067FRkSvDoZx/LnBSIaP3p9FkDa0DoKvo7bhHFYrx5hPJTnkpldtB2E+gubKuyE0iQmS4HeoM2R3618ql+E3iJ9MIlWXVwX2YBkoocTbwCQ0bppd1CZzMpTZAlow/6oF3AxJroXsuSWl0oBOQ3MXfoYJi7dQkk+TX8Ftjs2ulcsI9nBMHu4Z6zhwfE0Va0alETUqdn3ubeQhmkAhZTIBiXUErfXBFZaxAhMNe7bEo2K2szsd6u4apWN6djJ73or4qbBbW0rBJfM4C39yLoM08/b+l2RxQ0YPWN0DK3DmYTps7KmvBGw5wDG/musH34eUcWFzIWkT/st1XXxZC7OBlDRfFR3GwTxmn26P0jMtUYCZvd6MyiwfujZ7lJZ+mr+hyTdkUwcAitqHIxmqhh1bPifnNc0vxdNAGpvApsDb3ETExicGPI5I1OoqYPgNzMbS11lX/duzAIsecksZURm6wln+kxQl/K86EudA7j/IHa+jaRK8+j6URGauBvAu5HZhDhLfyAuh8gE12gZafg2n0hb2dtrTYlfPyPHGITc2XqdqW6tvIF79OdZEnIhCN+WJB5jSzTMRN9LlnRM9s1mi5EBhGROnjy0NBds3ttqIPBIZTb2bzwctleup5eeyP3xUyX4A6ZHf3B4TfsAKU5roCDEoObreXoGCOgHBTPbb8Vdt+EX7NoS/dhqrhaFUjb9erSy/zrYZKCFkXzjEYL4ivt58EukY2I8p9y6DQjc/dbMLjQOLv6Z1jWiOLfZ2NLja0drlMw8+7SbUUBHr17x8szlUKF1PwA0G35Ekp9+Fv4nz6PbyHjTUzMBpkANdXh2A0idtL9vMOOUWYncDmNrQX2qmcjc+vSlauoMmYq1yvznwg27buuBqMH0KqFV3BlSUjjiO0wQoLsBj5jrnjkNHhjNSArbTuBwUVHlmvsj2EBC2YLcySABtFUowVGwMsAcvBtppVSwCzT6wpQGmiYZ9dI7Z+8pzno86+3+C+up7De6vtBxDWX8V6d/UxpNIv3uSI/oCGcdpFwEZpzC40Ga138mJA4AScgiad4ciQ/PTFYdLeixv6fNn6x2mPR3BfLjQ1cXmu/mrAB/GZgPUVA3AUekhe05CMd/Ag0wvdaU7lACvTOKsWqtLOvutZFkTASzlLkbwnS6wNbyRNPsVXt+qBLitiSGLzOzgQDblwmL7VLl765lBiD1HaGKUU2piadzk0+m482rGfHMM6VxdcVzKkT5UdC9DgIYj1bI6+9v24Kc0uOUatMqF52+t93ojWLuBz9q5AvrS7hb6vk/A2bzaKKpPsqEWtebk078rr8CNjm71xU7gyuF+V+kl08UuyFuK8gin422TE03DfDcjCqjNMMS3J2yiYwgEVSq3nNa/DH9SplFEQbvNWUNhGCMNusZLAf2OX4b2AvWbgOg/CNJKn/Wi9jtrJYXTrYEgHNAg6P7jCDRxLfVCMeNAeuGCALzsXt047FcckvCRMbk4y0WeY1DW99pb4PMwC8R28jtfydKV4XaHPGvRsKZmMhZhRryAzK7TYoNkFd3VJLTzVmrMWNvH3wytDrhsW9rnUdsws/rGPmcXvQSe9igxX5uXcW2RxZON39mk0nQCF8kmSiJVXKFyU074BmshgHTRIikf6m+NBnuo/+Ws2jSmhPjoJESoMPySCxHR16TIxhZ7yxAdCvWhubKHhjgUvMOJK1FuMrr/k5kofhfCi0E3fgGCHRSSOGHnPlP3//aMhmec05qa1eoEgYdCaGIw6YlqAsl6j9pI3ha287adnAJMP7SeriQoG+riH5CQ3/421lYUYAUD7Vs2VnbEd9ynB89hK2zlhZsCaMnpzZYATqWSyW8CkcpAbK23XYx2o8t+6WSVA2MpOvxIKApltaZw5g2XWW5zu4DGrQMvvPvvqTTG3TyCpIRX/6Ulo9KMscBp8PrAXctWB6BrTlWVQLn8MDzaBgmujQaM64iRiV9FKh/cQyMB46Pzb4fWzZR7RCZuSTaKlz9IvwdxChrJGJ+cmGPTx46ODiL//Vkx5GQXh6n/cbs4cAshiB/OTRqADonDfdhttCL4WA4wCCDE3Jj6In6BtvPw8Yp5bY+C5FMug7E47e5sgULaGdG5lgQsr0XSGtdYO1/7q9N9h69lXPzMAu8H9zLViBGd8mYp2hgnQg1mIJGW7zF4xmUBgsK/whebKlmg6EvBvol1b2egQRtGgPY+WdQW6RY9Y0oj6rCITTyp/I4OVXI73R9dDScP/Kystd+MyFTqpjMu5/UyNZXBUArqbAF4rvh7UjQZQjqTWvSjswEydamVwsztnyLkDw6FqD+fTb+/cGwMz983luEwp7++0rzTJ7ibhcj4T6Z5iO1j/3aha863IzYtwNigUhVyGesUFDA1C/qHANwlHh71m67UWBEeZsdmJQVoprYtHkYKeDO0n3ze5bwAgq/6IyYfwC1iq8a+7tNCGSWEOjhIToOgLlzcGaLiOiTe1kdmegJkZYMubW8ubekqV6AlRKs8YkKNNwo5noXJ+BDT/s3KQqJhJ3fJmLOJe52pXLGuKo5MbSGjLf+Xt0P2NEp877FZucJN1kbctGDy4um/XP/VDrgSkHEoIXC3ePXZZywk7Cr1x9Q8qDQsbrr4jShByH1XBjl04VWHc3jTLruwvw2v8LFXmiN2kqFwa/CwVXB12/yZ/DoxHPMXCPszJDLD4vFBS7WeRFh15dz5bB6uVoxD1v/+loldJrhvO4q976TBd9QKPz8dU9bzLMwOYhHim24JoE260zJ6I7y9Nb9w1rAEvgoK+4RHr9Fvk2Ov5S2/kr8IOzIiGyOz1NjchFciVvlJ+mu23RSxtAGc74GFVfF9Xdt7hjbcUAT99xSeDmzV6Hb4IUHdVINdRk9ezWnSuxzKYkL+Xii6KHPZHyH1aTQhveaCdJzL3FQW/DQdRtcCgaDEbgPfymXGY9vs2+M10rUDutLHffzTtMqDlYihZFwZ6STbFC8Cxk/7HqMuBr0LslHrVQsNbnYdYqfl/6NPBONgyJ7N4w78+LFdF/sJcojYtHX/ItlTUIeIfBtePeMMbpkdaI+VkgauS1Zu5EvV8nh/ASYv0rA2M6sihj9h4pCcSpgAj9fdGYXJXzbCTLv9ga4cXnlLFfltwSgxz0ldUMYOGmFrHCEet8MiyQZ6RcpxhhxNQ3m+A7CBsxxoixXN8SdpTYM4Q0mJnMLFM97DGKXalvzSoKkN4ZcGIrfpB/QaF/BlHvcXBhsSi8I3chaWAJWlNrOF/vhJNqGRSqH8Rmdng3i9YHxNjvDlCoVgY22oS9LJ1smx5iD6+dv8V4R/9Tp8xX6TJMppJiTeKSd4SNL3x5g0MQbi9v8558PI0McjtCAOKw34wt20rcLCeB5VNI3Pdj1HBa1GJs2K5AjHu0Dq3fmH2BVWu7qbndUjyhyrHZJ6Hcwc02gMyPTgKKav0YslY3gSH4D4odMZVryUPyxFmzeDNUyA6Qp349n5r/w9dLrBb+EBBr+j+pew+AzsQT+GzLiMnVc7+mTjpMzCcQhqJ2WH7Y/nGcexEPrXrIM2PGmFhbpreELm/qSlp47ZlBCZf6GAH+U/n4jBH6IdJPzpK72plX4q9XVEDDJdLa9S5KAFRj++bc23aLFA2y6OX+zRsyyAA2gU/QYK8VZhKhNEbB0YTyTQx9iaWZEZXEm3LooT+TNjpA5XI7S5BTjffOfjOg9tXobG9ZkkKoa6+d2Wth7iqDADxNUtwFdfa3GDg1TpaI61qA5k6TK9GrL5FxajVJ2G20oxpz4M8ZKczeGd4rjhBl7MN8mHVhFZwR2qDA9NoVqcI1fxjP1/lZ2Xybr1ognYZcX91ezRdni+uJtnLhPihtb+UwJky9k6X7m9LAvAfEj1saUzerEk8k+ZILBq2Z+kBlwMOyDoRA+C7z+Pcs1CLxkdFbDBZdiGI+/6sW/d6G8MSUhn8sIVXtA3JJWp87JI4RKjilf4NscisNPzh7gYqHb1GBEl8Iph1g0fo2lqR1Mqen024fXYJ5EGcRU/uDlvfsmN48jsWgSaZM+1aWbFfe2EKkMaj4fLmU2uuGf7vauPJp3HeRdw0iRNBxVGhDMM148+WsoeZBsVqb+MYGC4N575QC88N7+/iVKFXT7CrU3iwIWM+qeXkCM10WkcM+dw1ZoeZ2VxfCERRc5Adf2etU2ScPPQCE0XD0QezhnS1Zi3Z1zugXMUsQ5F7e04GhH3froiRHH+Bs0K32PNCqhocDpYiDSyKqMJs4SNKAv+WO3a1f3pCiCJmQdi72DWYEL7RSqJaShdpwxDpRQFgExLB96KY0c75Uig8QUO0fGzJf+a737U9lZxnXv8Iefb3ESMBI409drCkZWsKzFYjRytUjQ5SIfP4r7ERBBlqia1vzY9BZwTVUdsrCxwL5WULVUlOVlP+0xB9YOTRrbHSXltlXBDC9enMNLn3VfC0o+w7Cal7/cRNr+ukFOxwKNmKSdC+o84a/Yv25E0IR+FDsNpainEY5MbO+Nhxc80+ZfiW2DDdu8Jy1uRD4Z8Dl9QtfRHayXi4tnaWotTc5csXGeDusdqHvht0Elf0IMMzxxEEknUUdtGJNQz1nFXyFUB8Gm+ZyEoNrWNGPMVKFtYXcMa1J9P8h2EJyTAmUkNH1A6G8OR2OChMu+JpBLB3s3MM8k3RQKHEdgOQ5F0JHn2EpjRtVDlSMXzgamB+Sr+rk8PIUoB5txkIlo417wXXlbkG7CFlHhFxD4LZ0R4twI1FOOEuzuMQ7QBt3fRna2LlyW0fCaLIQDx/A4sXiy1CiwRXOqdC/h4k2KF72Bu1y4BzASc+qa/j5/fYZutp8CP5AZ7jqQMMGbFKEHVM139KaYK8MTWsjunnJVpHB/Uva5sF/XJKm4uYq+v/6hCOi1Oc2r20FlLu6vQURucEOMDhyBUZ4T4I/JZcvDZaeaoE02m5F7xS50ELg6beZF0TTQaQiNwS9n6mYaLBxaRKvKH9+6fhaxxF1w7aEe5vam8NCnu0Xs/CAhYudEBfaxuTjtWxVE0hdXYHmfvZ0SL0VuYDJYKD3b593nKRcItWWJvBa3x5+jYIJ90Ms3TT5m2HuT+49F5ggN6WxC/hrk6evCi+ACiE+JkG2Q40eZFxyO8XzqVqmPQbZIuHbeOLxWmlFSu2K2JfLvfNESgn8mNY8fr2xxqTT71EUwstLSOHYQIcoweBXYuvyKCmFiWsq+2FZWjnSJZom8rY+lD3gvVs7g5+BT/B24Gq441RzXTWbXOHvN2YLFB7Rz3dVzfZmYhPYjtLw97/HTVHmsD4TZxNjiRlOxhhNzV//QDwrUXQzD/ulvBV39NN7XqOqaoheC0TFnUxLFibjov0YS2FQ3yrmiqmj97GA+R2wyX674bliftKUXzG2gHKRpo7+lq7GEk8eZV09honONlYlGap5eGAgwoUvTUwTwJqpeT3ZFVEMF4gNk4LjpIuo4YpnutaY5xumvEi0P3boT+k8JXhQo9gKZZGaKEeEWZkuh0N5slxC4xTo1xlA3lJ5wzK7n+l6F0hC/5Rdmi9clvaSM8PxTsGXb7i/9V3QmlkxIVWf1jbLfZ4Qqe1qiEnPXp+MYrkdY0yLLsLb7xJda/ufXciH7Bq2UAMqrjD22X18jGw5YE6k2w4ct9RWWbzTNolXOLk9rBCRLGVqlZCP8AT5eXQjnEBngCGeeH9ijDKw50jD3Ia6Xmtp9zkeKgW+7bHGBq51h0N34ZPDsNvXWzwIecp5eoPY5wjrAf9l9tN0S6hMqGXRqg/OhgIhOvOuy2h++rojELncITarovO62g7/zY0AVX5W9UomxWsQLbBSgKCm2yTmxXxn5xnvC4cmzxMWKnZdnx7mxMlAOHxS/pYJ6Sv8IJMMv9N1RCHaIht9vFF+LbBs3t2uMqrmF2yP0XFXL7y4r+pDbBL/T7xho6LDnbThoczmEW16fnC6/hnTZvynQqEFWmRr7L9AaPxP3u1AcfohmrvWH1SLiw72nHvgvhmsQYZQSHH6Pm8EoM0iLOEO4IUh2nscA3EkKFCksmfdl8DuRdn36PJzgew3I43sWCZbliP734oWYZgDt+zuT0X7Kl43FD687cNkqAy7mBvPTWv3gI/PSXVe61HnoL0dUDcOk1yfHVjV5pcNfRvs+Q7IjYbPm2X6teq0hznW0bjjRFZj7eRbivILjM8A3uZI32UBqmvGXG5MIvKiZ1T5fFmN60YatGpuP8flDPg2fLzTxStaQBXSMNco/A9RZg9MUihEjOfYEnpPhaS2QX+7fNgs0MvAI/uA894kFlRUBr8jRrGo0VcLLA6r0hFD3eyDo2i4260sSmD0doCKBMfFgl1rJYw3GFoVTnBEQ4uWHGaD00INNoTQroPZnMZ4HPxMHp5NBGf1YUF75j1lKlFSQiASgJi9LnJKlq2dsNJpXJF357EQcAgrkZMy1Pu6mleUaFEclufrFV4qCon7e9hevPVYtFzb5yi9cCjgSozTGA9uMWmw0c6Xqg0pOHeJpvHytpz/EIh/GGGugqBrGXHhAPWARB8px270Z83TP5PJu+/t/PdUmv+0+tvHY0tioZPuIgE9sL0bVce2yn2+lN1AB3XtupOqJ2RTRIpXXVXvyhTFWMMTcVCwLt7M+ChLdk9N1YuCuWj23UM+aifBtLGsK2N0zQi3bnKvYEOU7D8yEr/CPakTBkAr0ZE/n8WDNhDoUHo0ut1QbfQ7fwpQ8vrqKaJAXFEU+nRHd7IUtJF9UOk1DUqI/RntqOklIg7kMlKqKkbHMGG5FA+9GJQOQT2WN6bKn5gWQT76Cai1qsRViUOtRCCTvQPEzivpadX5v1EggDUQUm7o0BFPuMwjiJPqIhLRBkY6sm7q22jDLRWB5bCRgCSHuktk8R/ONbooBWLE3T/jlFm/fm6czxZqTwPxJRuw/kGO7hluoozngvZe+0wMVS8ZPRfsdwfRYJsWgHl8ViX3UeePjoYmmwWbTOeVMC57HP5Nu/42YD11Acfw+avoDIo/Xrn8rss3TJh9pjPWEWqsbrLsJ7WOg69zgPZtINaqGHBqDfPSuHosdXm6iAfnQ+DIw3sinGl0xmXNKhInsva/vRBtDzawJVJHIGkILZvAoXGOew+dkpY5STu84S9RbgzrNl1WfmUKHThaLTIIJY2qa2jCbDHcyQH58qUXpu4fzkfs0NLOgJrVALubol7Cddm7lepSRlzLPfCG2gr1QBBfRGQ5N5WtEbPa/i0KCNEbXOpCE4Tgd8uumJIDAASLoodRbBx/yb4kS0xwcortRKtYyzUDZj1amVCYJ+AX/5mEA/Iu6L4JYBG9dyUd9JrWAkHrEsotKqWhes6RkHOYcWaZlqs5YBUzGF4pp0Rf7L3+ujGlZVrBbY6o4sKNEqeCKGwZIRu58XVHVyIGCxJu0Jw0ilZEM3UeOtciCBpX3joZd5gB7BYd+CiCMyNk3sty8Lg4Nb5Bl2FJKjLaxnI8wLD3nVP7sfT0OaLIQPJ1ntgM2NghCsbND9CTkUoyAhikFOa05n3TfambxM0aId2YZA6/4NXIdFLxpfROK73X8ExU2Yabu+wGkujZi5PcwOUi2bHlpyTfLxxqb7WV/m5tX/6Buq2COP7ZsT3hiOEDKRtl4zQbh+KCmw+MZ8WCZzcCKYH+872dcUezRS0kjnmhGNozqC1FpjWtVTmEy6V7CgvsLp4IxzI04bwBBpQZDgz6XenrYB5HJwTZ+iWp212krmAqlyYCnRm2GTCIWCDDOGn8T7gozq0OuTuEENWcfxwQtqLGdiuvYMUfTscp/t3YU4jPydAWs8aC7tSJly9vKgjIPLEAv2tAFvvbCMTA1MAiN26jGFepV+QvG26X9xI6X2yC6redYA1MjiZCoe4gnsQ2DsAMlhvofWrQPXmItnO4WqtYiq88mWjzR7sD+Q/M7pOgbZkoa2aQQPdX21KSXDNfYjL4u1T+I9p3KUsJglkw6sWBCaOAiVwNAVN/+NKpGHdkYncxvYq/ObclN6h8qtrLj611D8dYC9iBiD9Vaj8M6IQ/n7wya3p+JKFv7d80UNvweyCggbJXJDJSMAPwDVvepKAgazTUzdasjaiv5zCO53tCh5v5MxgAQHG36BnHq1ZzCx7jjMI03Xd33Oufy43ofcubAZQ8HQmxEGzzZcEXhat3CbcbHE0YycRz3Y2CdhFynoZmmNgp+X+gKjmlwkGzjImG9dekbIlvcUJe/VF4BynYiIXmX8g8bH4Lle24iOsJHPNTk4Jlbjg6LBcBBlfax4F1ZQEzNITKtaWdCC5t0LcQQgWOVb4PndMCc5XRlYw9oCCUHB+bdlzPYaXxIphm/NGaR4Qm3wj/9ImgWqUJk4q7iNwBH82cSYZuPoYwLoPOWKV0nDPN2Gw4KVoZXBwLyzuNZSpza+opp2nnph49CYkj8aY4p7rL2IliAduwIlSlc270EyZupKqbA6z4TKVoII9veiQYGu/jxzDgoBKbLnMqJ3XQIx5o7yPiNtd/KAOLKx7UbyKwk248B4Z1FqGwQoOEKIzQX5Xv1qAGJ8ZtozWpE0++7VJrMc+C2a8+NNmY6tN1Dz8Y12Od8bk/K1ZulLF5fOkeKiF88khXucEuwOHE2T1z2SumZuIMX5W848JZ5yLzxB7YnVfd1sgHSy33/L0G3EIy7NCrUa404og/kod4nPJnNWkfxjihnMdiL1jXZedglrPvItP/Iw420DlPY9ymxQ5gnZ8s6PBxKP1SC1U1T7lJGQQAIqNyWx0F9kZKUc2p66rxcStgCwFXRJhS8k4GHnE39r+BxaBN3cw8rh8Xor9+zCwzNVTJzXo9OlM8fcNnbIh8729qnO7aRY82ob6fw2uzoE1ApFC+XszYJU5uB2ktORl2xWYd9rjYiYNW5Lxl5E8qSi2/GMNTS78rmxMhjZIH6UHdh19fw0dK+6dqDw0OzXbVXIZ7h0hLR0vwXSUHq1IcKbys7jrfudcN1a+OElPrE22aa4Pekme/ZlyX+2rMifD/aoT/z+2iqI6+fh2sxqYHcWkTEjl4fZ+geMfAfZdpZeJbJkls4A4DsYve3J4p3tADPsOpb7TeHNItZTg+0aOuo/Xmw/uRrk1VsdHnkJKamZfM+zbFc1n82qaMq/ydOzus02LZsx6668iePR/K0QCnCcFvV1pF0UG7YuTvIrV4FE7ANhAe7UZxBDWFgSkQyFibHHzcpfyRt4WJbcAzTNr+WK1xotCAVYmX+RLYaBd3gJ+pYRTcD3KyaXnNK2H7nZEUEKS0xBp1Ze5jNz2fgU+uEG2NfrTyrOLkU/jOuMo6n88J93AzPZXUtBIp2OkhVdk2vIGQsrXb9kHWJ3MfuQwduB3fM5bhlS7nWDPBuvlpC+JNWXTl51TYpL2FwrdyN8wdKxRehmDAgNEIGN1wi4j4I/wKiqxlhi+g72pQ+ru5qPO8YHxBs6QXL73djvSvFdYXmYnGKq/02KCETb1279PJTYAcEdWpGPQZZLJuoSWSQ0aTjMPBX40Yqw+MmR3/vxbXI7IozaSQgyEe2Qx4RWM3vaByexee6Hk55Lsto748i37ELDyQ0n+vLOXYqxzPXAW/etWQyPCYcwz4HQa69dLc1ezCyPLVhoutcuZZN20ULUXtdGhmS3Ysc6OOndKaQVYTZQyrYBRhzBUPzqsf/3lIDl3wigi7TheztB7+EnOJCPxiYJ3SeVcYFXPN58YX9h5qyXQTa6eS7obc+rU76YAMKnj5G5mdazgt0AGtvDEs9UnJ7lhTTEClXXDFWffsfSjRgpgSyVpSWh6DluLxBOzyyOnlluhmYUjBhu4Tncigc2NnjSRjdKWkw7i5TzC4UtkisrZoAGlxE/pCGmE/rrHyv4HhOCIUdaYy+8YVR2KSZOyrIDe8fdbCc7KT5D4gMV7oI3cGuC8WLqx9FvnTmCodcNwXuN0W1UKlUV7pZ9wYcHim2O1ztJwsyTZoYOVE1Sj40WHuLGfiaBwnuql6T4TiWLKCK4C1lagCtVei58/i7R1dnj8HsE2GPkwZ/q4sq3BmMLQwhcjsYC2SyazgGxWmk0gxMRS58zi/Nr3sVsRoz8T8pT0INyBkGzVb+dChQahwt9D/OoqoUDPRQp43JQLtT6ABzFBh/aImm0xu4iCYG+J9C0eYJ14AyTPppzRsW0QYTTJ1QIeHAgI0yiPm2LkU+uRMubidoN5E9UlIKaRwJKnVpwHZqRSMGS08/+4ouCxFN4Qw6yXJ1RvmuboYQnbJSAegPgvNmIj4WnX9MM9/0mr7Uu5unJxO5RUJ00jSFeBrKt5sLHvQh1JLs0td4OodAfTd9st5OSsigdMagm3mM+zQocPn29A6TAMRhmbP7kACBa4mL/oecUfTS0ZA77cAxusZcexFSDOGmibRxykV2P1haDQ7ASwTcvPLiP2ZoyKxt97TQDqU3GlYF7Prl8P4sgbAdkksVR3qWguIzdySWlNn0dmUlC64doWfxPp3K4UktJ9Wour2sX9gHzvVO31Ud4jJEP8i3LcduLBvGYDpG6AsB7PVXavmSpgSxfLfoRW/ug+jYUpBI9DsIzgzO/HiEYY/fKjzjB/GxhoVlpm5vNzfy/3PsKEn0TKxsE5TnG9WoCLdVQFxwlYK/1aQnE1rlOKDtnlK5+78/j7QJGpKVS4MclTC2hYuwRlUywz7qUzJmRv0rlFzG5ChiOREJsPCyYOf0/Qllza0fTsOX7xCWjS0RWur73qO0Dm2W6DLUuUBz/fMKr+L/oyFytIovQbnMB1yb+Cq0iAu0ha8gkqYF7IGBlMdF+5ouA101H75IT3O0QbKmxJ4SYf9rr1DLaGX14SvVRMYu0QBKvJcIstI2uEpcqDBbFC9IYlYAoyOcQbbH7q9cbV3TqDNSQa7pmSJNdg+/0cF1tkeQ2MuvOa/fZJ3Xkq1WXvWK37E+bSwzaCPF25h7XEkYspk06aXMDsOlYasZmegNpRKt1KLRq1usCVm+yrtcOPhCVzl+L4zf3L5Feff0l9pf8Ppcoq/KwLveTpRPMP5TQlm7qwAeK/QUOHPEkUrM6YnSBddvlnwM2Y7hZwXa7n2gYU6JXZOsStchbzKwbpWhiwIijeWjY0wy8u45GC6/I0maG/96f8fCF4+inI0gvEW+7aFMzSvMjkkm+2uao6l1UU7h7VD2agpizFR1Q4YOWnrqglMC3OYRr1td87s1M316O38jWs6uIgMAjdXA1YhRSeaBDDdUneRQSB2+C55I0WTLjBkptG23WBxXNwmU8bds7yqjgyngyMJ29hR/lZ4AtXlJ0bhCTg2Rtyxxayt5okDHSb+5PSUiA0sfDIWXY4Hvm9nwDNqSP5Z2d9wL3KoI7p54N7md9G5XEt/kPWFDg/OuwSMm3i2EGwCbPyOpM6+hJq3q2pVx5vREE2dBtrrjU9oGZ7YwDsBzFqXmw8Ymp3oPthmht2nr1YInk7q+79XlIZqYH6O5izOzMfVqPAhjwtDA2TJfykmXrpETtLa/Yay87moKwFURNatfJJyPpbUpe3fhfn0MAUmnNERI8eOCj36wxUlfH0u/NQGNx3aHphRRWmEZ25D/Vd+zvQtuFNy/bPbw5FaOyhfHOzSuAFyOflKxCMjBnzhwdYvWkquDHRk+2wCRNFD+Z9kK9OC5HFX7PrntVNuDfIlfiLv8j/lTiFEPGaxHOS3XhsOT9pm+iW9sxlJDZEtKqL5oL5JY7YBzgHvOzpKOoi4dtNbvPuv2JWc7rit5ZibXtt7LPC2HUOiuwL31PIpchFwel1j6acmbYC7WbAdkJevhO+7X83zKdx1wjM+Bp/4jddN8KdRfflosNbSVfZ+zPN3RGKfO9WGcqcM7+AeiHzuTmk3OkSPTsKM4K8ubrpPnvMubtXkWxnObhiO5xA7rG2BXGGf2JjsfTTuxr1c9J8JjLnDZyVXeTH2y7JYqqlhT71nJHdv333zdBsTxW+SEVSEhi3iofS1SILQLgmsO/EpvAlxAslj80SFivTIVGkKqVuaym944NO9zXwKqdGEkwx9A7vrCUbd6B+JOM3wLNYgUwdJoD4TRUaITCauNALBV45/HfcKhpOLjRCEH9pIDOEGne6AMuxUlC/pHH9PQ2lec7AbSfgOxwSE0o6WHlcFHRiudP5vlxvCHeJ/rvAk6+sIOnGb6fGNjVnXxDU0budqrJS2RyBbGsjpQNazs5xUCI6czQ1HvQeF7pEnHKL38UW3PyhnxYCQuTifE+NBqbciLy39bNOnTzr6A1S1rmZXx1nM/PZ839QDw8QuGUJpjM6vTzTD73k8HN53lebYrfR0sSoZ0hl9hJ7JUG2GURgKprWoZhoo/QCWvyn8zc/ifLAvBssOvMMwjcf5kssKkPZT123ajSPkJFgikvlcPWJ4p6oB8dRDd1YsnlFPRcYDauNFGZmbmXB79fw5AhcWZQjDv3cB3binTct2FzE8eeSQCTP4mTqQ+L0BXK4wAWh/9kb32l7njIfNOTOdlF2dtK4KY9X3i0vOS7a3bFpqANKY4/bb0I70l6Us0XGokIrvcq065RlC0jjlXbbFgnPb9mdJBTxTn0rgMGfNvtzhm8wjq2acfYe48pnaUKPXOZjO7FhfkHtzUV4kdLfdHiE3UmaAaXWZm8DHf/hy+Aw/ddQOQPU1WXY/R10omLUHEdgRyoCd3vPgCE7Ax9X5WAmAX4dib7B0YBO6++UUSdou1EDHZAHpRxG+myA2Cux1aVe0WwRx3+fsxwlcVe+wh5xw4Gq2ZYTt8pUVe2OJpU9N38vY/cqBrr0d0MybgkJrZ/2iNCI82VnXQSTpwNaT4fr4/DLFX7LOSY2NsGybbqrqJ0eF70jvWLC0MStQeBk1YnYBIxLZ40I1EbS5p6SSS3zv8dMdTauEJeTR0W9MWogMRrNlrA7mqrP7nCLJ+4qDhBDP42sG6hov5XgljdGCFbVyzWOrXFu8ND97K7rYJkihO3KNMwQJggTxyEcLzTwN47W8UmaIc6ikb9LTaKqKDSTgaCv3zd1/wXYrsK9UilN3MDKzqptPqUCDLw+GfyaHphsYrv1DCx+HvjGiSJ34lGvyAlHSP0dDfbTKibiM9wxlu248qhm0waO1fBodXbmdl/gZrBMDsgNyEUj+2mpBz1mQQBylU2r8tLVlmZIvwLVGwZrUWsTYnhX4zZdEDdX4gjLYDN/ww8a/Nbh3d9HxsSnsnXow6C9mCnLHspoSDa7xYD5v17X7l0DypIbv4vcaBegJtVIrGnulojlcLimn+lNJA0o1ZLP2oeHBEzJuT8cdy8qGStTGpHmS5wBG2AiHyFiOwt1qskr1o5Hqi/VZc2F5MegbnjuwTOwjJjG9A8dEbu/0I0HpjG1XgAETBLFUC9A4N+3DCfKKRl3Lt6OBikyacieD9kbj6PUAPa26y92Lk1eWhbzNYeM/xh5qOIN/F86202EF58bmnQoGUoUrU0haIuizVfTqMxzrtWZjK4fim2hSmyUmbPjtVGmwEf49WiwzsZwOo+tzUS++QMEbT1pwGnYF2DT7YZnLUOx690/K7Cko1NZF9OHy8yZtuQ0aLViVm8qB48SaZMKAKsqaUXoMbXnHxnbloO72dHN9Q1q92nY7Od1Q1TEMahB6fBnTu7t/0D8A1s3OJ5WIglLX3I5BnG645Vq3rgfQYCxkSgHH3eInoKpAVKLrbdicWjnRIL0CqdiIhBs9xBV7IGgvNvTr4ilBr8KRRN2eaYwQTpNcoXvNPFx1AOtP1IgJnVba2mEtN+wC3cZJFoywfDUe/dGjnz9g2PHRKj9k6KhHb0Zl8W3gigc5eUmunoy8zY8EBT42au22ijxk2nZqadkyANNifpvE/xfUBXZJh1Vjka73iIH/7IpX6JC0hgNMhAMQ6o6hKpfgDwHGiVW3HhTH2iR9EYmtBpFJbaOpA0nDHNGUYahMEllC20bpsAhibyZzNndIvZNOvCVhfNj4T7nAY4GTZioxEY39wexSg56FJ/4wLnE1YiKDtkaeC+6+idCe+idKYlnUtNJBISRFCmkXTqqLtxWgSkgPhM9cgFbhE+t9GRCeuqiZ7JsbKs0qjQKUZ1J877no9oo1Loylhu80v2DV2ayUQiNQPQfXAf4MPQisNL8Es9IcM70VgtigWm3kssSOUmoE5vBV4Euj3yhZyv8Zy/K+PVxWIWpm3kZ/n7ebvMDvzhkWcXK5SAqk7cBdvLn+OzjblhyPRXWmiqtd7vW6lmLP5xhe5xeL8EPcvNec3ejFouxmSJhMb+MvmsfRz/R8IkSANjCpYG9yj0LKbOgh7qaLteWIxObFkHIMqZjAbLONSvdOKGfn3LktQxUP4rwrvHclJ6sEaJdOF7m85i2zfsunRwlRgvLj71kM0Eor4FjxkJiHb/SHRRLKnxNqzcYxJtw9GsyatyhAp9lcp8h6QGg9SUmJ/oM13PNLUp3wJCJ87DfPuCsNg5XTtNr2OFDZ9Tl+k6a5LwYK83OPlBeuSDwKxe48vRe61cc3kZlqP2ZDw/UlsP2afcGdhg+4zp8sLCUHN2TwiP9/NwP3HISudHi2cT923DGM0dOyScwp9DECGrt2xOSfsmN/XGz/ihpdbPGucvstG7RsD2SdsQNfLjWiib0AZB7FEX9YOLvm3allYkhKMzkIt+pjz+ntJ6qDEzCkXZWRay7rcISD8kGrBotVZXJvUQZ+u9jowVSmrBzeyaqU/qAl7tEFcIc9DTBHct2blgAhjtxpNXcN0k+I/CcwEfj/sxU64LSZ8xx0tQxcjifxF/hnnp7OA6vBrteXpVaoUJSUTybMIF6Ov7WEfITVQD+wlsugZ1Uo6QQyfah1+24CgW5/L5/UYik6KSe9I+4fL3eSsYg81Tiquy8pooygQ01buGooPXq6tv01ojJhCOrGpHpKT3jMmnfYVnwvZ9GjI1M1cy1muK4aJOSK+/q1vk4s9zrxppUfIAlTJ82r7WN6pBYvSMPU9pGKCEsBUGyapNMICviIOAq7oDFBED49C4XBxY/nt5GzmEm/zVXMvA9j/c7IyTyWvAllWd/FZsykd+Hb2H5JWBofqXJeHFD7EF38adXM8VG0bEzjp8AV64lk60h9P4MvTXR1/dxaE99R7fB7+49yRjUS8P0aMw7g4UoMI5ZKpb+PJ4I2E/jEa7L4tGSzJYgE1J+SnrXcXygV0C9D/LktujYzIlEAbkqOcPfaXqt7xsCnivnuSiSZh7kBPtnxSCQqUzbDjHkPHuoOxi3jotF3TVhnV2Dw1n+7JOkzkXdF9U2mAeHTWlB9Yj22lBeYkOl0KRyL49UHSLqcZuQFHvfri4efD2ci9lk1FiOJ/glp7tTgmBQoGX00EbZo8vqYNVNy46j0FQ+wcVd3aHAa39fBVJeCDUNzUIpuC0lnk/RH/U/OqmTeEcfugiBDqEGpiViKPmUboJYp0qBO5GVzWpJoRfC/8VRJZmwlWwY6Bjq+ab0K9XUHDDXmezMHXMgE8R4I7eYBEm5NbT3roehGUji8QOf6L3S6dm2jhs3anfGqMADcZQ+G9AYPZ3FMVELhp8/4ry1ZgcntU2DSQSjxWmvF1orZS0cEDF+0CD/4z3hu8h0eN6seEXVjPYnVHBzL0cepN6lTNhdViMw9gOYqutu/Kyc+MbKMYhnjR94QaNMh36TteIxRd1uGYUECpVfOowvfaECR96ymZF1uOBfdSeMG7hnTPbVwfIV5FxQsKYY3OKu5CeNqBv2mzYOuwn5mo02jVFvkgX2nto+5oxAAbtXVM9nPsaFFNChvpEcNCpYIPNw13v3GMhMBoPgbF47VLTqUtRyuOcbcS3hy747OihFKBxQWsRcVhBKRhib3DCZTO/JTHRr+OKqcxl6LmsYEX/V0QA98DCEhiB+vgnR2PhlOY2ryCKZ+spPhPUNJGx0fzXpgt61iBsB17vDIpFaX6ByIlMYaKipnkmT5o06PoCDUiZ04cGONZOuq+kKTdZsrWa27VufxAFqjLAfcAMA7xqpkDgdSpo+ZBL5rYWwh3dklAXXYZqwUdx8Kl9ykcZIgdUZNRLB+R6ala+//2sxGOpA0jP+EJM6giN692pdAxNOU3ba9ws0x1vL8nyDuce8VJDvVawWs5KUJsnj5DEO8OhOvbJOfYymR2Pg4UaJX7GAGVUlQxxT3jKjG1FcSFGPh2qj+LdtFNCA3oOS5OvkGJYoNZmyioNkZirGZKAAsb9i3yObGTvSUNnNtwMVHhD5F+OQv/zI6uXU8hpJcvkTgWPq/jSnAgjWH3mgnk1Q9J1NyG8lnaS1otriiiG3bUHXdhAoOWfsON3KdNsT3a57PuE8eZPaz7hAL6c/F2C6DfmOq7ESOlBnqaLZAZu7N8yuHXa6MnJvemesjp4LsnFD2j00SpXyAqp44IGs8pSmYt2VtoLcDfhFZ+W7S4bnsOmi1Jn/N45LtJvGvmpEshDy1fUHgKXGaGAb3ZZtzRwfTky0rI+Jlnz0G8oEw4T5yzOBu00F8nUUCkKcBFdU6a2ZefM8Uw4sq0VD53Vr542ay/V9TRgjWvCSW53cjXn8kZ1/HbhT6sZn/G0qEJQLp0Nhnf+PKWVFaDbGzHJVO2uUFbnPvl/pG1FQOJfRnHrs53tCTjDkRiw80CtWOYoQL55oxW7yWqhwFTu/KWde7gEyoGRl08F7D4/28NAJ+vEuEY0m3G/DW7tpaz2JjvU7akwovcEBPnY0gD3ObwXRCC7d8Ur/57OUybeZ+vP42C4t/ocrd3lyxVPMrHcxBb0rdTVqnqwFJKCLfsybzf/IDRee7jdDD4chhHK/JrX+XXkCx3FHraVHhMTEayvP0M3bzb8D0lsA2b4rSzHHd9QMU7wF3KxR/gtRpBGYf0RSM8Qk+xnM5+Paj/ObC862E47v2kdn3weRv7h74uQUpj5fVOhKM1LBvOVYgEXZb8Pxe61/KkNvwkFA6m4DIVzGGC7DZyyDIeSUJyay64exrBs0vv1qlURAyFpsyrq3pQ2TNV/1q7L+xhJ5rw76Q6RKEepi/90pda7OI3LSA9RSs5AhP9rxFuYvNCumzMtiyPe9TmJ7cvYM/v7AbC1qcy942a+m8fmRSV/nE49hgwqpkcsWluiUaYddQo1jKt/2r8Cz0fzytDAbYRYTaTpGxDeDcERULwI8vvcCBOsAc+Dilp5El1Lk5ZRw1UPhLJ7WyUzJs7Zvv5z2TwZo0WKGDcAC29zA6/XvgMUtnN6UzmjHuyMhJgcrOTXWQSlRCkOlgdaHXhfbuoSBNeBaWmv2s4uq6OxsEYkpFcZxeC2rw/lIUdC3F9Qu6mfJc/mQOe7SZ1htounmCjC00H3G/RSAwLsNWRzzdeHHNy0DFYW4Fe+fNg9P8mIHrlZUCHTcc3LEPEc9DCR+5Qj3UlpNMx9KgkTM8dzerUZW9tjQwfYge8D2alTvH+XlVlk0suLk2CUanI+eDsWnhjwajKT+UNhRkiAafaALEVyxEoRJIEcgzj9IvK5rSQhH0BPIsa75esVaM6HHTbxgEjKbGRfMGfG0AA2+LvvJlCcKCcjD2/aLTrJvz4DlTA4/R0fMZpGy12lcUz4MdX1KaDoBfrP7T/SfWFXlCu4Zzr9W7pP/l4IRr2Lr1QsjsfswkVa/y3T0beR764NjCYFOQY9gUMt2VXghzZAnln9GrlNZuA7SnTWTmbhsgUBsz84bVwlUj7te+j1cJMYK12uao4pMQ5y19VXE1zeZGIqKoijzQMfm22K6NApQTE8sQBMScJGbp59h9adnRbTDbfc6nlAypCBIgKAvpHK8hsm1LuJEM1Z98T26U0yOdwRgBWbbWt1apSO9JUgcx7LKTOKIqUHNc9tafFWGNMi4va962HHoQiFKMFOVB0OMaNcyTilPzA11zBcqlMpJxlDZr6xGFEocCA5Izo4ji+R9IfJB0b5WFsP2QF9wS9LtL6Py8jQIod4XZDIiHArpYLnNml5XqRMXqSLrbTJ3gaoawQQsv1PjSJqdGVLjRlxRx405ZDpao+VZ9IGgKlvh3c8Ri+bWQr20qSHh8ejc3HsQ2bnfYd2aXsIPDBmHovFWzVNGj9FhRdldHyF1IiEzYKWS+EvNnwvWxC2V1W51CxW8YR3eROZtOFAOlD15GLk4h6AFQ2YXTn5gUS9qBIFqBKwmFzIoxWDzFZ8Rn4W/qVnHh+qeK3c3Rcnr+ta1dTaPH4wK3hZ0nmmWaSgY3cq9H1eMMbDNePneKGuJgYZ7yUzuo/KTaZHkCZKykaBqtUviFxXCpwB5395VX/gPH1BcYse4lLOl1vm2W9aDe7dDu8COyazTUXjL4hvK5beG7dK42ubus0u7e7eS1QgFzTihu/1NnZFpxoL7+siQQ2+OkxRZhNEGPsAfz4HuxAHSJ6K6NfxM/hPI/GwMEuWXtCCAV9/T4Pf7uni6/OJ1MGL+eBNRZm19AZ2BhVjibMDFvLWv9WAArzFbX5xlT+Cl5Sg2H6LWGkAg5HRPvoDZuVkvKfxTRQ6UFZMS6lgfM0aV0RKemvAxbs8UJTCfwopATos0rSvFKtaA7mmAltcBprzNgs8kmS5Z9SUIxpYnTohbUBZGxg4KxY9843fJ9IUFujh+5M4895E4sGHj9EyNjvhvH5hDsZNz1Yf1teHNV5uxEl9ULPJX0pOy0sRG2tYm0vYy+INsZ3DsthREvSjERrx59ynyLfEiaP6vifVDYa4FCeX+8WqLDi2YSy74pUJJiBfnhyZe1HYXpvVvs9C/BZKOx6usVClWCxOijT4TJMs4CO8nD+tqSBVfsYYEio/xkZ0Uml8s++Tr0nBPHcHfw89+GYyzCr1Ev5ZKFsh2X6Hjyc1M0r8Ax29cjfkPsmSOwQiecD5LyEVTFzGyow9rV5IcfWVSI7+VTjkXmbvgJYN3FzhE0nuBXZ/ZnCZwWV2rWvYv/SmzLwXqxjlgjA8vfhVj5OMg0RN+F78hYQEMq5EN9OJcLLeJCOYpj+clk4jw1OeBB8B/IexRhLfrOgEQhZZbS6zljBH0K7qomeZ3g48j4xPDzYHlp7Pv6HHTlAQ5Cu227xTZds2vN1VKkMmbq4/TS42Hb64+L8WMZA1nx6rInIICgwO3WmQwwGQrCntiVuxkSQBofFCPA5TzLLqf8OF/AjhvNcLQv3aabaHcG7KkKHFQQxTg18gtA8lJ0xzFLfgl3XuWzvHwOV9X141Q1VhmMS2VGhhqy9RIi06Ux3Caa6U+xISdTBcrM/j+DaH8rPhf+d/Ha77kUoPwzfmobJR+oClmNyJKkalNnBcdMUbTiEqUw1KUwEpTQuZmkWdjV/MUS0nzsoGV4zIgD8/EscArh4yU9ugKlkWtGdp9vFKIMOQRSrErrSJJUlViBa+ja45v93c1GDnOtdFY0NZTEtfiGx5q0qY9n+nIsiZsgMaJnC4C9VoZsTtWwmh3KS463RVMQgJO5ey2pWlXtDhKlfE1O22IptN1L3F1/NRlPcGmEtyZj6fu1hZ8BKpnDZQ1qLv97U1auS1VGvuBDi9SVL7qD3HsZS1gQmDZ51TLdSg2kbmXECs3xzzdZcAosiu348b+89ObIPnD97O8tZeoC0ak59G6kUehFNtp8s/s8LugBu6AGzqQOW8gdqIMNt2ntTMENhFNLxnHaO7uOtu9G6hTN/MiDNiXt4xc5HbT+9xlaJGsq8bdM66j1arXqK/zGRdn+5FKi0V7Cg/3kJl962cUROr4eWQTlbBRvullH0zI4AnGGqvoVDit/yTkNs7u+VG0drOSd1+NGaOBm8WQclrcsUmXfrLJK+YoE8HzF4jMECq/cDGXF/Gr3Z9Pen9EKEzPl/hqpt9e2CaGT8qy+04IPEtwIn61YswFeNrzVwV1xt+s5UM9sy6DcfGUQ4o9XZHct+Z2cLlMcTHjOp42DI8B8C5MHvihoc85uOmZbzQ8PmsSEqxagf9anB0CvVJ9XE56XBerY1apkG52oCgs2kHGP5St1sCuAs+jNG5yp3BVd/H6pbESP++Q8j4gdPAjMblPq3oORdFdC9tGxAumHWd6YXAl7ZWn+y5IZ6l4NF+HHJ7pC5V7QFAPqNWypwl3haQuhcoG4szgpdYpHTnqo9rstujT3YsTsuZnmsh/wewY9CLkANzhfnE8R2VkJ0Z+u6XqJrEjduydT7mjZP5AjwaqinouN6ie8S01v3RjYVNH7dbJ94uO0Zd2Hvxi75ra21Xi0S7csFpmyVtpHa1sUuYgCQ6w862qfnKAazDel7mx7gMf63BMNzuJSfjzmrKZhdbuIcN2/Q/2j3zxljxJvHmoL/dJiwsUuO7eJP8fFPB4bOwD3+f1K//pf9IOoO4G8C4mOmEKZq++uCDVHcCxvnL850L4T/DEUlUVdsXytxVDp10r3nF5Mzpnc7sXICS1vAEn19SkyZzj2U6wANmWyukUCvrASK1pql9Q6O5Py4/gyb4HsJXTmKR1CZnsCQs+w7gkSMyJMw7sDHgi8Y7MouFsX2Pb3UXx4DxyhbhQB8bwrXGQrMRy78uU7pwav6UmYS9tL0b5Z/OXKZ59mAugd5QeTW7TIJ5dL2tgqhobIt7NBRc/DuzXY1OLSD01O1Q0l3qi3erY2Qh8tioarV+taDuWWodQTl8gzcnjpQ0d3Slh6LI44ZtATkWklj4l0zV0k5syrASFnnHM4C5jEDD48oc+fb9KFfvOw00Ncy12VpyiBZ1aPvy2inTSISLBwmAbnC3c8tc8Y2dsQGvC4NIXHY4RvJBtc6H8wMC2NTXELbwv44VjQ1KEyjzAXMTGdq1OsVvtK7leYkKhdoqiSdi9iPXgGI/mwwF1EomXA1ufGU2d8W9BdjD9hr69871+pql9SPKOBD+SD84N0/CCZagqYml465nVXSgTJ7VCDm44M/T6U1NUBHC7RGKk5yIbBDw8ZG/BsmWqHq00XkGpqm53csorM6/N+9tlkoErR8QJWJx6DJ7UN3HGe20B9AwysYccIrQUoeg6f8+Ok+tAOsWuIsCbciz83AnNCxOyBM573O3qgF3rVYXkeJ3YGP4g9CD9mCexs7CNlBeSPffFcIXy82nUrp/oH/WAcAocX5ztB+tItyxgUGNMU/GH2dz18Gv3syhkVARg5/UDc1Qz2VPy7fVy1mVxCcJSkN41om6KRS32QzuMCIV71yHXahLb51dD4deOpowYfIPb79TgIsWT2JH4MpF1OXdHh1q+wbiIEZiZgMyLXL/PCCxQi2gDfCWBtgRj+f4kLYkZzDLCCICPWOIrrVqi0INn09u0AqxpamWdyzvn4S2Ib7Bv8hNA+5ketELY36PKNIjgMO1yQ8bkZ6QNWIILV5KlvxR0LBY7OUNW+CUEsylj51sdva/PZCvpIDErhxyYvpqEF2mxA5GjxUgghnQycnbOeMfTLKM87H0CpCMGsCk51hE6jjJVOiDcCAsAwmlvMaJCNe01M5yUkf4v2/jysg5XGnQrS8GdVeMZe/H4/SRGgB3VRQ1+Um0hDWOLinMLn4u2HMzM4I8mrzvC8qa6w5cjM0DkCnhyyf0uJt/ZOJVKKvqQk5WnyxNNtICNL64pQ9gpi0Nq4Q7T5+abys4IWnEgXd6c5OznPaP6bi09bePlPwXPIkX8Ya9OahZlHe9YbK/rD7Zh11UV5JPrT0BNohvYHmCCAvxJTnt3t4xrADcN7x7iXZmGXJaCTLjYiqQASbgI2JnC9nSUYXlbibBngO6+5MSwCxRnn368AaOIlEyb0YBodh4DrySBSbfxWAhokXmav65rrJd0vcANVqHy8jKfW8LgR/g9+2ZAc1OBjXGXbj8ENMbNpcW+6XJ8+Pc+S5Rmobp4SzsyFeUnMwDQjU6yQYRbyRJxCXaHMnp22xoOESFOf4hx64MWrGVC4lIA7++s6mXixrE5vPue88sreRxUNEUmE1tpgsYW91fqf61qVcufAY3rGGxhgSoNnHvjrzAxMisgaAHkdUDU5Pm743KxRPfZqLu/zHOk3mMcKDtaffdQ6rfLOmL68XmqTJ2OZmTsMrCClU+Q0gZuvlgmSgr9Y85m9nonna6ZGhDO/H2Wuwq/rh7JXEZw/P8JbGOKfN0pbQCPjKGng9VtFb9ZnjMURt6Ao0OnlBL9i5Mv7FVWHUx2EdcoH+pBk68C9AiQttDaWV2cdr+PzPvimePP6L6S59LCpPZntJbf4DTBQQTp3tEFwHG7CEMXopEiuYWNNOGkYycDCsnG3oS4uMBsyZs7Zl069e1Zx1QNURM7jbZOKfBKKoznNHqYtkjkduoQ+bbIR9kiuVLyNrofshGBzLrqpSWoLY8RlKF7gqlxKoJo0spyidR9AkukmGvjxVfPN1uMpNjehsSPBXz3KNjpPxo1Vi4/pW10rnqOGKBA/ZxTu8OzlRw9JimooZ8YI1SjR2ypj78taOKk5V1OM54CNC9hWICsHz9/ZTL3OIz9LjFaAjw1o41tBSuwFvpzY66SQO29MP9p20tyyVK42Ohh31KLlDnqxOY8e+d1AFgce6iHoeJ4JA4qiC0fgznYDIHWTngn3MYdo/Bk7n4yOaXEgq9pb30wknPrqrVAVkd3bfIdg0T7AUGP6VcUJ1z6Owrwh7ZH/UTA4LsLCoTPaRz6L/drAf31jbf3wjbk9ghMBp3uWFDJfkqMy1iEvZz0p+TW9utpwuhJDYg3GrCfFNsUHmTqNE+x4MzwqrTX+kLSS8eSXX2LjNrkb9Q+DP3d9bJteSHKl4jXkHtWNUc1S5UD03y9IRCJos3bxTDmgdyZUt0iIxzNIZVLNt0z2c4fG8HrtN7DUnEMcQEVoun1EjU2DPQP4B5ZkWJbxYWYCQPtuSNbdxUbbysa0aW8juTIOmqnkl6N/i9pab2w7P+VquEW7w6Y7gFnzL6+5cbc/7TH3/MI5rz8UlMLA="/>
  <p:tag name="MEKKOXMLTAGS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z2dD7pS103gZfJ6l4USC3jqtWOPR/ue0umjYEY9KlLthURXCUyUuZbmGDPUXB2idlVQc+R1c0j6vNnMaKvr/AghcgjyTjoGcS2U6lyGcWZbvoYqQsrFJ5DN1RdHsB5gZU4BjQJ6xKwDUEsW8X/QQ4uIPkrhyjIfLLN7ZR3puqzBiN1rMnctBA0J594at1EN5QJYMsPufr2eabAYzIDriNpy1GurybA3KWqcTPRKYh436jQqOHiPaCJtAtzpRgB7Igk7tw7BcBhai66Lc0jpyzFEK/4NRoFF+cso+ThI1HNgDMZbpFoCsJQtilLqk9nQPGX6RXGboCTf8hOOcHaKoTUKF81dro10jOa8Xb8mBGZAZ+Iyl7KGHMy03+9hVypQ0Lu51PT92S4EkqZk6lv3f5uJBdNHyJPCBXfqmfP5dJA6siYmHuqree1+53dmUXLnUo54rpfrEUojLeW/Kj3MFXXJLKG20C2lZc6yIBLaUS7145Qvi8xomP+6yXyTgqm0O2C3PXUoUo7gYVHvFZjRWPXxHIUKQbALwM7QTj8M+Rfj7BYIZjjSzOfAsn0vJef4JYiiaD94lbjIc6vAqKyRMLKDNlKggkW82h6aJ6kwODF+dyrNAHQpl2s11N8hYt/wZIqo1F9Pjj2ORGM+F8hh3vxE1srsk5HZneIyxvAVEfz3V6KUwSWAdVhZJ/ogR+6+ND6z1aLwjhUPjPoNfTRzzOoBtGOhCM/iolsp679P2GXwrn0CcIo/42w4Yl9nxkSwA/b4JIHuLwQSUAXlQ3NvHv8CQVJLML9P/Yg3KIWu+XW9XZxT+fOUyp1rrrYhRWiwiBntvRm2fbpjjuyQAMoju5h6tv6qcoMMk/TXgH0/IOry9Nv1cepbdBDEmfMZqMrNapfsTK23ROCWViFivBMf6FbgFuQ58/ty+4oKHxm+wfYu38ROnnS7GnosPsN/4cf6A0mPC5Rz39tF6r34vbkO517uoosMb0H6rwVSRoJi8zqFPyYC/lRPtPooy7VxuZ6atFG/WZlOIlbVjs5z6hlQ/QZrnwC2TyDJXuHuKIt/pVPV+EJV2tEZUPPfuATQgOtEXJCU4GG8ceTSyqjAikiuyxOqtiegBdUCG/mR9SPgDK+9rhxxUmKcWYYdBtVuJqrv8Azqh2z6E/bDQVVREq90zuJwYkY0jLUTd4CesKue0r14tkGlyGTVuMRw0nyCTIAnfoz1JIjoR+4uPQCJ9lkasDkDBP9YgbW1AcqGz9ZKg8XMCtTG2Sh+txoHZg/SPmVg5n0nzpi6UIoLsGNenJ5zjfk2FZm+7pb3aM6vtO87QysXOEDrpli00MDHP++ZJ+FafBjoRei++MtWg2llVaDVOnyfunjmxUpMp2BhO3c6nM0N1IyxyR5noEOictF+ELRyFgECwUKXmCUjXDr5jdjkYSyrNrw1rVILlRdUKKEn43k1Q9+YGsc53X3B0RIzyvAQdiiO+5MghlsHCjTqp+10IIUJC/R2zNhTRVm8KDplIQ+rMpl2a8b/rKYgtRLY3NIUSX34fr+nHq9SqxXv83Qo/Nfl9eW0F5KLD7yKaOAYDgZcoDuqHoLIbjoTv02ZLGd0FJhBrqFBJeqUcsfp4D33SKKV+ub8+39hCBZkp2BbiBfW+hBP8ArpjDM9mppu61+1gGzsptRGcZgaOWUZtslMtrcVaTdB7fKrl5CN7MzsUB9MeVYWEgQJxzL/3SSUmRFP+lTS2mxpErKD5Lls7/YghdDhl1eAfjprGyQVfDHl8mGAdrDbtZp1oJtA+sdTtax1ItbT7yZMow+C1ZPqvH4MfR/LrjVJFUPKyhWE+MdEU4m3fEmpBSJ1HLVY4GOtxDOokfFNrUFnjK4P1xhQr2oeAQAvHpP6IiA4RfZvC+xB6cLjyvR5h1ha/GTILe8vQiUkGsO/9wqoTinqXjdHnmQWlVsDMbART5Pu9dwTjJtgK7FVUDi3MKxYaZVpAMnCavTXcVKoIdgBkWnAJmOX3huxS8XHlDsWmwGdJXyyNYPLt4T/cerBqwRpFhE6dw+rNCzZ86E5E90Kc1FXa3l/22D1wGDxrXyiy9DhnWKvhBgX+Ir3Tq5aSbShp/WG9/1P0A6XcGVkY+OZnsBDgXwx1VRUD/ud2MMwVt+lsVLM0dz6EkEcg+W4SBsg9zhlxTk9K7fwvpF2aJUHZuygWipgv+hBgICxNppOST3rovEEZV09VuKfuug6LVjIygyMxIzaNDobztQEp4GlTE/rQ7aw0qU/puVWqQGR6AZTXDGBFfpHi/nvi9EmQiC/SM2DNnlMOjVKFvzuZ04zBWJLxDgTBL8G4Hh4JlZ0WYbYaQ+rRvy2SiBLWLADkXonG5KV8w8+ikdTeQivFLgFuUsfMax5h46OAHIPdjjJdM/tdZ2PUvAZog4fayDo48VAv+aKVXl2hUOPCWc7UoCNmpVfO1buM5orl5cloAtHOeeBzdCFmPqxW066CRcgCM1N7526tjGbRDkmysayoOEpur3w/hN0wEZSTupSj7F7Xlg9XitLCca0DIHNNh646oJgZnhlTACrYNLOXy05SmGdMnHbZ5CjDwIuaTkmjfCMQFbQ66ePsQLBQKL5DdVBdbir/VcLeOZqSukwbZLAqhWuQow61hog0XXo8UWkdL+9vjLg1/8JU9+dmba9UBPY1a7KCOlY+B8Biz1XcmMGZNWamnWXpcBPxGTStz654qbB/WBkiP5QaT0t3p83UNSzSzPNPnb6esGwRd+F8mlMI5jk9V1lOQyfa5T7Emntz+tZMmmmPvBlAfgSwznuSxdYXvdVkpFTrsRs6zpyFx5ejqGOQYbUh1R/pAb4JN6SmFwGyqoEN2FKTxNR8zfS8gSxx0uD3a0i/C5lEntJlEXxm0wWj+eLFvBpgZtcCsUIrsbwHTwSun+X25G6E912y5LzMS1VNnSEQ/TqOCVYAtICHlF6o4H1psPORWhPqY3uaw2Ghfmxw/M9/7qLcA+4xoQg2YKApeJVhcvaDxtvCSc9QdMUl8HH7Zatm+skOmBzVXkOhAVolSu1CsVdPCfkuoXBwG982Tx5EPyROmVRLFwdz8O4LpImBvxSByMmS6AldVVkR8RZ1uHAsYmXcx9B5jCtXlMBmfBmqvDAlPZ1XAS1ijTnn/A8uiVyC5a/ugIvGC1GML80Aba2CNVLSPtzlklAg3bOZUIm2SAaFJgTDJnPz2UFQSpM3weVgYOoZSx15aJieP8xfC6ZWKZsKxlL0rXAkW2t+Bnr8mu1typAMZTq8pdnFoofyGeFFFbG2BQEk1b+O1r1+ypQF9zPT30XNuQRVe0ZKQEaCdDwTqjG72xremIsyJxJPDl3gKohgMyi4CYX15gUmpw8oqyhfLxtQ9ieeXJRIhG/npmaGOsRqoQjDxKoSV8cRiZL3Lseb3LDn73v8ONULumRwKCPOFlip0ZkpcMggVsyKvmSt/yeFqUIeS9rSZJSL7rmuTY/qPVj+M9kHMiUUpSR91GJkm9pGBpjX/OYXoCVZjpt/q2rI58UEgs2LcEvFC4mwRgGJcCBhX/88AgOlXuSxvEpwndZQKg8GcxU5eIciLK464xSthkipTYswFI5TwKeRzt6ogRefFu638X9dx1zb8kEBbv8tXwGzbpNLyq9bXD/jBLtALh+KUl6Of4pnO4ClfXOzxXor5DTKU2HEYA/u3z78X+uMqt6nWO/xJS243VKOUQPYUFxbrUJ4N6JSX0IW4DILJtMrqjU7WTmdFIxfVY4TpBmw09CWngUeTsKA0WVn1KKZqE1mlbL9+fi9lDZRwm1yCqIwmUP/u7fQG5gNXA3KOrPQ46x5/3mGxmcrjH0PtU3CVgzrLNvOJ+5nocymWKTUGp9AgAxTkvn7K5xgQqUdPyX4sOyjDDPli9cjHz3teMSnwufra/QYDX777Ns5kd8a/aHVbys6GGLBcNvmMUXupj3zoOUWl1Zjdoyw6FzwHQc7y/Unw8mgnPcZJ8HzdZCNo5r10FTBxiqP+k061TIDnDxi1IkOMgLSZD8/52CsAVK9+a/HW93g/dtI6sULbcXqoPlfjPRGmhYTui+9GiPTEKW4NO6BgAyvh7sShdm+CvnQqNxzpQqSM+KgxxEmwhiI6Gwkua9cZ91Tvjy1qp7v9/FrHx5Po0HZsy8O86Ud+hACYEk8pOUarRsvn7XtSvUWRDuRC2COUawBEpZQr2nDEVtNejiJxYvXCCy/MbEBpU0SHYZ9bhey0hmJW1gjUwwV93lGYEjpMMIH6DejRgCEp0pPKzVcFuELFnw1hi2iuebeLdWYSavAIFCgblc0BqFs7pyccp3Y4IHG2DRRf3QY3XoyE0YI8QMZ6N3O8eV6s9mgabpr0NOleSQ+ylgZJxdveDJSinhvaHBUdyAzbyVpdtYKeLvUw0HSu9a/NaamZm/5qeoA6pC4P5wQJ+6xuydGMveow+KmctZSnUISpP82Zli/US+kahuTZVCbP7KHnIWABmyFTaJHaDCQwq8UdefFDpGZXbjlImLuALIoqGdAemXDdvrfIrigsY+IEUd/XcOJywNo7p0kvcUiuNge2Qz8gcrrC9OGCtLBHHjIJQkDMs8iJh9aJOnV03Igr2v9YwiLj7wsgrDLMjPlIyLqUEPzWsduSmJv6FTA2vvx8QpNeEjQtj0bP3Qr5oBFjCLRZsk15cPOAnZeGDInnMxB+E9RqJF6/i923JUjvbIjqm2mSgGHvWttUr/AIGHS/ZDFl5A1STp7aMkPgnyH2poi4za7lTSohfblLH9reBvRGKAEIj79CESxxdnktC5B4Ilpgc+CIWHMt2p7mvQrFY5W/AFTCF2m8kfHMBg4I0m3gNfn7s2b3qTF2522tnpshTt8P+2Hs8eSkGrkytFvd+m4aN0Qn/50foWC1Je/PavR7LR5AvO+HBq+TwZhLZLd0CzXHf5k2eG9sGSvPqk5TgqNZLU7sctdBboEz2Y5kdbdIZR/0i7xIJOAtLSjkZctQQitvclwhQ07B+qrw9Tw2W0PhjfUDD0I2WoA2fsaC5z6jSJpBixth/Y/ih/yjb73mD/VI7DMlTiUKf1f3MWSUlKZ4smif+na3cz5+z2HxIKTH29lvGdZm4003uNbMQeQbs8VTXdU0QH5VeK5Yczkw3+oG43XkW/0Nirqxg95VSA6UT2H/0lE5/UvcPIZsAhXzxjHGy3w78gG6R/y1Q0mhRqCEy7h2QDas8xkpDHmfK9erA3d0J164lm+MabUWEds4fvSRU96JG70mEyBg5cPcfcay1HcUutt35+we06julDJs14SLWJPXbLS15qgr7yImGxznUSAvYOrkhYX+UsJJYSmCbEx08hENawu7Q3uPPXjEALxhPPEPABczRvKDUR/aGg3HjR1/ecF9H++LjzRmtUqgJDv1U4w+2ddd3oyOaxPaIpHVxhvGkQhtGCF824aebSL1U3MBENRZVRM7Zz19ps6VVWY2iWI9kriQHMLAhCGPwa45EegD+vXPSBN5kJaJ6X9010tBlsbjGkd6CQOzOpzY/ZtP7RrtWyRVc9inWMkGJo2z8YefOFamUH3b88VGCAuKdGEhshFrBwGvtPu+4Y2mRyIgQLQv7fDVrPBwrSbfyPxG6Hflrtew+ev+OlkyJGOarKMvgD1QM+AHUnNCnNSOyQrGUnRWs8PiRMSmzYbPCRaMiQ0u14UESVbLtOG53P6egevwypWOgRknHdYUDF57kSjn+sSXUPfdhJDpu9WUboI0Vdbov/XNVGMpCmz0cUNhJXfhvoVtmPbcjiv9k0xJVqd6iiGLn3mmXDoQjWc6Z8Jp1WgKGCOUgDtIOfVHAaUi+i764Gx/PykcRvgY0cLHXa3KVigmu6gvN/IlD1AXTVjPqxWRPIN3xiJ3+4kq+JMP25FEioeRsPPrd5ER7mviBxA8bMSWQmMdRoN6DFnJ6eQ8hOVLF1fpaLZS21HEcx4BzO5DLOW6BXxZlYV+auqFVBPiqitnRemwHKevlHl2Ny6TaYsmvV63B058lMkOpa3gQ7EdOXZYEh1bq64zfxEqtt1h3iUmX1C0+IwvWnhOInlXC/GVnUuJN1Iw/HB7RHWrUDW7neBdOyFLryY6HLNg5Z2zhOeemR+CpRZbBFRkGOP/8192y0Jig+mfAZXUx5/ptjRtBi2zRFxZdzFOWt5usOQVyMDPuhNvxoWVeqFDkqU2j7YP+5crEUZaejOM4swu5R2GWOkrDzd5iHE+OsIpBqKMQ0g4FkC5Qc+WF7yUjcp7C28fxRYYjWJEls7T07EuuOTWWnY5t0mkuhyAQnN56oh/g17lS4/v/+X4KK1uMwgERgDnw5zLZQOvUjit5c7xwVnE1kb7/jgPYxFqW8quMMEL1zrWYBuPYqbAmZymvx5Y6PucsfgueinVKL7OiWdfWinH0Bc+DprpaEqX7E05hX3md+7Nxy1EjsWBX8eY3YIlja4Z0ry1lmRjDtx/eF2y0mXZUtvoXNQRfLvaUP/h5r9WYLCqnkv7Bc7f9QivFyZa26E0R9xdej2WOYzoXpdFFG2ysV9l3W/i6mPzegurPevuQt9u4L59MWaqvTBh53SX5jdkedPl7usLvw87sbXxtvK41g5g9YQu2WuIncHJE/r4b5Js5VFBMbPVpZGwklkFFNN/AlMaxCCVP1E7yBl+WwC9gOVsY+AR8+OB407E4N00qXcvrMoeJbMl8lSIg+oU6ycNkS5uV3IwPZBdEasrbBXaYsN+y+CGedDwlRvtEdTO0tcl57x4w6mIhxj0iNpuEYdNvPbRerr//2Ve5TySYguNV0eoh5KHnZ6453WVv/3Z8G6UFY3SCdyWDhlRff7wjf3Uvr5PlgGmDId1RP1GuoFRKLkaaWpoi7KNv1Tq8glamO3gdFLcuMNxRqIUNCBa1SaD7sjMAQbm7XKxZFXLMs2HRJMNupx/3Z8JVrOs8k6Iwg2Hp/VYC+zc/nq/XgHUyOZ19ycHL2U0FuflDeIhrvLSyXRCYnII8USLroAlcAZiYPDUH/Q8ptAZ4VhuPD1VmMZCXmekAWIP6+Wwd/PUSeGJf6u0LULf8Q4HeiTcoGYDgHLvaYQcXNwMYliBxqFsgvWQ0rxRNAxMvMMrNIUKogCCt6GbKDPWGFE0ERMnHTrusjU9TNCNj3JQY4SlEdmlBeIHJzTfir26Gvd+n4/Y8XoNx2Wxmn9GZwoAkjFpIS/ZYQ6p3N/UX2eBu3iT0Aje7oFLaDMXZNo69AgKq97q5KFqrVl04O6wYWu4BcrNuf36MaLa21zYP1Pd8A2gW6UpPPdhvvWVgEeCyLe8PtZQAuvC3hKBN5T0C/PWcTqjMgWaWeFlRgQZDATIbYHi0ZY5NrUOa/T1M/8VOg154ORbwwwFt46QTIlq+nqaLCXO2R7MA7w55bz9oGbXeodg/Gtrix5J2jeh0Gm+Y96Ed1CLCYSIc8VGymRmOBjvQ2pLUSxiYQEbg7wiNjMVvUrq1KP4Pq/IYEXgFBXw0E7NZ/tEAzvPeVTlWLXcxySOuL5MSLSsEkalugkk0ta34FLf4fbFLfzLaN55QDc3fcm6cV1jfEuboiM4u2wsPfDi+PEO9phqQQQmvk9pOvTO0eNtuHD7id+3zncXWuRnJkwIZ6lnsHuMhX9AI/NtivIXwL4MHWkk5MWK97c4f3Svp9tnS2t8zFUK2Gyrs1zPyA5wz+nV5yE/hCNusJ7S/K4kjuXzLWtJ8mnTuWYrf7IdSOw6x4vNGFUpyTxATFCSLPHKZM4TD4hIpV8iQSDnJ5fVV4IJDk8kdUVo7LbQJbevQzSywlXYrM6y+OxF/er0wVqthqqe648qvKAFcmu8srqXaM44ZURTMu0tX8s4JTrRDh3jPEGQpEj2sie9O/XgFWCaon51Zdk0dfqo3FFZt0btfD41H7UuIpOUS/Nx0NI8ufVZwg5M8BMv9q29pQU2efKMUAzQmBevcnaxTrTZCrQitOwgfBnitcuwmNmODqTnvaoSYcYRmLj86KsnuzpsDoC3StuKvJDd79ivLnK0EoIeFZJmfWMa7qyPOtlWGOiSUqfRX0YrYHmPSj+L5ANedB2aOBV0RdBoCVC/o9yeq2EZ1H8jQ2qHjC8XNPBFI+LODQEJepNePKU43CoC+J16jp6CGX80KSqDAnX14IhtXJqD9kty7wnQvJYHd04EfG1Lya1m0w2JFKs75D9RcwbuCiKzA8cIj9rlbTqzdkr4JcRzKbjAnmenvhlYKAM9Z5lMB7vDjgWurdaguzkbmvk4eEOZ3e37bhe4mFUwcA+QEiNS+xkqz6GtXLksd55msoATkUdir/+qqiAUWoXlxV38dRuaCYdG8Ljo9+J87qScdo8ZRD4kiu+s9dCCcbCfr1Tm5iX6UdLk0msco1JOv5P1c+qk6hSQ5Z8y68xogtlgIOFR/+RUOVGkMlVQdIro0bHUfriZabAKjYxhtC/cNavib3uhVHUshF9lVpoUvGgeBNrx6BcS5Ezz8pbJGxP/T7dlmm896SWr5LJnDSCBm5WQRWwwJGdoPc1NU3hTqIuCfVoQMeLoBMt3XX8vFLzRrAdX/lu2DU/lWi45Pngt7ryQpgZ6I/gCg88KFw6ufDiRSd+LEVxyQJ0yQTPTjZTOE8zdpvb2m+ldjZb+s3qf/OXnQ685VO1ng4kgpCthWimsN8QTNE6fxDq86WMNdj92OYEzSjBxif6Ahc2G1ExtUiBpb3pnrYXZyJa1c2g3vmfLWl5BbbjuT9ztAYtS/vQOhpKBBuHJEchl5c/AL3x3hfKLCmZaEkqme463I7dS3qM7mcWYrhomsWriDge0rgzwpnHneJDAAxl0A/Wi9dnvRt4lzmvDYhkOF6boJW2MB7AL06AVsBgUCiUnW24IcAqDNN7d8UPDzLvpGzXvh35hCKe9jjslViwwmfEjnKp7kgiuk8lm1ohsLiEp3IICvSBXsW8QjQOJKTnw3RA6ebRUT+Y0Anf3QclBvPYmpY0UePKU8XfNvxoyN3UA+xHQS4380Lxe9a0snT7KpSQwh3FQzVKeNhXGFtiS660KGvmp1IyFSvFEUETVU4qVCNQP3dz9w2eM3f3VyPw/0C7laSci7mzVVVTZdoQejL7XQeZuEnwAAsQi7PmN9MhYJ4rnmYOp1hXqR3yOjNYCJi3H1YyECtnJTYmGxcSBH7x1JdvtDKDnxQ7yv7BStg+n6TCa3DF0Uetei9qYRAxuGLQLvweJvYEauqNtGdST+LsIFgaLCQwHRgkftJIdyliQ4EZzHaFwpl6WHzh0nHm7Sn7nTiFBN2Ag64vkfYRIlRBYyuRjV4pJPLAXBdmY1jGEVO6nzJ7mZZPkWW80dhpu26ySEbU7DXazfSwERWSYGpWrY8453c1tConiAek9MsZcs1sDYLJ6iOGjdfElA3eX4Q4uVAwmquzIy/QPhs/rLJSoijx3/euQaZp+tQuWbd2r2/5d99hdDF95GrzmvgphjymL7yi63ZiV07TK6sO2/HMuAqME/wh+aRy9E+MhxyP0a9xwwjFa1qoX6oR7w8kbRQ5ln4HCpywJH2u4sNeqTAOAY60xZhhmXuGdskWLaPWLDRoUrvKleG82uA8RWaYpJ8WWFAnV4Rm/ryvU6LBUaIwH0XjGwO5ceu49+TSL+3Y/g7hTXBEQFQ/5fIbXSdtpcP0QAvSICJeF5GydltZ0RPUSTe1W1uKVPeB119w1gPf9mh1EYkkq/2b8OcNUZZo5xJKWBGUgoc0vsjCxwUEb+BjLoh8lUMmagD4iiFkVngda4cUbUT9B2j/gHFz8/gLVAfzqCCx3gd/4yYvjCHmSrXUlC+HZ+ENQj1l5hDUu01zuHVaXrKtoCpndT8M2eVyJY9fI8ktrcNRN091SXzLWwPrdsLLhc3IxPncqM7WKzPfLHRHW+GTRogoERU/tSr7yLA0vNVvBrbpb7g9Q7fZ6N9UnZSzY5EwcTeCiBjcuztpAP1HwNRwS2uyaUqGqh5FnGhD/Ecr3oLSMj26qbft5o4EZRztdjPUxXddj0IEjrvcamzbUX1QmSupVaOon9CCQ3ZrLV6EOwKaxiJYSaUZ+de61ZyT/OzYC3bgoaOmd18w04/nGavF3Np9Nzyx+zSBcWOIdPZspKnA59cU0X6ymuMnxNkTJaNnRp1HqkZbiXQxbyzrreKlViOi/0O5oOCHvtPw2nfiROfBkczzfVtOZLohUbGGhVs1fNYXB0FU5Fr2iUJQqXL+DbQQgz5KNtKsAyZsqRp6lStglxJjXMbRV5zD+qKmp71BCMaZIZdOVoh6CoBPDzIxvtsiWp1jBc0GgrPuEnsEA3jw3/IoDAgKhTt3WSyL8oyrdasajInFrh0ICay95db6qSlXF/ZdKoN7u9RsiQoIi8mFqGneOUoiRuNXMbzAUDwwLWExD6Xkj7QbRwUPyrS5wLA4KA2/LEfUjKn8hsjj/GhrrE9E6+BcbiUr77+vvi+8Y2khqvMKKZ0nIkhv/sayXpcmAE1XY5xl+O7g3tlmwKKalqysLou0PcQYC3pgOU4GJLfHW7N04+xyTC7OC8i/GL64zh9XKXry3HZ/hEpvnjfb+6USAHeQ9bAf/0SInjz22CtBAochrUfN+Ea4+T7TAmHjxY2szEdNDWBO3NYFLEM50b3TKk7MKfSSEg6bzeElbyb7+D/MLEA61FdUWOha+qDluwcF6fwt912s3Ve/vkgmoDt37akYCRd5852QEFhaS+j5xxHYY8M9hxuIEYsVTq7/TUPxz+631/xk1dkk442/tWRLpIr/72FP2ktOOxTVXYcuD34vofmxaSuE2HEqEPPYOd8sU+jxjkmb3AtvYQKH8duT5f8ihhodTYkbXMbKWrUUMnMvQGMC2h3DDTT+fQTHjRg7j46luB6zFZY9mt/cPmSZuMC0TjDwxDDh9H82LhA6PD4ub/l0lOvejYdGB6Zpw2SWFNM0sLAR9VTKMLMVQWt3/4EHAMKbsyg97Tean+S38Aq+Eyquzf0vQPg/27LZFh3PUX8oySWqgbPJMJI1Pl7tl/Ieg+DdUlfKo93AxQ6JP5QdzNxravPisjx/9bCxdQaQhXWMv03dDpf+5ijrTEe0GHOkZyB+lE/pIIcU6XR4crylGudDu3IZZu2owaeLuH16y6qsS891APxRTve5b6PqR2n5wt5kmykMACrfEKDuJ4euVxbE3aZw5xwJXg7mGMbzOPyYdWzkSkWktgXOpGEW846IiL9slmZXk7+307sKXz3eBQtZgL6W+vSTa8PSuM4lnt6qnZIOMcD5Ytk5nWmIJxqAc2jirsbWgFxaHHLBmK4PKIErsszKWrVf+3j6jeWAwD6yngY0vn4782Pk3owgeqVLp+jjZWT/fwsLW5saQAAypupY4LJqG2xT5EGGrGvCOY1stVBpoCQoNzGpiLSDmhCDWUTv3HlJJIV/GlfOMWHUyqto+tdaMYKy22R8Z3/z9TCZf2cJssY2hwGoGOUbndin7rZp9DnscT6izM3PPG5PRYr+dmd5PZ2p5xHPnAkf3gcVYPK1BWDkRxkFlpHxFQLR0QsKx+mHDCbL0TBs3UvkST9EaMHt5bDjOr2PizX2l5yotTP6E2lm1ZjyuEot99MSPQhU5EJV4lE+0Xct2NfaoxTrW6PnrvcaezHq9F+zMdEBb8omojjDniBaKg/4RTjzJuUFngI8J70iJp9QH+O6iWDTAdWZ5M3jlagVbae8AL0GJCbNJVVhYovCY7nmu/s5Wn5itVGIbA01vwjiBHpOrwV9Ih+vuranMrUv1m2IsFijSjiFSKw/6cWH4dya919HPebQoqLq9x+MaZPP3KjBj10QirRuxoDPR2BkYlzttDZoWSdUFLw4APfL/xolmI2gNUslBMlcXK0fZJ4mKoDxuVJC2t6j1eeQUlpaefmnWSpTx9NDASBl8+IiQ7CdGHUURqi6h1BlW9uGz+6gnj+dL6GZR3/oXkxeMGxHx3YfjW0ZZQ+LUQiUnQxZZUNZcrRlmt7OHsptHLHd7mMOv2JgVrknp/1zSeubq5xizX07tA/1UVFl+p1JF8ieHij+lgHKmeunsZS7X20ADvuw3LaQVtBbu/WqKI10BT+uCFTTeSn8juw0QLWG6YbDtbmBMv0f67Y5XaedSbTnBuy2/e4M5xYvp8gir6aSbCuaN0SFZGRrkqqSidmLHT4UQvOCMai5IUcwN5ytbonOk+I4QBU22LF65yDhOPmcW+Ar9fcgqffRiTZQB3l1iQanGkzeYcbBt2EqreHC+jMQkSo/IFeKpRCIF2l6NZFIHQzLS27ro2q/OUjnnp3w5K1ajYC7LbaKO97DijG7bo4oZbOjBOWNk74npHx9pS1KJQZDUv6qw4KUMrO4yxzbq19j/ZhCAm1e48QoJPWGeO2klRn30BYRTG1kmD8tDhnLM/DLkoTLDARjhbaFR8QLSlZq63N5guw6ZxHXtV1EsltV6jqFzjhkNlBGoiMYxtStg5W/LQ5x1HElGz/YGprA/0nSAW2Ah0bd9Se94fqT0bScNrijokVJPpcS8n1lFCaKBgZzWDjdbIjbW6AbURkRu4SEmzDWnn7X9N9BqHLOUQFVe+eMa864+1C0mPKADGv6S4fF7J5YdH35vRDTVLyE8b82hvLJXfca7UBRDsAJusfIMdlo5ItpMNsHGdswTHUjMm3zTsnniRJ/njKhMFd7BPcY6i5cMfw/nqYa1OA/OvZUaYSknEQwfuOeoSNcICm09/pPLDbrsBvk16DeiNdwWDVBEslvEK/Y2BVdQTxD4NcwFf4ZlneOAxyr7DptBvWSUUTN9evNTWf6BX/FwoexNM1Eomqx1dnv8XNnMExzqhBB09DvYUpkhunvhyAxSABwJ8rBc4VpmTmlZNyATynP6rO0Vp9iOoIeGLEBF3e8BtJAXIc/Lev5KqGn6cEdqXXCqILKhSXcHCMIqMkbjtiHscbG+ObQ4PVH+TAgQtxLskwWaHNvntY09wKpIXjFBCbQfny5gKbok/2wML8/BubVjRQf3kj+mlie4ESsPfjEA3ir7MCVOgBUw25OGPMS9tLBmEwdhPI8qo0HIEIgRhLHYxgwd/d+y9ET74uKeudcDwuZ2wRXAjgk6xn3p0DVJJ9dxm16nA9cdX8nuXpKmRveITBPyYxIzYPHiS20bpvGq/S1KRPepDC3moi9MG2SWpZBQfaLSS++9Z7txNGf9dn91/LY7oT3TfjywlSfxNQPxxUrdt4uxABOQLEZNB4uZHCWwY/x3PZveAVCjVL6DQon503yxsJacw2UJ6oj25mmPqLp36GiiNAIBxvaHF3R/Z4NHZvF4zTATdTaHYNudDlOKnDu3ATS2hzQceNG13vYybi892mFqi8yzS8JzA3OBEjTkA9yxtlFL1UWVVhP35dYMLdmITjOMBpXDo/y0GKV/KBip3ZKXaeQ/bEprnuDQHn5wJL3cMySAawFQe+IqENPUTSJkckTgC7OlG18g6bXt+7EnLvL4W3jTqEOBtXfNF94+OQlNg+GWxVPMGzm0Xu7M7LdAXNJfSap2JkBcvPzsSwOv1mfZ0aMUopjTrn23SNKYM+/H5NRRb5JsCFYoc6571K+uEzBE6Tn3bCE84OSBxLUTXx9aEeK+1mEt90RIrnPyjvzJfsJ+IbnY4NxHccvdub/Vu+AnzfuTWGaEJhlWalddYcE2SjhqBqKBo8hX96HtQtEWGdZaoHtSh9qVHrSbzzFfoM6+lqiQ7AqS9bHP54nAZ1S05OGf3rN/aR40eqYMRQTChaFMFoBpJfmBtxHjr9tk8ZoQVaIrnveH9nRFboaM+K0fKaJvmKPwz7iVzu/MmnuTV2G+KpWgJQD0IxoiCQjvMLI/+WqNptYK6+RCxqCKEwpQamqwqyxLV2uhIe42GyC2T6maioCv6wurXnEltxt9jKc0lcWYsbmLy3CcYChITSdSRy66QJZqcobRWBF5hIgbCM6lFUT+ONBycag8taRgOeTVUFaM50pT+KdPwwg9BZPi0BdWjJmIwM7hIVhPeWJx0S12srEHKKEHr4iAIMBs6+rzSayigC8i9o+n7sfzxEXm+NaRVPq7ZLaa2ZrA1Oh3+QwfMdbBCCbDTDJQBEjg5K3wzYrjzyV9z7wfusQ6r3B/yNvXGh+aydlJKarcD2VZvcK15Wbv4zUjW5VnDKutIXPf2QqrgNehEC2JoIGlEYGSgCHzKrz3lLlnwMHKBoXNYuhv7gG1pYGRA8cCtYiVk7kh2R3Nov4LUBWATFJSvyYXbOKzT0h0ARh/PhDYlKqGdA6ZtuYQ0GOUP/7WcentA5gvQeXKjJ4u8/BY1p0ftB20hclpQUQ7hwqvn9htMU+qufiX2ND+FAm+8ULjS/8B7e/oSt54C2K238Y4rnrR2rdYvq8aZgXJtNn7JqhOtxmZ8L0m6QNhZatB10ym7i2KmYFlbRGmkxHayjg8gTTPMyt8o9gbav7cWNYcMnUfhlEPF9173Jiic8vlfj44edotZnUEH3EnmzpOIkTdoge/29bMSdyHrto17JJmp3OqGwbmzY0ho61JJAFmfKJVZD/9mjKBnqFeCjzqoqqGLYWR7Bd3BKtq6owFhsuXSD/PfsHX2tLiFJGQ0egLm0cioeNyyrMPt5wSAifpnUtikkLKUtO6JvMuGOW6mm9kpef4eqrewHVU22o+Ld69pNl3c29KxPiwOD/LzY1h2wZLy6NpnRmgDANPChQKa+Vqfj9gLln8tyiUQy4fLgnhXdZiSHUivwx/vWgFB73ZETwMKvXSuiz36wTVIzpKGDg/3yIfKTP/WZVKM2oQRFCuCeWDot6FYdIUfBF4qHaaOBPIIa+FckPey92oS5y3HFZP6S0GIass5fJZoZ9GPjWeG03mXz1kh8RMXEwb0MTlwOqqkwJsOR9zyNqitIFdNF+Lxzxk/+kwShDfEK4gBtPjQYuatu8PxIpioUlpi35FE9iNtDduZq7CwPj7zW9ZxN1XcgScEpA8WyZsWzAo+IQpjZsQakAvCauaKI3N9NRW3mWwxnW557k0luOCHXV+vIaMSYjfBtWzV3FvzuWea9iik+2dw+R6Z2cAzfTJB0+8jlmj3jcn8Kvf28kNu4AWDs2Q8Fk1CrVf+o6LO5v7UiUEiZ4lTRUeRHlVHoOK8Aa+XQ9PyuoOYoj/C1161pZLv3JqMZ8NVP0ucFkYzweCeDnNsq13EQS+nyKmJ8WlY+JIrR5Ou25cBS1lV63BFO3QJIiYjzCjThMpphJe3PcnMar+XP5yRUYXBQUkiLejPfkXNOOYzvRanEdMwHuRd2swVN0wMY08guQNiyWytsjXksGqC/586aI6GvT/869HdkGIjbuTsTCZzqoDuFSqIlyBL9oFwRef+cZyaUCdMjpMv4BYCiPNN5vBMuQu6lKTjpz17PMxdtYauM9y28rTAncXvo+aiVB99nY6j0/TzNQ3FhwS1npaHE8hNnMaaKE0xWyyct3KxBfLeRobfNL43bQ2iD69qAeeUyDfrRSvQf1SX9TuievlDbKgr7U88dZgtdS8kaJrCM2gY6QsVHP7Edda+PwKxE74o4znd5Voozgc7pFPdTE4u77+zN45qZVeEVCvQZHIYQK10uNkZog304yq6KYDnIfclmFKe7I7sfkZ2H5d8KVJDaid/L1F0V0VB8NLWq0l7H7p9FkiSgY3tuO7z6fVxjy/0Cleq5afSZ3ZP9GsYj+OiJJ7pDttbzrJUoYd1MLgueTzOrGyyzpEyfL4LUUmNfUsc5FpIxEgtRbKezg1psMKE3jBxH8RDrl45cMry0kg+G9Fta9kRWRcQhelnRuNMtSs/+lKUCGRSA23I8G2FWc3x5wH19QFe8CLU5+xhqv8ioeBtOt/3Ob/tpiNDJ586ppclqYWhRpuJ0QkEIYVruMgnDp+s6hYAAEh7JxWGqT0oWea8LxFtypgV2E+pju6h4a8Fn9jkTYuIjnrCH+GVjctHQH4WnQW+Nn2wLClEvTUudonvtcTUrWRvXh5Isqn6dGA7F8MtoBmvjj9MI+6X5GYkZv9u8Vlcc4JCr8j9ay62LJDNEekEh4uCktTdPFWEF/CEmHzrmpUW5rrCD2xbqVVWvJZQ0VFFAB4UpE2pL1j3C5NEcYDzy+XX4aKKrQOKm3qOXGMImC+mKAh3MGOFeTV3GE+fryQhKlPdY3BsDlecdh+oCAaemKBEIMXfFlrNOkPg6gJQegRRqdcmGqRoOz4mnfArhjeTvr9/JKkAWa5oC0fZvCzxQfEu6VBTdfFRP+vWYKwIoqklDEbd/n0ZKisuvLLP69KoMcRgHHQ8ki3LPrlj+hXR0nC9a141//hM9DQH3uxPolf9b04SBnVT0pKPYDy7d4I4wwuNdVmLBmW0F5u3mzls/zZ/vDMvgJEoC9FLFHebsdKB6k7bcDmB4UXdXCyy4uqwQBCqOmQlBha0ajTTb5dw+eWKeb+AIitK+84Xxnq+qn752eFYncDv9lV0O9qSAftNZfI1SfaFB0O57ZH0V0DmGExQF1Q3fuGPlIfU4Ul48Pb7cZ8J81jqAwvnWhrAyjMQvfbTki/+PqxH5cAfBFjlJNNJwUcCsZz95xMN+9Yu4D8icvQ9WV+ZD7q4Dj1PrhnAgBNQcVuFSpTa35axQ+7ST8q22vrzcKwciPDToCCRdhMzafZVeI3N6DY/suC6cGU+II19ucdXiMB/SYJl5G6OekRxUEI+hkwKhLT5dizspR43Kry50QoXLWishWa3AK51kox/CAvuUQVNky7dHiIZy1CAnBZl37txkp6ThKk6Z7dCkLuYH5ai6qAIwmkh6Fv0QcaXqpdhr5V1JU76KVKnHFOFy8MdNLXY/nvd4V8RlJOzb9JKZFxBz9mPS37wv6JvCDJrQNJ9+JDdFsIHMQIbplSe25TkL3LwadeH5tn7CIlxZAQPb1vHICgHr02a1ehzk5W0YaOIPv2X1CQlmpBp93UgC7/xGpvcYFsgwzmW4ZjS7th+CUPat99MaHjLPR/24OPgOQu08pv7Y78edtMHDSE1qc1L7DjzpMrB2b8V4v+m25nFR79rIuQV6AwlFK46SgenkuNqybQ4j8XYQeRhLwjy/xrAtd+pvbMgQIMyWv+LOP0J7decLE8e9FGtUXd4Qr33+zMOctvqwvnSRfSJVuPzovZuzlZlSC44WXwKBMYizkDJvmSDts8qU8aTTdt86Hncy2v+3w+UqJ+n//tRUZyOqvrTV5ASw8uDfskVNuf4a8BTyVvAUgDrHM8CNgbXYs8Fm52e6BiCkBQ5RG6maYPEcqUTIIdnsOEg259wbeP7HZiuj4fKSG59HxI2LgX8by6+YointVeYuFZ/ozmyUpk0LMxLMRhF9JqOwAv3WiOQOQaE+4xWr6QyC9+MbwjrQ+sE+yUTwHdG1XQST0vJYIp/TUzeajGujp6BGVA+p4O8iY8Hn2xXYQLiqW9SMLxU15XQeGe7URv59aDXSPMex6MjCBPOq06BbiXA0v6LVpUmFzDn94WpSyBEufH+u5p/y+O/OhSnNlpDnNWzSzW3N2mcPlJsdFD6o/OEcu+gLXoW18a+PI34sc1Hsd0X3E5VkEtq9LX9SoUnO4fXdJOGeuunNMVsPQl0lQHcReZA8I1WEWRWqVnJZaBzw54lAKuA06+myv3Bc8Kwil8BbXgTt12tTaJ8Gj4MuuvLT39k+gVmBbiYKErQNVvk+a6kWNsHwoVNtDlWNzKAAvoPKiBrLgftiUHlMTkmwjzDpkot6wsubVtw0Xu/kCgHtEiaPnzs147QLc4Dc1oYWWVrMvaTl9yFjkVDZovlHiQOtXKMFmFqfj3vuw7P6oDqMxLLrFSXJ0Lu3EcYO15yshJMq2dR1RG0E82L8vzgyBEJGO9snR4oFn+CaG3/5MuLxqOqmgwrNMxoESerJEGLByYTqV7AaOkGniMmJG5L+tymR/fHuEc8rvL7IOACRykJjkxF+pqmWC3eeOAVFFE5tvE2oe+o4+6O8JNpLLjX0FftMzD8xHAk748vPCCw6yKZv3STJuMQ20EFdeCPEdW4qg11O01g7gSTCOiPgjzYAMx1Fpq4OrnhHvYdq245p7hOJnaBcrwAkvst2zMDCgGDz01VnIGJhMV8wKCL8zW1lTTfpfwpLw4lN4AD5AgCI5Q8baehEXKztuJNHiqRoEJWuNPSErq+KWpyia3h5oS/pYOIA6wMNal9TlVOw8SzXIFdePnSzDm8F4w+YnfS99fx5cgoLeD4acUD4eMCl76GXjN83L+qJ7OZAq3u3hWsfJ8oB7j89FUnM0EWdc3L9MHXsXL9UPyHe+NM1JDGtZChr85fKzUvVUtVlCHohAwzQ4mMx2GfqHGt2eBKXkcHOj9G9OX5kJjKqgUeslhLdiqcYh5LOyKgCfCCH5pSwmKZUOCyyuGZ7uwNzqWtLOK3aYCjqpYkn5/fls/frJvTfvwWTlr5JdWYUlJnhdZE7txirfuEGyj9LgYfDC3YKp0au3+ecoWBQEWd/L2l0PTz5+BykINqUGC8Ss67g/BQOyVNuTYKum9oqB159TY3BNDbs9lqdmGzro/5AJkT6qbi9Fj8QXhPWboUjVSvxjObgL8bdQ7sLKR4Ta8b5qaCjMgMkgEiJm5ysWOsi+QeavzWjLbUuDAK/XHyo1QCqpmVAVvMdW2JuHBRk0Mys+MxemIIDOYz//ntxmmDH74FU9sCZFVclvAEUtUUgodw3Dakgh2Rx67ItPOeSHInGa5kk8gy8WZuGXraufGeI48QuClTw8OJbZVcPgBcE/NEjNujeQveXBWzBHCSLqrFxULRVIDDtGjeJ+U45/FLj+7hzEtYJMVhkR0ookeBit9plu3oZ017ZsP0Ohl5fXnSqmYXbv6v1lqtSrIr3ckEcP/EPgZpHUmvsn150d/U9SBA34JtnPhgfBZ9K4cgfBygBh5V8jx0b/Tz0fva0OfQIsIxhyIJt13FMDdQFLjveE9fi4wg7FMr0IH4G6lXDi6XbPef2T1J8aALhKRwnKoJ0sVIC6WjJ8LfiDU+6afo1cG41Yi1UyQlk5JKJ/Naf8hOe1hUO5wS7w/pTFFU9FvHfC6CjLzQP/qIx0Qle1SXSKyKm1uOPWDr7hPteYKTNogiSB2zt4X4qen8hsk4GFtkI3++ulX7Shrm6v+OSYwV13nbXMg1HqS8LA3j/tmVx6ENeMp30shH1MZvRVGj1eqhTz9eDAxVJYQh4bv/TLBf4u5uO9r1S8FhRgxoasuIaWlZJciA6LEBR423v3hxrIo1zkh8JWltEu4RcdU3EmHMOG+R5MobP6QR1H0Ld+0+QzAB4T7wYCfKR/xH2LCTP6ILzY63fmnFS0wziAUxx3A4emMWb3ef91uR2EmG+ibscovfHPn4xt5j00jvxUhXbhsXrR7HzEWn8ISRjKqVAMXu/jjyhPNM7nxeaJ2HShOXGQDAxge3rOA8W/AQ+OgWoMVZB+KUBDkXuHXqFx3n941K9tsQX+fAFMPSdjFoOVQLLRvl/7/31jV+qgxi9KzwZE8gSSCO4UwRHwHsB9jaPUPECrftPPwB9Ip60O3KniX2yRhp40uRyjHcRlOKGlMu98v85fhPJmppdtRfk1mzVazNd4opXYi1ZKysrm8MZ4DHg6sI4ZdBx8dpMiXtJoQVsUa3rnh+hZJ+B4h485DbsvhIUttmXvwTcTif4fhKG5QVKWIpDcxA2XpvJyRiJKZ+cEqsTGh8odJR96dwIKAgmT1HSz+Kn6fbUZLL6emMyeQwiNUcHaq58pc9i0tCA/EK0pKk1UhcPiDuRh2UJS2OTFzqusgkCDafiyjrbbWzu8A+RDz7gF5mjEdZeNRqmGF9GSW2Mt1o+4EGlihuk6Z/cot05b63nz/9+LDove7VJYadYpRw4sMCs9pzqGc7nhoV1QKgUlABrR3l2muaKbK8TPN3dFamnTRE8rJ0ux38Typ2jBwTYQNTRn62E97QrBA4axB52P4va2JD2DaO0zeZkoQzUi0Ljv/7KcDq3yxMmG07OZx2cflYU5Qk4HkBNo0kbRgdMLvEQ5ubCR9F24iEmxw65ZDp9QpkZZb6bJYSULRrPwAjyNYDsP9FJMNHRX8m6muVaefP/XgzHkptRe3iSUFJvCaPdiWsujlnIsNjqjjL/DVFf1sGOMgIOCSuAoNF3M5LzSTLqwBff2J/ArHSXHeU5ku/FQrZPvx9Ch9+U4e4wkGLGJt1Nr9sg3wD4p9X2Be+iFVQ67o3Wo2TWCJB3sXjtj8z3fAa4FQ7EdkdNHCyqeRzvsmMurEWsA3WuMZJrLXiANk9jtQMBG1QLE9oou9kFVPujtH4r+ODMRbO7LaKB4/HJwipYu/wGZWzwmUKn6lOMMUemFaoUJ1Kcm/o2WmSaKB8fgk9danQGgm+LawwK5HnDVFNVcdPeXuXDKIJSdbOBP2yMyLD/XWpnHpK2xEPcCV7f3wVGTrKS6T30duax2JrIT3dYq0GdUkiFD7t3gbXBSa+HjYUxDybgcottL4D3zFnRD1eID3xHhN4Mp1OudohXiJX86GeW70u+VuiaIkLA0JzbO99IPqM8JIrtgTXmdotZDzy33ldK/D8ahfUVvoyiWlgiis9+CFwwctVXYC1pPT42n/3tqM1xzXfo3zVARaUM7FkGy/IYNgXIZX5J5X8vJx9bM935vSCZIOUl5qkDngZwlHFwGMYBNLVQwSFBFJW0rInCKg6hq6DYIowyLv25LmmV6nk33K/5Fy9d4QtogrqJxbmrL1gZ2yZblEwchGHa0d/zbJoX+mrtKQx5j3JjpgGj4bwES8q8UeYmJ/WvapEo+Tqqasr9zdmdiF0rxtX2POk0HAbgvaeIsTn9bO3EtQkgsD3JMSd6MLxtEmT4Q6ztBn3wFaZ/L882CnvozQgiFYwZiBm+H7KQ9v0FZjzDNqHOoKJM3FcJJtKhzVJvPpG2phoKAdw7XdlOS+AlKs/86L05OjADR9LiqaFzCqupUKgMAYlbCc/Up2xmcEgoJK7IMzVAPvydCuwHP0OfQU2S7L/ofyA5vGt/GBlU0hJyeRKPk3rmojal8J91cZP+Y0nf3fB7d1nq579kSSFWTSwUE3ggvUSvB4xwHIUwLtJ6uua/J8GnCFmS5NaM+CaFBqFhPaIpveJ5iUaUZwUPptf9EkgtujVPK/hTTyb4Wju+iebYko6cW26b6dvGIO74fTxmijCd9Z2Yzu/aUijiu5lPGY9TOJkM8JdmglQAkpkZVgcnBwRPa2599KcRJ6aaJ3Q1X3PS1eP6tuTZ3As7f/k79jumUs1O8tYyRbgQnZtMYKkllUy6j3QiJBi5y50tc+A8pyKgLkmT9LJz+HbdzZqLGb944Oi8wUTClhEX3YCVW93bowPzDQxZBKnRDiMf8Iv9iTWr7l1kEFYldGOznUIPm1fwM5MXQ8gwi2Ot/oySFDZJ3JJ4iHUCvT2IcVBseQOhmtzksvlOuFrPkvMvc8gZAv5zOUQu4+dWOQdtkFETWbCEhZ//OGqQOgyEXMeZg3zQkkWxkrpNgIjutGbVeR6GkYE8Ni917nkPU6vQkk3tJ2Y8uUQUbh08uH8TarKV6GvEgVNBU1GV99M1PeCeWiHJ3FiAq7A1f/1nSHP19YF2+hdd7y9i1hlVzXd6ZZLzwcnYvMM4fneEZk+zXCY1i5xxJRqYCCNQ/C53BPui3PhaqqzcIY9enfVbaEB1zqWg1vR39UTscWew75osFopmkTiSNeU9TcmBcyJpI2Pkltmymv//OJhvsSDMdK5rkVHrXhJx9G//GvA4x6jjJpZFG6DwSTdpwp4r2eMweTWcMXd0IBRcY52xcTfX5luQGSiSNfeB26xQgXvZZzPkXWAAaNiipOAqNNpMnfYPRiy5/ZtffvPqUHgPPKBhiJ9hkn5lDZhKCrY9Kc4r5g937GQf9H7K5SFLIa2dSuMSdfZWLMpS9xJczBAsdxmdASnrCuw0g3KXRRUfcVKmSADaePG9pEwOGKwb9LMMY0zc+PkSUfr7OiB8f7hdCrfvZREM6X6mRhkhTw0LPjMVJ19ESND0waHongWmrJwRQ9OpmacYsmoeL5j8MFqifODYAGS9FvrAPCu5oFsVARkfwTS00gT0wBv5CuwiBJy8WQcAxlO5St0BXJgv68VFDYpXM61B1rSjN3GAuuxjI0x25YBsBNvtmx26PIlwVj14kjC3bT9OvHLJsuyB2mv95exBKQzv9Ryppjlcl8EhbFWZEsCJ5OuKfw9NU5HIREsxBXcKdtStnhqq9kbXRMYj7zBDDmBVWvPS2lIeTWDAIDfSX7CK5yHWc/quP5j1GBzJocG3vd8bjwwSuDGuiA9pVw1oz6B1soajV0pd3dFgj7DSK1+trr5Y5Tb+X6ECs7iKASKJnVg1RL02cVoeAMOLuQH7aq6doiiE8RGjELv/FphA3AiPYRIUIzGKEgC0NdBaQy2okO/fxuxueR4oHowI/TLP0QHmWPNkLkwPjubgW0flrOvpkYvXOhcBDT0VB2u02jQbGOq+TLwdT3PoHM5HAOZlvm2GFZ5Vh7180cdxrCJ04Yr5UmnuobXWnusL0f96bMbmiOuPoVp7Pwm2yOZ1Q58qzolYQUuzhX6fuYAe5yFQNpt8lEbM8uiPO3mGfyOJY1mtHSVqcfx9SuAVPteMlDsA9s9jBuj8kfI9aBqx7xUO3FJyHgvMCUrOe3+rswNqs/zAvqCCUoB4yD1+aT+SUzamser2IZfnTxfYQGwJDdy30klgcQzaZy845McE5GoFbkJAxe6I/OoFy3Mso4qYtcHXP5h4jB6spE8XDkfKuBYx/Z80JIYXGQpQIadAg0yRnaSOctW7tjn8cvDi6YXKFmnEbEZfmEOTeT3+sEeWCdN3Ue5bVb3978+HHhc7mALQr+3z+OSSQ4shr60ZRRumli/Knnw3kd3h4RRaNhaGmEA5PcRIZ6QQ2Z7CuFBMobrcCcraIHW+DgVp04kWimQFsPGWhXGLH0U5T7q94eLZnirMikHUvHjqUy6H16jD0M431YdQ0928h8jhjl75QQOnJeB58rfgWYTpODXoKDb2YVTApVQBYBaX9J52NRPww0iI2yFHJCxhtsbsnGRFYBRvFrDZ+FNODvAEV+cAs/PRXBUp3XCOZSKO3J0SBOxjv5lNUIXwbYo2GbugiKXbyana9WmcFKb7+61yRAhtc6CuPtlfOLvudPX+pdnJmAbxt216urQKgko3eCLlC0ZnovG0nCxxv5BU5epHBOCxXJr2VExI1wqkQiAU1yst/aXaf9vxeoRpEbZyeGBUjj5dmuH+p8ImTnDWwzpwcAnTmuGPErO6NUSsYu3PLrcJfrnOu/u6gin0tpZ2Y2Yhj1ViaYX3aHIN1lUuMjeUF9zd9ReVu74h0ojOodPY5butAIuOKiauGVVVkVsutwedoVwUdS5fxREfBgOugM2qcpg6SFOiyosP81JwaAaQZe6o9vhTuR+QbQXew+xkI9xYQclsjlfmpe2RvM4a8/xQEJJKXXpo2/WR4/3zxpdJFVHGZwf1SG/7U+ZHYOFTKCxGVnmVE16dS/8Lv/tAz31eRcGE9c1HYBugnUe4m1Tlz4uC6jXhjJ0b+PJ1D+F6tBTMS61t6uUMF7e6nU1nwQMH//i1BPPNwpePPVrrbmWA/CSGHbNuF7dYyYOk9me1nvi5YTsHfVFY/wFpxjaThtowre63tXa+8p58/Q0zqsIWkGK4jAzeHGUiTMI2+lkgEMQdjQIEJoPKIoJ47TrIShSl+6qzM6s1w1N0mXgvf1EXvrNk8vigfehQd86MdI2ezs/wLf/CSMkPT4LIMebqkw2b6hifW5zchjb5R/MmCJOjFjKyVu2cBnqqu+tXEplOdowNhVL3TS4nrRbmZPBN4VcNXkV2RWTpra5z32ZH7ezNmDnMD+N58EzvFOjehb9l1u2YWmNyplAClo2c/n7eELvHl6Ge8mzMUNeu7jRmOjLGJZXOAkmM8LWJm87ZhGOqPBnceCM+D+UfA3OtfHlqM8b9gANoZuGcGB2LdAYmRSPfNrp6tDZoOb55DEi1XcgadSuPlysklhUQEZXv0UO+I4D29ZG1iPciQtn+3oPtmu5MF0Zy6GUmshhGt4lI2f4ZpQuDowYFo3twGLYe4mnUVERY0EObvFKz0vYac5s8Fi41aX1GvRG7Rd+Jms0SPeDLb8uXxRueJiPrneqjIAEWTZbfsISZQgk/oN6HunGfyGndubnZQe/hB6c9HIr07adQTNsJ//GvP0JmKMiI4tz9xjzlLv/AmvPtfwKWD7tpsA257iQLk/WyzZAeStVTLTlAS0jnPAKzWqoIJUEF9CUKlJODiAcxrfgywVCAjvSU0vaNwUlaEN0XF9j4oJ38/ndk/s1AZEikM8eNKOzuSdsJMTHmwWGRfpQ285GLhpIJwI6CJlDZxnORO7ByTD9PNV4XGtXICru8bOJ1wgzm3rud9PFzrHrhGCYLEfN0rgV2UljcXEqRZKMhSe1Ijyz1UpXQaUEEAy4QnbJl5ybnh61gsHYnbmMkUaMj+G3PLcjwD2GWPXn4SH3E5lbhIfAHfo6ieT+ZBNujvUj7p1K+taQOb5J5ftYifjHVhjrkVz4/dVQUbd2lOlGwT9pXcp9WXEDfM54bAPhfVWG5IBm/0F3Jlqintjv19qCaav9CBnE6z+ET6yTFo1F3P2kCCcjttAhSuDwB6gwG0UffE5SBqtihOXWtTO2gBef/i2sSwNSuDnErNMA0d0ZPMmIG2jQHd9kSLVoKkmInKYDrr1dHn3kbjYpJd5sSlFQzFt+IWox4xda/f+QYbn2WFwhcFErZRgmhjqsY4MLNXbrZTpDSA38XZQIrJ18gPJL0MSZM9yVPugV+R3h/isOHWq5d1jKVqEtc+eB4l5QlggIxWqmkQxK30N0gp0CdOzRlir5EIhqj2JaSGmI29Nd4+40vn9CWZwQKx/MYzqroNYR5USBe2dl/+teB8eHhJGiHDrqFDS5JUAY1vSUnnM8V3IoRC16wMQ0kdJ0V6bvYXMVhgaUuj5g3koCdRv2E5EvCl6CPcx0btune9O1Z+LTVa8aX98ULuGQcCU0uVm6g3QBvkiMXfaA8Nstie2I1nCSn30Hw77uDx9pVE+ZJoIDab+WkpoiIUqC+0x56hL/ZI4/gOmS9WJN/c7EmGVn5dTU1RWWqeL13kITZxpedbvUf0Q6SuxheO+a0r8lM9BjVd1b2LA8t1a4Sk201OkyYszO4yEQUbTKaahES3r19RSljGOfGLoQLX+qwvTNXJkA9kBzdNhCd275nOWq0rxkfOYWrREPe3WShGXJgvDov8E9IsVyShiuIBHFtpEeFm89DHYOwgLCjKJ29xkQD8co/dCGnn69bjZfeD0orr0zys/qec2eh9RjvKFv44seHu0SHuYi2YyRQ3isp7hA90U3Ad6F1fuQ0us9GfomUodhr0a7lLMNIm40n11gwt8MrsPh3QZIOf9iHktipSq+psAjnzvsqXcrTEYd/J6p8QYIKB2exyza85qgOWAPjftnj5gL1M1ELBr+G5Zw+lqP9bh/3btLyRHLg7XWV2Dkz7JcdFSC4iQOJTlyQfrvy71BWA/TRZ6gWipXq6FCi4LlVGU9CmZlvVij0LE9Nmn853QBTPB1iEziTu2MVDEUyaGXsKR81XR8XeJRGi8atj4DlhXUgVdReLRKx3OOGAW+GiouJZJqK1Bk9m8TdptCixBS+yvDWikyaXzPYbUSa/+i5zMxk0UEclcdbLgalphtJ97S+zGzqDmPGDOnt2rUNAL01q/UvUKtC4jpspWrE7D4gbQJK5fVhvzg1a51EtmPkqgFwOIBnTnPsDpXhX9uMpwqsxDi9NSSNrHZbVjQAsaq+9trUqxmq/I0T+UfiCYI0DqshhQGZ0iOr2ALmZrfxK8fnAvRVEDf2EDL66CZAuaFcVi/pOjDSedXQzArgPtptt0GjDOajqcKZvUU0OkX9pd8FcC3FRFCNyELrcN+z7Vu1v2rWV0A3pVxCoLN6QkND3c0xV0/Ci0MjN4mRKlqP5luk1uIPVE2yl3ADL7j0u2QrrCB2Ia2C2Khgd5SWFd+hm76t6AFJHW5TorBnf9HhAItx9m2J62T6CaxvT7oGn2a36fKN2TnoTqffYW47BtnAREv/Mu/14ng6BRnOM85xifS3vjD2hnOHbUjFcA05utyBoEORkjsxjTMBLPpNqZprg3WvaSTbYPFiv+1h2pW3O9PheJEz51p1BGDmN2aYWiir7tBKNbM6rekWEYJxAcoI0qv41oMFtHarkomrwttDNQtTVY6k3mAejUYoajmucVWtEUEG52pb5EdmRE37oJEWjKlv3GgYjIeLGMPOxMekLd453WPwVpWbwCQ/6f4WCjbNrrysGRUe14vjZs1m9TQbnIfqlbwjzYUW+BYAGexs2KWDrCUYw7OSoFVrPB0GqVqaKns7/T0RvfL2SFqcEvVBcfpWgrg5MKBhw/n3KYf+e3Wwj/HWxk3LsMnpPFpP5g718qEm1APFtwekDq8J7+hDdD5bsTN9ZdXQ8gyrQq0CwyLpW1yziiNDFCp+Qb+WGOEzwRF4qAqHtKtBN1oVeQmtn8KdphPKpluLZj0gqfRU0pQ8c8JhuknL+TFVHb5uGvbGLBfW3qe65p9+f43fac1K5/oY/mVQqmBqkDI5OCPfomScytZv/zsvozxfUkgPexBU4YMT6ctHIPdUgB62MANrnQehwQS8aM4N+8fH04qmJ3PXnnPdlw5ZuAJVmwtuyd2Fd4SM6ASQ6Sr2a9wRLTUjT0a06pKT3z4q4xxWpHqQXGD6F5H7ekY0R8aiT67uAsHlvc68xu/5qtGHItxwD/4la5PFeDyujMcXTXWwSgbR3KZIJ5sqWpaqGZ1VULF1ZGqrMGUHUBqQlUGa/ucbEoXRGHnB0YFdhmBfJHJ+aPSY3aIOWk3UuBQIr3O/O2haeiT8RWNr8n2q0q/n/W8KwmugR4QNXeQh2kT3WZb6yybnxu87+gBqom59QDoNp+FshZkTOL+p6uaxaRoSLE0UCSOee8QBFmeRMZ/OWQF4p4nysYeUoN2xKNJplb9PzuJ5QxFRr6cJ1grwK7RI+94IXtFg2ObyA+ZnZVGxPtjcI1iaSZTT+QPocbu+BB30hYq38On6t+zaC44qBIdMFQ0/tFluMG5sacF2L0qIlaW1SHl48WGMuU6/Zi8v0VEt6jiuRuj43lqzUxcv3OaG6gVKq9DI0/C4fF39yHQYZ8T+2K9nYBm7x6jYEjL/b1fI0iKTacHQOjOAYxKUwNI1TKJAul4SJ2+a3ebtM4OLOUc2B+vGaZOLdxa7h7Q4gSwWkRAA93za8b6r7duFvM3u+ZcABmhMcuT6DP018+gn1BDijbshpCCSffLzwvEv84Xr0wMPv4KxoDzfHsYZQ4XDsrF2lZKBWi8VgclsTqPXtyVcGzMpNH/TCdcRwxD+B/xspSkIqwmyQQd7lahvNPu7xOWszm/sukdlhXSeFVpeR+HsOZKGyQQ/QkUe8YCvHFI/UbpXMZw8zSDGTsb1yjnUNvMssQ6H3D+/QT+nvsjcq420wgLfxy1M3riH+oolFjDmSF5ff2yii9ihEQ44IuY8ZULL/9q9djgyxEhwoVKXJMbtYFsjgF7HaCy5XLklsum+O0f3ZTzVKcpyZzjpDf8oDb4Tza8hpGVpfLfzMwYMrbZuQvXYff3VXEtCNvwcLpTtxAVNJS9H6CLB22EMRm9d5LyvxSYnW1QJmKPREeGK08Ly1Az1qM0Ow+KmQ2W2vEoMnWJDMX+JUjGLNKwUGM16Klb/w3nbBsylo4hZGZyKB7Vi2GrK+7XWF8Hfu3wFdX14sTSHFtYqUL0O3yzon8S2vp+BXe0Rn/QZqC/nC5G0l7c+uiOZV39G4SkwqRjNMgbc1c1wGrbYwRbOOfd2SjkdVfHuOHEfjRVK/vgQ1GCnfAcQj8obJobPqum4FZw1P3lAxTE96JsYCmLrD8jxQIoe8ZoWuZ7zbu1pJ+DRHFrrNQ7cs2Xu6v2NUCy1+tFVCXslxfcCjixYOB4/4B/dI235aiIkT/pbL4AYoLTI4qsuQV4rHbp+x72g1C1X4amgIxJfxR0NSFbS45BcIlCN7EZms+GDoeKMEj97ih9MFH4pE7YDm/Rn+t1c4q/0SmllWxlao/21H7adAR9069AiTpP9zaYnF/eSFfmOeFJbpYruzl0xOFAM6HIstsPGTZHVAaqyNKXsL6Ke60S+nE1wCJE+hoX20giSfEgsM/ZAJwF8ovecK9V6DBV8g6XA4NgetdhnudRCP54leRcSMKSIATf8U6Oj0cD64nsW3ZsmTU/0fegrQ8YKMP8fUPNbYmUcrpl9H/Lstf8YH0AtohwZcvqdaPkkDk3ML3mIM3LgCeFMMovyH6o/12lM+GXA9H+tVVVXElIOhaTVfwjoODlVD+hW5M4uQ0rNAi/2kenL3V+Ju8FmGroNdPHqwChCfrKSGAmbtTryFOQ5vBZJRyKtufaTsZgKpAa06s0BcWN1TIhftHquYMvxplLTeLXtjorO/mA6DdLAJdwL6VvsSQQb3CmYM92zXZAs3itSED4aIlXe+N2rsVx0PqaikWQDAZ1/5DpiAQuPkM7u5lLY4IA4lYoqfe3jojWNTU/RjuZiFja2t37ry4v/JOAoA5/rNRTfZhmN1dSVH7KrDrU8RMJATklrs6EG1eWb1rR1SPiDB/mtbiDrUOHCENyN28Aws7oX9zz0AZ7teSDCUcPerfZCBv0oqjeCLBXCxpBCtM8gZ0CTfNK82ARLgAwrGQGx8oXMcXnippwkwmjK5rRrqRBoN74rhnQG7DKmXN99nClEINrBuwxzDXwp4NYcLHLHYP7iO2/MVPP8/HFvwedPng8ybhB6Z/NrrkVByxx3KctoLz7K1arj0aDmAtg+QAHVsZ4Fgbo3ltNtsSFJvkaiQkLTEMqefC9Wrr7eH7n6xQ6jUDJhy17vTZFBBao2sQ2H17Wfg5SbVctcv3SrPPlzH65mvroFhqzcUGw6AA/5Pt3YtOS9FpyYiia0BL3z2GahfbfKAOUkM2g7NtO2PcqWlA6Vc8rw/EjH494+5/dtRlcg3UqSKsTIC0cHrbmvJ/jYq0jNI5ZIS2Bbb3ISoQN7NMQBOniZbb01DXQgyLUJUiJl+AzWnRew3zC9+uJnYPXaHRr9kR63zy9PKm+UuZAnPMEFL5N+hrx99kdN2EjqSROevM5m9cBs46xMIiDV6WHi9j9SCduP8VsrKgz7tijx5A+Pr4/P26gQmQQifEOxGBOSg6J/i/LO3gSaoFCCNDy/eEEC0ZWhpEOOO6Lj8u7Z11OLJpjI9FiwPQBrFcTzp/tV3HHEcFVlNBRsa7Vn7pUC9cXUzIVByRmp72Z+MEf4w2PVz0SvfyujDYrZPYJnypkW/qw5SIqvJphAPht2LjZErRRxUBre1R6jol+Ra0pdtIR6aCIsboPU9+eSACdJggRsm6GYqMfP2yhRL1mXDxId5tTgLfrCIEOkLjQ4mz452q71tGvUYYTZy0HzqdvWOeteBwtpMPzaA5Ppkc6EbJ2L9pGQkG+rFMRijWNJkmqHAaA0NiSld6nU4dQJ1Aw2nTv036iiwElxXqOGXuY/mSzTfocu0gskszRQJ3O3IYxgqLdGli+CS0W0kg/9DUeVrRODZ1CnnLbOkujwegSbglTxuSjR1RqRb7su6BsthjG94l+vFLHuXGg78vZCedzi9W7qqEbyhbrRIxwBhFouiwdlImNh5bZQJJNbsfH9uEVKFRBq276n2s25WA+25NcE54C9JlcLrhSJOWvZ8stcACHyBKU72yNApa8b9AkRQ9K0OdwM3H1jqpM9ERULNJSGemVq5QnllTsuH3gzpFmX+p/6GCiJZNagZQLuJj/dCCXBjYp5S/pmgvlGlig3CIcrhmW3O7XtE5nfA2a1fyxRH9SYQba+Zfucjj6FbgnadjtXfQh5ZizSQ7snLuGlYvNdIgsZgf7bsH0dTMuInSDnKBBoe9KR4shnvFdp2lnxzCltbQDdPmO5HBi32DNcoxcJEGa+dcbmdT/vc5Mu5uv3UoWPBBNBatL8cdceLHUiPCmmUNuUzGVSUsbm7yeV15NJhbH/9rLzAh8kUi65MO9+7Hpyff2KNtXug5r3fnacLon62nSNamCIG6GANigyuWhvGT77BS/ogLb3HtB6EGIoTV48MSGUxyKXWliBR5B/lPi7qISeqrwtMbTHd84QtEWamjw+aTU+7ZakQNZsK3Fem8/+Mmdm6uOoG6GNpBRheRMOpf2hLJeR9vA/wHeqDM0KqR0zzZsPecVNH7J9NYaFU37gxvsMAO+b4hrhp6gZUgFqRr5PuAHy7mZEs+1J/47fAHtk9/VwHzUHI9CuBeTO72a477v2BRMYKNqzOwVv9VJUzTA/pT/+PieYFRahTQRp+WBnK05KQl6NnUUtidWfGid3xSoIlOQ3bP8NaXTpJ8E5TLCoqaLAO3LM3gHr49EO4Mhr6zE6qtAw66hU0pR0uwiLfGJITemdNSDWozeBl1BJ9fi/flV0frTwMouai00Jv/KsARwohVBq9NkHxFAwAvMjpbThmVclDn6+aQ4/8jPSWV0LVXfK1ghXRLHcS3A4Q31YSIsjed1dzdi7oZNDpSdE6yVjqVOjmnMCFq5EnhV7Vkmr3DG/6Q5M1otgUvXniQCzuAeFlwLMZQBanQKd6yX/4mPukk8g/MwGseZftYTaYibnno9+O2YhepDIU6XSMV5sLVDX5kuYSTEaj/bbaCqoJ2IwZhXQ4wiG9su6kdp52NO0cB1uDkq/Q0+Atp7gCEPvNYY3rajtFhndlKM5yHAMUOSCZUfPwnEa5xn0yKQ3osxGvInP6rBATvKVP2/eLEcP5rKKGJ+cyZgpAxswHrFTmQIOqshRNVbVeJvsYTZsQZddH7JPfyZzcEZqk3KpCEw8vHb9AXtgw1SdbZeXY9yNw8n5q6P5wNLjRPaGn/8O08tMc97s/D6O7OWkChxmSspWBJ33MbDQ5G5UtVu2eCkCuQEcJlVz8bTngMck23MzIlcYnFkfWSEo/KcwTKkzQL5qjSI7sfvy78ATp4vP/KOIRhHnSe8Pv++IAB8lC51AK61jnjpupHmo1n4JHP2uglSeFJQOstzVR/TZW5Fe2TFbk5ZiCG3Sq/qOD2MP1jsbomsYDECzQnNqEWxykqrfZl8g1gSev8aUtg5qrqpjGVkQYT0s1LDqhgfBx6UtfJOj/hv7g1JNH+loWxxwZjDDFLVYQ5s9idK+HGYCMzxn0uGUvJpErvwUxzA7s1sRJLQxDpPI0Ky3CVBv5+X1kqP9kDq9IWDhv0IQch6Spmufhmg6mSV/jeiiODcD4tjXyj0jKUqb0+vCFf1+cGWowRdsmIOtUk5zWgr+ron6Kb5Xa/KxE/aIgXv5Vo/4b9VVFPwG93lK6H2FHvjEkGuU7Cy0uACVvkqmKHdzjifqlEcXrHwZKFsC9pNtFZjHqBVjZsUxH6eaAb543njJNCB5GVSiAgBfAJns/D20BJ2iS9dpx6uUH7W3QEXIx7Qd5eyJdpQnD8UEZ2RBqU6bokDGpA265CO25lvWRQ68T1O+gSb66YZFHDJt4Jz/HFogTyCq9QeawwzpObUy9oJwlGSG/dPvU/QgGQE/XYE1pE1VfGqe5g6qoGvi7wgWl8m8KprOHMwXSW29urGZQxHLcf0qy8pRiZJ8PgAbPGbStBZyp1/swAG/wIK5vlLBvOAktNlZxwb+tSWMZn5PwnTgqFUKMz+odd29cuviVlC47Na3FmaDyb4HHRKdp6Uphk1aoZl8irlYf14s5x80vS1Tk38XP4XYYnzv2dXuMNrsyW1pwVwL4siGEVuFqaKSyOI8+vxoGbW2p+SsGSm2lYbv5TLI6w+uYTjCEKhD/38XO1EmvKqvqlp2zK0i/gqCttMpfKpeUtblssuWc6FDVIeYN2hRH161pIZbdrCP5Z76qpd69VCG+oZCHXpTGTqyR4YrTN35SU01rZ1CGCSwKu5CT5so/1VAaRQtZGbGgiCsdr1V3LTK/rkyPuPmajWU7W21U3yvvYZ0nBYeXZJbkzyQiwC+G6NRjTv8vzdkJd0HuSSQlUUyH6vkr2O4nIJWpyF4L+Xmgc6Y9QnjF1kFLMDF59pHsp8myGe+CIAKlMOisexWIv2NrRJojwEM37iOwFtRzIlW4ycohary3p0sRbstJ70hMHzfrm+WGW4RP5TNb6N5TKL0CHrx/WzTLgJMvbtkMx8pBlnFUoSsJJTfFBkegdpy1fPozLS1Le2scRJwX3OEjtzuWkFWwPnijEJOA8VKlYL2l67Giha9PVahjb4X07YgqhtcWoU25s5qOGvV1/fpNccIg56DggC7rUjEkrWtsehqdaK7l/2ity3iJe0W+zDPee9FjLNvUZ8qlRxrZ7UPCxWko2Wcqj/fiwoP/q66OwiH8IE13Lya6eDdwqIqtBpn9TuHDi7MKPrsWfKNjQzKCOeL0t4/hAhZW5dv7bSeSYE+oKN3SBJwA2ADYFuehiNvrwecdT0Sna9GmynknEwWwUwIslJqJBcDBYXRDfXV3yNeUOgtrIv4nma+nsd6wcQPH+eYWfm+gcRQteEyxd/SHvlbeXy98Dikzgbw//DknneOQ2IyQz1xKxnVutGCc7/0rGc2j2MjeBWooyoD2DaptyvKJgbMQWCE870YRWsQ8w8KZ2ZBxaCOdw9BIcFYIKvkbLomKDLZ1wcNN8/p7SBYz8xw7VCaq0P6BqrVwyb/XiWw5kuioyeTXDJzaEZ1KM33NQmk1kt+hsAHN+6OLwP8spqmYfk/6HhH+jUisqdGrpLq/+EjBgWnhU3eWu6SY3JmINf6lWnB191Ldv0i/lT0RCXlMztGyqD/t3ZL2zB2DJ1pGAQEFAu3r1MPkLb0AZsPzff/m0q9JOFrNpQSgDLLVOQ58uqXeR57GEDeDD4/b7ucQmtiT0BfkiYsXZjbpSq+9Lre8t8BW5JWh0xGrtYjEeE4qJgeFkld0ZrawUhXGO4jSp/tupAkA1ALfyTo88e2qbU/0jEMYgsWXWz5cFhVUB6vfkZJM4GEPdWHDVxAqiIMzX8xoQPrwp+i1w+6rd41S1odvUfZFgdd7ekb8OzSeHNWzY/8y8Mf0EqZm1xikh5ptFwrMTublDXOIv0ZHw1V1wHpH+ZlB/IShk24YQknNyJcUpfR8XCSs4UaKaBQgS7bsLjQ7qIoeOQX8leV3SY4E5RGtV4QpIhTGoORnE6X0YGC+D4+uUhq6dU0rLLdLbh5xwDB/d4dt8hqLUSUK8dE3V7itKcSs10st2Zp28iWB6IbZF3MYedH1+3j5ozd4hnfqTc89dVXkY5QKASvDJxEIxTirgEOV2rgMWSxjFHN2nT8Jjd5oGXSQ1z+nL9vLrQ0zX5n83cbmB7zi5YSUnpJM/othAsf6J6fq16hCS27hCyfAKmks5TT3www/jwxrVb2V5juPyEqXRCCo4unrfiyBZb8Ws4TWxBu3qiyZVWUeDKe8AJS3SSP2Uppp3bxQHYiMrlC9tFcXLhhByAcQd6jh+29xaVmR8/TNOndWsp4LZ9v/OpTdF18wfAgVlTjMn88k5Rc3p0+9lSYvcJ16tO2smKDJL5zcr6bwjlvBtJqRXfilvek3HcJffpvinCjcAP4GKJ9y7JJamqe9lRAvtNttp4DiM/JXfYQFSyG8q9tlKfEwXcDkr7L5Ac4aMiFH/M9rzTcM3RK5awmYTFSwTwJMgxA8XOjz94q05gnE+wNtirrkQQXqpYkCG05w9bBWWXW3G/+fsp4De7HZI665s5F44tSUOfHpcmXlvQCt/8nTrZfpFWoxhWomXizMSeA0kPukNNa8vt32FuYA974nUKYdX0u3cp7gFE7gEnbrbXZiiRp6JjNiNqLU59QmaJ7XnQ9gJyspVqHLE8YkGHyUdYj/DcWQUR92I46m8Gf7nDj2dgDhtWiOHD2UgmLOQcCSb+Da1WOaQJUyd+AUloDi8SbDNawx2a9vVdXqXMuQd2F9sAbvZCY5QU4SWDQKASY4bgyi3/C0FmFQX0dJJAVej4iViwunpVtXwOk8MSDVU4synfBYrPbFW6bjcVKjnDHqXww57lL/sheoqoN9zGTJGGHaR+J9lnXYFmjwROUuUtX7WCuMjwBFszVK/5lJxkepV5WdqNGKHfPGo00geAzccHJP/c5IpJ3cQLcs91j+fo9kgY8bwXwYx9ZI/sRB75j7er1ck3VmF9ybdY1j2YPz0gYjC4KO2KoHHrS+gFZT7nh9iaznhHoYsvqUNmFxmSVrnTqecGEZC/sHq8iMjRAV28lqvzyJz0WjMe3jpLivK4oBaBeDHkXvcz6ugT4Nlc3eDJ6PljeoLim1VVPnfItuKFB7q+N/iE6gqz9cczqJYOVaWyo8Ki46n0ssE7qenOglg9uvnrEO842vQuhb7UJOs0EHxxKIjjdbp7wKLW5eCUJkKzRGiVtiuN1mUjiwTC4+S1G/wVXnMABmC1yRNa6wcnTV+DqxrajAN3Tb6ePcTgMoMEp+0ZZeHPCowmJdsjYUw8e8yxd31o4dL23poyCt0dYPAEt5ACwM123pNUhRF5dKs/Gfyapb9yBQDddW7uZXK3Epy+bFNFp8ouT27XhIn/n/Rk6J3YuW5MxV59wUVYvqXBuBDY3VAJLzANW3yEAFYem41YcOc9MsZAfomZciVbdHFTPgpL8Qv+2tpViVWZlmSVrdqIRafeomRtvweS0TU73uh9uYIUjkBW4g1JLS+NWa8syhgiFajyEd69qFuOg+YULverDETmFJRXbeDNSmDzdAdQfAI/DtDwfW/4ssaCDrBqeOEi9L7P09iVuh0ptb9PC5B59NfSk9QSpRfOV1LO7LXEyC1MdSJBUgNfI+9YUdlof0y7NoWLzFjxxKMiSsg3zDjonKMsELv0+McYqEf73Jicn4nIAVwk+9iaCCpu14DX1YFo+sayomQqwJeaI+Z2EHlffY17sWJH8KQBH6sJwKha2e09dfnvNaV1CRU/eTSwdoJFaW0MPt4cUr+VSREAhOVliOpFqXZD8G6e8SD9EGzM2xn6/k2uHN7zFZxMgRGQO91h+R5TN/vjOQtNzzXg5vxPfN4+agQ/z/A+cVloXNuBTrUgAOiajuo/oaWb2UXLoDiYClVf2lMZAI2bWbIkMSxbY0qPIzUKknlCXao6vKK0u8uhtkPUMu6m1drn46blHlIqvSqq6iPmdOG7uHs3VkW/20BxRU0SEqnCQb9/3WQW/GUKe5Ys9fNQneOWgDdih/r77/PfbztAQQyfAbEdI9DulC8kPAPXogwZj4ur6xYbMhTmh/HLUjoBvNkKzMAemiymjE3RNChLqu9O+TSZZ9Xs5ffiSik2MRvV33o3LKrAfY0PYYt49PChUKWrSA6qrXMC3X4CXhTeMkVw8K1SGggGMGcUbHCx4Vu6B99ofsJ4IC9bUU3cnMxc4Unq4uzN6C+UcNABqFxYCGQGq+ldCoLwGAJ6sMgDiQkui/jrWk1alfUh6y2ANanj9WcKPnxbxrDOhlWpVdDMqFP/dVYil5ax4/vHzowlQSyvBDin6lCTl5HRd3kQ/NMKbP3pg8grwxM3Egq3xYRWjHtntThyy0miBZpeoLB9O2sDHWgMH4kyUGlGG5inMEUt+w+W1XYCOgrvMvb1S6E6cbMlaUioQS7tMLwSXcNNKU8c5cwNAFPr+Sb0VW+cl6EX9Et1r3/0lTz0Eu5rC2mbSjKJYLiwFFT0Kwt+5TTXM8z0JPAI3tR9bgH7nDYfKJ5cf9M9HO1DGQP9Doz3pgmgbotqmnQwHABRLloiqhVVekWYiNRLXB9UYYSPKQ/7My+Ljh/xDUoavxMgXQTaZgLdhK6uH/z9kbpuA21FB2NHV0b6UpcmIJ+RByiZ10z4MegyWrG6ccIVyavpKMPlV29DJB6xObb9NrLt1S9+ZwEbb+kwj+9fmeGyoqQltP4NIohZg1cjOkzwOLZKlSY8QfwobTf5+/ttflvwVxByggKe/9ZopCt3u2Jz3FB773Hs+k4lriCUdZ5TzDj1kVm6090jFIxu2EzqC3lCmPIlfTc8LzNIC4j0UA+95PHxREbS2fHwDFcdhUe/7nXkCPOJlX4+FkODsRPxg3b+NoANJk8cZM3uWdA/52Uv4T29wzTzRPIvgJK63MPbcTORs6FqfCEdJPqX5cubRuI+9anzN+VjtLTpp9bt0qP3aGttv7iFd2elvOozaykoqqgFA+0w1amd5wrLhjEgzHlJL5jyHdpcZGiZvQBY6QmAwlCw7isyLeiSt31UWYHTHTXGXhl1ckDq/+mECIyHAFz2CKBFV6m+UClMt1bhuBjJG3PsUwx+Nmai2melmYHjeetBJWGaSL41L8YvvQtj4LD42Z6Z3nVRCam6wabB2fXyZWiLx5zD2MZ9cAbRoIDb+o+d1dsN/s5Nx3v3HpsDgStwrW2r94N2QnnSZCBv6atXxlEmFjvsHbMMZBucqZjOyoiV0a7J1MWFkCbCvCXR/jPa/3EsfUsXObTqqM6cCmdboRxHhwXiCm54gTNfly1gtCmLwKmTFMEX+STFNKCaRQmsue8uM3JHxC2FGA6zyaMvzgYz14OlroBuTnOZY7J3Cr2WYGsPUINTI23sH/YAV/zFEfGKp6ruLKms6cGSKR1a2qWQbzI78eoZgtAJDXa9v5HtE1hk5MsvDv7wMRPdFzSoMsw2CPuc34h3uJ3qyYg0AMOvlAFirqYNot4J7uSkoy6mRPH4u5FpiG0IlP3k76m19w5+ZOrB4BVoKPl3LbhAXptvbKpt59OwLk0aQDe4F+tZc4fBdl3W7XJ3FXyYDIf7CG6fEe+jTwzO8mosPvwqew+olzelh1je2WYukb45BUj3UnznepO4kKU4OngIFIC0BCH39wXiJ0H4p2ofCXrJoUfcL36dmMoKkLhNrzewY/MmXxMW33Qo+i3NU4HfT/rPXhxU0ckbJePisZ0QIJaOYYBbwQIkUeQZ4PUWWaYfjNb2/hjE45/3RLmsa4wub9aILqlJRVFixjKMFl3/OuOsgHA9yWBN9O0ez/x/vZgWwc5Gnkjqf38SaR+5ddBa3RUlRnO1ytXw8y9EyCthkZG7mMv94JIqW88c8jWG9l9eJ7Z6CWY9coj7DdkqGlOzRTLTaaKFUJ7JXoOKy7UWh9tKr5AuF4NCoI8bGRRGSUKSZQtObzzHCcAbxkVoq5ns9bPDklstyzPIQyeYGlD5GDWFfF5OTddSzWuTB/CWZLszTPf0wVcGVZzLHkGWRg6DGXWUQmrkt0z9wfnJJ6MLIXcFvFyoxJoKz31P6qI+Lgt90I1Ckgl+G3o6YmRQdczeB4o4fdovVeB+ySUmIGtnL046e2CYWjtpyJvNvN0dH5SyuRrQ1WQZQKtF4h0eOaqxngrda3sL61Fq6MC72bM7lCh5vXtjjiBT+ItW8gmScR1K47fuhRr/SjY4QxQ+1oq62+1g3ODOO/fwU8Neqfk12j7SkNQp8FIadkLt046s5NvtWuwndBOaWGRk5lqcoorhgQfCYtRaH0njifg5/px1u3+O8Zn4EwvLPc3asCfFie4xpSmguOPJD84CKzjCC/MBvob1CpF8aonKtnha1Dpk3r8JP2EBFRIY2YFZJG39Oc3FKgisG3H6dFaDX/Q5c5LlQ5jBEVZ6GE+FLq1zEynpixkHCZg9vpbzSUD6D2jSG4RkZ/0jtk8s+6YVlrYvxfEAQ1WRHctCAGnMGiAr00D+yWakaD7K1xVhbDx8Zk5cZFlGH56DR9NHDNNKSxO5/bjKgjg5o7sGKNdIfg0LkxSZ154QJ6BnfnrGBONlclt2Z9nEMhlB0kcjHhc70e53YkxkUBCs0r7prkFurZS4fSoukYSxW5C+FQqTy7ZtuyRzyoWlTkE0Ik9J7PqfEHq0Mv16CRWpH4A9CLDNBWaY496aHYhygZkFmeD/VH0VFx/GQGvr0eDFzjwgfYjo5NPUAqj5asx3RUzVCKdrMEzFFbjsz9hRs7mVvcyrojBv5Tz2TWu5R+T12iFgz9WAratXtsoDBcMvcAjyDbiPxkJu7vdJ/8gRF9NnweNyyqErTy4Ny4V5395BbBjbSyxaGPq7KI3krcHO5aiy9NY00YurigV9kyT3V0osJIueuWZMr9w3ZDJBsYOuQ5rKT05wmn5x+gjyE7rMzB3yO1dEWzysvp+l1peGfMOQEPhuWZypS5PTMKe94CaWY2xQYx3LhBJPba/Bd7qqiszmAjNGjWP/1tKZz4K765tCCBZiNVPSg2CP//2ptdX4hIwI3ULPT4WzKUiY1/RdvtnIDMA1X3FzU2As5Ixpj26hzW+q9jsuxAM9MnyeUSlpIr6HIx6CUJS9ygoPvMuD4LZ+0gcG9WC56HJF+iB+/GxzncwhlRjzVJLrw29KbkTD2GcDnOnAzDpX6yaDm7aluf2BV+g0xZ9C+khh4x+01hgKpTN+wTG7IBd4DWCeuqqcqUXMR7UDv5DrK3CEgles1sKBwqhhDO4HEsah52SRnRcTWTSOuPUsDIex2vFggyaNklVaOur42NALX2RLSSpenslKTc+VDkhLH8p0S7SaFtYTTl8Y+8cE3YpmRnkfrTpBW7E3vfopiDlh5cqtp+AsxkNRupggOp7g/TihK3tIeTN1ECWFUPsQBdjSE7MA4Qjd4BpeWhLIvisR3pD3VRbA6GwgBA0r3atkSPQcxg4STlWG97oMp2iRd0Vdq4l2YE9k9bTzcPOuk1VjIhnZTVE9XoEf+ieDh6cm+Rc92bhBFSCciXetznmCxEVOdeDkFVrcvTybfdui5fxRZQ8k9vPyfuZxDu4kdp2CaBV8hbVk90+SGFeaXHJ9QWTxx5e/9E749o0sTY8iRaVHS2SE3H1c9gHVRI08dy0xfg9DAjsqkWySyGSiEFcVb3/lNy7jz4VLd9akftFYDYyFOfmNz3/5mvAjbGIiBMOBMlhbfMPTd2koWFPmuJ59ajyglF9GeeHg3FyamgwtEQSWNGBTsqsbaK0Hssu6izjiEnfljbghSSx3o2E6kBIKmvrT1Z/ichWIqmwE1ZjtEEhFV1OZKHFB3FQQ5H4To20MW7qbJp97EM2RuDUi7k0d1pjTvZ8J12PNeShoHEMavpspNFKYzlenD/8odCGBJgybSuetazWJxg5mQ+8cxSIhTxFhrRmHwgo5SiiJLxdODDkySyOgzEDM4m5Yx0+2FZoZx2JJt9yESwt8GxfKamF8iAeb6fN2mxSjF1W8+DYFT5LbqL7t+e4d7fk2aujp23g6XM77lt5e/QNuTOlUMlIqBFfBnEtvtc5OE5fNWch3tzaqo8Dqh4CH7abHYEIAI+UqB+oPDkj7uvaDwqDEHGXzhIbtLh6hObANLlVl07+lBunOSpb90pj1RuQiWZXYrn2hBWwkMxoAMjkdsx+kUd9H4Bm+3GpfgT7cvh2H8gY7D8gpIqFzI0GEQYLE2pUyA5yhMkH+Qr46PT9Ax7SnNrrAx1IVWH9m2qVWUQOEVj4XuFFhmJ3rASr+hdTmxKnq+W5XlahwDRR/UQWrnWykPGGcQEM8fvSqbIwXeP12HGVcJ9ZjbN54F2+fD5BH0GRK4pFDdpU3Dp/yxCbwTN2iuFQbzRUw9E0cEL9lnYPG0d+BsM1kPDzev3i/sU0kC2nTKrH+gz33nLPptjzCOhN8n8S6auvU98+xGU9UucVFTta6I+C4ktJJ56BBgG6ij4nrPBIYwvy9IvdE5s5MzWPFjJrGbSOwWbq7B0fmdJt5E+veHt1frAQONpMbEMYIS/59AIF5kBXOSDW+iwH66CzWZOgu0fe9JV0P4JsLKmN17flrO2scIrPL/Evd2Uo1qBGXOvFOdWSeKPXY5GP4t2SaCkFfIn6c5lzukenOekZ0yDR8nUCk6250mghdrjdpC9EHfShfMBBySqRHjTVvnToy7AxMofmhbZeVgPhUSDIOkcP5nNTqTQrdPuB1DXigzQsmb8FrX2ip+lDTmJAjPHLLRWjGZuPCpk/0rrlOXaNE+SavZOUB5xqn/lu9KvM+nSApglCV9NKkyzM3M4nUxA7KulcWYUmZ3pdCC/KxJ+7RBV+yNyXr8HzUOA6H+uUSvAWG9xCV6KlxhM+CRZd/qIyfTnG4X8FoKt8i7YFEABBbRcPzpNd+y0H+WEfLrcV6NwWsY3/nv/0lfu91z787HEV3bCaecpdP+K71BDE2vs7bz5Y1yc2On8fp3HZkudw+GjZJITW4qEIQgJyYsBeAO/ewIckmp+ZJM+GIs41I+DQ+9/zoFyCAswRBUS6T7754NwCjB809JWwKEgr7KxSX4sj5Ig7xWZnYjunXFIKF0dVoCX+D3OUItnYEfvuvxYfiRGTlGcAqH2nq/J17WbElMj8mf2LmcIABWbm2CLXJPC6lAH9RtQBu2kDAiY2p+WJ+hff/rj2HuP5IOEGtumWz59npp8oxeMZj8iZSzKJA/Mru06pmEn2cYscxXU4SFSpWVIDDu4/Rv/vbEITybrLfWBPSs4APuGpr+wc8azQ45Trgf6CS0z21yrANdqDQ4CsPvS/l+9zjIUZkLG9DCZfb2Thsb4Ge32KXP6m6z0GI3VbbjkNs1nF+PsrX0AE3ViyDqj8ke9DGWJtuhn1cqatkxEJHuYS3jCIqWr4WmQyVLTynninre++9bM02HXF8vrZbGH6MggW+Qytv/aWJ6YdrrAcwtc7da/SYITqDN5jMFxmgi+lwkJafpH/ZmKZs0nG9Ao7kxuGDavsWtVV49YFOe6W5aaUmVH3HEzJ2gSW+YfKDiRQ1ZsMbw9DwJ6Wxz7pApuaQLNKEU7U8cheSpNVHp44ZiOY8gjrpltFoEodQkBQswWcOGPQc+hJoXtrTTk5XnnDsiMFS4dtnCiAXxzxkPe4TosyXmnFOhwyjJEPo78YxI+xKdzzeJlDVFlLXk4oXyub9Qf+DZbo/mqglzZtRvna5c6C2lEfnykq/m3e5jmlg4ftFEASjyp+8rIpX3W17d7X6DIH+tJ3s/DnnWZtWb/VxzkyoH7+76bgHUhmdBAG4Slyd4RKd20IJSve88zAEQW+s9cYMiF9GdNHzlCnIAZHnVuELl76Dd9tJAS8VN2c8gUCixaR+mO2fjbeCeW8doHQdI7AL90peJ9lDJ20mFRpafirbdqMYSJ2lBv2tM1zIdqV7LoKgPjiF/eK9hegvWjQ4/8oAGJcMg0sQSkcVRX/5TE5mm4jOZbLu685DnYXgPlW5NAzMAqVhzxQB7Cm1Uo/OBn9/BGRyASh/ihBH4OtOd27K5q4kSuoImRrOTIH9ZOHU5sJNPCM2oiQQNuyp2CWNkmvQc98gKiWvqXpJ5k22iye2EMfIvX8mIsxy+YYxAG2TpkscYsdd6gRn9aTnAiGFPxG5rBoezkE5WcwY90DE6Hw5hQSJa9tyASoi2l3Q9Tcy8HlOHGYEyRee8WP+LGwsx0lCnPerL0CgdRPSc2DhImpHUe9GW+TaQC/7pjHxS7s5dEZWRjwubbHj/DWsI4KudFqmp8a73Gu5T3FKAA4QOTr+hyrSpU+kQ5ChjJsG3kozu2ASkL7jF49hSZJRE/yJRyEMifwbFRVsxW2qiGMdA3NNToW91m0FJPKdnfhvh523Vf2fT0aDb1waWEtj9C/Cdkx0xlkheYjCpe88iNJVlhjEkuQuB0AF30zRyEk5IQrCZU50cpL+EXkfEIcwJWRbalAKmQgB7sDaTO4Bk8LRzVf+rdhlBxd3pph8EMDVHqTF28wP69BU0DCS8Arae0LFMOLO8Gs3EQYFWeObaJSyg9LDhNQFoOgOM7Yhfy1ZUyyXAlBFhI+Gg3nRUTbaT7KT0nEQrShBE5rgLBZy5Clk+Vc30XGwuaEHJlqTjgrZkp7yryO7SGWqPPM4BBypzSS8KdMuJnMFKCovp+Wa/mMfmno0+WOXK0zJahD+DbpRY4xLgJuz3Vi07I3zcqQYm9/PUVXljMpWP0ogzFb6hU5QAedtAFynptnEnnKST/op6pazbjqxqBnYShAgQgySWRS273iozaCTBKzEXb43syxftzTJ+6ZFkodRWM+37KnrM+mvwocEPBTsSuOenTMmdPOmRWWM/U5mUstnPdMZSlUeW80VhOgvM0dyNPytw2OYPkQKbjgkHaTDzFQW1A1obR7Ba/hfrmc/CmXR1b5sLixAgLGmg18AmItKgU2fCFgvUuJ9ydEqewJRKCJLMJc1sX7zrVmITKfaONDCxlNOUFfhAj74stJs0lqROZ7Ts4+oV446cs+7ecksHQNnSt44O75ZGMGvNSs5gdNR4BeLe9K46V5H55L4EwuTdAblFlPjmPy8Lz+jFGsLrMc+7dSlXKPeEc6tuFi7k71lrCfP/VkUdydwjo9iUqfr2Al4s+7GkA/00Spaydia/rD2SIjypMZnoIxRB9Z3z7aWfqOrZ13Cib3msZLQSETcXWRBND3ZZenMcMdkxL2yYhGwD4NhphduMjeZHX3ohEMXT7hpdjcwTlvuoRZVQzH17v9Do5TcXqzSPIGBDcTmItLZQiHV33TB7gJHLAFi8k1Yc/klOaEu3xN3GA1WDetfJH3sk49HqYo4gMfOQqgbrMJlbvy4l6wdggTZTkwraUIGHVJpHwF7aMDYP56lw7cqDRNWZQLJANEpwKn01f0AkKnnLPDdh0YWeTfK4w7FE6hQapR4nJUCwbbwLLbnFFoheycqufP0w0YAnuJzcIVKvsyNB8ITNF9wjKM8fmlhqmGxQnNiJ+UX0y3C7WQAW6XHkWGjSC/wvFfD2VFN1hRPrG/QDArmqQv+EHaBvhhLZzVDT9jShXakCLfTF8TcmkZXEJjPg20PW5T9lWKTMxikQf5vVwNWopJAPhwQlAjXY5u3AGaZvww1vxO/Nfm4jTO0bZDR1xjGmr8j7apZQ1aOfxHvMRMmOza56qJOMZSE0G9iYQTnZcHvliWdJQR3x87VSnwEINdXSMJFkSsxi+rygFN/7nknLN7/1gGEANbvM/qF1E1b31Rn4ufu8LxQYq3aT+lVM1U+VaIe6k7hJX7sYsVAngOA1Ikare3+ne5l9YtuAEgQcBJ+TUTytV0uQGsNhwt155nwHMxBms6SSitHTBXux1CW0WSVkJgArGM1xY19KBt5ONaeCaNBw1yq4ccZU/RNpaDwoNmotd6E2pxIvKyq/2itwCmYfYfnrN9xaTxyXiE76oPL6S6C9rgAkxmllGdjaMZy4fT/Y2hM15DpVN+yQERyDMo2nY9cVd6m+5M7fyEci8ORUbyp34nj0f3qkZsWWIhY4SIBVetIlIuuCjvDEp0fT9T46VTLvFJYktjfmm3r934+lJDu1lAxJ0qCgL2UKcFRnQm5zdQeVciIWYrN2WYRWncW5Y2FetdeT43Sq7DJIlYnAkT2VWsIaBFOfQDvHJuv/v1jziYLJbHxnFX0XvyKR6hGr7QjYQKfFxvKXG7MC0QxFHWx2jxfO+KNO3CEXroQWHDbWwKmAGvABJlLsfY1QGDunYCg2+Fs3F0btfi8sbNT5gwKNDefc+Vqt3BegIeVn8lR3cNQWMCCsxKg2zdFDELdGNpGTuQQ76mS3nel0zHiwEqfxqyWCJYrPUHkyvjKG9Gq5vxwBrnX50Sut9qQQ+8a5LmsDk62sTrYjPuRWYBUsMR9SA/dxFvsomAb9h+7vjwp/9DZwNvXC8jRYL+fhSz9q67txEp95jSzAdo96WI/QYR8naEo1EFszO1ZswDuJoAhADNBDY8ZdqvbHwhMPvDQDd7eKKT/M24JkXh9sLw8FzU8vc7mQSabWC7NtnugFktgueJGGYaqIk2vqzR61fYq2BxquHP4i1SiEdlSEY2esWCL+Dgpp/BIX8GpJyqpjJN1cpOwuFS9dIJtvshCfifaFKQFYnrhasezK/12MZLdD53S3Jmdqpxl0+cIuSR27mb3mc7vavQHnvl0yCTEoEKeeTcrQdnznH1db5HSo+m8gZceP2ABGgKtNh0vO5Vt99srUVzXrsSaAIGzBI9SubOcZGWONxcijA9B1wB8n0g+NOeAQXICV5GLpuBC2gXsOWnH1NJDD/nO+r4MRc9ayWuCzc3UJsvGt02BHPHIS8plOQ9+FqNULXNDz8dhwWWNvySATWIPvE7kjAGdsRCZt9iQpPJnzbtclf+fx5Beb1IxGdwHFz1MA65htZ5GWVLuJ8yGUEuYTxDE6QasswgyuUOzFIg0oPaBYro22wG/4Yg1icb09vtgE9tLdqVOfIpkTOYgQWJl0V5Gsovazx7Sd1BKno3piz0X1/3G9Cgz/IhFOltEI/HRe1h9CK7UkGdgOpwaEaRA7njoYkByPX2zzlQHWRjCQWYBer41Ez6Lupb3KalZwALHDvxihXx5OZznwsru+mApzaMop33ecnTJK88zLVCuc5pJ1CdCrKSwsaMrxAkeJi4Yokzc5AT8DfQwiBcU1VADR1Ds75x/62fcJLzS2uysKlueuwvUG6jteNduCy4LppeFtBaSvBW1jil/lmeHnfGFtdFQr0vIewqfzuFfRQfeTjTBSm0Fa/gLkAVBg0H1xTuxw0uAom/EbgdGBFHOw0zWXsNXvD11rB1u1fR5/4FZH8w410z2VmkOjyNiF3QBeTqtgqMe4gRGNl9wqX+RsCq4vUjDSLGx38Kmxj4Tbw4qMor3y/6LS422ktzUwm9BnaRABhYKk61Soahd810MkzAZhOeLEP8AJdS2cSunjdPZ57s+R1JY5bdVDEzRk7s2Zf7xX087Izn0/TUK5dVKRwSD98OBHnxVlFfktxm/POD/VvAe+F0QutrPyu4td6TrbOOM+TlCFqSKZUVgzXR/Nk6fhLQHD3MTTF/PFbFVrgp451IuJsyBfyV8NVB84bs4ixNs2TvI0uwA2UHIqM6HzkBlaks1zOm9O1O5+Q7LpCf8P/g5m0bd5gHVoUOxLgH4OfqWWPHevyLi6nL/3Ysse47tC8lnnlCYhYTpvYc6VJYXOvNpAtG05Yo7+PPf5B9m/lzUYrfozMSzM3FNEG8CzmbsYkjbfztvqxSd0Fl0D+89gDG9w88t+IsCndm0M0vOnDfvVqtlGJLmKTholvbM6sTmEEHO9V/GrS/FgCHslFzjA9Poy865UzHrk8Q69uRdWayKWVpnzpSM73NIsD5y43QYUdI5g+iCG8EiEyUSaNOAsz3hPADTy8uED9b/6QFB33/9PtKTYZkbO1/o368z0KQLiDWFVo00oIOM8fg0qW0mMovskqV3swilx0c4DEf+WaWBYkIftmbcPtLzLWAdp6MU4NNvj/0edwi7wNVgqwBHT7tvrlQdOGGEif02++2Ryh+lRq0g5HPPIrPBX2+ht23ORekkb55VGWFUeWAakxQhu+EEXa5Qy3ZdYkufbIh5qbB6tmq2ugP0P2aUKcoK4SZZjVyeQS3n+dC1P5VwqrtWy9VfuE/r2NNL7m4pC9fNXjpMkPAO/JtujISayA6fKH7QRb8L+C1+wW7z7toOi9xXsYyxRR/hTW66KULzR+vQGCrQ24RsYR39Ha4ACnlTmk2JzTsb6bSVa0lv9YU8CNJ4N+uRycqgW1pVfBlKx2hWpSv+GKrF/j0lH196Nm27ciK7MSlr+JjVPwCtZ89xWjct3VTRC/ZxSXgTkfcaEYrGvltKJi7bPlpm8SpdqFmoLWdZ+RkaOApaxWeovENwZWd3KcRVYxdN+EVO5xbchPGZQzNIbf+5947johnfSorOX0HaVqoA+IplB9/8zop4Ca2TxWdNKjsqX24AlDISw7+xbdgYhb50h53TyflJVOE0qIgR1VtBknEGnx4mJAQhiv2BGa4Ned2/wLZo4vpUitPS6a49Wt3vEvCEqFHQSS09s3PClENLTOtz+eBTRRZl7bp6Z55f8JPWm7oVmavBgKFj27Ur4gVAyTddPoVA2KVI0BtWZ1RED3I1SDdusEbdTmDMp3ahxtWoix9M6NPpc1qvhhwl7dxwLaATPe7cZMynFR30COhjeuOoaHxL7f2Ut/HXMyTjvmXc9EeqkFQaN2chS41z6kLkR5F7ILHqAUUD96+tVOa8YDHHYCUWGRXsFOq/4DGGIT14gOYIEF7ziuq6xVQPxp8kWf5s371s6O1bClQTwl1+951X3/mC5o0BVWXR8IyvAIT3/C3E9ckL8GujGI1E76jtva1hBFDX7y/NpP1tdAGIR6eE1rqaZmed33m/KyuEpF8rpzfcZeDC6Fqn9jcxR49Mx07ZC4xdJnUJ7Roil3QmjoGC19QbNNDT4zLZeDjnK4jn1EuAOvqcNYtpsofeDMdJXcutUAu/MVT2pGlZ6VyQ+pm0CvswufHoAdNynCeNc4ffzeAH0BAsx38XQnc/eTWyZJ3h6AlGbi1tIvkeNZRkLd3UA/inLF89bOPF5QHM8uZmpkQc/ChNBjbbeG9n4EmBkGV06x9ihpjQ8i/huCCRM7x1nVYfvcfTpe0WrlV5KjRtGlPegPdugoxLjAN2XIzDKHyah7G1NEjROtb88DDd19wqPubalUguybaPNdrfIEMltJZeGLK4jrymyvcXzLCyWWCeYKsfZzr4nEbj5NGcSvKkM9SNrESUnQqx+x/xXLDLfde104tvEyYvInVztRp1hGV8YQ34lN6obCIQ3iqa7PuolauFG+saMPbT46vf4G5ZrAd3EsY4C5nUZ2r/g2gLuQz6Qz0spXAE8ANcSHlC92fzcp9o0ejlaxcO+scXipZTX/bfHgnDcVdajAjrQ7uYmHMGumZaGoG5Gl8c3FizoZnjsSXKJoFwCs6psVk1DaJjdwz7FWCvkGhwf7+9JtoyvWAm6LN19ryOcc00Tip580s0PspfPZxpcUyull1kWHPtYsuO9+LavCbPyvgBKxZz1rVxNn8SsSdF8VDhwo/FD8ih1F6IBbUpIzJJphDX1XJUM7Sjkc01FfGRH5EVchCSvrZjDSu39PF/QfRJEfBNrzKEHwaF1WOr1tkDfmRfAvXAIPdzBY2CeewXu39Kmd6YLQciKE8KE+FYcnYvZVOLglVI7wFk9/3JB2EaRCsLuLel6YCaBIhWldNCF7sVv1LgFZu0rPbOVkidGTSh3q59xCyrAV4NCCy3tp2Bm4S2mG4H5rOUjaSZBkG3ajCCmeKvl4nKtiRjTk0eET3TccIoNKEyO5iHr6t0Lu8HvnzgqXEu/E6iRyWsvoO4aDGDwXQpSsVvPN8LERULR+PFd9NyfEN9P3eAv77+y6n504OmF+/E1EtxADBGKY/G5Utx3uYSlC1uAfG9wCsT+9RtencvKQU30UZqxniHPzYnKRdrne2VaGD9MUxaOrPHW/q6gCsXZeB66bk8SJA1tpWwWks6eVNtD3NMTyyaVJ7xbzJVAKZtVlG32eKdhlw2Ne3SgahiCOqP1ObrSRCyNRyYQRTq44B7aSVTIz69Fq18wlZSdUG9WvlnDEqznqq9u57gBNJMVRE+IFMegK5t6JlbJSjgR9p+i1OWZR1EfDupcIjHTABf7X7Obw1GAvGIhTEigbxWWp5fujrUJctWAfHpI4HAGG8cpBTBF6n1wYJnm0o25A1KDfF/+giZeJfTfj5PQaea6wvCEZBfa/WAehBwMhXvtK5SftPBMtC2avJ42uvHlRGhkhORxrOkyEjd0GqcoKLEriaVtOIcBitvomD+mysNMg1R5Orib64aauHSSXgTxEyphyH2grLf2+tLlBc2qUU427S5d6Gp19evWZCZ+O2E+QYj9M22WLDz4GJr0CoCEXMiuspDWguoTAZZMf9NqBHP6UR7DFxpLU7u+Xpvp1xfV64/5L3VWVVcQmCs1ZYSiKDGccpKpPRuOFLQ9pGlfB+9OgemWycnA0YXMZ0DrWJhtvT/YEg3ibvx7+SfFZEZehYZPHi5iUnd7KanJq8C+/olbqpP6WUCJrUMti75IrRqItBTK184Zy929IEiPoNfDbEAAbE7GbxzUCfuVlHZghHQbFqxQ/3iJrrN22eosdbCUZbJ9Hsvuf4lyVp1DygABzEwRLAEojITuywjDk8tcpe5V0m3qMCVSEGeeEM+MVUdjk3vlSjw665nOO0kO1PhWF+VLEK6vKzQNehvw2QFeoBN3R/2xErgb5HrDkqgj5svnHrKjq5VhmjfRrwP9JRQ4pf9F+9Cse2XYbyA2t8AbqfgjMw8hlaSBoQF54ymRKF+ToQpdXtxM0Ltfbf7Yh2HMtXKgPvFeekOW0SCNNy2JgFF0vjG/aSfykvBJXHfWIDYw58F1Xy4VpzUZxwuljmn7d6aee5k8Pk3D5109zbZT/AwNIA8qxGV0xLp3joPCN3wrvgOQW2E8qTqqQ6aOGCws0FjX/6AQOqxKwNUFGlhar7VX3ZHLLnH+bU1fIiMowuFgmNd88lmkqrTW3iZ0G4kLRsF/sRDqKgeGm2Z6DMHzSzitZsfQncRgIJQn82KSHMkz2arDBUgvNTOVYC1A3HUSeQfTLiQA3cqt39GUAtt/c+rfRvxiBU3Gf0Ka5KTpvQ70i0YWR2T6ewR4K69NG6gT+ZWWIc6nvaQsRgmm1/8VUB58R/Xulmt78759dexQm6Db/oTcA+GJHm6WrpXJKWbXFslD3oD3RMbsax4824q8xVqFCy+pV/KkCFwsmPc82eCRmq9hJDmaXRf2q5NjDM7Fv8TtzQmY/fgLGc+dKln3Qe269uhnR8LHpgTqP7UOvdQyUoov8hTGqle2Px5sng/0e+sVJPqkYPTLSrJjgjbr2gq8psrBftK+tjV1949JnTMjW2JjggcFfywBxZjpCWxdr5Z6qjGMZL/izvtbIaMZYFDefdcy4oQnPCxG9xTELbonkouKXSbxMPVIylmO0MAf2/fPfLNluvnDoAuMkgNUbnt/3FgkVZ2WJS27oqNjVrlHNmv7Bbj4TNZgS3Q8PdHWKfX74HTCyCXjUYIvQ0bkf7YPTE7N3hDZtdBbvCaKIQju30NkhBTMoXBaiPD8FKKCBz4Hg3KNNXAY0sKHkp3AXNqVwq+Txih5k3+UXsJVuHgTh7ahh4Mjp4IRzvVkX9ciapC7JWiaVPRMsUnYdftQhg0C7cIOYV/96vgVrAvUfSUQKKJgS+f+1LDhYmcia2vRpKn0w2zd8+lWwdZ5H3d6wPpCkKpGeS26GylF1rIoaWgH570YELNhz2EGzA5oayuu/NxcqNDl3RkXNrdyUKfpk2lxSzKylcSVh4I1MuU5hAdV8AoDy6LZGwBiAtJhV0djV6I9MSC4UdAOdHFNJtTAbUFFQitW0W/Df5gX6jcTH9ESALAR86c9I0fqMvJbpg3b7KEyidRhySEfvfdbPQB57GY9XEeFW0WsBUeMpYnxiumV21Eslv9CqiXZbKxP9i4+Lx343a9N2ODDsZYHRyThCHioaYHC8PxJv2AYx1EPzq/RT1Eb2r4BrerebtzlxUztNWcnDKcArGTwNv5yZ3iz9m6jGzzZMRspTSDSJ2XT0eyObm2abycQ9R7dAyBU+CIhd94UW0TKZZ0O36o7ayAaHlM3EAj4XPOvzpEQg1nItG3JV8hSh8uVEos1aqIJxK5rbrgWEvSLONYdmQHJO/c835B8q40nVuw3vlAZpEJsR+EK59R/CkHowXq9ps5yxIkeY3daAzwl7lunP0G6AaGG9EBwzTHMUXydEuq/UNnEKOXf2wg449i1eyHnfkTDOHVVbbcD6VKMfEvzAK4ydGN2bnIP1yZkMB/gH+vocdQzv/Ueg4sRsrp84/BcESQqppVnsS5HXs8DWO001+j7xL9XvruB94pqQIDMb/Lg9fnmpBcZr1xfkBMN/3UJ5H6JAwHyPxfMSnm8XpzGkm/+/jXc9pNd6mF2cyrr/rhWmh6Z96/o7s1x70eANhTC3pH5cTEg19CTn+4J0zcx6vQasdeMlbsKkJaufCixyrlzgtAwvDO/4cytkdXTE2eKbgMW/iPiqtqjZLg9wTDbySe84ck3YAO1Hrg1AOqIb6MXy6uQ0ZoYumo07LVeBEEt7vIC11YI/MEMMUsS0DdP/5Q0OXa5+jknQkvBl8XXQm9ZpZMAUqsOsgJxdIDl0lZF8Prqf58ahofchkF0aNbY9Kw4B9pDb/GfJ7Alm3YhFQ4cr3nV3Ssyxpvhm+Y9h+XsZcDGEZSE/vkunbbSBoz+suIuoqJHWClfKdpScLUuGKDnwTzu0aij5Dx2UrdHCTaH09EABd//FAo+MPqI9cU/ZXnfCJVSNop00UId+fA4kvkwKYiS90f1A7XNYm2yR5r7Cap+dGO0QB4w0grSl6QuKRT36Zhp82F/aC3Nl4ToyP+8u/Axi2or1LJ/gcmqxzIYBhNoVptXFDSKwUTQX67Pg+F/2aLgc8HYj0nKpBMHD5QKbm9aKnYoksoFmKltflyCquxlPAN1WPfvAn5ZUzXYEAUc5/io0JbSD19+2YV+aEpUahSVguF5mkOVbHI8tFCpL5nGdtpt8Sgdls+VhZmJuDJ1F7H/YVDTw9qtsByIFL169JYQhaXNYeqvgIilhRQab1G+ePIQ/teIp2MZj1c/0u/O+dEUmqjbLVx2x+gAT8iXhF03YtMrcmNGpz19j3SQD/1pX7A+E821aR/wxMPPlv7QgeIKMf442e943pJUWSgbU2YkrQM7D0JV+u/7MgDGXZjYuUe1ZBk182IP09REwauezWTmabXDa64E8i4OVQWYefySH2rAZwPMtEufQEsbRLuzzB6sf6JWCsLHxwkcLa5f7FgsUuDRdy/W1ZLjwXIotjwbBWhnPOZpegmpmZzrJkSz82mMWzDJSm9mXebfKmeZ8R2q8aB+jONTCoo1kjDc8wWQ0MZ0DqlDGgobIbaQ3fpe6HsA+HNG0eolly3NuqdY9tK9Fy1u/T8YwVTvsb0XKkqowfdgsry4JDRlq/ri/zEzHWeuXS2qeVKybCykfutmp0htP0ItJrvPll+Mu96UZnQvwtVOkAWjYAE6y4UOa/kRwgvFMKGTYE84fWWa5fielHRDdEJgBGFBLuDo945v9MjBD/hOxvHi9sIIV9JT8dgzfrDmpWnA94Y5qUQgMynM+++9RaDKXd7zjbfMZryIuL6G+UBRfuY7pt19UxVxNbKi5mw2uDyhflZusTLUJBUXYfvOC20h76O00kHoY0d4FAfkPi+9Lt2PtuwFdQ/uyuVwBwQkbIKrkd6stIxC+Hw4JhE/Qvu1yPkZrYIlkKPnE7jpmfq3PFhNWmjSQWSrjUol1sxUs3aK3S2d8MHbUFn756z7/cTI94eoTuE03A5j0a9nj8AN5k+v6rruZ1Lnz/VJumcX8qtWJwKGm9N1/pXc+VVahCHJV6D213V7FqvbbojvvCeMZ81CzE2dtlNjtEE7PNBg+j493D3iIOGFycD3i0GgtctZRfWB5yOdX55YESiRCcjVMag71Im/yvSfVE2pVt2WSggEH5bL1WUUqGhg2aXTBU4jR0iCmNL90bXs8XmRWAye0+Xoe4Vw9A24bOuc+FVQOqQoT+rwW1G2Nf3vUcnsa7eGx8XEz5XESn9zX60uttf989WIhRd1eoVU+Mwsz9Im2t/L8Zqh8LGXDqIlJagXPCfSJUXABRN3q9M4A0If0aiH6t0fWKfuwrrdXyMM/peNfmH81BKO0ff/9wFdLR94vR6GE6GwiQTV4HYiXcS75rvSV9ugXuL2/xDCdgM2i84EIPV3EMvJ4UQzEQwY6gfE5woC2T/mW/L4GJh0gweD9KgH0CPRzhsQlxHJN+n6wkqB4TY3xSPFQ2zf7laOlmTzI/BE0cByihJL6K8ETVk+1GTMRyakRyX5tK/cs91qx8xdPMbJRLgDhpIazA/7YUq3MYBdDrRIfdpul7aqlS7dKNNO2Xco5/oLo9yo/QjZ32iwUHUxXIedZJLZvhqzBe7lGg8kljaSDGTN9OSC75EV3nGIeo98+adTzGU0586LXlVU5nMuKC0gArokhjK4hsBNE4Pc184Yg1s6ZD7Rtu2tsK3v26vtz7ZA8AFxIjjOeH8MuIgdK//JrpQbCvjAGDXXmlwXIVeDnZ94JRCjTNPQweN08+ZB8wxMEHqFzV2uJLjXkFjlcs7qJFGNwkgDO7vxOhlKf6LiaIes6zyW1dvTxHOgZKugGN6AMllhiLTgpsd/zjWtJu78AsOEGF1WycPZ7lEOELnRK0+n+ln49AUbFPb51L7FOzfGAGEkjD//yQqYNxCobdn03uKbnemKkM5wC3j5F6DW8mns3PQThZnFDPTitvL4Iktt0GyDzWKaJCIRy2XR1TPoFPlnpNO5n55kaV298Os8Hjj5Om8NGHCGoMy9BkhnJaFfRgAGTTBfb1a0uCP2K2pYARwXtkVOv3GT/+2SV/Z3ZAG58dc723Q7wf3eCRJR+iQEGjBpgf5R0Ms39HjHKLSyioWLm8foWySkiouOXCeC2FIN/I9nfxRFtZu1WbFTG"/>
  <p:tag name="MEKKOXMLTAGS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z2dD7pS103gZfJ6l4USC3jqtWOPR/ue0umjYEY9KlLthURXCUyUuZbmGDPUXB2idlVQc+R1c0j6vNnMaKvr/AghcgjyTjoGcS2U6lyGcWZbvoYqQsrFJ5DN1RdHsB5gZU4BjQJ6xKwDUEsW8X/QQ4uIPkrhyjIfLLN7ZR3puqzBiN1rMnctBA0J594at1EN5QJYMsPufr2eabAYzIDriNpy1GurybA3KWqcTPRKYh436jQqOHiPaCJtAtzpRgB7Igk7tw7BcBhai66Lc0jpyzFEK/4NRoFF+cso+ThI1HNgDMZbpFoCsJQtilLqk9nQPGX6RXGboCTf8hOOcHaKoTUKF81dro10jOa8Xb8mBGZAZ+Iyl7KGHMy03+9hVypQ0/JtRaxfRYTfdVNy7K8JyeTYCvOpK4Um6k+Hf6A1415CWOGt8a+vq8WTwu+7Bul0vmLkEz3aszB1VoCznECM2pnv6utkLbw1Da2ZWOyUHrKpy5iX8BOePq7cHH/9masWoaJ+p1zLx/oaBRKf3sbqQM16NPrZu9b6T7LzUP/fooQmJaJ7YDvyJduKD5gSBLFw3VDHZ+Zu9wjOrt6QToX7I/fBdA/Fh8Iybwidlu6ktXE6tC7vz3Ekl5OoLBNX2o9xNDH7Z6kmwBncLhr7YnS/5fbjRxlORbCwCLwh1t+I4FqimkP1Uc994oaltNxhfy8NZjGPGHpA3ViiQueZuNUTbqxvKuKEJV8t6LFcaDmmt8509f1tSCkU5uTvjMgOzeLUjoPLizbKNrNnmyjjKWf8hfRj2kXQsDa4coGVdGddzdAylfuhhxmRCMvcK7wS34YvEs6kT8kgnyfnqaSHTwPvNHNMJxUnS1FX9s2uiXNdql54h3cxKdrsvVBI1mJNZWU+oOG75BArPvmJjAyExjVgPKjvc/TVEg5ls60fXSUkN4VCKon9e6gXeq00MLo1Idjn0JbRgZ31/Dahzae+vrkwYdBQN4js6t66JHLHCmEAYhz527OpYgcMICdiSJ88QfobDpa+3YMbWvmYoWtW+xZDcCe8s5FZByXEeglVvv3ulPYDAzbw/gr/niYPpKQfYTSnvWJoBiDG2wxzoCYBEAuyLHFjHDc3OaC86oUySW+BgcJbOsERicd2xx+buk+f+8nlfJLAqWMwGzmnKtCsAMLr932K9SA83TR7r60ceVh3XO+Xxho0uofe61zXOhZ34zvnUZmP80WrkIHhWsRFxKa1WcREJAEhJzbysAqP5d7dbNCrY6xFDew7n2OjtezrTLBgKGi7QzztnwzU+Sx1j+euYMGbHzAygmiF9yS5H0PcJFJAyknBftGGF/zz0GAAqYz4fvOLY/1gun/tATL9leWcAWBQzVsywyYM8G5oxdSqejz/nj7XTA2APKqbn6jYAFj0+FnHAXBic6tJ5t3SXFgwVUfot+jZV3dROTig9OlX7M9oq75+SJDEV3WLJ3cJfUYBmqOU/p1uUKTcRpWZZvNDQuJhsK//+g1dwDcD8Qw0jHTkcHgBn3WyFLE56YzOMIUAgA3TnBIj0cIbrthlDmpRaQ1+asj4DsTViF29MXHiSNFRDMZHYTj/48oGvrBzncUUcK8quEhvxgew4GH1eh5VCh1P+6MqzAQaY99oTaaU2bipq2bm+1wNhOZ1fn76Ijv9zK7mXxsRhE/D6m0FshagD/q4OYvzp3Yd9cXyDXn5OJWNb10rW6ohnqhQ238MKnX+FacfOm/LoPPWUm/AhuC3dOvPyntkqh0vjZMomcAuVmPuhFo1nF9eIFaqsm5jYTlTELJKmdgQJ4VGgAimSNnGa6Lzz5ShywJr9aAPOETJ5KZTj7YrTc90oDgSYTIqSrQvgIE+lcJfaA7/d2BXxkK8wc7NCwbFEPKWES3JhcXxZxKCTpYznpoE39ERiVpx1PR5DG4GC2rqlmrNmxlnBNs8BoKsbmLn+21wtbalOclMJnw6ywjzMtTe6YWQxJTzolq8FjOzplAZdJu6YChrPOCOe3IJMec8iZMNF8yhhpg82Mn6mpUUhnRl0NpHHK3I/cNnJWuZ3clgTSvyuyeyx8LF9hLfhXU2gDfsuw/HXahAZFemu+lSWgp6fChMtyqLeEDNFoivDrNlLrfsvHhz/YRclQBCBOhO3n3oKLP7m+i2V0HkLzTcrOKiLuC06qvKjfYRywT98e4XiH8LFok4+VI49UR/e4JsLu80R39BOMNoj7vGx7spV+TG7cHn6a1Ll7ohUEROWtJWKsLA6huOpFK/9A13951BJ98nX8eesBaCie+ECzAOpDUg39zVWHc9xjeMyZVNRJnn8Uq2REBQcaNkONJ2sQRAKbqHY89XIZyW8BDQTBD+viFA+9tWc2/NlXQTlxMIa4jFG6++pTEPEK/3GahZDogm0g1U8QLJTwf+XRrjANniAKfz/rc6q2qN9hrkgwjlYp/Tan9TJvQCnC88iLfyWY39uC2QGBqG9d6A5gg0DOSjjgvu9eExBuHMfZHfEVSdMvk2ND4zIBdvOYR8s9LmLqDbrabXcefGsBfiQpRnvznQGVa0Q5O9k/SvehUXsBTo9sQT/+LzbW8Ml3R4vNWzClsuJ7sBMskgelbROzseRizsX46T2WZZ6IhW4pdyBd6tVEDu+EAWSoYePs3Tmxq4boY0l01TH5oXVKRzyyhU4F4129kry4EkjwVzAf7lrc6+IMQabyWrpNavJgsecDFB3lrso5q1G3wn1t/iat0B/AP12BGz1jq+I1B/GLvRQuv0KeL2rdW/BYmYa1rca6yFDJeEpM8IoqgbcQjBmH21WdPvhs2UkZGamV9lQTa8jqqqcPyoJ1e6/+QeqvzcUzTWG7IWUJ7GVfi+Y+RPJCrJwfR/zbxljJ+yRujKRCbeB6T73akMD8j7ms+09LjIqIIZAONMGtJrn0GA1qUjJkcZHAEWwQ2x5BuupqJvFdzUDIF1pPTrbfO93iHMI8/CHO0r6/1yybZzFY4sLBgMFUDXFV6sXUkW6DDyl4azA4Me15jAxpNOQJOlIPQlMF6NigQHW6p/sp3xHavnHLNtMmnH0CHnf1oGnATauc2DFbGPOZLuw+m1TnMumDkiYLmNWPRsEE/J6MXfUo/DIPn0rlfRCBPwoOuMabsmSmtiTXEpxwvAkfsYhSWpMwEFUqvaFwr6U/cmEohxJcHQlU9qCXRQ3BTS4bLIPFoBggCfVPZf1Hzb2b1daroLAShAB4U3379Y/xUg+YwOulDTrXv4WJoIh5vW7/+6lqHuCVY8GaY8t1FV/mucdmSvxH+0nytYpEp4EvK9ScmfTTib3vjurPPCuIvrdNHM5GhNYzDMM8eb/0NWVoQ8QBEUsRA9Ta9ZzzBztvZ7SLnK3owtWKM3HqyFrP5MSCyOecIl9C7K68HEKpM591mc4h6tKo3Lfv8VegPAwqYyFc1sIO7A3xloPOiPmq+T3mJveKaxT8dhIhIro8in+EionEgQu4/d1u2iFNYPJzA2qUWoCAfaV6MdMgvbKPLmBgi3gX3prVo7vtooURKOF9tysEP/HHTBdbIW8T4YG+HT8doJARHQasDG3ZSZ0hY0luzCYzyIsR1gGkTytXXQrgmoX1Jfrha9wBM/rZ3c0EV5J4u4aprxl/bq43k2hSHc/7qKel937OzxGvyziOTSn0pOYtZZZ2KeDc20Slb8fcqnnux34lZOaVcCjcLP5xImgBpAeaF31vrVPCll2cGk2x/qZy2LiBF+stgULySyC8PJ3GDujUGCDdpB2jP4fKTJuQUO4VvPbenxCjfzE/neMYBb1vJO30hnoetGuWf8X+XfX6yP/sa6R/ZoN4H3sXEnDQafHDdWAGrCKcs5Vj1RkF3PHyF5LIlSj6Z2Tq9CgfWnYHWFNDrnPSXTJAwSSirH0QSDkl7odBpDHE+oUZzwhToNMCWLOq2DXecRZIRSOlbwvNCgPelIneKQfZQM5NHRGYrUitF6Ssn0ufduev/oVasN4n48X22fUSLqUeaYsN3OXI8wXli7z+1jI0JzNbmdenvkH4DDj3RPXnUb+8QwFp2RLPVpJ29YQ0xa5Tg5LPUjxqUlSyQAYuYaDIkg22ygU0S0BsBJqmWgEJSR6j5Gx8w/IfY3n3nxeV9AUai+6vMW8JP55EcDOdmjQYstKlvG7CwKh5slSbUKXZGD/nMZ4Z33M2+z1X/bkVS99lZW3FYMltrUzUflNZVInF4ft7516XogZAegW22xcIGMEQYffZJqZVj05DhCt61ia4LzQAY7UjKDQa32boG3vpT8pwTP673kPCsEgbD6gpf410LlNhxSE8Aq4fZBHG8mTIsjEc0GTN329xzL23qpkf5Tnsk3lIGg7+jdtANuz1LgW4mVd2nDu+t03FcSOZSrqy6SvQPlaBaOpLr2LqFZLdprh4bacA80IiK/tTS1eUxUlAPnOxfyap4PJZ73n1fuy2Bt/xJBLTk7tSfVFcwgSTPQTUpHtDVCNuGopvavX+hkuwm4al3GKHAAc0KfmehMIwFnmtrJkhvdL/iKX7AmsHYnUD5wkb3t92o5zP/iSLffrIwOA64jnZGA/xMPQKeKoWTguzsTIh2WViAIMlAszSqs/bjohbZpfs8IIEfP1TO4ntCT2MwUR8h5BS9zrjr+YEtBUYFKoIHwpZu/nAeNseDBZkIGMaTtXlL5rVsPspWDo+lNPBNtE3NLOo5op/bgogk30bKjG1u5Es7FXKKRmyBjo6Ik00Wbpi7pMDqQewCHxErtElyck1M/uymkFxS2S17rnhVJKHVO0fNDWXLDIXHb+vK3F54ockZR80LXa2ZiMEWCN65IsUxxTIyLaqk/tMg+DUhde3k2NoP9NlmQkkNpzr1lVAhb2+myeO3EtZPJQybyWRrQFa+4bAM1jXM4t61qfpSo4wYHv7+ffU9hZu4+ZhcYPBsm0c6K7SmKFTuA9PZj9w1ujPCqJ7hNwQdv7AoakY0k64a4KhW/d5h7S4DSe2crXjYEgOWeJSOR19MqEUXgbfdX2My92Z3i13MzeXjGhoHRJC3o8BvU6nwyZ1cgvUNzeErsgava1iZJxXyzzkhG92cp+0bNgcXqdZsLUdtd0+8d2NYh514YATSk9svwMJ/eRgyE3HDbZBtcKEMUD4roFdjd8r5qW8cHGduc9xmZA8524Q+jNe8QUj0Way4QGPd2nXUni0wEP/GDYzcu6HVug9siyShAifQmu4SVSdP0wD6AoBBqEHO16KVe5Cez7uDH+bCk1emOWnpl/gR6OPYUcJ3JzDBMkyfVTznUu7X4edhxjvLDDc0l01Nf65r1lDxtDWnaRpPPR1OZduub+Ns9USAHl/FTx7FHqbER6jLPDOQQ9WczaLS3D7qfMqTqhOIaYU3kieaTxbkx9diaxomwmglnWoCKCoHrVoFnvBMGUpQIsq8ydrKUJISIrDipf1CqQTesiTb0RLRZ1eATqKU+I9xjqrE2msPF4OpIJTe4aCEvQz4rvdYVqjsy+myx9uQ6QsSLEoUKdZCuVDP0VoWw+txAe+MyXRfgcZlh28/j5lFyPNR3AYzQV0BLAXGYrRStVTPl/WaaSz2E9PYfrjtf3alrKo/o8OD6rUUlCoab1+s2allhBO2cI4pajagSRu1Wcc1g5c6R3C0u/t3FFiHGjzLObmqcFjxg845pd6BzfQhsdaVz32SCKd3EabAYkgFI3efAqvE++ZNG3XX9M1WVhShCgIOE34nchhDAaxWqOnIBCsgmkmZm8vNPnazQFsHP2UNR7swv4AXCJ6LQ5UaZZ619maqsEyiKI28wgZaj8CH0EPTVl5CpEyfBvbhIMbcAO47kHjIcWPd1g2s4xhDVVRAZTui7OCg926LCIPjPKhax5iBfWTZ5JgZ9Dc/B3VBOpioTKYzkU4ivyakkj8UcHRF2ItorDqBHcSn11aJrmSfZ5+3vEgidAnYYoh9yz1d2c0bIzDaPvLAJjfIogxlyPOi0rbRTmqYU6m5h/SzlkzOeNlEqJFZKbbaW7PSC7X9ep0bRHrfYzIKCOVrCdc7avDNMMXmriXV96pDX/ptttY7h6iS8r+1FakpamRKpATFx6cFU91+LnQ/7epby6TdAhjcpuO1GJeBqswDkLQtrKbBqZ5cFaiqC7qNcRX8ncodUViar/FP4glDbMbBkk5O5/EMzffIuW51g7OfT/+lShuLa1poi865S3ls4E4zubAePaVjFU/72QVZBc+sZ9c5Dw7eD4riZc4WM8xCIzz7PWBG7YyMB98bkmbsn2rJ1wDJ77CCWaxZyunFwloDAH7VfIrHaflCamY10HCpQicFIdTXGfRHn1KSYglWOXA+th8v+aX5qa8Q5BIhQi25HdwIGerfNu6UKyLt2kDWYOVxMhC0GndkYYM6ElhX0zH01Rapekcry/9u3erC1Bgz1eCCT/7abLDZb3tEl+xj7YXFK8viq3Sx2OLUcow2BcANCLrb7YUN012VmV7yG1sk4VLAy/mXUxZ+D1dGMuNceUNEN2c7TQZlOGbDB/b+9cRPHDQC9Xbmu1o+7ESZE7Xzri9lu8htQVTfSw1Qcj70gJN7RB8KKAHr3uzzEdwBlD/HoI42VkwBrugOmtInhN3BzcjjQD2OFuipA5iBG54p2mo1g2c5vlfGnlnv7zEJ0Ro5SXiJ8qasfg04z7a+HHkTp1j4gaWZ005KaI5nNBMwBVEYtIXiPZsjG62O/CrsqI+WNskEugvnfN1nWHAVLW9vFXJ0rxz7auApTIOypmA1MEkEabZw9/LPe/s04UmR+V/7zA4a7wFclDOg732Jy/0Zc5UDDg+dZwu2jANhJkDeRJHA1W94ACZ4IxJq4ISTgS3T1mJdH4JAhqxAk0sbDHvhvfjrj390Pr6Chfk8vrEed8vHgWBjwoadUFuCP37GPANtIbM14ZfEG0c4Z+xXmhnW6H/awDYC758+o2TQe0OIBGE55PDQ0+6k1dIdzNpqTdD5wJDDjNMNBPwzquqM9iwLwXzAj/gJnHG8MakLVqfrk15UCdPaRKpbJDVDI5AQYXN2liM/XtvWKxRhJ62FPraapZ9ZPSx/5hlaXCmN1eCDoeP2x0pyiy7dVtixf5HwsrYQrpar6CTikbsWn9p0BXJRFyzbrqlMA7RS21/Tb/+f0X13mqdKXpUwVWpjWaSV1iknHInaFfyRQyUQr1PR2/G2Jhu/CCYvV1bZSfrFGrjof2osFQ6FzVAm0QZEO/lhxc7BycAx1VBVdeV0m9KpZ1AYlYhAPPL5+X//E8JBQ/sj77LqUoeNRGmaobE/Rt0Ad46kHOwMcz7Sa3xg5TwLlInt6M1EiUNcMEIIIfv3S5qHAlQjRhcchIXQMAhwgDWwaelg34dCkMSrhEg0oflb0ROtQkcAxULN5rOi6z0ZEB+ZPITR0TBt2kAxFmmzB+BAqKJHpncmF0GYnkha1R4lkF/AwL2eAoII5tDKVM2nqL0JGqoXSXQUab8GdJlN9nTT8GKRVC7Oq1qp5k3HAMTDgPIxcVOIufdSm31ztUUOMW+w0ARE4V+3VUcMXmgL36EbMDrUQhycknB0Vm9hMv1lRoVUbYE7kPk4tm4hUWmBMkD4pDc2xPbJILueeN7f/9ADm8miP87FjC4DHIhX2Dyzjgijui5w2TIeANel9+M7lve2TSOozqoFSyKBC+ZoFlshCEJySit0xSXpPz1h+VjPPrCSW58vgPVsuHbHxgmg6QDs/wOpvoiIwmhyRVbCmg7Eu2JLlpd1BDVtG2FMYZoOO+XT80kbnOCsONPdNpb7N7k4G6Yuf9GJQrboCGiNCBw2z4oULE7wrKxttZUU18UWuxoMX784bKRKE4VVmEFvLa+9fZEvUwgpwL8XmAL6UU9C+RXguPXpouZarotfAokIEgBMNuRTMdPtTnzvvVYAyZJV/cZmxzw5imHYdUtt4g5R7rsgrw+f2go7YW+twfYUhweJXlEGrTD4eknNz9DyZ4ovaDLft7BN2baYYPmnTbdzlSKoQwy9GCrU1zNj0MzIXtvdamsTjJELr1CQPb0gsf9MsweJQnB3kDsXSnYiIlEujwC9EUND4puF6p3pcuI/Ws8/ePk24vKSjMAwIbZj8O/rLnDJfR8FY7ANQrufL0dypJt+IdDeiaGDePj2sgvwh+W9O0MviIk7AB1vFBD3C2MK0VWCjXs41gDuKjFkg301sOcf/Brn8lub62I5lipP8P+T+QIWUxwMzcI+pLgxDXQWt/LbvK7b5Z3LZOhNFWe7pvy4rPxaxTd/7JyEOBB0R69F0r15FW2trYSPVtQPJNcomag320HcXxQFF1M/V1NCXa9cuaci+OpbUKIO5v14mL2aMamlpObwA/HTbKGJIUpyEyjevb3jOK5nkgGrgB+fH925RSqpjCipma34BXiePnazD/KqPNTib1X/3O1UTSBAhADWY6UP5ELxd6SDgkjqCLD1AJ4GMyz/foL0SDV45D0xSm8eTHQ/BDqAUXDZC/tCHAWtHD3C9JYQYJ1DT3SP23XvNDOPBuZ0rxySiPpc4y0MYPjUAvi3gTh8CzUbj+M/Dx9KCZYbUpKPp+OeKt8uokFq4yhXAw09pNJt3h0r5UOuWuATF3wUwJ5ji2tHNuXTDL4KgUaJC9P1Lg1nPd+7BMMa+SGPl0gApBUkrBudt4mXZmHTH7a3ykkXKCBrAiHEDgk1XHRi6AQrd1/d2kVSDHZanUGxmGq8aTP9b3JN6EZwtDpnBYWArQu1iTI37uc8NsyiSZNIDFPeCWyDrPOIGPfgeHUnccxgl1jpC7j77rtjWFP6EZHeQ0zS3C1Gv546bGtUbJ3xLW7ZoSQb0gQSK7+/T3Ug0JIA5+9cSlWmkwRKbRTSuOTTyhsLSoNZDAgv/XY9rBC8YcNXPn/jhV9Room3d0LJxgje8UopEZjEqe3ZmgPrkEp/+gbYCKGrCgk2HSur0v+wnZjxwI+qBrFjYiGpDQ3+rnN3kfBVJZtfEJuN5hUU9rWOIHQ9xgBmVOSekxvQnXw1cFo9Tib21vhUyTamkXSgeM2g6yQf3bqaWVqMYwQQHlFx7ZfzWU1LaIRmEZLJeJYRI4mlrADtxXLvQf5H+vwAtDzHLMuHaNGgxLSgp3GAyPQfSAAVXLvDqVxxIRd0IIrIR5V4KUfBTARPk8dR8LV0qprkBzurrYKRv0DVK0M46qnugKjy0QUwds0YQlgRaPwfJwLTLj+jKaco96VfS7JCF/DGzdMEoLc5RpS6sgLRBxD1yPp0DfyP0+Xe5iRUMUcrrgtpAzYFs+YXtuB7qCN7d/TcF1ZsR0zG4mSwbWinDUhn0Ke34ohTDNrjxRlGOYBVLOUs9kf800b2sv1ZJDEeTFOJwpT6SiACbDLY9cbtXMW7Sld8UwWDCeqLgtQDUissrE/SBKcMxEVsd7nyo9Hv0D+CKWnKDMrNSGZXCa4LYFooTi6cT4ROuCgegdqsyyfsZ6ryn2gbopne4VOZRRZOwzeBAMj3Jt2MMD2jWyV2pxIaMHF96W+yQWNHFCbfF7gwYHaiIQ93a2s13V6ZuyGXiQsbj4NhMaZuSKnf/Qi1e8EOErSZJoR19I9rmD83jR92ODVfrQqyGki8PUs6CMrUMwv8JqZq+pK0A7Fz3p6RPvpzobQsVsHkXxSdDRMo4oHoNDD/2P3JMSn0GXK3wmA7ldrxC9zMyUuu88gIObEPfgI4EPBHCaWYC29fk487xJaFX/VVXPB2uEzVzOyUf39oQyuCfaZ+MeBEgqFCXxToFBckkMJnYNcGsp8BlMKxAxsJcMmL91vfHrbFULrrLPDZcQoHRfz+gWK4zbRaxa/W4HiEOLBpdsLc6s5mZ87CsDOrh22Mz1VE7oPgdytPmkEcw6ZJ16PV1Q6SlzFBjcyc41we4fBnLUqGpPMb67jH+6qr5Y22P5IsDeJXQDXoyBKLXSbop9pZtIHxepOtWF6lBvmTdQ0HQvS23P+zMsvgepvrHCpdmRAXjzSY1RKfGql5CX9nqLeUiGUy8FKM5xRL76uPKqOVudAptH0O161/rA/ijLDJE6cwUEFU/gnNxsZ2xqRGuzrf5S+T1En22fjwzC2bJIwYjcypmI47pQwbPZT+ICQZg3wdG0h/x+Ls8TYpdQU13ap+rsgl4rpQB1OsQz71V3M3IeDf6Jhb3UvoP0LdaSjm1vsE0F+QAt+UfLtIr+r/GfxmwabqE9SGEmQ7aP08SKFOru7f9BPsT/+QT5ut7V2nKb5L9p6DIV09o2WpNCSThooo0+uOPjDHk1s/8F1Ujfy5fYFNXoX5Ru2Kuiaqs6U746upkMEz2WaSt+ba0R+xDgcLvF/2yJs5Ut+8pYtcHQUh/chqT+c6UDwt9kM+X+SnXmyWtT5aQZY283P6NRAWUSnijoBop/qd2vhdYIZsBql8wv2U2NQSomwdzy3FyHLG0pyde2g5J1FM3UwLFQYWSI5YEnnFMs94kaW67g3WpJwZz1Gl4SmTcWXnxaF8pkR1snJ7DCv/gl77OuddQSb27jwNG1LQ7bX8bHBsAVkGv7LdACUXiJKXM6KxEeQnnn4z8GJr133FOJwR6y1m8dqpe245WqcprgEFERpqVGYvSUFnVLTdcNmkd1gTMZ601O28o1J2jCvgy8Hp6WxJCz5TMrc4TM4AVNhFh0TGBQ2NrD39E/vp3FzGDUNiUMtpAAdnWq+3C/L/5zkcOofgICRo7cTgI9cJovsnnPtOWZNmDzbAJtPgzmZHE3EVyqRgtxv9KSgyHRSYjBb+cjRxT5Ab2Qj0PLrVEGc0z06CCiGKdWtmNyy6cnncqM5NuXdXQ1IpUnkrAde6nHhu5Hk0Qg1EnqXzoZvMmcxNXzJmXI0kS/joSVkKFTphdn7xeaU1hY6su2WkgDlkJ88XFzBtSgS1PTG/vBtXLLHmjKBX3+iyUeWcQkiU8B8emfL3Q2vtqpDxgMEgomJXpgswNbv+fu6GL+mgftNT01giFvT7syXy7sWLsFhsXsX3Bxlta0yNTg7o4vZ2HqBEMgeesTT6cImZk/QUSHe0KXYwahV/EeRuj5NRcx3EqtBMq4+hVGrM43frLIjg4SXI0amorUpM6EPr6Ru9ORF/FRGfVfuqiqBIRWLOrWdefpp0Ea+XNzN5k5BDOPjKHfE7qOUV22DHtfQE7wv6ispQJZi5t3G6s2mbrLcR2VyoygbS/DgAXPE81ux1/aHMNfyaJ5YAAAuluyqpgWAS6LotkVz92yzYJuG7qBVLTQ+JFua09oAQXDauj3fEJXsn0sdrMLAO+3wp4iWpG0w0kNY7FmwRRxPgSW9O9W0RH9ux8Wlvm64ZwdoDULVd0vcHMBSu0uBJOx842B4oLpq2ujptV/7RtaXirCdWSZtp+L4ujffZN40LR9KZOysmo/wI8Hb/DHJUHU2lExvdrUbv7CvkYEazgsxMYg9DZDFmzQCy9DuMnWBjo37xlmYOLBjsd8ibQwOvnbzGzs843nLxPxizoWMkd+C8ZSD0lLmiNfrSQYdQONyZsme0QXeMj8vXc/f182HMmOslCFKqx+hZFFz3MvxLVwDhIkm7TBuItm9Aun7uqFQY8ZB2mfkx54Z00+1ZQqzV5MypSodOHc3k0bwE3U9p0dfzkhwtOz+ts04KdSJVYPUuy0Q0sjMkzv3Dp6Wk7F1mz7v1F//XIcGg1ZEW0jEqKHP36+5lg/DUPw0OKx6J6sS49nlAuo5FejSGOwsWvtVcu/JQ0qbkAUaAR1G6Wk+eThTBssxcYU/U2Ka4mOB8IrHPdrfoN1BuWa1+LQmZ9oURmJxLM5vuL/JG0RJILDY2ZT29ihx3CQGVjBEkudoONv/kN4y4J7ebEbNvllpFp3RIXrP6xaRq3BqgKof7Oxql/LRw11mWHbC5aKa5sbczy3Qap4ZqWC9L79INfnrdD4qFhFuQwDewCDPMPRkrFpxRBXhdJx4OaczqcPjHae/92VTEgTJYfBXvTtMYeYUdCVVb6wfDUXYmwoV05tK7rnhQnALFiGyo15PFnO2wDnekCTkMz2knv3tW56oCY9Dj+wZzajDH7zARkvXwAVUhd0R9fMTDUlM8BPk0BDfjpi9EXekYKWMMJDdfb8hj7cE+JXT3sX1Ww4SOf59Xy5EWxEXZ1rFmPtEXlPDywzuhO8PAeohnUd7SKN7j5OcV8SGDfmSzCALerVMime7sxsa3O838aDBuVcWYZSvkhxkc6zrvbEKVUlYcj9TmExxxR/7DptBaA0k0y/sDlSaNco2znfQW5eK5CfWX3IoKXXz493qvy9rRD6G5hG6niRYG5v+9xqe9KliT3MZ94Oy1sIvg4ZbszxNMNNybcnRNpGEz9e0kyMjBHMXVphy3szA60fv1ItWTg6w7OJ+SnlUAnvlf5RcueVhWgM8qRPmcXwH6lYOUnt+u5lRQ0uANWejm5o6DA+vJX7yj8iS3KF/qSBqe/ndIXLCqBOgDkyXhiTGwPBjHUyOjtWB3xcOJVUQFeOAZEPtBhgWLjl4GGaH7b+OSoM2r/CN0wKtmKokOXAeiez4WCw+EC0VJvbiM4JlPjDRcYgkhDaCcsBEK3FCCVB8KgZAfK77XhSSrH04+ZMuyF4wKrwxcBuEn3vm+gtFISqd99k9QOgnXRaoEeILb3i5H/+W2mKkuBAUZJJAMeu6LsKdEZNNddmooVPYIVeZIEGlZkPD1g/fVQBfa9J1VBpf4EJWzavoMDngqVq+ZMhF7oLRZC3ATMdheHm6v4QDI2vo1PcqbaZhsu14JZE71MqbAcqwdHJMcLK/W39GbtWPaRANq7HE1RYLVw7vdW3XRc3JAussQLsG4rvaCSrFWE6iGw0wJsTWUhT9axjawY1cAw4rKVSO5X68nMPOFVqpDm+N7lnJ6B7UT1krulffG05KUX3l1ZH32wXAMbhIV2wTWWTGHhaJM6yHoGz/o5DaVrZCGYw8RHM39aQq2ACPWCDUFKkOQpZX4U1nbQpligl+kBn5zIZsUCShjYE1TPrx4kTTYc+/QfhdZoA3CYOwlxPk58Xiusw5WIugadk4CFBpTdm5H8IQVFIJidaewqQcFqnGHbfNhnik/rTbDBf/Kgld/QxugbFlftj54h1Up5J/4rntWwKUwrnVgh1uSUh/K6Z8LJZ5j3ubEUT7QRycT7s/HuoeUhs8JVaMZZP76Ds087iksQweDylLHR1LnLQGG/Vya2dZb7gf48BjHhBVoHrGtEdcVKcB/ZxoD3MZXz3as0xl3mZfQrreJFoFvwacxR7AlYL01t0utzFUbiIWSKi2tLVv2bLI7ZeioGA+y/A5rG2FN6Bbw/UeaNub8vQrNlqSxCmdRhrg8FzcCSKnbgJf0DjN15WvqsrGNarsDjPgC4hZLJfCsqp2TDcoTEhzymzp67RdChhmBYsJiDSbSVhsXWFuJ+/+XkJzMfPyHNA09ACaV4e/XoKbwmXd3Fau0kG5jeHg2Ev5E17AQztPwnmqV8dnD9BzZHbiFGe+i2bSnjT8k1YTAw7a4LSDhjyKjy4z1+u5GC49VnOawk52pDClGSpJ/2eJDBj3X2P3SfBQwwnEN3qTZK//uzjSVkRCFJ5C9vaUzK01Kqx+tiA/UwriVhazaJy8UzPc2J+nIepNFUjQa1ipwVOKY9gqEUHkCtuNr9nFsNzBLL0hAoA1gYuUSTqsa9PJSsl2Rn77ezfVYrviJgyPe3v8r0OmHg5+L0DwoLZrM8IMcNhHeLvz3qEvaZq+EOeN7m1hDALRJLv3ahkuu9PzZ/Iz/svroLEoFxJ7fyv//g/++8FDj7Amef1U3+C0T6XS+WNH7HlTI0KthrZZQjblkLpDHGuG/s7TN9Lm1Rn6klsFhr8NMajnIjJk7a9Z0IShw/7tChSV/GECTeHz6Ddc3kBJALlvvEPwIiOjc907xytqo9qrquG00Wb6fiv2bgkdWLQsfwg6Iz+jsjroKMJaWFZzQa7atNZe2SJvd01yBWxQh8gLupRVC99G3tTko7jFGBG52OIYOa9/9sX7uIm3kpd1ZYCXAzu/CWe8w48hHIMLQQ1eZaA33cDBbuq5/oeFxhsNbiaa4l1xdbt5Kq8+JDAIgoXh0G61D+ieZXCYEclMCUOZqv1VTeQ5CdAOiuBJWWuTG4srkZxAo1xQreKkdoq2UWM0V5RNcPoAKvOKz3SSzrhBETGqLhicVxNPOAdJKbJHi1vjA73O6yaGl2E7rrE+V3yv4OOFfVUHRveDIZx8jmTBIs0PpmFuhFUeL5CzxxcfF5TRI8XYtzrfsTx5bqLRqvWB6Va1LmrCXDZieYxp2DTyxMGP49AmduhFMAPE5x2jh4pj+lD7nzn5XJ3pwLfjvd4G7RqJ5Hb9htrOHpRG+RkzsN9hCy210B7Cg2MRqKepDPgyaF98Lt8r6lvxTzpXqXsir7cScrIqpzKqvrWbjKl6X4+Jbqc/ns8IhSX1bnQd6ayymEK/wlbBy3PptfukrLdnMd3oQ5MSIrHzwcaE4pk0sZcZHcVKSvDuWzart3up2Rq0KKkEeZfIN3ZZUm00whlgizpRh67etRCHzpOrFqSisCVM5qo0s0bmW41kiTHtnwxP3OgRXjPuaBtSh4ahQwcmdTJ9YjQcrgMQ56E1vU3ZfBaPKi9Byycw1abU9HbRn5wRki3mkqd9oL8lTrRa7huF6g37cGDuXQSCcBqoDh5tfT2ifSlgGvbhs84DPI54WykBnALHnGMvjtj0/sDHan1JQ7j1gkWpVsrMwAye+Kh+3d7BpR2VlzShV0CbRbo+Zs3PWR21zSzIMApa8r0P20F8WTI+jxRusCtHF++H5gcjyTD27mKXEVy2KdlTBRO6RMuaHmHQWfimdGiDETYDI+PgAW2vNypn9QG+cEQZJUwBP6y1AoN3PPaxfOoyMpo4rDbdbcFPXKF5823LDWFu/30+j8vJDObDc2aOIuvif3wNtkzd4sWc/+Nl0JFcQZLFeoV4RHMRivuphVDm3Fy3Bsh/iF7OFNOmcOzQQ2xd3YIN9FbSmeKfX8ZF15HCOyuMCgK8yD2XlMCwRTRlXDfdFulSeJ9vStnV2SfrEYoeTq4yWvMH4E1H6gdjTe56e3MIp07J4hnDAKtqaaGFj3XmVT49rZ/VfbZ12Vc0LPu0LpvFNWPb2hL1dlaaZkCkCBgBXIhGvCZxQ25VNWMX2fi8Lyorgi1rrMT7Nnr/iyf4nDF5lQr5YH2M1yGeKc1ADKVuemjDe6CguH2iKdJ99qWXVLTwfNFAOHPbL+6HeAY1Dk5wA/apd8Y3I7z4Lls5ev8KAzwps8ZLEE+HW6zmc88I8lNYNFv0ZWDhIHzRxp4YTATFZnhOy2k2KKSWYfxei7bfI7GHIq/rIndYYSSMQ/DXvwoWIwf8rm/UaQM96cyjhFTyW3SGQp7fDmRUiwUv4O5C43Fw6zEBcteYO4G3RffF2TqlUJTfaXV58sYJClgpkh4gXba7jaVqcSGNJJgdWbMR7vRufpzFQqfD6sV2jt1L/cP2jRl33y8tOVvYMxyJ/KdpPXDVZQmfktrQMJmN0s503RsAnsvIIIHsUZQkUyI7CtNrPL+X7jjjJ2WiDjMxitoODCqEoZ2Q0Ydce0rnUQPdFfk34DE4luQB2/KIWqYoTmTBcXGCCL30bZBUKylSge60zkgXMhrzptr5NaLR3VB8XJVTxGlsD3VtIpbAbWWNiOVwG7+lbBIInp6R7oSzQvHcogXtINIbmeGa5qUdJIOEa0YiDUUSsbsBr7sDskMO5qP5E0XSyWCFZ0OU+pQoAJJF0PgPf+IM76gmTIPXZRIk5NSUeKEbHEFzKV3paVjbK5VUXU3e0yVph6KZ7rgeINx7v9sRtcgBsiSS7GDMJkXDzjS2Je3K8SIF8jMQvOCqnfyhmYRyu4ohLWlvSdnsSs56x/G2e0W355Yi9oprrZzRlZIwmQTh5MngUzVtFynuKlJC1+XMEYXN22ye1OGe13sSc2v+nGb//qU8ygk4EWHuDZ7TOfxrr2Yd89dv6lhiobQVdLdUu25Lxz27kO4/g6LJFhmnRe6Y/kT60u5cvia6WLcwHfmGsQMWUto19W9MaFTzAdaCP4eiM/cdOh65AgeS1Hbg/jjDgsT1Q3+ET7NbtwOYIwOGLml2e5WfUZfUle9tHPrNndzEHlW7rA4Tu32KTS59YjFUvUEzWBqPZIKz692YeBUf1/m4+ViXNoORR1jxOzy15mMtEzQRL95wNSRYzsucQJ9mZ7UC57D5YHh8k0Urhhvs/cH7S1zSaCp67jRyoBthdWJlUWhw+cWwJnU8ryZY51ejMCkZjmjX9PYvXQEcVOw3HrryM9dYYleFSXytsv12bfDcV5KJNha1/CMu9JKbM77reVbDNhHrzdiOv4nZeBjCDdDEjv5juAOd+eVjcN1t+gMvOgygUT0KdowuRhSpLQctpgmsyjxO30Zo38RtfsHkvjOExZRGkUq8vsvZRbKcEtk0b/OTOQWyvdkWz5ig9Law5FmRUdFx+Oo8xc9UnTMD3PZ/yAEHNGdcIk4gjBAk5tNXtIFYrEFxYpVyN1MgMTFkRAk5TNlCeDf4IJGEVq6d51wGDWhcCmjBNUd+eKHqD7k56BHdKvi5INko/NaacNKSRZ5ke59GovNu02k4kK7DgdFEpd29C6DZsqgl/1C8FVIq4HrrMGbI7aEoMZ7D0VY9/weclg4KfmmsIfSkjhb0RbOFsIwPUyWW6O6HfqVyp0MBcdpR1P6Rkr6SLfpI5rcSn5qA+Z4arHjt+o4Q/wNJvTAkjn9SUA9kWL5CzCNv7V9U8pPt3VkBWpRM/efZ73yl1dgoCUgvaDd/BwM3/zgLkQ8QE6zF/v8kePthmiwtSL+14BIQw9FIWCOGzJ2N62FH/Cho/rmoyTygO65tRWZIYTvBAn2/Jr4BMqFhFuRDsWu5LYzsSSWG/SjpEZ/yNdwHY8SpbO5Bwd0M2f+j5pZd4ymjA8rkjR6BoN4Exr+jnYDaWsu4NUk1U2oxjQlTDcvvi35GSQvCVN2O1qUbtATxtCKpdGrSc3MdPBUvvhU0yuOLtkmrT10g50a8WJLzXijnYqS4rx4KByK841vXhRxum6qGgDEVK0QY32pZwn39uJ5Aj8lMZ14iOiJaAzWujgcy9M1Y0LLYbJ4qe/g1Xxqm8PNuy7ftL2qxlaUPdRhrQg9F4tS7sjub5LStbHL3pfFyp40nPcvdEaKwThUVik38Ruig2fWgDy00Ejiz3Z4lkAGNgf0OPLCT2B5ZuPojTu4WB7iqiFLKKej1EZCwbGxGvVn2ChIXq0hlbMHswpX2dLUCXfTOeti9aT/yj2cccc6w4pjKPjri0uvQ4UaLT/UnFjf1u7ryo32sQY+zRoU4jugQIK+3FuEoOe0ZLPNfU9hOKNS/8h5PP9wX0uZVhXyXHZIb2KW/FVmE0988oosTfwpJ8iOQv7YuaM87/pYOTxAcNo2WYX5g4iuYyVmuBtqomaNjgMSfn/W+4NhRQfIIx7Tli7hkwU05lk+XNpEakrpR39xo+0vTuABYrUpxIhSExT/M6NtQzTtch317Qk4F3QbYf/73Gb0Xfc3hziqX7au84arD2AR6PD2gO2GJuPFgE+ULzqhE0vPxTrPAkvqlhKqyjYgPJRT22j/wAM7hnpFM3k5Q5y6X/s2+hCKlxsTgglpO/rReAUyXNHqafuUPTvIxe9e5oZuj/IJdIgyGjZKj23IRRbjgz/lrpIsSWzF6NOoh0pTErOuNrNQerYydjFi1oFSNkWtIrSOo/M77VXHTiwOUCu2skj4S1Kyi1zrEfBEur+AOsNb3wdQbeA9gHd+W+WOXPXXaTC9z/4IiXp6n1dOsWODS2+n/yhBZtpCILdJNAsn3kR7SQUtsCY9L/U0rzOt1NBnsWFmgUrEPC4BnhpIEtsSB2QO80w/WFW+SACQJDpPyfnZpcGEMVizJbP6pKazsqWzFDG3N6Xt5HsF93Owj3dUyk9l4FB+xI5ZzbzK/U+mBiuGxFSknDz+OGnB+z2IzUaZ3qqhXwd+XaHdnW5fEVsjFywbS8mZ0OHfu1Olz26nyzOrBh3dPulxFvRSFVEfihXgdaAgFU7zRZKEMPW01XJxb0OR5O56ACIESWo4XJlTnD8yMueNiGqj3TwwzqUKrEP9uUcBPPxmlfxw8wQ1Cl7Aw/XJ2gM0f2QEbdSf9OWbk6EsVW7LtrTBZBDmEirnrXAcHa4yrp0vCkTAB25MKt0KruMaG8WFCy4oc1MXKW94yRbBMVdO7WLW5nUtneqrJo008fzrdhX+hiA0WtqN7J1SuuWjqmGZZU1Ep3GM2fKsgMozeqP8BdgabfluFOW2DeXobDkY82OOCjzFAZmtU2r1HH9pgbju8rdy7dHJC0Oy7p9zVB4A7orXWv8Wp48DxiR0WiHGu1AKHzp3SWBieszQsya0xHytxGAbYaRNX2dPVCOOG2FnbYurUP7Bfd6HmIsbijXcs4iB/CcAPS3Ap8XIUrCuaBxDac2VPJ8j/NaRmPEf03CN1w3RC0wl2MQAI66YXiYuKRgN7bDc4L9y1nq2XQeG0wP9oU2JXtq53ga7n+/QJqdvZ3JJZ+vwyMlX0NTDFFjwlc7pBmP75aKa4euKYkJH08udoUOhWeWNs7uZVG7M1tDp9MYpOWAH0AXqOcOLTU4l9Qd8cyT8+dieOBPRY8jYxUoXu8CxohCXSbsrbtHPJMWuf16iJJ/JPwEs4WO/o0y9oUlG4UjIe2ZfrRFgSfY1hLoxjhMsu/wGSK2PlKENppCpPB2zXFlZ6S1A4Zq5T/0S+ImQYQibiMA4CCTOKf7Ko9DX2D1uQpEFfAbvzWjLM2TmxXR7Nzf9NxyP8k16PTkYFKpSRHjIknMlGV3Aff8rhHAMa5ZkQaix6ottwoZJgyYdA1qjRGzX9iZeiyfZN5dpdA5qLxnmvtAMOKPTvSWjhCTWqmZf010ErS8Li6zQ8OELmSekJxw9nLBVsjWbbDhrlC7Nf4Ca7v+iePacg4UNMnZNLTUJ9DNcSrvb7u/5qk/H23/TazYX9qxyrVH0QsVQwkYhdDcEBHjc7+eMGVHvbt6wIMs1W5CJToaHcTeNPdd/IJSNlqwIP/LCt8OFWyJmfkOXy1RmLINTSvYkMkinFe7WOR498t1YoQQ3dXB5ZPbVfRTvI8umvkXuHPNofo2p74PyXOUs+KLnN1fuZqPRLezsljLqzHtHPIJ0ayf8U4Mbo6OaKE/3kdffFqju7Ae2a48/inLyX5nvMeqlAGyr6ndBXFPcJiIsAgckyse93FlUBdhNKQxdqdiAR7JxJn7i5+tXeaoVddVtmX4UDFTVGemzIfGmOXt4FUhTl2mPqCS1k+eP+FtOD9UaVDpnJ79XQzugAD9fWaAbIPz+N190lDQzlQMDSK27vEspPFLYj/2El+4pRNS/q8IOMqXVPZ0QOvd3qYXyKvvgRDYTleam+w44PyyQX0krXgTa7E7J0z+YuxHdzh9cj6P7GPUlJdzhh0bVDo5rw6v1pJ6p3S92TN7UTqHb/ZWjYNKeHw4/9Lc9gif+zxSvh3WeM4L+gGQk4kSKmVwMWb/5Ly0GxI+4gt56TaRKTYy2F6CrcfIctLC/HwaDOeChQ5fYO38mNbZh/wkvJmFNWLit4b6pN2KO/PKScY87/JAp+Kx0IQw5nkkIpKjPWMQDkN7Qvj/yZLEvaamARGt1w7ZprauvY6ztaGCl9vnuXdlgH12mPhmMX6EWSZ4HuyJiT5/Rb8cCZgCZcy2oiPoB0cElcaF73o3WdW18d3jQNSA67R2G59bYiwOiedgktlHbqu65gW1cg7z74dDGtbyKacmcjiUrAz6dckARWHy+vixiSY32loeYTIUZrXtQQIVT4hTve89rra8E6C6glk9QhjlHy1TOWDwGDrL6nz+NgZW6HaW6c2j2ANbFzbxpkHH8fjRLmcoylE5yokEn58hUVUGblxEVUu84U1kILG5SlkDZDlVBEtAwMzsDVAkjomNaT/l7JVkaAbbwaXaucMfvWG6xGRsFM5t1wPe9mPvmQLPRi7c55C2UtQik2BQ4C67lYviKTB4iBb1d0VmVIc0wBY7PjiP/+/Wa9kBAy+5TSvhGh9Z51h7T/BTYY8BDbnnARs8On3xHy6YXWQx682zuaZXL7AH+pZyQ/4q8d2DLC813SGeam2wSmImEPTJDzJdQtDYnd4tVZ14gZKy39mrKw0Ac9sSPCvwm8XLyfm2MCsgdby8mrr7CUmO7DAWn0V8XBeNCbDQWg+J95mMnubuDtcjlT7NFXeuPiHM5ST6EwaV53SS6Cb9I0gguhf9d5J/amzrHxLtgzgi2kq5n82EOhUOCso0Tfr+5TROLEGXtnVKryzCVdqsUfQ0jbRVm/XYaiYnfVtDRm0TMxsRo62bDfe7JKo2TOogt2AUPyzp0ZJ4Vb2Zrv/Js/McBJETjvxZspp//yPjh7XqPMygSYLApgUkMqWXtSe2D91eMKzq0TJ5VZ//24umVInyd+524yNoKtNsm3stsBMrWWGhtTL6fwLBwqCcdWJv3LjV53bZGd5Ra0W0sGea92Pc5PtPhHsCvfjULVtMUnP+eVSbPcMoG/90WbQX5JzMQ4eBuZtqVW+38PhQ/qBouivKfOFAOjBfzo/x4XRoE5L4imz0Zzwh1oKdZgMiVVdVhsw2Aio400By9RDwPmioUiD/NLHYAIOq2mrfT8Kr3IV/CdpapaPwVZkBfiwdON128N3Mr0ikJJ8JVFdrkThBBg+xk4AJvpRV0q/JIqpGcaO1ay4FBA9XzYP2NoH6pm01wnnajEB+pqjhLmE9Pe0z6J+x9UiLothMGz7qt8I+7DlIwv8V5El3fJwnhDh6E4Rd0ccaSTuDBQ3qidb7sCVNpYJUJkOnyqmyXlrUXnqIcz1YXnJ4wf8CLmts4PTAg/570bCmkiZ5UuauwudkU6xkeWaXqs9Bn8MUACw3hyr3N3pGYprSnn2vagh6mg5ibZvjsvXd+nqyOJIGI1Upiy7TaaUyC5ADo+7gDUg5E6XCrGtChMq399CreNXzXum1dt70QKgImOkbqfBA5pKPXK10eGrlE690WKaxlkndHP8B0Id0LmpFm3CNAjq3QY/zy4tT/E5MmtnNd/m2Calma7pt3tc9+RgjZebT7g77EgW8J2T+QA0RqCuE/d2GYCID08Qy9qcQLznmcAYuElxZ/OwlUJdnT9GVXfzHF13ubfeym7uBGE3lYRmBuCeSK9TMQW3NnPct5HkaKiw18e3qMJd90chuLpmiMr+tRkLY/eB7YSIWtDG1BnVnvGMGDumyWCOxFXfnON+D4P7taC+zmjLAuhs+Ptg5WlU9GJHfsFjwKd+7nnEipMAkCn1TvuRLtxusR7A2/ZU+xgkRa3JX0eUV+Ug8dHCJkp6F0XtDspyLreNfpm58YYTQa6tIWRIROOrZl8yYixf0lVSR/1BeMLa9/4Fi1B1hHDpy8f6vaxRZDDpS/f26hzaFI4UFCz7BvgPdZC+ATej0xlzPwUfUNJqD0O1W2KK/lOK8k1LuxNplG+JyZTBskqhuV1gLWmiMyn57WIs1dMshcpRcu+PtAFWUbFb11bwxvh06B6GkHRPZLPY3JlBm6xUiiV4mXhJ6VuO+WYDERJCE6MfRKVIEckjjfd2LuvCkC5PQZNKz28BQ2BQwriyLO2X1z1hX2BRkyi8cewbq6hdvrHoYXL4w4fluUdX2LdScLnhvSwL7DkNHsI/EKwIq3cfQ7054CQDw6c/+CyosRG4hXf3Niise3ulm3MVn5FIhvv37IdIBq3kfCpSHnzxm3HJ9ambvrstPcaka3EMYIAl/jsm+Z5o9T8XKOiYda2mxvN7m2jcf0SE5GNtwrrfkJMVAJAa+IG5B6BhIkmaz3t8+B6u8g+0zfMTh2ca/OhgGtrrocdGi19B2ggoGC/BK7F2atJglmQ6b4jNf9sDZ8Vto9EhIqewWkWFbQ3rUmP2MiV04qTdfh0qz3sspuMpraa9R7N8Rtm9Yd3K4pDZGqFFW303+++TTJ9lOLRp/Q2C+1m+EKMIArR+rccEULFfv1RrLZ9hS2mWWeT+kOP717/j7khj4148ej7TS0eDjOpP8Aojt54jMtne2VaukoKvsdeNVhxOjkOCzx9SReKV+qrVFOXP4inI6dnoGuf43nt/v6skKsyFT13TU8cipeG++ns4cxutVf1Vk1nnt5oORCarY+WTf/WBArKwIqa+3uKt43nouJ+0xqvRTQFRQ5xCiU3Si///38zZOy2CP1rdiRWjaHO+cIJwWC9BaGDKOh6L2bBwK0QSnaOXgP79sMAyaDfkcMJTcetiujChiqbE9UNmcprLwuwYTCFCyFcVKpaXgShZgflInxYwJtzihyWQ5SzADJ2HfdZGo7G513/S/OY7cLGr1If0j6Fsn6a2UDmpkSZ2LMgGXXaOVBWVuP/+jEWncdMs3FCdNQrjC47PYo+qbRIPuXGbFFZ//RW6PNjbQ1lw9cYrywAPP99blQNpnrspNNviBM/0d5EOb/zyBRA81jbNlnhzjBvMLgBpvzIYPkxQTsdpugxTHvgJ+cG4iTOmP8kehMXysOeA8eWxIUjfYj+GO0wSHskGM43EZkTMkRqgbsl6F49BG5uJ8fu9yHjPSwaRJAaX5ZFN28TFFFKQGSZP3ucwBJo76mcBAlsQemyg9/MB5EeO4KWIPnAieU2YJgKZAA6b5XkXJIx4jEkMufMugfwPe00f+TJ/6ZmGgm6KnhU8PCBP+sEaen8ILwXJWgoAOH5av18Tun6tZ6a8FRGEhcASXVYwTUzA3qYI3Pm9PfytVaNgoocISHPFNGJxo7e1Mj448Oka1rBosjHJw555J0M24I2O8YvVSNe0V8N04hvUH2RhU+cJ+Vo2ImqzmYoMzfbalkCrroj72H3B9DhZnfgOYuXyqEQo3KoGrftssopU0Z9XHgR0ZBRvrxI00unh/OzEx4nO1xaOu0r3W+RmgZOBHutNEOWoSa2kwhl8BDBEgjMbh5aIOUP+Gs0fMII6IOFCIpd5DSjI49jCe2p+uFycyxd/7VibadxNI9d+9Xu4k7YJ0Fo3T72t+gEOmIgfjAcBuNoxTpGOelNwgS0JxnML/uh1KV6+klsRXZFk1dcD5HK/QMrS+uBNIAXaO7YlvUzEbd8jVKap5IskBO6Z4UoOu8lgt+uNkUonzhkeoSI5/eckFDTWV8/IVDSg2REkOZKRagAaBbwRt2um7/TnG95DMeVdQ0SnUx4J3R9A3vGn4kNV8DkM4XuMu+YgW3Aswk3qzGAKZhuPhmwiSc13oiN4X0rYiWvx2uEqRKV477FCg3oK6egaxhjGoYJUW27oj4cgqXQY9ZE1/JxEP8roz5nAKiYHgaKCnropcsIEk77HzuYig7SYfHMepBYDF4PxpV1d7N3APutguM6V5xwgjgCqhxmnbDwwVylvo7dZ0TBQwUncAQrhSDYlWrZ2ew964P0MZx8pyeqm+ONrHkZI0azr2pUlDJVpdmiFAWYVPvFNhrIDhjEff5v9TpGDYDunMJBQ/JELtLBOy/wvIJcm18K3rLZW2K3TkX8kcA7INQ6eRQwKx5JttEGfl+kknmBQqsi/RvcKkptfccxIQ8gnnSAjPKBJQmzV146w63kMXaFFhsxOhQy2lsrLRCOhKNVGqAJ3JiVat50ijgo3kwoWyJJpz6fvwqHEZcpW+TUgM52YWdsl7opB5FG2sZS0STlqxrHBKrEz9Q1FblXCYLV+xp8ix/xHy7dkEtTdHm1TQVObCWmuP0lSOOZz1yzj0jJ4n2Gfsoz5b8D1mFt63gqhsIECJc23RZutTgsxKzBjjFCdhcBk+7D59glkq0Mdxqtyfyd2bzeFXTdJCunEzkaeOuIieQXOa5czzGPqLX2KWiwGu/I7oBVIvumP961O++UABo/NunraQXhfOaPapy3q2hTyYEFsDMDbY7vkmjbpUBi/n92tTnjAGgzkJf4TwleRzY7gKwvqmASoB3q+/Q3yBkHIQTRvk4IPtXQQJrMeBnEXUcT8vS4Oq1UTfFXt/aa5X1TuyGTLTteSAm9spui0hdZO8iUZFbO2Zm/Ib3IgFFiAXuCoreHypRBURod4Ia6JaXr6a2+qh7lxWWmNGF+Z1Js19DSpdm7S0SXn5M7ZgjJADid85X9jWbh+jDBLg4IE1ZeIgAI1ZcDCgpdhpYSSR6NvZk4KmS7FmQxI1w7XlJx6ZkDdrOWmCjqS2+k84NUkm1u7MMKKK7Cg2IVr0A90vIUrBDbqiOO5VN/fAaAMCvODT6pYzIyFrAk0hlD+1rOjJva6g3JHBMif2ZwUd/SO3RfUsT8pMiMuQkhFrwFkaC2i8ci47/Otpa/C99XwZ0IRxz2LBOGUoXBefJeLFGbujww6cqId6/gLwLzDqXUyZyO0XM1FIDa6vevY6cEnuH6FszqE7W/pZRukEtwkC3tRHmwnZhjLdzNWaU1s5LddZ5VD7fY0EoUCk96WqVvLGtvzBID5zJhozyKC3EDF8ZyjLXJpNH3XvNAFb6O3sHcyojZF6+zAjLQMYBcsVYi3PR7d/b4a0uhPkWcxQWEBPFb93YIfYQ9FCw6lHpnELTYTaS1tIclCYSwpYsnZhR1YOwNDqfExqrZjSw8q2ygE9b3zgZQt6W43sgpNdnBsTSck+ssG9V2AqaTL9g9GzK2fOFwq0zKyUHJ3EuXR2yULI+qT1tvxQz1i+zaMFlkQBtcHGyI6LKOQMz+Am45uesMieFurPPBa0tJqBS9Ig1I6wSKT6gk0TfAxeemi6dNSJ2hiaxsTNgGzxiwAmENqffi3QGl+asIfNXuxNetD0gm+xa6Yd3vlGhb/6jO0X3R40oJQSWGFTZw1lKfqhRoXm7MSuhlzOULm27PO9sCCDl+X+UpSZYs7SXW81vApXEsh+LwGAcMIE2pt1H21wfDS6InrflGUpCkD5xXjNqD9TK132Bcry7PNbGNdRvskOEW7G+aac6zHVTpzG5MwiB/0bTYClbpJXAmgidt5+eWNRptFppNF3jJESM7X6W59aev0FRFJPbA6UuRYTJLEvia7N8Mi959j+Z0xjl++QN5yTud4tYzw7FX3plmRgLx/p7HjhMSsVtDdRyq/IYVfNkvZzSuppi0bkQBbmGrR1ISRNsskI6pENeClL7i/nZI2A/r76zH39nw8H9cCDXd4cbT4F781IYtbGvIJsnbFX/D658R7ikflHK6j4Fkldab8iUtQxhBKroDQjY12KloIKGqIrcUm5KnV3uMI9SWbG+m6XVFTMVEk2U1TSQPvd1F/Qv6M1RHKVPcWhzHJaeh2wqmH26pvHPhdKhqiphsP4JDeY9VV1o6h2ydJurwwNLFmOTSNrAYN01mpAmteBFYSuGWcqbwJYaimzbI7Fb2ZHgpabs8koKXSs2sBOyRBF/qRp7wryoP0YbruqJ7gJN+LBPIodwBK7niN7UWiUrcou78+DRkhNi6qw3Loxrau+lOCuVHK8vbj7NYhr+I9SXkovaivPU1NFLSvTWP4TTtDUPv/EH7zUxdhYQ5/loYZHDxjpyYLcGDrGzlPKtV7pTWBNCF+bDsxokmim5fIHD5mlJqpgTEj4KKIi8eiL14iyEE94H3acegC6dUebOAuPXGO6CwUirzOfHkfdVCcOh2NswA+Ke6MWAgqyKORFB8x37uhOuhjE3aLwTkB92TFPKWAatWWx8q7X0myoQQoL9S2k9lDXs7vasmOdJ96xYjhybUH3398+lelbfKBi0J4LykOR0uHSngKk+Y9019JF/Spts8Q6y0dalU/Z4bxDV1heHg1voJitJ0bbCAckXS5xCYdB/XnPPWwme4Rlyq+h5wOnQFaA7ClICFEpRsJGaWvuyppwQPc8LMw1I2BolHJE1ndQqleRO0g4uhz6dGtgGXkrepiCxgCar9F1qzzS+Q64TEs4u42/J3JpSCt8aHK2C0ncKJexcQ5P+xuaY414UHBLHzdDxpiGJ5+dr45qpYV8r0+e0iZ7AUaQL+miaBXd3ds2CPA8XIfDZWJo7LJoXVwez4vzb3UNf/ylKIfqWt+vLZ03epULGE0X0iQf8vjtnA6E7WNqocGHqYu9bUDghpHjg4DqIG/c1AuBLMOZZSsM2Hg1ZvkWT2s4b5Zru+TufZ/5XWHH5wBk6VkGNect1+KOTRiJkqFvKquV+Ln4GWa9X+0AEBGuzEAOpar/s0FEtJFVT/M0Ee4x7FCqw9IBie0Dxy60Mn3WgA7y5N3wOKO641t8zbcU3ePVVeGC6Ljx748MKkETk2E/aarf+G1P2o4GPeLxDt297C9Re0jYFmiGAHWpNRNTDkPyUyxvkYu/YLel2Fwl5orGvMhRxMHvD5qTRZ3LVHezYfcTyLHKbew43YMHwkPZAAM04EZZNCco6LNYNFldcA8a9KhFnc/a0iLSykQs2AOqga5KA3uWL1hGNyc8VhDiIuc6bMsHK4UDR1Y/q+r5nkrm/ThVZ0zzvcbnh0UuGPns8BJVWGOMVLxwAlysLe9LjI3xn/b9SfYmtF/c6khyZfVteQOOGRs6MfqH34++UFGHlOR49W6E2BSBmuVdTXa6D7Z5hEhhGg0bBDV6XuduK2NMucR+LAgDQyUtPZcuq2ZUruhuz+Nu2OnfxlTKuuMWIXZbBd3f05wI/pDY15z1FeQuQFnI+Y/xLUyOfeCMVL02CdgsoIhMRPNRwad/vdfPLzRaV6UiC5E4H7daCIPQ2C/0xLe/IaFIeCT+9954SSvSVqLHX2OOVN8AruzLN2orGPu9lomQ05a3f18c5K1Giudq54JgogwnDhnDDlfDAFip8kLOJLE05/ms8zS4nKXQr3NDycemre10fCvZFhIRkxhhvpfXtYcTrnaKJcfen5PbOAadviddO24kzEYXROTwetZRFb/7p6YAHsNnWLS62LK6KFHgbkBjptwUnx3fuJBNlJbvRHhbByPJLJ+i3asjJ6GLCYjAfJxjr1u5vCFrT0lgzP6tu34lEokji1BFEWBiZutaDffgC6qnfVgWkbnnAfGlUCuPIiL2MvhcXoJ8Ofugci2CUclDu0PpQiypVDchYUD+2HEcfKuIJybi+R2AB2FFVyF0m/yNCq2uOvpI8vZKP4YvnmbCNQbc0ZupAMuUwNOUntxOTjeEACRwnYkrhS2+0tm/1vSDRt5LWr3fvkXXpCEEi3owkfMz6k3S6pddORnJ7E60r4NSqKX7aKqxESKuQQA1cx5lrN5Aj2MxcQzgTK6W8wAwLjmaQxUgESQZ9FZl5ooiIPUHMlBtHG/p6NvoFR6c2s5IuH64PY4npPAO0sSVQI+rB6szEuks2ItukI+rnLKhcpO6HFv9WJU6HfeprAcAEqzqcvTMsntJaTwG4zM0qTSrAa0aYQ/pK3QpMern5VIUdzrnfeDUOBbzJXiDcvgYHqXYcjVezgeKkWPgCoJdmqta2Aj5q694bW6ZSPW1F9W7m7f6yQbjhpiq4+4l5+ie+gEMyYeLJUuFFx1HlvBaCqwYft86tKGrAqZKO3bseVq2A+pRsrg3+RrrFjzldH0XgLvBcuyz0hhGUL+bxVgy/j2BS/qolAeCHusIutxsMMUtdyMg8FPeby2SQrPtfJuJTNE6S50jIIy94eEh/osY7OIS5EpJEYfFGK4Q4R0A8ZnUB+Guu9Qb5ayQyv5lLque5ZCOTv7yDFE1tBafQ9Mt/SRAQhijVC0YBl2MOMLf1UgaZLRmPuiKHiA3fiNpk0pNb7NqFgSSBLAL91WbYmzLKPggUHHNkb7F1bG6D1YmfP965FDfcakiA5wHGzV4Vni73xNL3UdFNqr94rC49SdB5a6na3OFCvq/t4HaFbq5OPcmnzV0838V/VPQS8TXCnPohY1a76W3x1ytkJKxevGOPd/JfhpMSrD0+fVlVzjahqUDqTa8lHB3RClKT5G6S1EA8F6j8vz97Dn55t9K/IwJiqrHidLK4f5oOrdM2WXz1HfG3YSc+MqlPcTqO7jQUzGxT7j0z3DaJVpkbo2ut4FXnz4aytyVQSp1WIZPPJMD6hUxMsikasXQgdGkqjCbRIbD3FDKQ0hFsLxq9A/qrc78sPxsshU9LILvYJBMCudBfUOut6uGyfL5cG13GZHuZmm6fw8GE4izmpPd1+aUrhcDt3gtOU/qSIrxQb0KLRK5e0yIZXERVzXJMLKiBYFPb5RsIDgpf9fahjGNUNtCwyAZQSjYj/4/XJIqGTW611ipZcSSO3Tp77SiGww8DgsPj/9aKRfUFWGucbsNEtOhTaUK7lsD9i0VBcdmgY0az+17soucyVSYheNykAdNAGlurnu5r96PbqaXC0HWI6xwpJ6L3jAF3Dr1RtXpZhunuSdZZUp9TjctWAD7QQ/o8DpvVZAoXhEJxyPInbKgo+XgiyzyhELcHGctlOGwi4lvRzkm9RNffx3XqdcM+zqe2DiROnokLg0ipYl3TTq+OqhUPJkAbKYfYflYHmL1pqElTukgI0qdICOC/RPU2X/B2+yT0DD2iZnEPptXLJ8SLQTv7iqIrmLFjdrUwjh2DR4w1yHObXIhrokHco2yrH7y8ePhPOyQtqlYOobtaLMPaUyKAz5BmMvRHs/POvjR7l72A8ZVhDScz84bJjP24zvKptpgFP1xJmYuDZ0ROG2EwCi1QvMzB7+F8CbUJaRys73aIC+jCUzhoxmHVA16VnU1/ceb5rLeulG7GUBZ30HwLlenFzOfDbuDCqdy6CQTfnK+VWFBfgGvJ+SR8sodk//R+1V5h6CHwUaq8xztbfdDA4BYthlKtkESyF0mIegudnnzmnTv/iUr2t+9dscUknnMmbdE0ok7A2ArZ8pWx/yLrBBlzO7WKdPOafIrnGHQi40oL6oINnqiIjHVpG8oTnr/E0LUrn372Rd3MX5M56DZvd4bQPr9cqRK1GQlBI3IjvFj5t6cnz/OltUapU6i2hQ9X/DfeRG8quJpnxyMgTlB7YppgvBVZjZzk63uZJmcue3OLHfN3r6pM0bsHX9Af9pKtBhKpfH/MdTFGnnrHVi4emU7q96e+c34LjGCT0igpPBDIUZEd7LOdqKaEy6cPb3hrEOzXwsC/oTuUvWv6l5PNHsFC41nrwRojunhi1H5kpqU5RMFcb4ndDPEjxeHpqoDLY0YUYpzUUMd4rQJyM4U0snxqWg0p3Fp6s/X4Zpxwffr3QNmuiKcB7sxCbBP6ZlQ66SJkCeOL8ziIa85QhEFwsdT++VlhcUNVs4VBd2n3gHkcarzIWTA+BMS8UDgdWdloW15r2/V6XgmtPie9lI13sQKVTrftEBXdkiaXqSKtWs96NU4F87hxVSzf0A4ErTQA8UJPIow4hPPIKarxUq/3UXgwHMtQtIo7G1rHWUSQuThm0qhnzOSf7LUZxBhZekK+zWWk9wgo1ktEiWRaheXL+hd4oOrD100hPe+WSOPe4ce30FTccUmzKtYrn4uw7gHu3Cp7YIHDBEhly1qCZf+MYKcxjtQw+xUf/ctgrpyv03sS29gj6vD4G6fHSTPt/zzvy8UGIepG5ughD+o0sLJ7RqOKkqHO9HZZowfTxb8TVuVP1JoFZmnAU6P0zsafX+O6ERxkIVXrFtfoFlBS1s7Irs3CSpz4hLXPSggrB7XLKxfaJC9B39OZg41rkLyIlsSbC97MmMwxQQrHEEf4Thi/vePGxbNABdS7CmFxMVel57Vu1+bhzwreADh09eW491l3NDy/s+nmlkpVXJNJbKwx0dOdohKp45EGyykmUDjnyeJbxv4rs9YHLl/sgHPFzRj6WFFAyQ6nfkKQDeisGD3ee5/OPca/DcNWRoG71FQ4xlN7BT2460OQjEIzkakaHY5xNXWnW4xJ5UUtA4yt/TTwWsiBhj5J0PJBSmPOMthskQXUJPG+S4QFgBVIhM0PcgdbZs6tSCWHNOBXFJiRZd/fNatQRvg1Q6HGSVUlJSNiqlmWNH6l8aJn/DHqrEo96R6840o2ASqHE1DTBIjXZl+iTX/iatdoWDIbGcXhXGYq2t5tDAzFr5G+pPWRtyT1OcG1OlqiwJXzU+ReswNG0dWLBg9DEqHs9TVwes/HLYSM+BZR94GXytOIyYm+dPCYRfb6lgQzNaBz2GkUVEze2TXEhM0EEhyki79PvRhfVvbXwVEe5ceVCNCMUyjKiH1IzrmWpt9lA3eugpd+NjX5gPvyvIKowVTdwgAUSMGcLbO/CjzyQkrT9d/NEpchSlrWji4k2aeFmqnjdiJ0a2PfHnU0ILAWAWsrJLffxcxSZ7IePSJ2Qh//JAksWolfiqX68YPoOTFu41iwaLK5rL0dyHcYZL+V3+UPlxGqUlvUEWHvjguMc9RqD56Wfik+59YmtMvJYno4JT+FRdNjLKN26GM2r4w0idGlt02jnblxLrmzgKOzel9KuQDcsUb+t/r/jtgHTzieBTEK8Bi5c9zKtGlI1QKgcUz95mVQ2FpneYxVyV5USmtGKV2y3DdSKSdgMrSWd26u/+1fuIqCOPa+BsBJpePZgXwBjGGmoCYf0zEAYGMwmr67CqBouhmpObBOcU8J4i25NzgBP9tCqRYoYIHSc3USSXDluKv+vY8hNuleuB+6yr3muqTx0OV0xrhVmRHer113n2aE0le7VCznb+JQZbsx/7AIDsETMBpclcdciphVswiSEny2LCMVbTA5hxXwNwsXTDMvU4nrmf3gUuC7WyKlDIrJPBXc5m9SUeZKlddGBzJtH805wRa8uWjX5FG28Cqq5vwp80fsQ54xr9uIUYw/VKS16BUnfbjdwJ8BAtTx2px/Er/5cGaGrx1rmbVICl5fqhKBNL39xxxbfTrfDahuAeh1MIhxCgXx22V58i113B/rAV9E86kR4f2fYfEcQAY/1F8Bbvdr4lcrBF0+Rcu4k+BmO192/oOZrd+GQQ5FP7KAsUIvYynFSsJUygXUmiyora4lUa2FFA+NLoGyU/dhYTYgGLxe4HSXkUlMS7HEillPxRJdATg0WanbLC3oyp3jYsWJ8OqXfDqQDDcQHpXZiqtrNYgnQWb1oqwKKOf4vbUZjIbAXuyV5Xfrx4fjK2fj1Jvi3t6nmUlIZA+ad4MQEb/2xKbmCMCEEAzm0YBlEB6CsxMnw6p2pxe9lLLg8yXW4EOwUD1JwlsyRURHJST/lDsJ0gHVqAjOG95m/nWkgKvkEp2rsqexLzlc9dvUBdlBC9BQSCIB8vHAA8HAnn2qpLKNyswYTg0x45H/Ly84CzIDO463QCB3Ez8hyNv7eA9PH1CRbtovmBSYR5onjp2H6o4/o/RXDAhNTbwECe96tb4Da0YmTUzIvjMYmI3PTcrBp3g1DJ1UwlV3bB00Xy9ESjR5NVDRlRQgM4kpIBwebSEDsDYgZfUn9t3xfaeiwt9OWiyLUT6jwQV9ydDQ07dHuGIVAhNGrT8pgtob6fhpgYm5kmB5X4LLn1LOeYFKtsOwQlpmzhj4IHGYLF1jgxXCRHg89lNXwPEcNWstRO6+FmwblFXIVjBZ5c1XCxp892vyGJtN2br3XPQZp4lfmxPCC909f9pAvK0yG3X0ojtl1SG3+0a0MNQ6YMlWMFwsNCPbRIuGNgWtnxgDazKn3pAq00WsVrA9iE6L38/i+08DsWUjkpO8q4ZGDQ6975NSQl9YE7nRVqbzScSUfH7eYW618mpT6JTabyw53yuCiNgIgiQyKTFheIn2PBc8nyyou1OnzMeeSlhqgT9yayaOSt2+oVgjQNq1VVE/aJFGY9V8Q3mLVGcEoh5GNxpbEIQv0W0LmY225KuZzouxG007lLALjnXU4cqh1g+VDN/kO3iAivtYFevRugwhn+EMqs3HxStdIi2BeS1chNo2JpCt/Iw37Vvn5vbas9JLxFwQgI8wGPj0OXXUQsJU+968uWr2BAAYH4Oi9dSgWfit1wsYgFiKAXsKXqbzKI8Iy/JE4e4fvfbrZMaRFiR78IypFy+2TvXG47paroK1jmq1CDTDLuQ9rrw4dyIg3Sv+Z5JtumtiLggjzg9/dEVYOxo7iqMU1qw+NJ27i4FPwtSf7hnonMU7hVhU67H4y8nGcSRpO5KnC02w0SxQRvUsh5606L5Yu+lDmwluVy/YoazixQQX3qsUIbiLvotl3IBMBdvbPEz18hbp/ZGJGBj7iH0aHLDVAzjU/OLNSObg/AC//9o16PRG7n2EnSPNiuKzTx0Nv4OtigbJz1hfn+GBz+Kt27gmFQubakOR1+RQBOhJKKCcv7wMzAkT0j0X+hB8xzmRfHT69d+LX++bhl95YNVnelaH0zQCZzakG8DMORAkQwQeeCokf0No0Kz7Xyrq0lseTwrIBUeqci4CSPWjGNI1FW/kFJtCDqKMrY9wNyp8WMXF/3LkkkoGxBHE6UDk+dCCFYjdhmzJ/VUZYA0802H03RvJIZonERbq+OYKB2UZLebJB5pXkut6OQ3fkh/W33HvOTVEpidblL/Szy1N7r0qEPIDklaRtkOETA4q4hE+gqYw9p0vVjpwDCL0AU0VCBPRD25jqBN1H1sK1iEteV1wU3jhl8ANbs+6ItfKSQdaz2Hcnu4wXCgVYP3oUwdNc5F0+O0F0DchheDHth/1MyqYG2L5/PMW1KRzu2S1y5T/9caPavy8v2BNYDmdd8h/8bPps4MnCjvf1dPGgeLN+kUIQqd7KRt2gmBviBTel9oPbNCJHDJBFwiZm0c52HPkG31z0UBtgwxIxf17NNpUO6k2GW/g+gM6pcJsmYQCgEgT+FQmR+f0brgiJn+JbkOXHEjuzh56zNNf5I1swNZ2JqDzO9pqyCXdNoG6XfIqiP46LkcAilU94Yf+QThvgTN9HvE6PNEXCbEfthksvuYf5+bsnBLJcTA83bC2iPlwurHV0uKebkGHGJqjz4VhFqbiwLQffMyRy4ELb4SYGIb7MNJciYzP6dBSnCyRXsDGmFf8fe7MBcW9eaUJiZTXeeGUOYArV4E96EwVl9KVxuvFVXA3Ihzv+UiwtOZCmCm7qRkmbsltETdHOhY/uhYDF0zCIeo0BGnpE0Wp6FS6d6jEz+sC7Mh3Ktffl75paRJV4Uu78A6Zt/lxCri0B0XqRr7inmBKRSwG+5KRXcbI+0aEAeJzs0PsmWMlJqOWJM3yleBJ9OboTmW6csrN7ZMHxmjcjTQkQADUe/ICuB6+U64BYdZIA0g21q83GNQOQb7mP7v2UGMaeTmhNsKHglQs+TBXitPQrAqXB48mNaJWMQoqD4bZpicDtW12C0cGpXSQ8sxFuu7cCNYa6Wqdo6aSwmve3x3FzU/MkDpQQoCdYYKdguWVP6m3dEqxvPEYlFrgtt0NdSMiDN0QWawpidqlwu1/HMvBteR+MTFblyK2a0GLCIXqUIJPNgu4m4UBnE6WYuRv8vbOZPfy3HN4FCaYDw5Da+bHivUb5eMSD6XNLYn+guMnfulr+czVVZ441k0ONjY3DB09V3brXTJC8A/jhfJGTXrSt6zKoqO2oUKSy+o+/Gvry5bTcxU7XidcxR/l5ivqyMbMLyp8AmynniADer7uoY7RJOL5848Y7uxFwSWLYw/pTZTdssAYPGamvSqAFugHowVShlRrk9YzGoFXJ5TQ3VwGHgdeSKODN50XDIGkx+C6velorceU9Q8eOxbBBnBU1NQO7lUwHkuHpkiPcrbO6H5d+APw8258Y98kVUpmaBDdAp2C69Ek7oPklfjQwjD5+KawlTlB9ueAIrEZgo5A/paqw6cxV8noJlKs94CkIaYg7R0iCr3LJWOEwvlhU2Zx6VLbdFqklqVr+hzRPGe9NG5Q8+6vrpXmy7YOJtAl4iP9Rsk3/D0MaoVYztmMyqLDmH9BS7u8qAA6PU/m8eEiHmDt85mOzasUF6MckuyPHyt1Y+Y/rBFBN9FKRRwtonMbTyaEktdG+1pJvp3R3pUeM3q/P3SJpgD77jXKSPOl8c4//GBmxGxjK4zD+RPD7743CFKCfrG6kSj2XntkUcT1onaen8vOAoQVTReczyxbI1GFyisTXCgqRvy8K0FcHJ7TBjwOvbMEcFhmY6N+4hfkI68H5awVIxO27gKP/AjFcKuXC+LKkzGlrGiyr1RcdLxgR6DbqVLggrTnTJHc6Z/XDBZP2mt65qIQZ35+Fe68flXROiAbhi+jN6JUEfwC4Cy3LZrFGs12r2Vmm8ztosr7M9YLL3FOT7gUetmjbRq4MWv37SOaqW+4ik8tcIGpDXiNBw5ntpXdjz6EgQ4mQ6sMLzB/47NXfIzXbNwkpKlbMSCtfjBVEFTfTmZIhdsAEtbdA+TX7EGn4XIAfwBVVZwhHv5mCTm5AA9mOyDJIU0A6uCm3TftMadHlz4YUZb99bZFG55g9zuI6UqjHCi62aaiYJ9JSg5oC68VQ16HXfP+w+KOs3bIzab1s+d38ueMVrYDp25np9HJ7GIBFzlw6OunyoDeICGI+1H8l4bJ2IoULrUN1Ggoasib4Lu86C3LOx6FRtOu6068wlaq4V1H9+KvbZJQtfLOwsGPBdRvXc3fCUxW/AwfJ8aJr/YvQ1lStG3x9Tx4YkfNhMkOnRgU867p7DPJw7VhSZE7A+c6O58YgVcS16CbaBDiN3QW4+do0WCmYVNnUwTyMh62J6sW0C5KKKlPrO4oL6IOANXclQQwtfusBYonbK3LIxnMbKMEF71wcoO+FdV29A6AcCmxmkZpSFKw2PCQTvEzKuOtHb1ShLeAyZYX9+JoK5yzUDwRQSlt6g262aLrZxhyH3B4smxYD8BwnQza4L0D0XmTZyapRgG/i68APcFDjU3g9LB79x8YLku6Suc234vWG8j39Rkc5XPrGo3fLSR+TrNRw2Nbb3tCoafAxSnW1TKMZO2vCBPRlvnJxUOPLpRAa8mACyxhCX3rtJJ169XyVFBksphDPo6+4gQ5XWqz2hYS0RmZ1YS1UkSAzQU2hyZc/eJXlBbcHdmbyjI6ktzH5gl2BiEkG+PGcgp1JL6AV5X4vj0xSPrFJKoFY4/DFGe3NM1WLU1x0ghbfqpRnStpwDwL4rR+s4kKfhqIL9lvOUE5GtMsdULodXIHMf7bIv46W4gFDsYlwhJJz9fre38Wz/tn5rGT/10/p4kcebaI2NauG2wP4T5Rm2WKUkNV+30km7nwcYz+ylkGdjOnKP8wv0O//jnPFjAMMhOfvOWBaANi8eJ8M8dSU3LQgdemGPEc4NIfoQDYFVYBEfYwgBzCFswCOX6AUgMeR1+W3hkleeKse7XOH1XIcxWgXB/y+kSlC6ydk8eTdUHjudL7lLZXP4Wp1GeSDLmAonKz7zF3y+l0+tIMrO1JFMKCIyEF8WDFb5qdZIdNfdq9jg0gqA/k5Zp6HhnAzlsEgVjfXvupjzQF3xziwKo94km4tw6Ss7A9Qdcj9oJbLWupbq32yuo6/y4aD1Q/LShEuKPFyBstjwqGQ0R0nazk9NqlN4eifYSUXtFFDUjI2Z/773IGCg8UVqUbj34xXGBAAHtOBZjt5O978z47i1bEbgOwkNbkr6ANvlAQ6FYwIlhQ7ZI9Xkd5zDm59ZbeXH3DwFlMe6+nqxWMO9J2x5wTWH6kkgXBvOnBzyuHrmlceRH9E8vqDYlUXYl3HzenZLcBC2zUZnCavikou9wSIWGSc0wml3Yg9QZbYa2abS4lNZTET3PhAZqj+D2wNPE0Efo0k5FjgIWpeTBhNhWEvc7ihmlUMxRMLpPOXUwSFQeHxPaFl4O8OiTG/RQooEUvILYpZArASDS+w3lycMmm6R6zBCJfSZ1HI+JIs43bb4xfw6Z1N7cN71eDTc1NN2jYqO1ij0AvgwpMpOnwfll1KYm5xrV+xOiAGDSrNpF6TQyDk3THO3z+6wxTAH9BL1F6rTizgLUQwDI6rbGWkpdotX64vAQGhyHxfvhWh8LXpYX0/UkDFl0bMnxChLaHduryEJb7BGY6N9h7BN+TzEJdmYUf+UauwF/5BktcP6rg03dKMo+z5DatDQ3VoaDsyKDZdzUytWnCOkPUj/aDt+Cnitezael4oCCbdRnkkmALQQ3837t2yIqs8mUYmimlm5ZbciXchav0E38dttDf/GCkCXLinQ2Dm+NehQXg84RMKv1EPIV9bBkTQHF63Je81sM9F7JOmpwTlMxpH6DMAl13SzduXGSZRAKBncBeAhrXOpKUCWjt5KmlmNu0HOAwkJtGqjVhugX6FzgPgwoGkctqPEDlMnzyr5zjpO809Rk42eneLE4+5GQQNF+qPGpM4Ht5ctMU/LO4j1cUZAQs54AnSdkqfkDimWOgNzvI01HoTmgWI61RLGVNZAwBsBL7/pSLvobyfPCETqS44NxMYC6g5rH3UQXD+gNF8VLFST5BzDiS2TO06WjN951OeW9BHQ8WyHKBTjmxhOrUHDPVXyB/1M2S3xb02md8aykeXkIeHSLFpV6YevWHXR+NAFSBHbiQmxzzjPzAcYaGOEge02E+W4IJdExpGiOwaZ6pREETNKDFBUEXp8OhT+p6b8PXqUcYR0qu//4Y8JCxRo5+8JVaCrjq/ERvlKLAK+uMEC1jEYSOZeYukeUcPd4Ljz7AzCSHW9Tl2a9AFvbsUl+MRBILmeQfYLW2IkrGVkkR2+677+C1pGyepEQ61Agw0dnR+7SX1pqKdqGom+Fuxs7ITYPtvaLMv/p4jPXSeEI8H685+vTCA72yUD0O1lYtPCfdq/y/IBVFVp/XpP93l6cjkKEXwuXpW9dwAIXi/65X4h9QUGBQTjG/RENROgcxyXteDOaUzwfrnmxsf4PzEwhNZBh6wN+S/rvwdSPds7vk/Jnh1KYsDgzOVsDEOZNrkJisk5jl9JiRJ6XRBbc3PTm7PLn9cH45xTtjXyRvoiIfxMeoX4MrH4ZXAeFb7ZPGJ4uG+Ks7EcehtGJpdz6r40IPkuZ35fM2gaN/x9en/mtted1lazJ1mRLvNGhz4bqJn7nXLlzEdjBR8Ud2yoEOogYLFgorwqd08ujKtszlaLkZUluTnF/IU80ow7xfauBNjt2EU20NpGMY9dUOThdz+m8GHeD9hNv5Ml3Mm8aWRhjiKFNjBZYy0B3pyvtIF58SVXfuIMbX+290WBD6hfVoanPVnZtMqkIHL5I+mO9XgxZAolby/+M18l+DT04XfK7KS3c+HlSopWfLMU79mY9VyWXlm70MAhlnTl2HhQe/A+g6T3OibSW8ovWKTTtBWjhY09J7LjK/nhlEJKmF2jKLff4y009xuDXZcz8b/fia2uAlg9WExNWWW6J3FFbZpNG922ehJsp0N3oKdsH59Z+Wio2siMUQ9afbe/NgyzMEcs97ciq9eWgOt1gFR5cA+EwgCo9V1uen7fEaGQpxESkR4slj8CEUgCdQk87TG57tlkkv+YPnqR5kj7/1QhdU/Z5ZRJdT2U/S30uFwmeQTnTYsxud3BuzJH5HFLLob8DTJIpIOBt9XGI4KsFvBcJLKLZXU+QD2eOHaYBjEH0vfZ2g4MMeqq4IuLn0ABwdgMZBQQe72nNcp/wWXoTHn5heDUo2kVWuLBWy4QKy7CDcw/YdbKWOeWnoO5+sseBRbapbg+WSJKIGWu9Vub/hAMernngEZCFlaDXuvjgJM7+spxYXV3xrsgV5kU336OS3AjEuU4QvXeKPaCAUooegfn3KZhdpTZX6WcMM+WsA6X6KRbF8kDCGNKCkYCgzwFBtq819gbXINGOY62GIeikxrD9w3FVPFD4ivkx8d2YHxfPPkQyoYA7t88Rpb1buMUlHhTz9gWo28MdF9fBotCrx+rp0XhNaTbrr5vdVRFOzYKANrSDEH9QaKuBSQ5NRNvnApeer74shgp2ivjCV1IL7sSDv5I2Ku3c0NlSRjjY2gUGNptFEViWlo0JmXkCi3oGYW+A8c6jpUGIM0ghK4FnOVZeBOexYHvPKf7LGDOfSoEFkDlHeickxsdWxH45z+o4IpzhygC1FFLnJgYEZ1iqsYbB0BwhhwT1MvrYIf53XWjcN38++wWqZEkk3FEROsdnnDoj7Ne0UvbBx6AQbIzz/E88+UYyIgjXs7LjgeI9WkR08aJPAHTCCzPNN4WTYV5z4gFnQra9fmnn6xLgE+aL1SH6Qlxu53UvUMaKs+KrHH3AqWxEzfZBV5vT5nKNkvnKQSC9zOKuYowed+nHs/gmnsRXjnL7yHgAD9dK1zXCEw13UJXp5vrsI8TguNmKl1RuAlH+JOydKFID50Me4PlxuW3/RM4GW/VEg7uvCkkt/8+6WABCfuNghvZahQV0m9pLZ0MMJ7yWCUAumIXlfWwJws+8wWnkEb3uXeEcePy44tle9TlQwuV3GTtufONxxSkebkOJJ1lI5JM2l+fDz9Ie20qmYqMuamIEbom6fUoSGMt4aGNj8xfNYFx0Q5bQmkn+UspkelWhcebJpg1V4Xgnqpz3goE2mM7atNJZPzD9F7wPx1NoePBVSdkXsziq31qtNbvHVT81+HtbWL5mwGMkq0yCW4VVHQ0uAk1LTRt6v6DwmjtraGxaaSWy0kueryq68nfcjzEdjeXH4RZR+LlGxummgwrXJtFDCkpb0r1NRlwK8aicS9Ngbt5GKWhl5AKCnCXcMKdClzwQaIPGg3rUh9VveNcb1SOJBi+lQw1t2nC0zH1OH9z681R1hLX29v6Umk/iGTXbN7kMgdDPBr4Zl0LVUKZXBkw537Jc4gUtMhidudp6EHyQp8fA+cd+C8G6hpX7ADGIcy4t7POkygB4DKxmpyrIqC4ArpzizCsk9D2MdQ0P+RtUAUpQPH6sexfYJmDvpsj4h2ByuqsloedOF8SqcHjotyEt4VFdzjtiArgLcH2U7GS5XMH+UegyNPnnvBOATsSQIrzyOxrOy6oHMCjD1l+FFkPtGfUuMcgXIzK3eGsQqZvCqMxCDpRn7Fvh7i9BtQ9JDgfBXAKKislw30f7eXWnDcXMn5hqjDz+fcSV0quEAOjgSlTuy+uZ2114jy0ed/gH2vPNbPi108310txMPFZQ/xcocDYZr1FWvfaUVwbCzwW6zXBotbDtQ7upur2ZZbHbDcPWEzwI9rnNEewfoqWSGbvcnrNYBcV+vUcyazImWId8FoBPB5us1pLt8VnXk2VFVZ+mw0MuBJZuzBePFxGs3D9Jqr/+gaDSFgwRyh5R+hwu3YAdN8rVXVYk6yxU+dteKM0KOWLtxp0kQidEwtVXi5nW3rWpqWB7r6V68YXMcNts7xhcURUYap72JRmlEIIyxNj4RTxKxZ1ao60BvStGHujjN38iauNQYp8xtKVu3w52qNg1B4bitH2SOunN3mRWuPnb2FJRltmdh1ddfm9cIhxNG+7Ei49zHh7oQjU4SadJLNgMQ0MdsAFYp+2XJq4cx6L9DAMDPJBNDcDVhCvpNDjnsb8C0Skrf6SX/7hkel7FaTVfAQadLOWMVtqm1yGmNd8WqvFBfHFm2nqqmkoXqnJmu7Q58Efk0IAeRltYjd15SURvsOCSMINZxCFQBfvgkYV8sQ+ingKfB2BG1+BWss2MIdlwB46s9VCNkDfDKMxnDzlTV8lt57cKk2218yZN7rD5vavOvzPSrG3yEB4jmSX4LM/zO6COPJVLO0bZrlx2kPcxos6Kg/+FDnPBYhY6xSTU3UqbDXQZBmYS/g3ny8dhUQhlm7xi5iIvDRRCRwZ/P7J7aTjGhALfygko+gdAMqk+DxYfD0nuCC4jWpqVzeSyRJ3xnoeGI8R4eLLt0PW8ikkJAWo7Xst/5QYUezzlcIaNcIhaaz2Zqy8ILU25OnPgvtaxUm7PM2HDNEPtSbxtXyanzI2gbdulEQ/EMHA8MwcYy8TP85K8t5f9/GKvllx7wxmQGOcReMrny79z5hs742xxHmgRsajbHl2u0y3/kJ9Rls1n2CK3eDd8kCjjpYy9mR3oeNWtOKaXDvB6s5L1SOw0eYbboOomIE/hVASFqMQr5jGPJlkLPfYUQBYWEyrpI1BexmOuVBUPb1Yt2L26xAAZ+Aj0jzY8wRVGQSxrboT2A+78x4DnxPC589HiwfzRCFtsMXPq0H86Ryp9g+y0DX/OKpigUxqVefIP+ze6LGr5ir4Bz276hmybs1s9H4iPMYEytwQ/c+h+T5OBsr4Zbkcvvg/xM4orlC0Sf5ffVxttKYsVMxvOzV4NaZiohpdjGbMWbysiDiOdxEmTXfjzr4Y/LS2YaOIXHglftue1rQt1Xp5WJIhjmx4lLdrW/fvlVvZZQzkqPZKxKB0XSDUZTYq/O2/Xkf4GIALEGx5zwQK0yiHSXEq+B6SOiUiQKBZdObh9eTs66atS2SfExJPxFiqp1EBYRCDTofaQiwI/zewGTZJKWl0LKgBQ8btUxMnGgrV6DgjfqKQG29ik3X6JRfEWd4005+Qlr+/FKs6ubZKx3uJ1vpf8xNm+HGCIaEY2/AgFieOjqB0+8nn82uKQs87wdxMdEw9CJllfZHdFsMg6DeBUyv0kX6wnwOC9jqaOYnbxBDjVdhks4B3ZUZ8TDvmIYCarp0HOhPZCqcri7HnX8jBuwcELx/oD//xZxTQM0Q2pNhYuYG5/VLyAhd0bpyotGWH69pWCka91DX610wjGvlsBzWlxm5pdfKSsqS6Z1za70SPrCOYT97hkzwig2zccu/J4/v8G2OWxTdNJ9NWoNryumThff4I4EqX5ZgDfJyJDXpKZdzW/zRi3wEK5tXbeGV5wG81JXHNS7Ajp4pxtI7qENu3WXFnfHBVZsvryV0gpxX8Klh0GvIM9EFc8w4RsZGYdhXuVGUDjSmdOrf/L1o24h/HeVK+OcoWXabpeuEDJLo9Wlt74U4rejQVfwXYUNsObiT6c7vK4A8ZpDtjGrX4KRxSPxqvAZjd54/KdhsAAn4ENY9m8xzEssn0/71UhtIlUNBQ6ORSgpKfiz/SwX2VdMl4944CPBHCTG6YALRlPySsXB2ObsTM4uqeaavEr9g1rvUZjWEqvKbAGLobIbhp2Jm9AzeA9Xuuv8JmhWdywQVti93rUXqmSEXDZM+rIxo6zUZrzhY8qbXCHqJlDr/bZaFWUCQzaBc4kHsDa9IF+gOInC4pvVYsuO+AdDYXKL27aURR9bemetDfy0kZ3Q/mq+UQulpsh4e01I35lsmzA86kPkzez3rz/QQo/LYbPwzXZurW2mWbpHNgcj6T2mUBu7Oj8sAKA3tvBM1YPtm7gRNQrouVKYscUkkKcwR8puJQqbYcN75wrU5wFHBDRcFWJJcuUI+9Jms0aiikzGAr+Q8MLLS+/d6EyrmIBbShvRfZhmjkoelL2Byv5bTwRFHicApHH4jaJne0fKveMFpSGrSx19C8JI3C1/gAq2rvzvstNw06t2Z/irFuuOh4Xz7sj8EWMVT7YIWbX86mClNsk7UMT8AgGFNMsJ8VLloQN9vOYNVH4oOUYHpQuTdpyiJ2791ip3dm/Iv4OF3ifQ29D4Al2x9u5KfwDCq0SOVCu1sVg+ZWrgcSTkbPL1M0wfxbKXS1dnVTw/Z2xqlsmcqz7Hjo0qwuAefa723z1XnlW4aRKaGcVAuwO2vt8DV2DjLx5TAjBVdCG8FW1iglEHCkcKFlqqnJpqRLGMAxNL9Xu/7Zn85v+dCiNxs1M6MFfH1n8iajZj1f4gs/o1L3YE9SC3Ij/nyElDIiGkNtXihcIl+x2jxicZlAFhGeI9FZhxyX73QZr1LdiFGKZwgqLBS/Z8WnWupXqi9H7GbRyza9HMmY5Kyl/oPzsMWy0iOnyUc3eDXADTnO/P0POzqP8jxw709rNWSbT22Mqu9rISxRU2WIesOXGEAZsUVHZNrthhyYXlLFpWoquYmdi+Ce7IXxNP7XpH2ccqqtFoouAhtqSkksQeU4+UOht6tQyV+D+Zsy8NJJjUHEwpuEcHukBD+7Auu6JI7een1FfaXP0kJR9LRH9KhijF0l39ED5OHapdET+YapLhlizkWkZ+HYW5NJ3YTaZ1AnKThzA/myHrR3BRfupnzVngYkcAUn1ly/TuE3OZ9F9OwUFd/YSuWuRkSbf7LX8C46U3gmWD9Q4sKrwIyByVw4SSXW2eveJIEhaiFaOfWgT2NHbXLWQ7J7/GlE3YVsQfdRn8gIEWzv6VOChzJ84Qhmosb7AdAGz07q9QqTdWNvJXKBa+f91kNDgI1BS0tog91ww+j9kBMg2s9/mgoQhiqY/4pJGi651ZGZSFFm0+tlQSDLGO6mZa/AH5GCXBuoU/joLuG0PMLe3HaUZth/y7ZguiTsJNAgztSjX8HOy9p9/Hdf/IjppYwYeVy5KJA4rZFLfO+iXeLncnMqpsPU9XhOlv8HHYqYB2V8l5yZERTBaKv2vpNwq/TjxHXhB9W2ym8HBsPZYL6XIS4rIahT4qkJb8rqy3Niks4S8SyA1CEsxTEmvXIeBclE4ax2VnfZaArq1pj+YQbxDCO4NqpgBl8jh7kyi+RzTLQN28W6EAxHrer0zFKGJsoQXqh2uuevpfuv+lSSJGHdAWd1SBjEOlDCHSGHaHNQWco6mlUFKbcQkOLvwt6beSS8RwCJTzutbmSkmTxf9B4lx+cFfu/MeVnWkRBJ2C7GPS0LwpgdTosmYrwl3AsprTDdze6mA6T5UxD/ox3J3SxB5Wql4o23MttXCFOrZpaML3/Hw/ktkHj2nqXMq0s74yCFb7GHTBdItwIf8dtPDGGPaC0L68JQvFy7j4MWfFWm6wUtO/qsSI2X9tG2hmtLTB/2ehfcXP2gITSL4r46knWdg65ic0by9/X2TmvVoQP2jV6NDRmvVfLXJAYcZPnRrQPr1kes++UAuuPjzQU6iXxFf8WW8HrbfOxD3Z+/4ihoeClm4rPj6xjaUYxjPfMdP2bAT62jFk50wQJF0DNP4X0hHtNLxl6CBF2f9cp+pub/6PJ011fghZnnNqWRYPZMp6FHOpRymaT1IoVtepfaEA547QSV3dcCB1FVrZQOChmlk9kC/OkhJbQL89yx7Xxekp9EF3gOCTRVsWBikLzBTHmPfB5F/6f9ftQOC28O4yDjAx24tmOZSR8+C+0+oG3xvSHt6YlM5kw9RURNy4B1ynsdroeBgImevkmuDNahg+BjrXFjbkIYkJMetlaKdeZycnOXnjTE99LA/CMRvuU6lsIxQF89hxs9lNvag4tZGhGQ7Yevn+W3mwVTukHunqLa3RnJKQGS/2UCZLQi2GuIv0npkJb4jk4jQccnYq9Q1aHohprRAIWZsFxEy3VDhFrew5K78Da7Nw3WnZJblP5ztuSbUtuM4dfLniA4zTVzuoWIyD1eJ/0+I98eyO8X950GU9WBuOelWPC4OMWDbBOKXI+ISFnnypp/tODpiAD9nQI8ZgBc6w9K/aNe38wIKsNHIiRoEc188NC1dIQMzfIaddx5oTyhZiJurNAjnDpivRdr2ZA/b6M2aiJy3P86JPENKQd4py1W1o73JYuMB0YHlS1rq/DCz+YWElv7PqwegS6Nw3Y/InY/IUraSqQQ+9Al/FKMJEc34Er3ucyEcUKn9LQ6NEIHOSWC0TFgvJV9fR1qSiDu7iroWNBc3a5MZG1KeuJQLvyKBd79Fn/q51HfZVULcVZ+T2G36OVmyla+NaaKjx5rd6oNt/2QjeD82DkwOv8oBMYEln8WiZ76bOs+bDG5p5uJzmfqIxkj5kkiVnAM+0M6ruWq8zcogBJliAemcszZdsh5KPfc+MN25V7FoKvxYrMCQptKK0wZdCKRl6WBgJ/8gON58y2r6af9oYGWjkjx+llahPzvHX/FBa5KTVYgZmKJXG3IlDPsuDiudD14TAvKkcBqb/0KE5rH1qyDO/IsiUPFFigUrXiV0yudyB58nftHAweAqJ3w2sw+CVSnjdNedi1HL9jydGxmZ4KCUHdNuOpYRe0+zBKWpzm/CSkqDsYdDEqFymojhWlFhOIVP+F5oBX7FtUa2UUQt+T/wMJWYHp2HTIpd57nbycsCmPvPjlpZCcF+4Vpo4nqyCJXSyDilq9OQjWeR5bDE8VG2p3n9H+/P40HCTzbRzUp3JfyFQdYLBpmrbNqTg6WexX6Gfp3vXdN2cKCBMo1OB+Ni0a2S4j1Wau1f+22BMB3yiF9cU5By7HTBkOIR1horvt3x4f4vQoPw1iENXHWBlJUulB1RUq5uckF2ra6fknXuvqsFA8+pHpfVNYgO9P2ctGRJOyuHuRTmJDC5aK3mxgzA113/7KmyylbNsk1oJ2XA231cmWigZkEbsOlYc3dhmTVcFGTYcmqX/LD2LUV5Yldrxia6+qthEKTkm9i+NIOssxBEYFz0masMlfRKXkimj5Twf3YA+PHoaQGZ15QnsbjQhvSdivSVLyrM6kTDxadOmiefQX2esYOegwQgRnhkhVLePAP6d9o+IaEN6+GFJZAW4/VLnpH3r7jUbwPTFh+6yUNrVX4sVslmzcT34l12/gaLBb13AG1QSV8mp8wtDR5xylqFjE4c7CRV0QBk5rgZ5MVmfDwwcoPlneNMwVcnx0cyBtBeWSebiOOZGsdgq/IN0du6QNXXc3ejhAlCcqY9AGcfX7to="/>
  <p:tag name="MEKKOXMLTAGS" val="1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LEFT" val="True"/>
  <p:tag name="BTFPLAYOUTANCHORERIGHT" val="False"/>
  <p:tag name="BTFPLAYOUTANCHORETOP" val="True"/>
  <p:tag name="BTFPLAYOUTANCHOREBOTTOM" val="False"/>
  <p:tag name="BTFPLAYOUTENABLED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LEFT" val="True"/>
  <p:tag name="BTFPLAYOUTANCHORERIGHT" val="False"/>
  <p:tag name="BTFPLAYOUTANCHORETOP" val="True"/>
  <p:tag name="BTFPLAYOUTANCHOREBOTTOM" val="False"/>
  <p:tag name="BTFPLAYOUTENABLED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LEFT" val="True"/>
  <p:tag name="BTFPLAYOUTANCHORERIGHT" val="False"/>
  <p:tag name="BTFPLAYOUTANCHORETOP" val="True"/>
  <p:tag name="BTFPLAYOUTANCHOREBOTTOM" val="False"/>
  <p:tag name="BTFPLAYOUTENABLED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LEFT" val="True"/>
  <p:tag name="BTFPLAYOUTANCHORERIGHT" val="False"/>
  <p:tag name="BTFPLAYOUTANCHORETOP" val="True"/>
  <p:tag name="BTFPLAYOUTANCHOREBOTTOM" val="False"/>
  <p:tag name="BTFPLAYOUTENABLED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LEFT" val="True"/>
  <p:tag name="BTFPLAYOUTANCHORERIGHT" val="False"/>
  <p:tag name="BTFPLAYOUTANCHORETOP" val="True"/>
  <p:tag name="BTFPLAYOUTANCHOREBOTTOM" val="False"/>
  <p:tag name="BTFPLAYOUTENABLED" val="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heme/theme1.xml><?xml version="1.0" encoding="utf-8"?>
<a:theme xmlns:a="http://schemas.openxmlformats.org/drawingml/2006/main" name="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56CF97D2-A744-43CA-AE15-0214FF29DAC4}" vid="{A64E784E-EE2A-4031-BBD4-3B52B2D870F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E28C1D2031CE49B65EB9398B6665A4" ma:contentTypeVersion="16" ma:contentTypeDescription="Ein neues Dokument erstellen." ma:contentTypeScope="" ma:versionID="915be8ddf9203496dff81045837c2095">
  <xsd:schema xmlns:xsd="http://www.w3.org/2001/XMLSchema" xmlns:xs="http://www.w3.org/2001/XMLSchema" xmlns:p="http://schemas.microsoft.com/office/2006/metadata/properties" xmlns:ns2="024ef72b-9a44-443b-86c7-2b9b89248177" xmlns:ns3="df6b8441-aa16-4692-b757-547843ef6d58" xmlns:ns4="0e427f73-0d6a-4740-aee4-eea3ddf9cfe2" targetNamespace="http://schemas.microsoft.com/office/2006/metadata/properties" ma:root="true" ma:fieldsID="93e82e7d94d6100c07791c5c9fddab0b" ns2:_="" ns3:_="" ns4:_="">
    <xsd:import namespace="024ef72b-9a44-443b-86c7-2b9b89248177"/>
    <xsd:import namespace="df6b8441-aa16-4692-b757-547843ef6d58"/>
    <xsd:import namespace="0e427f73-0d6a-4740-aee4-eea3ddf9cfe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4ef72b-9a44-443b-86c7-2b9b8924817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4b166abb-7d38-406f-9233-2f33b10aef2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6b8441-aa16-4692-b757-547843ef6d58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427f73-0d6a-4740-aee4-eea3ddf9cfe2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a85ec8ad-9b94-48bf-98e4-b3da507f3f23}" ma:internalName="TaxCatchAll" ma:showField="CatchAllData" ma:web="df6b8441-aa16-4692-b757-547843ef6d5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38E3FDD-F0A4-4844-9D40-FD90550EE825}">
  <ds:schemaRefs>
    <ds:schemaRef ds:uri="024ef72b-9a44-443b-86c7-2b9b89248177"/>
    <ds:schemaRef ds:uri="0e427f73-0d6a-4740-aee4-eea3ddf9cfe2"/>
    <ds:schemaRef ds:uri="df6b8441-aa16-4692-b757-547843ef6d5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AD835C2C-3CD2-40BE-BE8B-84BB9926EAC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ain Core On Screen Show (16_9)</Template>
  <TotalTime>97</TotalTime>
  <Words>3148</Words>
  <Application>Microsoft Office PowerPoint</Application>
  <PresentationFormat>Widescreen</PresentationFormat>
  <Paragraphs>1117</Paragraphs>
  <Slides>16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1" baseType="lpstr">
      <vt:lpstr>Arial</vt:lpstr>
      <vt:lpstr>Calibri</vt:lpstr>
      <vt:lpstr>Segoe UI</vt:lpstr>
      <vt:lpstr>Bain Core</vt:lpstr>
      <vt:lpstr>think-cell Slide</vt:lpstr>
      <vt:lpstr>Digital Deck 9 – Web-traffic and Search</vt:lpstr>
      <vt:lpstr>Peer 4 is the leading brand of Peer 1 but facing tough competition from Peer 9; opportunity in improving search marketing for all Peer 1 brands</vt:lpstr>
      <vt:lpstr>Unique Visits: Peer 4 leads on scale with a strong YoY growth; closest non-Peer 1 competitor is Peer 9</vt:lpstr>
      <vt:lpstr>Traffic sources evolution: All the brands seeing a decline in paid-media-generated traffic hinting at reduced paid media investments industry-wide</vt:lpstr>
      <vt:lpstr>Traffic channels: Similar mix across industry; Direct and Organic search driving more than 80% of the traffic; Social responsible for 5-10%</vt:lpstr>
      <vt:lpstr>Visitor engagement: Target brands can enhance user engagement through faster load times, intuitive design, and compelling content strategy</vt:lpstr>
      <vt:lpstr>Cross-Purchase: Certain Peer 1 sub-brands have high overlap within each other but limited overlap with competitors; Peer 4 attracts high %age of visitors from sub-brands</vt:lpstr>
      <vt:lpstr>Demographics: Website 9 sees strong engagement from 25–34-year-olds and a balanced gender split; opportunity to strengthen appeal among Gen-Z audiences</vt:lpstr>
      <vt:lpstr>SEO: Most Peer 1 brands have potential to improve organic visits and CTR</vt:lpstr>
      <vt:lpstr>SEO: Peer 1 brands have opportunity to focus on unbranded terms to unlock the next set of potential customers</vt:lpstr>
      <vt:lpstr>Search ranking: Scope for Peer 1 brands to enhance website content to attract more users and drive conversions</vt:lpstr>
      <vt:lpstr>SEM: Peer 9 invests heavily in paid search advertising; Only Peer 2 currently investing in paid search amongst Peer 1 brands</vt:lpstr>
      <vt:lpstr>SEM: Scope for Peer 2 to invest in a well-optimized mix of keywords, keeping CPCs in check</vt:lpstr>
      <vt:lpstr>Paid search: Opportunity for Peer 1 brands to bid on high-volume, low-cost keywords where they lack strong organic rankings</vt:lpstr>
      <vt:lpstr>Paid search spend &amp; CPC: Only Peer 2 is actively spending on paid search over LTM; Opportunity for others Peer 1 brands to start investing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tewart, Sierra</dc:creator>
  <cp:lastModifiedBy>BCN</cp:lastModifiedBy>
  <cp:revision>1</cp:revision>
  <cp:lastPrinted>2017-02-15T14:23:56Z</cp:lastPrinted>
  <dcterms:created xsi:type="dcterms:W3CDTF">2024-09-04T23:53:23Z</dcterms:created>
  <dcterms:modified xsi:type="dcterms:W3CDTF">2025-05-29T11:24:55Z</dcterms:modified>
</cp:coreProperties>
</file>